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2.xml" ContentType="application/vnd.openxmlformats-officedocument.presentationml.notesSlid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notesSlides/notesSlide3.xml" ContentType="application/vnd.openxmlformats-officedocument.presentationml.notesSlid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notesSlides/notesSlide4.xml" ContentType="application/vnd.openxmlformats-officedocument.presentationml.notesSlide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notesSlides/notesSlide5.xml" ContentType="application/vnd.openxmlformats-officedocument.presentationml.notesSlide+xml"/>
  <Override PartName="/ppt/tags/tag26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9"/>
  </p:notesMasterIdLst>
  <p:handoutMasterIdLst>
    <p:handoutMasterId r:id="rId60"/>
  </p:handoutMasterIdLst>
  <p:sldIdLst>
    <p:sldId id="256" r:id="rId2"/>
    <p:sldId id="257" r:id="rId3"/>
    <p:sldId id="258" r:id="rId4"/>
    <p:sldId id="259" r:id="rId5"/>
    <p:sldId id="260" r:id="rId6"/>
    <p:sldId id="265" r:id="rId7"/>
    <p:sldId id="1394" r:id="rId8"/>
    <p:sldId id="269" r:id="rId9"/>
    <p:sldId id="263" r:id="rId10"/>
    <p:sldId id="264" r:id="rId11"/>
    <p:sldId id="270" r:id="rId12"/>
    <p:sldId id="1395" r:id="rId13"/>
    <p:sldId id="267" r:id="rId14"/>
    <p:sldId id="1388" r:id="rId15"/>
    <p:sldId id="277" r:id="rId16"/>
    <p:sldId id="1387" r:id="rId17"/>
    <p:sldId id="272" r:id="rId18"/>
    <p:sldId id="279" r:id="rId19"/>
    <p:sldId id="1389" r:id="rId20"/>
    <p:sldId id="278" r:id="rId21"/>
    <p:sldId id="401" r:id="rId22"/>
    <p:sldId id="608" r:id="rId23"/>
    <p:sldId id="609" r:id="rId24"/>
    <p:sldId id="593" r:id="rId25"/>
    <p:sldId id="594" r:id="rId26"/>
    <p:sldId id="595" r:id="rId27"/>
    <p:sldId id="1390" r:id="rId28"/>
    <p:sldId id="1391" r:id="rId29"/>
    <p:sldId id="1392" r:id="rId30"/>
    <p:sldId id="1393" r:id="rId31"/>
    <p:sldId id="1198" r:id="rId32"/>
    <p:sldId id="1200" r:id="rId33"/>
    <p:sldId id="1205" r:id="rId34"/>
    <p:sldId id="1206" r:id="rId35"/>
    <p:sldId id="4661" r:id="rId36"/>
    <p:sldId id="4650" r:id="rId37"/>
    <p:sldId id="546" r:id="rId38"/>
    <p:sldId id="549" r:id="rId39"/>
    <p:sldId id="550" r:id="rId40"/>
    <p:sldId id="551" r:id="rId41"/>
    <p:sldId id="560" r:id="rId42"/>
    <p:sldId id="552" r:id="rId43"/>
    <p:sldId id="553" r:id="rId44"/>
    <p:sldId id="555" r:id="rId45"/>
    <p:sldId id="296" r:id="rId46"/>
    <p:sldId id="899" r:id="rId47"/>
    <p:sldId id="285" r:id="rId48"/>
    <p:sldId id="347" r:id="rId49"/>
    <p:sldId id="518" r:id="rId50"/>
    <p:sldId id="425" r:id="rId51"/>
    <p:sldId id="1015" r:id="rId52"/>
    <p:sldId id="468" r:id="rId53"/>
    <p:sldId id="394" r:id="rId54"/>
    <p:sldId id="894" r:id="rId55"/>
    <p:sldId id="1019" r:id="rId56"/>
    <p:sldId id="1046" r:id="rId57"/>
    <p:sldId id="1268" r:id="rId5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0181EAF1-F7EB-4554-BC26-63760E6E0AE0}">
          <p14:sldIdLst>
            <p14:sldId id="256"/>
            <p14:sldId id="257"/>
          </p14:sldIdLst>
        </p14:section>
        <p14:section name="Shapes &amp; Elements" id="{9F542717-F4F7-4A72-809F-B14F906F9593}">
          <p14:sldIdLst>
            <p14:sldId id="258"/>
            <p14:sldId id="259"/>
            <p14:sldId id="260"/>
            <p14:sldId id="265"/>
            <p14:sldId id="1394"/>
            <p14:sldId id="269"/>
          </p14:sldIdLst>
        </p14:section>
        <p14:section name="Gradients" id="{8983B43E-3C6B-485E-8021-371CCAF32EA5}">
          <p14:sldIdLst>
            <p14:sldId id="263"/>
            <p14:sldId id="264"/>
            <p14:sldId id="270"/>
            <p14:sldId id="1395"/>
          </p14:sldIdLst>
        </p14:section>
        <p14:section name="Tables &amp; Grids" id="{0B216E68-C536-4AB5-B57B-367C02007940}">
          <p14:sldIdLst>
            <p14:sldId id="267"/>
            <p14:sldId id="1388"/>
            <p14:sldId id="277"/>
            <p14:sldId id="1387"/>
            <p14:sldId id="272"/>
            <p14:sldId id="279"/>
            <p14:sldId id="1389"/>
          </p14:sldIdLst>
        </p14:section>
        <p14:section name="Maps" id="{1B840935-F6B3-4D79-8DBA-A1D8C7E84C2B}">
          <p14:sldIdLst>
            <p14:sldId id="278"/>
            <p14:sldId id="401"/>
            <p14:sldId id="608"/>
            <p14:sldId id="609"/>
            <p14:sldId id="593"/>
            <p14:sldId id="594"/>
            <p14:sldId id="595"/>
          </p14:sldIdLst>
        </p14:section>
        <p14:section name="Social Icons" id="{DB02CBA9-C11E-4B70-8BB1-5D75B67EB3D2}">
          <p14:sldIdLst>
            <p14:sldId id="1390"/>
            <p14:sldId id="1391"/>
            <p14:sldId id="1392"/>
            <p14:sldId id="1393"/>
          </p14:sldIdLst>
        </p14:section>
        <p14:section name="Device Mockups" id="{174F8DC5-B315-4DE1-BBE5-1D21B681D9E9}">
          <p14:sldIdLst>
            <p14:sldId id="1198"/>
            <p14:sldId id="1200"/>
            <p14:sldId id="1205"/>
            <p14:sldId id="1206"/>
            <p14:sldId id="4661"/>
            <p14:sldId id="4650"/>
            <p14:sldId id="546"/>
            <p14:sldId id="549"/>
            <p14:sldId id="550"/>
            <p14:sldId id="551"/>
            <p14:sldId id="560"/>
            <p14:sldId id="552"/>
            <p14:sldId id="553"/>
            <p14:sldId id="555"/>
          </p14:sldIdLst>
        </p14:section>
        <p14:section name="Data Visualization Tools" id="{F5A57B98-6F79-421A-BDE0-15CECF4F8CB7}">
          <p14:sldIdLst>
            <p14:sldId id="296"/>
            <p14:sldId id="899"/>
            <p14:sldId id="285"/>
            <p14:sldId id="347"/>
            <p14:sldId id="518"/>
            <p14:sldId id="425"/>
            <p14:sldId id="1015"/>
            <p14:sldId id="468"/>
            <p14:sldId id="394"/>
            <p14:sldId id="894"/>
            <p14:sldId id="1019"/>
            <p14:sldId id="1046"/>
            <p14:sldId id="126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2E3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537" autoAdjust="0"/>
    <p:restoredTop sz="94660"/>
  </p:normalViewPr>
  <p:slideViewPr>
    <p:cSldViewPr snapToGrid="0" showGuides="1">
      <p:cViewPr>
        <p:scale>
          <a:sx n="100" d="100"/>
          <a:sy n="100" d="100"/>
        </p:scale>
        <p:origin x="2816" y="130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presProps" Target="pres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 rot="0"/>
          <a:lstStyle/>
          <a:p>
            <a:pPr lvl="0"/>
            <a:endParaRPr lang="en-US"/>
          </a:p>
        </c:rich>
      </c:tx>
      <c:overlay val="1"/>
    </c:title>
    <c:autoTitleDeleted val="0"/>
    <c:plotArea>
      <c:layout>
        <c:manualLayout>
          <c:layoutTarget val="inner"/>
          <c:xMode val="edge"/>
          <c:yMode val="edge"/>
          <c:x val="5.0000000000000001E-3"/>
          <c:y val="5.0000000000000001E-3"/>
          <c:w val="1"/>
          <c:h val="1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4BB5B5"/>
            </a:solidFill>
            <a:ln w="12700" cap="flat">
              <a:noFill/>
              <a:miter lim="400000"/>
            </a:ln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F0EA-4F38-B518-87C7697244E4}"/>
              </c:ext>
            </c:extLst>
          </c:dPt>
          <c:dPt>
            <c:idx val="1"/>
            <c:bubble3D val="0"/>
            <c:spPr>
              <a:solidFill>
                <a:srgbClr val="DCDEE0"/>
              </a:solidFill>
              <a:ln w="12700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2-F0EA-4F38-B518-87C7697244E4}"/>
              </c:ext>
            </c:extLst>
          </c:dPt>
          <c:cat>
            <c:strRef>
              <c:f>Sheet1!$B$1:$C$1</c:f>
              <c:strCache>
                <c:ptCount val="2"/>
                <c:pt idx="0">
                  <c:v>1</c:v>
                </c:pt>
                <c:pt idx="1">
                  <c:v>2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53</c:v>
                </c:pt>
                <c:pt idx="1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0EA-4F38-B518-87C7697244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 rot="0"/>
          <a:lstStyle/>
          <a:p>
            <a:pPr lvl="0"/>
            <a:endParaRPr lang="en-US"/>
          </a:p>
        </c:rich>
      </c:tx>
      <c:overlay val="1"/>
    </c:title>
    <c:autoTitleDeleted val="0"/>
    <c:plotArea>
      <c:layout>
        <c:manualLayout>
          <c:layoutTarget val="inner"/>
          <c:xMode val="edge"/>
          <c:yMode val="edge"/>
          <c:x val="5.0000000000000001E-3"/>
          <c:y val="5.0000000000000001E-3"/>
          <c:w val="1"/>
          <c:h val="1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4BB5B5"/>
            </a:solidFill>
            <a:ln w="12700" cap="flat">
              <a:noFill/>
              <a:miter lim="400000"/>
            </a:ln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1B8C-4271-BEB5-41C0B2F7497E}"/>
              </c:ext>
            </c:extLst>
          </c:dPt>
          <c:dPt>
            <c:idx val="1"/>
            <c:bubble3D val="0"/>
            <c:spPr>
              <a:solidFill>
                <a:srgbClr val="484848"/>
              </a:solidFill>
              <a:ln w="12700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2-1B8C-4271-BEB5-41C0B2F7497E}"/>
              </c:ext>
            </c:extLst>
          </c:dPt>
          <c:cat>
            <c:strRef>
              <c:f>Sheet1!$B$1:$C$1</c:f>
              <c:strCache>
                <c:ptCount val="2"/>
                <c:pt idx="0">
                  <c:v>1</c:v>
                </c:pt>
                <c:pt idx="1">
                  <c:v>2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32</c:v>
                </c:pt>
                <c:pt idx="1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B8C-4271-BEB5-41C0B2F749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 rot="0"/>
          <a:lstStyle/>
          <a:p>
            <a:pPr lvl="0"/>
            <a:endParaRPr lang="en-US"/>
          </a:p>
        </c:rich>
      </c:tx>
      <c:overlay val="1"/>
    </c:title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4BB5B5"/>
            </a:solidFill>
            <a:ln w="12700" cap="flat">
              <a:noFill/>
              <a:miter lim="400000"/>
            </a:ln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391C-4686-A279-550EE16CD856}"/>
              </c:ext>
            </c:extLst>
          </c:dPt>
          <c:dPt>
            <c:idx val="1"/>
            <c:bubble3D val="0"/>
            <c:spPr>
              <a:solidFill>
                <a:srgbClr val="EBB17B"/>
              </a:solidFill>
              <a:ln w="12700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2-391C-4686-A279-550EE16CD856}"/>
              </c:ext>
            </c:extLst>
          </c:dPt>
          <c:cat>
            <c:strRef>
              <c:f>Sheet1!$B$1:$C$1</c:f>
              <c:strCache>
                <c:ptCount val="2"/>
                <c:pt idx="0">
                  <c:v>1</c:v>
                </c:pt>
                <c:pt idx="1">
                  <c:v>2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86</c:v>
                </c:pt>
                <c:pt idx="1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91C-4686-A279-550EE16CD8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FB5B22A-6AEC-329C-053D-83E2244E1AD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176D3E-E11A-B20C-198C-6C83878F822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9D4919-F85A-4EA5-9946-51BFDC298D41}" type="datetimeFigureOut">
              <a:rPr lang="en-CA" smtClean="0"/>
              <a:t>2024-05-08</a:t>
            </a:fld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EC4D69-0319-EC44-E2DE-7D900483AAC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2B67D4-055D-1FB3-ABFD-B506E799D13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ECAEF3-2FDC-465C-92A3-7F98B3A485E9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711624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4C1C47-938C-4B4A-B0EB-B1E4F948A738}" type="datetimeFigureOut">
              <a:rPr lang="en-CA" smtClean="0"/>
              <a:t>2024-05-08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620883-BBB6-42A4-9B94-31258BAB0948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814599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4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1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8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10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6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6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50900" y="300038"/>
            <a:ext cx="5156200" cy="29003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857A81-DEF9-4B57-AC08-20326D7F815B}" type="slidenum">
              <a:rPr lang="en-GB" smtClean="0"/>
              <a:pPr/>
              <a:t>22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98176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50900" y="300038"/>
            <a:ext cx="5156200" cy="29003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857A81-DEF9-4B57-AC08-20326D7F815B}" type="slidenum">
              <a:rPr lang="en-GB" smtClean="0"/>
              <a:pPr/>
              <a:t>23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53360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50900" y="300038"/>
            <a:ext cx="5156200" cy="29003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857A81-DEF9-4B57-AC08-20326D7F815B}" type="slidenum">
              <a:rPr lang="en-GB" smtClean="0"/>
              <a:pPr/>
              <a:t>24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8801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50900" y="300038"/>
            <a:ext cx="5156200" cy="29003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857A81-DEF9-4B57-AC08-20326D7F815B}" type="slidenum">
              <a:rPr lang="en-GB" smtClean="0"/>
              <a:pPr/>
              <a:t>25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17988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50900" y="300038"/>
            <a:ext cx="5156200" cy="29003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857A81-DEF9-4B57-AC08-20326D7F815B}" type="slidenum">
              <a:rPr lang="en-GB" smtClean="0"/>
              <a:pPr/>
              <a:t>26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7144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2213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 MockUp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5"/>
          <p:cNvSpPr>
            <a:spLocks noGrp="1"/>
          </p:cNvSpPr>
          <p:nvPr>
            <p:ph type="pic" sz="quarter" idx="20"/>
          </p:nvPr>
        </p:nvSpPr>
        <p:spPr>
          <a:xfrm>
            <a:off x="7321097" y="903436"/>
            <a:ext cx="3878775" cy="8327167"/>
          </a:xfrm>
          <a:custGeom>
            <a:avLst/>
            <a:gdLst>
              <a:gd name="connsiteX0" fmla="*/ 694038 w 5818162"/>
              <a:gd name="connsiteY0" fmla="*/ 0 h 12492680"/>
              <a:gd name="connsiteX1" fmla="*/ 1281730 w 5818162"/>
              <a:gd name="connsiteY1" fmla="*/ 0 h 12492680"/>
              <a:gd name="connsiteX2" fmla="*/ 1290826 w 5818162"/>
              <a:gd name="connsiteY2" fmla="*/ 1399 h 12492680"/>
              <a:gd name="connsiteX3" fmla="*/ 1298522 w 5818162"/>
              <a:gd name="connsiteY3" fmla="*/ 5597 h 12492680"/>
              <a:gd name="connsiteX4" fmla="*/ 1305518 w 5818162"/>
              <a:gd name="connsiteY4" fmla="*/ 11894 h 12492680"/>
              <a:gd name="connsiteX5" fmla="*/ 1311115 w 5818162"/>
              <a:gd name="connsiteY5" fmla="*/ 19590 h 12492680"/>
              <a:gd name="connsiteX6" fmla="*/ 1316712 w 5818162"/>
              <a:gd name="connsiteY6" fmla="*/ 30784 h 12492680"/>
              <a:gd name="connsiteX7" fmla="*/ 1320910 w 5818162"/>
              <a:gd name="connsiteY7" fmla="*/ 42678 h 12492680"/>
              <a:gd name="connsiteX8" fmla="*/ 1325108 w 5818162"/>
              <a:gd name="connsiteY8" fmla="*/ 56670 h 12492680"/>
              <a:gd name="connsiteX9" fmla="*/ 1327906 w 5818162"/>
              <a:gd name="connsiteY9" fmla="*/ 72762 h 12492680"/>
              <a:gd name="connsiteX10" fmla="*/ 1334203 w 5818162"/>
              <a:gd name="connsiteY10" fmla="*/ 107044 h 12492680"/>
              <a:gd name="connsiteX11" fmla="*/ 1341200 w 5818162"/>
              <a:gd name="connsiteY11" fmla="*/ 146923 h 12492680"/>
              <a:gd name="connsiteX12" fmla="*/ 1345397 w 5818162"/>
              <a:gd name="connsiteY12" fmla="*/ 167213 h 12492680"/>
              <a:gd name="connsiteX13" fmla="*/ 1350295 w 5818162"/>
              <a:gd name="connsiteY13" fmla="*/ 188202 h 12492680"/>
              <a:gd name="connsiteX14" fmla="*/ 1354492 w 5818162"/>
              <a:gd name="connsiteY14" fmla="*/ 209891 h 12492680"/>
              <a:gd name="connsiteX15" fmla="*/ 1360789 w 5818162"/>
              <a:gd name="connsiteY15" fmla="*/ 230880 h 12492680"/>
              <a:gd name="connsiteX16" fmla="*/ 1367786 w 5818162"/>
              <a:gd name="connsiteY16" fmla="*/ 253268 h 12492680"/>
              <a:gd name="connsiteX17" fmla="*/ 1376181 w 5818162"/>
              <a:gd name="connsiteY17" fmla="*/ 274957 h 12492680"/>
              <a:gd name="connsiteX18" fmla="*/ 1385276 w 5818162"/>
              <a:gd name="connsiteY18" fmla="*/ 295946 h 12492680"/>
              <a:gd name="connsiteX19" fmla="*/ 1396471 w 5818162"/>
              <a:gd name="connsiteY19" fmla="*/ 316235 h 12492680"/>
              <a:gd name="connsiteX20" fmla="*/ 1407665 w 5818162"/>
              <a:gd name="connsiteY20" fmla="*/ 336524 h 12492680"/>
              <a:gd name="connsiteX21" fmla="*/ 1421657 w 5818162"/>
              <a:gd name="connsiteY21" fmla="*/ 355415 h 12492680"/>
              <a:gd name="connsiteX22" fmla="*/ 1438449 w 5818162"/>
              <a:gd name="connsiteY22" fmla="*/ 372906 h 12492680"/>
              <a:gd name="connsiteX23" fmla="*/ 1456639 w 5818162"/>
              <a:gd name="connsiteY23" fmla="*/ 390396 h 12492680"/>
              <a:gd name="connsiteX24" fmla="*/ 1475529 w 5818162"/>
              <a:gd name="connsiteY24" fmla="*/ 405788 h 12492680"/>
              <a:gd name="connsiteX25" fmla="*/ 1498617 w 5818162"/>
              <a:gd name="connsiteY25" fmla="*/ 419781 h 12492680"/>
              <a:gd name="connsiteX26" fmla="*/ 1523104 w 5818162"/>
              <a:gd name="connsiteY26" fmla="*/ 432375 h 12492680"/>
              <a:gd name="connsiteX27" fmla="*/ 1551090 w 5818162"/>
              <a:gd name="connsiteY27" fmla="*/ 442869 h 12492680"/>
              <a:gd name="connsiteX28" fmla="*/ 1581174 w 5818162"/>
              <a:gd name="connsiteY28" fmla="*/ 451265 h 12492680"/>
              <a:gd name="connsiteX29" fmla="*/ 1614757 w 5818162"/>
              <a:gd name="connsiteY29" fmla="*/ 457561 h 12492680"/>
              <a:gd name="connsiteX30" fmla="*/ 1650438 w 5818162"/>
              <a:gd name="connsiteY30" fmla="*/ 461759 h 12492680"/>
              <a:gd name="connsiteX31" fmla="*/ 1690317 w 5818162"/>
              <a:gd name="connsiteY31" fmla="*/ 463158 h 12492680"/>
              <a:gd name="connsiteX32" fmla="*/ 4127844 w 5818162"/>
              <a:gd name="connsiteY32" fmla="*/ 463158 h 12492680"/>
              <a:gd name="connsiteX33" fmla="*/ 4167723 w 5818162"/>
              <a:gd name="connsiteY33" fmla="*/ 461759 h 12492680"/>
              <a:gd name="connsiteX34" fmla="*/ 4203404 w 5818162"/>
              <a:gd name="connsiteY34" fmla="*/ 457561 h 12492680"/>
              <a:gd name="connsiteX35" fmla="*/ 4236987 w 5818162"/>
              <a:gd name="connsiteY35" fmla="*/ 451265 h 12492680"/>
              <a:gd name="connsiteX36" fmla="*/ 4267071 w 5818162"/>
              <a:gd name="connsiteY36" fmla="*/ 442869 h 12492680"/>
              <a:gd name="connsiteX37" fmla="*/ 4295056 w 5818162"/>
              <a:gd name="connsiteY37" fmla="*/ 432375 h 12492680"/>
              <a:gd name="connsiteX38" fmla="*/ 4319544 w 5818162"/>
              <a:gd name="connsiteY38" fmla="*/ 419781 h 12492680"/>
              <a:gd name="connsiteX39" fmla="*/ 4342632 w 5818162"/>
              <a:gd name="connsiteY39" fmla="*/ 405788 h 12492680"/>
              <a:gd name="connsiteX40" fmla="*/ 4361522 w 5818162"/>
              <a:gd name="connsiteY40" fmla="*/ 390396 h 12492680"/>
              <a:gd name="connsiteX41" fmla="*/ 4379712 w 5818162"/>
              <a:gd name="connsiteY41" fmla="*/ 372906 h 12492680"/>
              <a:gd name="connsiteX42" fmla="*/ 4396504 w 5818162"/>
              <a:gd name="connsiteY42" fmla="*/ 355415 h 12492680"/>
              <a:gd name="connsiteX43" fmla="*/ 4410496 w 5818162"/>
              <a:gd name="connsiteY43" fmla="*/ 336524 h 12492680"/>
              <a:gd name="connsiteX44" fmla="*/ 4421690 w 5818162"/>
              <a:gd name="connsiteY44" fmla="*/ 316235 h 12492680"/>
              <a:gd name="connsiteX45" fmla="*/ 4432884 w 5818162"/>
              <a:gd name="connsiteY45" fmla="*/ 295946 h 12492680"/>
              <a:gd name="connsiteX46" fmla="*/ 4441980 w 5818162"/>
              <a:gd name="connsiteY46" fmla="*/ 274957 h 12492680"/>
              <a:gd name="connsiteX47" fmla="*/ 4450376 w 5818162"/>
              <a:gd name="connsiteY47" fmla="*/ 253268 h 12492680"/>
              <a:gd name="connsiteX48" fmla="*/ 4457372 w 5818162"/>
              <a:gd name="connsiteY48" fmla="*/ 230880 h 12492680"/>
              <a:gd name="connsiteX49" fmla="*/ 4463668 w 5818162"/>
              <a:gd name="connsiteY49" fmla="*/ 209891 h 12492680"/>
              <a:gd name="connsiteX50" fmla="*/ 4467866 w 5818162"/>
              <a:gd name="connsiteY50" fmla="*/ 188202 h 12492680"/>
              <a:gd name="connsiteX51" fmla="*/ 4472764 w 5818162"/>
              <a:gd name="connsiteY51" fmla="*/ 167213 h 12492680"/>
              <a:gd name="connsiteX52" fmla="*/ 4476962 w 5818162"/>
              <a:gd name="connsiteY52" fmla="*/ 146923 h 12492680"/>
              <a:gd name="connsiteX53" fmla="*/ 4483958 w 5818162"/>
              <a:gd name="connsiteY53" fmla="*/ 107044 h 12492680"/>
              <a:gd name="connsiteX54" fmla="*/ 4490254 w 5818162"/>
              <a:gd name="connsiteY54" fmla="*/ 72762 h 12492680"/>
              <a:gd name="connsiteX55" fmla="*/ 4493053 w 5818162"/>
              <a:gd name="connsiteY55" fmla="*/ 56670 h 12492680"/>
              <a:gd name="connsiteX56" fmla="*/ 4497251 w 5818162"/>
              <a:gd name="connsiteY56" fmla="*/ 42678 h 12492680"/>
              <a:gd name="connsiteX57" fmla="*/ 4501449 w 5818162"/>
              <a:gd name="connsiteY57" fmla="*/ 30784 h 12492680"/>
              <a:gd name="connsiteX58" fmla="*/ 4507046 w 5818162"/>
              <a:gd name="connsiteY58" fmla="*/ 19590 h 12492680"/>
              <a:gd name="connsiteX59" fmla="*/ 4512643 w 5818162"/>
              <a:gd name="connsiteY59" fmla="*/ 11894 h 12492680"/>
              <a:gd name="connsiteX60" fmla="*/ 4519640 w 5818162"/>
              <a:gd name="connsiteY60" fmla="*/ 5597 h 12492680"/>
              <a:gd name="connsiteX61" fmla="*/ 4527335 w 5818162"/>
              <a:gd name="connsiteY61" fmla="*/ 1399 h 12492680"/>
              <a:gd name="connsiteX62" fmla="*/ 4536430 w 5818162"/>
              <a:gd name="connsiteY62" fmla="*/ 0 h 12492680"/>
              <a:gd name="connsiteX63" fmla="*/ 5124124 w 5818162"/>
              <a:gd name="connsiteY63" fmla="*/ 0 h 12492680"/>
              <a:gd name="connsiteX64" fmla="*/ 5170999 w 5818162"/>
              <a:gd name="connsiteY64" fmla="*/ 700 h 12492680"/>
              <a:gd name="connsiteX65" fmla="*/ 5215776 w 5818162"/>
              <a:gd name="connsiteY65" fmla="*/ 4898 h 12492680"/>
              <a:gd name="connsiteX66" fmla="*/ 5259153 w 5818162"/>
              <a:gd name="connsiteY66" fmla="*/ 10495 h 12492680"/>
              <a:gd name="connsiteX67" fmla="*/ 5299732 w 5818162"/>
              <a:gd name="connsiteY67" fmla="*/ 18191 h 12492680"/>
              <a:gd name="connsiteX68" fmla="*/ 5339611 w 5818162"/>
              <a:gd name="connsiteY68" fmla="*/ 27286 h 12492680"/>
              <a:gd name="connsiteX69" fmla="*/ 5376692 w 5818162"/>
              <a:gd name="connsiteY69" fmla="*/ 39879 h 12492680"/>
              <a:gd name="connsiteX70" fmla="*/ 5413072 w 5818162"/>
              <a:gd name="connsiteY70" fmla="*/ 53172 h 12492680"/>
              <a:gd name="connsiteX71" fmla="*/ 5447354 w 5818162"/>
              <a:gd name="connsiteY71" fmla="*/ 69264 h 12492680"/>
              <a:gd name="connsiteX72" fmla="*/ 5479538 w 5818162"/>
              <a:gd name="connsiteY72" fmla="*/ 86755 h 12492680"/>
              <a:gd name="connsiteX73" fmla="*/ 5510322 w 5818162"/>
              <a:gd name="connsiteY73" fmla="*/ 107044 h 12492680"/>
              <a:gd name="connsiteX74" fmla="*/ 5539706 w 5818162"/>
              <a:gd name="connsiteY74" fmla="*/ 128033 h 12492680"/>
              <a:gd name="connsiteX75" fmla="*/ 5567692 w 5818162"/>
              <a:gd name="connsiteY75" fmla="*/ 151821 h 12492680"/>
              <a:gd name="connsiteX76" fmla="*/ 5593578 w 5818162"/>
              <a:gd name="connsiteY76" fmla="*/ 176308 h 12492680"/>
              <a:gd name="connsiteX77" fmla="*/ 5617366 w 5818162"/>
              <a:gd name="connsiteY77" fmla="*/ 202195 h 12492680"/>
              <a:gd name="connsiteX78" fmla="*/ 5640454 w 5818162"/>
              <a:gd name="connsiteY78" fmla="*/ 230880 h 12492680"/>
              <a:gd name="connsiteX79" fmla="*/ 5662142 w 5818162"/>
              <a:gd name="connsiteY79" fmla="*/ 260964 h 12492680"/>
              <a:gd name="connsiteX80" fmla="*/ 5681732 w 5818162"/>
              <a:gd name="connsiteY80" fmla="*/ 291048 h 12492680"/>
              <a:gd name="connsiteX81" fmla="*/ 5699923 w 5818162"/>
              <a:gd name="connsiteY81" fmla="*/ 323931 h 12492680"/>
              <a:gd name="connsiteX82" fmla="*/ 5717414 w 5818162"/>
              <a:gd name="connsiteY82" fmla="*/ 358213 h 12492680"/>
              <a:gd name="connsiteX83" fmla="*/ 5732106 w 5818162"/>
              <a:gd name="connsiteY83" fmla="*/ 393195 h 12492680"/>
              <a:gd name="connsiteX84" fmla="*/ 5746798 w 5818162"/>
              <a:gd name="connsiteY84" fmla="*/ 430276 h 12492680"/>
              <a:gd name="connsiteX85" fmla="*/ 5759392 w 5818162"/>
              <a:gd name="connsiteY85" fmla="*/ 468755 h 12492680"/>
              <a:gd name="connsiteX86" fmla="*/ 5771286 w 5818162"/>
              <a:gd name="connsiteY86" fmla="*/ 507235 h 12492680"/>
              <a:gd name="connsiteX87" fmla="*/ 5781780 w 5818162"/>
              <a:gd name="connsiteY87" fmla="*/ 547814 h 12492680"/>
              <a:gd name="connsiteX88" fmla="*/ 5790176 w 5818162"/>
              <a:gd name="connsiteY88" fmla="*/ 589792 h 12492680"/>
              <a:gd name="connsiteX89" fmla="*/ 5797872 w 5818162"/>
              <a:gd name="connsiteY89" fmla="*/ 632470 h 12492680"/>
              <a:gd name="connsiteX90" fmla="*/ 5804168 w 5818162"/>
              <a:gd name="connsiteY90" fmla="*/ 675847 h 12492680"/>
              <a:gd name="connsiteX91" fmla="*/ 5809766 w 5818162"/>
              <a:gd name="connsiteY91" fmla="*/ 720624 h 12492680"/>
              <a:gd name="connsiteX92" fmla="*/ 5813264 w 5818162"/>
              <a:gd name="connsiteY92" fmla="*/ 766100 h 12492680"/>
              <a:gd name="connsiteX93" fmla="*/ 5816062 w 5818162"/>
              <a:gd name="connsiteY93" fmla="*/ 812976 h 12492680"/>
              <a:gd name="connsiteX94" fmla="*/ 5817462 w 5818162"/>
              <a:gd name="connsiteY94" fmla="*/ 859851 h 12492680"/>
              <a:gd name="connsiteX95" fmla="*/ 5818162 w 5818162"/>
              <a:gd name="connsiteY95" fmla="*/ 907427 h 12492680"/>
              <a:gd name="connsiteX96" fmla="*/ 5818162 w 5818162"/>
              <a:gd name="connsiteY96" fmla="*/ 11674107 h 12492680"/>
              <a:gd name="connsiteX97" fmla="*/ 5817462 w 5818162"/>
              <a:gd name="connsiteY97" fmla="*/ 11720283 h 12492680"/>
              <a:gd name="connsiteX98" fmla="*/ 5815362 w 5818162"/>
              <a:gd name="connsiteY98" fmla="*/ 11766459 h 12492680"/>
              <a:gd name="connsiteX99" fmla="*/ 5810466 w 5818162"/>
              <a:gd name="connsiteY99" fmla="*/ 11810536 h 12492680"/>
              <a:gd name="connsiteX100" fmla="*/ 5804868 w 5818162"/>
              <a:gd name="connsiteY100" fmla="*/ 11853913 h 12492680"/>
              <a:gd name="connsiteX101" fmla="*/ 5797872 w 5818162"/>
              <a:gd name="connsiteY101" fmla="*/ 11895891 h 12492680"/>
              <a:gd name="connsiteX102" fmla="*/ 5788776 w 5818162"/>
              <a:gd name="connsiteY102" fmla="*/ 11936470 h 12492680"/>
              <a:gd name="connsiteX103" fmla="*/ 5777582 w 5818162"/>
              <a:gd name="connsiteY103" fmla="*/ 11975650 h 12492680"/>
              <a:gd name="connsiteX104" fmla="*/ 5765688 w 5818162"/>
              <a:gd name="connsiteY104" fmla="*/ 12014130 h 12492680"/>
              <a:gd name="connsiteX105" fmla="*/ 5751696 w 5818162"/>
              <a:gd name="connsiteY105" fmla="*/ 12051210 h 12492680"/>
              <a:gd name="connsiteX106" fmla="*/ 5737004 w 5818162"/>
              <a:gd name="connsiteY106" fmla="*/ 12086892 h 12492680"/>
              <a:gd name="connsiteX107" fmla="*/ 5719512 w 5818162"/>
              <a:gd name="connsiteY107" fmla="*/ 12121174 h 12492680"/>
              <a:gd name="connsiteX108" fmla="*/ 5702022 w 5818162"/>
              <a:gd name="connsiteY108" fmla="*/ 12154756 h 12492680"/>
              <a:gd name="connsiteX109" fmla="*/ 5681732 w 5818162"/>
              <a:gd name="connsiteY109" fmla="*/ 12185540 h 12492680"/>
              <a:gd name="connsiteX110" fmla="*/ 5660743 w 5818162"/>
              <a:gd name="connsiteY110" fmla="*/ 12216324 h 12492680"/>
              <a:gd name="connsiteX111" fmla="*/ 5637656 w 5818162"/>
              <a:gd name="connsiteY111" fmla="*/ 12245009 h 12492680"/>
              <a:gd name="connsiteX112" fmla="*/ 5612468 w 5818162"/>
              <a:gd name="connsiteY112" fmla="*/ 12272295 h 12492680"/>
              <a:gd name="connsiteX113" fmla="*/ 5587282 w 5818162"/>
              <a:gd name="connsiteY113" fmla="*/ 12298182 h 12492680"/>
              <a:gd name="connsiteX114" fmla="*/ 5560696 w 5818162"/>
              <a:gd name="connsiteY114" fmla="*/ 12322669 h 12492680"/>
              <a:gd name="connsiteX115" fmla="*/ 5531311 w 5818162"/>
              <a:gd name="connsiteY115" fmla="*/ 12345057 h 12492680"/>
              <a:gd name="connsiteX116" fmla="*/ 5501226 w 5818162"/>
              <a:gd name="connsiteY116" fmla="*/ 12366046 h 12492680"/>
              <a:gd name="connsiteX117" fmla="*/ 5469743 w 5818162"/>
              <a:gd name="connsiteY117" fmla="*/ 12386336 h 12492680"/>
              <a:gd name="connsiteX118" fmla="*/ 5436860 w 5818162"/>
              <a:gd name="connsiteY118" fmla="*/ 12404526 h 12492680"/>
              <a:gd name="connsiteX119" fmla="*/ 5402578 w 5818162"/>
              <a:gd name="connsiteY119" fmla="*/ 12420618 h 12492680"/>
              <a:gd name="connsiteX120" fmla="*/ 5367596 w 5818162"/>
              <a:gd name="connsiteY120" fmla="*/ 12436010 h 12492680"/>
              <a:gd name="connsiteX121" fmla="*/ 5329816 w 5818162"/>
              <a:gd name="connsiteY121" fmla="*/ 12449303 h 12492680"/>
              <a:gd name="connsiteX122" fmla="*/ 5292036 w 5818162"/>
              <a:gd name="connsiteY122" fmla="*/ 12460497 h 12492680"/>
              <a:gd name="connsiteX123" fmla="*/ 5252856 w 5818162"/>
              <a:gd name="connsiteY123" fmla="*/ 12470292 h 12492680"/>
              <a:gd name="connsiteX124" fmla="*/ 5211578 w 5818162"/>
              <a:gd name="connsiteY124" fmla="*/ 12477988 h 12492680"/>
              <a:gd name="connsiteX125" fmla="*/ 5169600 w 5818162"/>
              <a:gd name="connsiteY125" fmla="*/ 12484984 h 12492680"/>
              <a:gd name="connsiteX126" fmla="*/ 5126222 w 5818162"/>
              <a:gd name="connsiteY126" fmla="*/ 12488482 h 12492680"/>
              <a:gd name="connsiteX127" fmla="*/ 5080746 w 5818162"/>
              <a:gd name="connsiteY127" fmla="*/ 12491980 h 12492680"/>
              <a:gd name="connsiteX128" fmla="*/ 5035270 w 5818162"/>
              <a:gd name="connsiteY128" fmla="*/ 12492680 h 12492680"/>
              <a:gd name="connsiteX129" fmla="*/ 782891 w 5818162"/>
              <a:gd name="connsiteY129" fmla="*/ 12492680 h 12492680"/>
              <a:gd name="connsiteX130" fmla="*/ 738814 w 5818162"/>
              <a:gd name="connsiteY130" fmla="*/ 12491980 h 12492680"/>
              <a:gd name="connsiteX131" fmla="*/ 695437 w 5818162"/>
              <a:gd name="connsiteY131" fmla="*/ 12488482 h 12492680"/>
              <a:gd name="connsiteX132" fmla="*/ 653459 w 5818162"/>
              <a:gd name="connsiteY132" fmla="*/ 12484984 h 12492680"/>
              <a:gd name="connsiteX133" fmla="*/ 612880 w 5818162"/>
              <a:gd name="connsiteY133" fmla="*/ 12478687 h 12492680"/>
              <a:gd name="connsiteX134" fmla="*/ 573001 w 5818162"/>
              <a:gd name="connsiteY134" fmla="*/ 12470991 h 12492680"/>
              <a:gd name="connsiteX135" fmla="*/ 533821 w 5818162"/>
              <a:gd name="connsiteY135" fmla="*/ 12461196 h 12492680"/>
              <a:gd name="connsiteX136" fmla="*/ 496741 w 5818162"/>
              <a:gd name="connsiteY136" fmla="*/ 12450002 h 12492680"/>
              <a:gd name="connsiteX137" fmla="*/ 459660 w 5818162"/>
              <a:gd name="connsiteY137" fmla="*/ 12437409 h 12492680"/>
              <a:gd name="connsiteX138" fmla="*/ 424678 w 5818162"/>
              <a:gd name="connsiteY138" fmla="*/ 12423416 h 12492680"/>
              <a:gd name="connsiteX139" fmla="*/ 391096 w 5818162"/>
              <a:gd name="connsiteY139" fmla="*/ 12406625 h 12492680"/>
              <a:gd name="connsiteX140" fmla="*/ 358213 w 5818162"/>
              <a:gd name="connsiteY140" fmla="*/ 12389834 h 12492680"/>
              <a:gd name="connsiteX141" fmla="*/ 326729 w 5818162"/>
              <a:gd name="connsiteY141" fmla="*/ 12370944 h 12492680"/>
              <a:gd name="connsiteX142" fmla="*/ 295945 w 5818162"/>
              <a:gd name="connsiteY142" fmla="*/ 12349954 h 12492680"/>
              <a:gd name="connsiteX143" fmla="*/ 267260 w 5818162"/>
              <a:gd name="connsiteY143" fmla="*/ 12328266 h 12492680"/>
              <a:gd name="connsiteX144" fmla="*/ 239975 w 5818162"/>
              <a:gd name="connsiteY144" fmla="*/ 12304478 h 12492680"/>
              <a:gd name="connsiteX145" fmla="*/ 213389 w 5818162"/>
              <a:gd name="connsiteY145" fmla="*/ 12279291 h 12492680"/>
              <a:gd name="connsiteX146" fmla="*/ 188202 w 5818162"/>
              <a:gd name="connsiteY146" fmla="*/ 12254105 h 12492680"/>
              <a:gd name="connsiteX147" fmla="*/ 164414 w 5818162"/>
              <a:gd name="connsiteY147" fmla="*/ 12225419 h 12492680"/>
              <a:gd name="connsiteX148" fmla="*/ 142725 w 5818162"/>
              <a:gd name="connsiteY148" fmla="*/ 12196734 h 12492680"/>
              <a:gd name="connsiteX149" fmla="*/ 122436 w 5818162"/>
              <a:gd name="connsiteY149" fmla="*/ 12167350 h 12492680"/>
              <a:gd name="connsiteX150" fmla="*/ 102846 w 5818162"/>
              <a:gd name="connsiteY150" fmla="*/ 12135167 h 12492680"/>
              <a:gd name="connsiteX151" fmla="*/ 86055 w 5818162"/>
              <a:gd name="connsiteY151" fmla="*/ 12102284 h 12492680"/>
              <a:gd name="connsiteX152" fmla="*/ 69963 w 5818162"/>
              <a:gd name="connsiteY152" fmla="*/ 12068002 h 12492680"/>
              <a:gd name="connsiteX153" fmla="*/ 55271 w 5818162"/>
              <a:gd name="connsiteY153" fmla="*/ 12033020 h 12492680"/>
              <a:gd name="connsiteX154" fmla="*/ 42678 w 5818162"/>
              <a:gd name="connsiteY154" fmla="*/ 11996639 h 12492680"/>
              <a:gd name="connsiteX155" fmla="*/ 31484 w 5818162"/>
              <a:gd name="connsiteY155" fmla="*/ 11958859 h 12492680"/>
              <a:gd name="connsiteX156" fmla="*/ 21689 w 5818162"/>
              <a:gd name="connsiteY156" fmla="*/ 11920379 h 12492680"/>
              <a:gd name="connsiteX157" fmla="*/ 13993 w 5818162"/>
              <a:gd name="connsiteY157" fmla="*/ 11879800 h 12492680"/>
              <a:gd name="connsiteX158" fmla="*/ 7696 w 5818162"/>
              <a:gd name="connsiteY158" fmla="*/ 11839221 h 12492680"/>
              <a:gd name="connsiteX159" fmla="*/ 4198 w 5818162"/>
              <a:gd name="connsiteY159" fmla="*/ 11797243 h 12492680"/>
              <a:gd name="connsiteX160" fmla="*/ 700 w 5818162"/>
              <a:gd name="connsiteY160" fmla="*/ 11753866 h 12492680"/>
              <a:gd name="connsiteX161" fmla="*/ 0 w 5818162"/>
              <a:gd name="connsiteY161" fmla="*/ 11709789 h 12492680"/>
              <a:gd name="connsiteX162" fmla="*/ 0 w 5818162"/>
              <a:gd name="connsiteY162" fmla="*/ 854254 h 12492680"/>
              <a:gd name="connsiteX163" fmla="*/ 700 w 5818162"/>
              <a:gd name="connsiteY163" fmla="*/ 808778 h 12492680"/>
              <a:gd name="connsiteX164" fmla="*/ 2099 w 5818162"/>
              <a:gd name="connsiteY164" fmla="*/ 764701 h 12492680"/>
              <a:gd name="connsiteX165" fmla="*/ 5597 w 5818162"/>
              <a:gd name="connsiteY165" fmla="*/ 720624 h 12492680"/>
              <a:gd name="connsiteX166" fmla="*/ 10495 w 5818162"/>
              <a:gd name="connsiteY166" fmla="*/ 678646 h 12492680"/>
              <a:gd name="connsiteX167" fmla="*/ 15392 w 5818162"/>
              <a:gd name="connsiteY167" fmla="*/ 636668 h 12492680"/>
              <a:gd name="connsiteX168" fmla="*/ 22388 w 5818162"/>
              <a:gd name="connsiteY168" fmla="*/ 594690 h 12492680"/>
              <a:gd name="connsiteX169" fmla="*/ 31484 w 5818162"/>
              <a:gd name="connsiteY169" fmla="*/ 554811 h 12492680"/>
              <a:gd name="connsiteX170" fmla="*/ 41278 w 5818162"/>
              <a:gd name="connsiteY170" fmla="*/ 516331 h 12492680"/>
              <a:gd name="connsiteX171" fmla="*/ 52473 w 5818162"/>
              <a:gd name="connsiteY171" fmla="*/ 477851 h 12492680"/>
              <a:gd name="connsiteX172" fmla="*/ 65066 w 5818162"/>
              <a:gd name="connsiteY172" fmla="*/ 441470 h 12492680"/>
              <a:gd name="connsiteX173" fmla="*/ 78359 w 5818162"/>
              <a:gd name="connsiteY173" fmla="*/ 405089 h 12492680"/>
              <a:gd name="connsiteX174" fmla="*/ 93751 w 5818162"/>
              <a:gd name="connsiteY174" fmla="*/ 370807 h 12492680"/>
              <a:gd name="connsiteX175" fmla="*/ 109843 w 5818162"/>
              <a:gd name="connsiteY175" fmla="*/ 337224 h 12492680"/>
              <a:gd name="connsiteX176" fmla="*/ 127333 w 5818162"/>
              <a:gd name="connsiteY176" fmla="*/ 305041 h 12492680"/>
              <a:gd name="connsiteX177" fmla="*/ 146923 w 5818162"/>
              <a:gd name="connsiteY177" fmla="*/ 274957 h 12492680"/>
              <a:gd name="connsiteX178" fmla="*/ 167213 w 5818162"/>
              <a:gd name="connsiteY178" fmla="*/ 244872 h 12492680"/>
              <a:gd name="connsiteX179" fmla="*/ 189601 w 5818162"/>
              <a:gd name="connsiteY179" fmla="*/ 216887 h 12492680"/>
              <a:gd name="connsiteX180" fmla="*/ 213389 w 5818162"/>
              <a:gd name="connsiteY180" fmla="*/ 190301 h 12492680"/>
              <a:gd name="connsiteX181" fmla="*/ 237176 w 5818162"/>
              <a:gd name="connsiteY181" fmla="*/ 165814 h 12492680"/>
              <a:gd name="connsiteX182" fmla="*/ 263762 w 5818162"/>
              <a:gd name="connsiteY182" fmla="*/ 142026 h 12492680"/>
              <a:gd name="connsiteX183" fmla="*/ 291748 w 5818162"/>
              <a:gd name="connsiteY183" fmla="*/ 120337 h 12492680"/>
              <a:gd name="connsiteX184" fmla="*/ 321132 w 5818162"/>
              <a:gd name="connsiteY184" fmla="*/ 100748 h 12492680"/>
              <a:gd name="connsiteX185" fmla="*/ 351217 w 5818162"/>
              <a:gd name="connsiteY185" fmla="*/ 81857 h 12492680"/>
              <a:gd name="connsiteX186" fmla="*/ 383400 w 5818162"/>
              <a:gd name="connsiteY186" fmla="*/ 65766 h 12492680"/>
              <a:gd name="connsiteX187" fmla="*/ 416982 w 5818162"/>
              <a:gd name="connsiteY187" fmla="*/ 49674 h 12492680"/>
              <a:gd name="connsiteX188" fmla="*/ 451964 w 5818162"/>
              <a:gd name="connsiteY188" fmla="*/ 37780 h 12492680"/>
              <a:gd name="connsiteX189" fmla="*/ 489045 w 5818162"/>
              <a:gd name="connsiteY189" fmla="*/ 25887 h 12492680"/>
              <a:gd name="connsiteX190" fmla="*/ 526125 w 5818162"/>
              <a:gd name="connsiteY190" fmla="*/ 17491 h 12492680"/>
              <a:gd name="connsiteX191" fmla="*/ 566004 w 5818162"/>
              <a:gd name="connsiteY191" fmla="*/ 9095 h 12492680"/>
              <a:gd name="connsiteX192" fmla="*/ 607283 w 5818162"/>
              <a:gd name="connsiteY192" fmla="*/ 4198 h 12492680"/>
              <a:gd name="connsiteX193" fmla="*/ 649960 w 5818162"/>
              <a:gd name="connsiteY193" fmla="*/ 700 h 12492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</a:cxnLst>
            <a:rect l="l" t="t" r="r" b="b"/>
            <a:pathLst>
              <a:path w="5818162" h="12492680">
                <a:moveTo>
                  <a:pt x="694038" y="0"/>
                </a:moveTo>
                <a:lnTo>
                  <a:pt x="1281730" y="0"/>
                </a:lnTo>
                <a:lnTo>
                  <a:pt x="1290826" y="1399"/>
                </a:lnTo>
                <a:lnTo>
                  <a:pt x="1298522" y="5597"/>
                </a:lnTo>
                <a:lnTo>
                  <a:pt x="1305518" y="11894"/>
                </a:lnTo>
                <a:lnTo>
                  <a:pt x="1311115" y="19590"/>
                </a:lnTo>
                <a:lnTo>
                  <a:pt x="1316712" y="30784"/>
                </a:lnTo>
                <a:lnTo>
                  <a:pt x="1320910" y="42678"/>
                </a:lnTo>
                <a:lnTo>
                  <a:pt x="1325108" y="56670"/>
                </a:lnTo>
                <a:lnTo>
                  <a:pt x="1327906" y="72762"/>
                </a:lnTo>
                <a:lnTo>
                  <a:pt x="1334203" y="107044"/>
                </a:lnTo>
                <a:lnTo>
                  <a:pt x="1341200" y="146923"/>
                </a:lnTo>
                <a:lnTo>
                  <a:pt x="1345397" y="167213"/>
                </a:lnTo>
                <a:lnTo>
                  <a:pt x="1350295" y="188202"/>
                </a:lnTo>
                <a:lnTo>
                  <a:pt x="1354492" y="209891"/>
                </a:lnTo>
                <a:lnTo>
                  <a:pt x="1360789" y="230880"/>
                </a:lnTo>
                <a:lnTo>
                  <a:pt x="1367786" y="253268"/>
                </a:lnTo>
                <a:lnTo>
                  <a:pt x="1376181" y="274957"/>
                </a:lnTo>
                <a:lnTo>
                  <a:pt x="1385276" y="295946"/>
                </a:lnTo>
                <a:lnTo>
                  <a:pt x="1396471" y="316235"/>
                </a:lnTo>
                <a:lnTo>
                  <a:pt x="1407665" y="336524"/>
                </a:lnTo>
                <a:lnTo>
                  <a:pt x="1421657" y="355415"/>
                </a:lnTo>
                <a:lnTo>
                  <a:pt x="1438449" y="372906"/>
                </a:lnTo>
                <a:lnTo>
                  <a:pt x="1456639" y="390396"/>
                </a:lnTo>
                <a:lnTo>
                  <a:pt x="1475529" y="405788"/>
                </a:lnTo>
                <a:lnTo>
                  <a:pt x="1498617" y="419781"/>
                </a:lnTo>
                <a:lnTo>
                  <a:pt x="1523104" y="432375"/>
                </a:lnTo>
                <a:lnTo>
                  <a:pt x="1551090" y="442869"/>
                </a:lnTo>
                <a:lnTo>
                  <a:pt x="1581174" y="451265"/>
                </a:lnTo>
                <a:lnTo>
                  <a:pt x="1614757" y="457561"/>
                </a:lnTo>
                <a:lnTo>
                  <a:pt x="1650438" y="461759"/>
                </a:lnTo>
                <a:lnTo>
                  <a:pt x="1690317" y="463158"/>
                </a:lnTo>
                <a:lnTo>
                  <a:pt x="4127844" y="463158"/>
                </a:lnTo>
                <a:lnTo>
                  <a:pt x="4167723" y="461759"/>
                </a:lnTo>
                <a:lnTo>
                  <a:pt x="4203404" y="457561"/>
                </a:lnTo>
                <a:lnTo>
                  <a:pt x="4236987" y="451265"/>
                </a:lnTo>
                <a:lnTo>
                  <a:pt x="4267071" y="442869"/>
                </a:lnTo>
                <a:lnTo>
                  <a:pt x="4295056" y="432375"/>
                </a:lnTo>
                <a:lnTo>
                  <a:pt x="4319544" y="419781"/>
                </a:lnTo>
                <a:lnTo>
                  <a:pt x="4342632" y="405788"/>
                </a:lnTo>
                <a:lnTo>
                  <a:pt x="4361522" y="390396"/>
                </a:lnTo>
                <a:lnTo>
                  <a:pt x="4379712" y="372906"/>
                </a:lnTo>
                <a:lnTo>
                  <a:pt x="4396504" y="355415"/>
                </a:lnTo>
                <a:lnTo>
                  <a:pt x="4410496" y="336524"/>
                </a:lnTo>
                <a:lnTo>
                  <a:pt x="4421690" y="316235"/>
                </a:lnTo>
                <a:lnTo>
                  <a:pt x="4432884" y="295946"/>
                </a:lnTo>
                <a:lnTo>
                  <a:pt x="4441980" y="274957"/>
                </a:lnTo>
                <a:lnTo>
                  <a:pt x="4450376" y="253268"/>
                </a:lnTo>
                <a:lnTo>
                  <a:pt x="4457372" y="230880"/>
                </a:lnTo>
                <a:lnTo>
                  <a:pt x="4463668" y="209891"/>
                </a:lnTo>
                <a:lnTo>
                  <a:pt x="4467866" y="188202"/>
                </a:lnTo>
                <a:lnTo>
                  <a:pt x="4472764" y="167213"/>
                </a:lnTo>
                <a:lnTo>
                  <a:pt x="4476962" y="146923"/>
                </a:lnTo>
                <a:lnTo>
                  <a:pt x="4483958" y="107044"/>
                </a:lnTo>
                <a:lnTo>
                  <a:pt x="4490254" y="72762"/>
                </a:lnTo>
                <a:lnTo>
                  <a:pt x="4493053" y="56670"/>
                </a:lnTo>
                <a:lnTo>
                  <a:pt x="4497251" y="42678"/>
                </a:lnTo>
                <a:lnTo>
                  <a:pt x="4501449" y="30784"/>
                </a:lnTo>
                <a:lnTo>
                  <a:pt x="4507046" y="19590"/>
                </a:lnTo>
                <a:lnTo>
                  <a:pt x="4512643" y="11894"/>
                </a:lnTo>
                <a:lnTo>
                  <a:pt x="4519640" y="5597"/>
                </a:lnTo>
                <a:lnTo>
                  <a:pt x="4527335" y="1399"/>
                </a:lnTo>
                <a:lnTo>
                  <a:pt x="4536430" y="0"/>
                </a:lnTo>
                <a:lnTo>
                  <a:pt x="5124124" y="0"/>
                </a:lnTo>
                <a:lnTo>
                  <a:pt x="5170999" y="700"/>
                </a:lnTo>
                <a:lnTo>
                  <a:pt x="5215776" y="4898"/>
                </a:lnTo>
                <a:lnTo>
                  <a:pt x="5259153" y="10495"/>
                </a:lnTo>
                <a:lnTo>
                  <a:pt x="5299732" y="18191"/>
                </a:lnTo>
                <a:lnTo>
                  <a:pt x="5339611" y="27286"/>
                </a:lnTo>
                <a:lnTo>
                  <a:pt x="5376692" y="39879"/>
                </a:lnTo>
                <a:lnTo>
                  <a:pt x="5413072" y="53172"/>
                </a:lnTo>
                <a:lnTo>
                  <a:pt x="5447354" y="69264"/>
                </a:lnTo>
                <a:lnTo>
                  <a:pt x="5479538" y="86755"/>
                </a:lnTo>
                <a:lnTo>
                  <a:pt x="5510322" y="107044"/>
                </a:lnTo>
                <a:lnTo>
                  <a:pt x="5539706" y="128033"/>
                </a:lnTo>
                <a:lnTo>
                  <a:pt x="5567692" y="151821"/>
                </a:lnTo>
                <a:lnTo>
                  <a:pt x="5593578" y="176308"/>
                </a:lnTo>
                <a:lnTo>
                  <a:pt x="5617366" y="202195"/>
                </a:lnTo>
                <a:lnTo>
                  <a:pt x="5640454" y="230880"/>
                </a:lnTo>
                <a:lnTo>
                  <a:pt x="5662142" y="260964"/>
                </a:lnTo>
                <a:lnTo>
                  <a:pt x="5681732" y="291048"/>
                </a:lnTo>
                <a:lnTo>
                  <a:pt x="5699923" y="323931"/>
                </a:lnTo>
                <a:lnTo>
                  <a:pt x="5717414" y="358213"/>
                </a:lnTo>
                <a:lnTo>
                  <a:pt x="5732106" y="393195"/>
                </a:lnTo>
                <a:lnTo>
                  <a:pt x="5746798" y="430276"/>
                </a:lnTo>
                <a:lnTo>
                  <a:pt x="5759392" y="468755"/>
                </a:lnTo>
                <a:lnTo>
                  <a:pt x="5771286" y="507235"/>
                </a:lnTo>
                <a:lnTo>
                  <a:pt x="5781780" y="547814"/>
                </a:lnTo>
                <a:lnTo>
                  <a:pt x="5790176" y="589792"/>
                </a:lnTo>
                <a:lnTo>
                  <a:pt x="5797872" y="632470"/>
                </a:lnTo>
                <a:lnTo>
                  <a:pt x="5804168" y="675847"/>
                </a:lnTo>
                <a:lnTo>
                  <a:pt x="5809766" y="720624"/>
                </a:lnTo>
                <a:lnTo>
                  <a:pt x="5813264" y="766100"/>
                </a:lnTo>
                <a:lnTo>
                  <a:pt x="5816062" y="812976"/>
                </a:lnTo>
                <a:lnTo>
                  <a:pt x="5817462" y="859851"/>
                </a:lnTo>
                <a:lnTo>
                  <a:pt x="5818162" y="907427"/>
                </a:lnTo>
                <a:lnTo>
                  <a:pt x="5818162" y="11674107"/>
                </a:lnTo>
                <a:lnTo>
                  <a:pt x="5817462" y="11720283"/>
                </a:lnTo>
                <a:lnTo>
                  <a:pt x="5815362" y="11766459"/>
                </a:lnTo>
                <a:lnTo>
                  <a:pt x="5810466" y="11810536"/>
                </a:lnTo>
                <a:lnTo>
                  <a:pt x="5804868" y="11853913"/>
                </a:lnTo>
                <a:lnTo>
                  <a:pt x="5797872" y="11895891"/>
                </a:lnTo>
                <a:lnTo>
                  <a:pt x="5788776" y="11936470"/>
                </a:lnTo>
                <a:lnTo>
                  <a:pt x="5777582" y="11975650"/>
                </a:lnTo>
                <a:lnTo>
                  <a:pt x="5765688" y="12014130"/>
                </a:lnTo>
                <a:lnTo>
                  <a:pt x="5751696" y="12051210"/>
                </a:lnTo>
                <a:lnTo>
                  <a:pt x="5737004" y="12086892"/>
                </a:lnTo>
                <a:lnTo>
                  <a:pt x="5719512" y="12121174"/>
                </a:lnTo>
                <a:lnTo>
                  <a:pt x="5702022" y="12154756"/>
                </a:lnTo>
                <a:lnTo>
                  <a:pt x="5681732" y="12185540"/>
                </a:lnTo>
                <a:lnTo>
                  <a:pt x="5660743" y="12216324"/>
                </a:lnTo>
                <a:lnTo>
                  <a:pt x="5637656" y="12245009"/>
                </a:lnTo>
                <a:lnTo>
                  <a:pt x="5612468" y="12272295"/>
                </a:lnTo>
                <a:lnTo>
                  <a:pt x="5587282" y="12298182"/>
                </a:lnTo>
                <a:lnTo>
                  <a:pt x="5560696" y="12322669"/>
                </a:lnTo>
                <a:lnTo>
                  <a:pt x="5531311" y="12345057"/>
                </a:lnTo>
                <a:lnTo>
                  <a:pt x="5501226" y="12366046"/>
                </a:lnTo>
                <a:lnTo>
                  <a:pt x="5469743" y="12386336"/>
                </a:lnTo>
                <a:lnTo>
                  <a:pt x="5436860" y="12404526"/>
                </a:lnTo>
                <a:lnTo>
                  <a:pt x="5402578" y="12420618"/>
                </a:lnTo>
                <a:lnTo>
                  <a:pt x="5367596" y="12436010"/>
                </a:lnTo>
                <a:lnTo>
                  <a:pt x="5329816" y="12449303"/>
                </a:lnTo>
                <a:lnTo>
                  <a:pt x="5292036" y="12460497"/>
                </a:lnTo>
                <a:lnTo>
                  <a:pt x="5252856" y="12470292"/>
                </a:lnTo>
                <a:lnTo>
                  <a:pt x="5211578" y="12477988"/>
                </a:lnTo>
                <a:lnTo>
                  <a:pt x="5169600" y="12484984"/>
                </a:lnTo>
                <a:lnTo>
                  <a:pt x="5126222" y="12488482"/>
                </a:lnTo>
                <a:lnTo>
                  <a:pt x="5080746" y="12491980"/>
                </a:lnTo>
                <a:lnTo>
                  <a:pt x="5035270" y="12492680"/>
                </a:lnTo>
                <a:lnTo>
                  <a:pt x="782891" y="12492680"/>
                </a:lnTo>
                <a:lnTo>
                  <a:pt x="738814" y="12491980"/>
                </a:lnTo>
                <a:lnTo>
                  <a:pt x="695437" y="12488482"/>
                </a:lnTo>
                <a:lnTo>
                  <a:pt x="653459" y="12484984"/>
                </a:lnTo>
                <a:lnTo>
                  <a:pt x="612880" y="12478687"/>
                </a:lnTo>
                <a:lnTo>
                  <a:pt x="573001" y="12470991"/>
                </a:lnTo>
                <a:lnTo>
                  <a:pt x="533821" y="12461196"/>
                </a:lnTo>
                <a:lnTo>
                  <a:pt x="496741" y="12450002"/>
                </a:lnTo>
                <a:lnTo>
                  <a:pt x="459660" y="12437409"/>
                </a:lnTo>
                <a:lnTo>
                  <a:pt x="424678" y="12423416"/>
                </a:lnTo>
                <a:lnTo>
                  <a:pt x="391096" y="12406625"/>
                </a:lnTo>
                <a:lnTo>
                  <a:pt x="358213" y="12389834"/>
                </a:lnTo>
                <a:lnTo>
                  <a:pt x="326729" y="12370944"/>
                </a:lnTo>
                <a:lnTo>
                  <a:pt x="295945" y="12349954"/>
                </a:lnTo>
                <a:lnTo>
                  <a:pt x="267260" y="12328266"/>
                </a:lnTo>
                <a:lnTo>
                  <a:pt x="239975" y="12304478"/>
                </a:lnTo>
                <a:lnTo>
                  <a:pt x="213389" y="12279291"/>
                </a:lnTo>
                <a:lnTo>
                  <a:pt x="188202" y="12254105"/>
                </a:lnTo>
                <a:lnTo>
                  <a:pt x="164414" y="12225419"/>
                </a:lnTo>
                <a:lnTo>
                  <a:pt x="142725" y="12196734"/>
                </a:lnTo>
                <a:lnTo>
                  <a:pt x="122436" y="12167350"/>
                </a:lnTo>
                <a:lnTo>
                  <a:pt x="102846" y="12135167"/>
                </a:lnTo>
                <a:lnTo>
                  <a:pt x="86055" y="12102284"/>
                </a:lnTo>
                <a:lnTo>
                  <a:pt x="69963" y="12068002"/>
                </a:lnTo>
                <a:lnTo>
                  <a:pt x="55271" y="12033020"/>
                </a:lnTo>
                <a:lnTo>
                  <a:pt x="42678" y="11996639"/>
                </a:lnTo>
                <a:lnTo>
                  <a:pt x="31484" y="11958859"/>
                </a:lnTo>
                <a:lnTo>
                  <a:pt x="21689" y="11920379"/>
                </a:lnTo>
                <a:lnTo>
                  <a:pt x="13993" y="11879800"/>
                </a:lnTo>
                <a:lnTo>
                  <a:pt x="7696" y="11839221"/>
                </a:lnTo>
                <a:lnTo>
                  <a:pt x="4198" y="11797243"/>
                </a:lnTo>
                <a:lnTo>
                  <a:pt x="700" y="11753866"/>
                </a:lnTo>
                <a:lnTo>
                  <a:pt x="0" y="11709789"/>
                </a:lnTo>
                <a:lnTo>
                  <a:pt x="0" y="854254"/>
                </a:lnTo>
                <a:lnTo>
                  <a:pt x="700" y="808778"/>
                </a:lnTo>
                <a:lnTo>
                  <a:pt x="2099" y="764701"/>
                </a:lnTo>
                <a:lnTo>
                  <a:pt x="5597" y="720624"/>
                </a:lnTo>
                <a:lnTo>
                  <a:pt x="10495" y="678646"/>
                </a:lnTo>
                <a:lnTo>
                  <a:pt x="15392" y="636668"/>
                </a:lnTo>
                <a:lnTo>
                  <a:pt x="22388" y="594690"/>
                </a:lnTo>
                <a:lnTo>
                  <a:pt x="31484" y="554811"/>
                </a:lnTo>
                <a:lnTo>
                  <a:pt x="41278" y="516331"/>
                </a:lnTo>
                <a:lnTo>
                  <a:pt x="52473" y="477851"/>
                </a:lnTo>
                <a:lnTo>
                  <a:pt x="65066" y="441470"/>
                </a:lnTo>
                <a:lnTo>
                  <a:pt x="78359" y="405089"/>
                </a:lnTo>
                <a:lnTo>
                  <a:pt x="93751" y="370807"/>
                </a:lnTo>
                <a:lnTo>
                  <a:pt x="109843" y="337224"/>
                </a:lnTo>
                <a:lnTo>
                  <a:pt x="127333" y="305041"/>
                </a:lnTo>
                <a:lnTo>
                  <a:pt x="146923" y="274957"/>
                </a:lnTo>
                <a:lnTo>
                  <a:pt x="167213" y="244872"/>
                </a:lnTo>
                <a:lnTo>
                  <a:pt x="189601" y="216887"/>
                </a:lnTo>
                <a:lnTo>
                  <a:pt x="213389" y="190301"/>
                </a:lnTo>
                <a:lnTo>
                  <a:pt x="237176" y="165814"/>
                </a:lnTo>
                <a:lnTo>
                  <a:pt x="263762" y="142026"/>
                </a:lnTo>
                <a:lnTo>
                  <a:pt x="291748" y="120337"/>
                </a:lnTo>
                <a:lnTo>
                  <a:pt x="321132" y="100748"/>
                </a:lnTo>
                <a:lnTo>
                  <a:pt x="351217" y="81857"/>
                </a:lnTo>
                <a:lnTo>
                  <a:pt x="383400" y="65766"/>
                </a:lnTo>
                <a:lnTo>
                  <a:pt x="416982" y="49674"/>
                </a:lnTo>
                <a:lnTo>
                  <a:pt x="451964" y="37780"/>
                </a:lnTo>
                <a:lnTo>
                  <a:pt x="489045" y="25887"/>
                </a:lnTo>
                <a:lnTo>
                  <a:pt x="526125" y="17491"/>
                </a:lnTo>
                <a:lnTo>
                  <a:pt x="566004" y="9095"/>
                </a:lnTo>
                <a:lnTo>
                  <a:pt x="607283" y="4198"/>
                </a:lnTo>
                <a:lnTo>
                  <a:pt x="649960" y="700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1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43778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C6D0147-E82D-42BC-5571-2387D7A0541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84800" y="711200"/>
            <a:ext cx="8255000" cy="5207000"/>
          </a:xfrm>
          <a:custGeom>
            <a:avLst/>
            <a:gdLst>
              <a:gd name="connsiteX0" fmla="*/ 0 w 8255000"/>
              <a:gd name="connsiteY0" fmla="*/ 0 h 5207000"/>
              <a:gd name="connsiteX1" fmla="*/ 8255000 w 8255000"/>
              <a:gd name="connsiteY1" fmla="*/ 0 h 5207000"/>
              <a:gd name="connsiteX2" fmla="*/ 8255000 w 8255000"/>
              <a:gd name="connsiteY2" fmla="*/ 5207000 h 5207000"/>
              <a:gd name="connsiteX3" fmla="*/ 0 w 8255000"/>
              <a:gd name="connsiteY3" fmla="*/ 5207000 h 520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55000" h="5207000">
                <a:moveTo>
                  <a:pt x="0" y="0"/>
                </a:moveTo>
                <a:lnTo>
                  <a:pt x="8255000" y="0"/>
                </a:lnTo>
                <a:lnTo>
                  <a:pt x="8255000" y="5207000"/>
                </a:lnTo>
                <a:lnTo>
                  <a:pt x="0" y="5207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968682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0912829-4A41-5792-847E-DD92B55DB11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74984" y="2428875"/>
            <a:ext cx="4547016" cy="2843213"/>
          </a:xfrm>
          <a:custGeom>
            <a:avLst/>
            <a:gdLst>
              <a:gd name="connsiteX0" fmla="*/ 0 w 4547016"/>
              <a:gd name="connsiteY0" fmla="*/ 0 h 2843213"/>
              <a:gd name="connsiteX1" fmla="*/ 4547016 w 4547016"/>
              <a:gd name="connsiteY1" fmla="*/ 0 h 2843213"/>
              <a:gd name="connsiteX2" fmla="*/ 4547016 w 4547016"/>
              <a:gd name="connsiteY2" fmla="*/ 2843213 h 2843213"/>
              <a:gd name="connsiteX3" fmla="*/ 0 w 4547016"/>
              <a:gd name="connsiteY3" fmla="*/ 2843213 h 2843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47016" h="2843213">
                <a:moveTo>
                  <a:pt x="0" y="0"/>
                </a:moveTo>
                <a:lnTo>
                  <a:pt x="4547016" y="0"/>
                </a:lnTo>
                <a:lnTo>
                  <a:pt x="4547016" y="2843213"/>
                </a:lnTo>
                <a:lnTo>
                  <a:pt x="0" y="28432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081290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5B0EE3C-0A52-84FD-8F1C-1E87E89C7CF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3019426" y="800100"/>
            <a:ext cx="8047133" cy="5041900"/>
          </a:xfrm>
          <a:custGeom>
            <a:avLst/>
            <a:gdLst>
              <a:gd name="connsiteX0" fmla="*/ 0 w 8047133"/>
              <a:gd name="connsiteY0" fmla="*/ 0 h 5041900"/>
              <a:gd name="connsiteX1" fmla="*/ 8047133 w 8047133"/>
              <a:gd name="connsiteY1" fmla="*/ 0 h 5041900"/>
              <a:gd name="connsiteX2" fmla="*/ 8047133 w 8047133"/>
              <a:gd name="connsiteY2" fmla="*/ 5041900 h 5041900"/>
              <a:gd name="connsiteX3" fmla="*/ 0 w 8047133"/>
              <a:gd name="connsiteY3" fmla="*/ 5041900 h 5041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047133" h="5041900">
                <a:moveTo>
                  <a:pt x="0" y="0"/>
                </a:moveTo>
                <a:lnTo>
                  <a:pt x="8047133" y="0"/>
                </a:lnTo>
                <a:lnTo>
                  <a:pt x="8047133" y="5041900"/>
                </a:lnTo>
                <a:lnTo>
                  <a:pt x="0" y="50419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121165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F4ED972-4E86-D0FC-BED8-A62AEF57491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10075" y="857251"/>
            <a:ext cx="5524500" cy="3114675"/>
          </a:xfrm>
          <a:custGeom>
            <a:avLst/>
            <a:gdLst>
              <a:gd name="connsiteX0" fmla="*/ 0 w 5524500"/>
              <a:gd name="connsiteY0" fmla="*/ 0 h 3114675"/>
              <a:gd name="connsiteX1" fmla="*/ 5524500 w 5524500"/>
              <a:gd name="connsiteY1" fmla="*/ 0 h 3114675"/>
              <a:gd name="connsiteX2" fmla="*/ 5524500 w 5524500"/>
              <a:gd name="connsiteY2" fmla="*/ 3114675 h 3114675"/>
              <a:gd name="connsiteX3" fmla="*/ 0 w 5524500"/>
              <a:gd name="connsiteY3" fmla="*/ 3114675 h 3114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24500" h="3114675">
                <a:moveTo>
                  <a:pt x="0" y="0"/>
                </a:moveTo>
                <a:lnTo>
                  <a:pt x="5524500" y="0"/>
                </a:lnTo>
                <a:lnTo>
                  <a:pt x="5524500" y="3114675"/>
                </a:lnTo>
                <a:lnTo>
                  <a:pt x="0" y="311467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024616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A882D45-686B-5F3F-DA77-48F6A1CDAEC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89812" y="861061"/>
            <a:ext cx="5547526" cy="3099983"/>
          </a:xfrm>
          <a:custGeom>
            <a:avLst/>
            <a:gdLst>
              <a:gd name="connsiteX0" fmla="*/ 0 w 5547526"/>
              <a:gd name="connsiteY0" fmla="*/ 0 h 3099983"/>
              <a:gd name="connsiteX1" fmla="*/ 5547526 w 5547526"/>
              <a:gd name="connsiteY1" fmla="*/ 0 h 3099983"/>
              <a:gd name="connsiteX2" fmla="*/ 5547526 w 5547526"/>
              <a:gd name="connsiteY2" fmla="*/ 3099983 h 3099983"/>
              <a:gd name="connsiteX3" fmla="*/ 0 w 5547526"/>
              <a:gd name="connsiteY3" fmla="*/ 3099983 h 3099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47526" h="3099983">
                <a:moveTo>
                  <a:pt x="0" y="0"/>
                </a:moveTo>
                <a:lnTo>
                  <a:pt x="5547526" y="0"/>
                </a:lnTo>
                <a:lnTo>
                  <a:pt x="5547526" y="3099983"/>
                </a:lnTo>
                <a:lnTo>
                  <a:pt x="0" y="309998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B2981A-533B-C8F2-0F40-16F7EF08437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251826" y="1519239"/>
            <a:ext cx="4035299" cy="2274165"/>
          </a:xfrm>
          <a:custGeom>
            <a:avLst/>
            <a:gdLst>
              <a:gd name="connsiteX0" fmla="*/ 0 w 4035299"/>
              <a:gd name="connsiteY0" fmla="*/ 0 h 2274165"/>
              <a:gd name="connsiteX1" fmla="*/ 4035299 w 4035299"/>
              <a:gd name="connsiteY1" fmla="*/ 0 h 2274165"/>
              <a:gd name="connsiteX2" fmla="*/ 4035299 w 4035299"/>
              <a:gd name="connsiteY2" fmla="*/ 2274165 h 2274165"/>
              <a:gd name="connsiteX3" fmla="*/ 0 w 4035299"/>
              <a:gd name="connsiteY3" fmla="*/ 2274165 h 2274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5299" h="2274165">
                <a:moveTo>
                  <a:pt x="0" y="0"/>
                </a:moveTo>
                <a:lnTo>
                  <a:pt x="4035299" y="0"/>
                </a:lnTo>
                <a:lnTo>
                  <a:pt x="4035299" y="2274165"/>
                </a:lnTo>
                <a:lnTo>
                  <a:pt x="0" y="227416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400525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41F34BA-7B6E-C700-C501-F78A93C82A5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4181" y="1016000"/>
            <a:ext cx="7342910" cy="4156364"/>
          </a:xfrm>
          <a:custGeom>
            <a:avLst/>
            <a:gdLst>
              <a:gd name="connsiteX0" fmla="*/ 0 w 7342910"/>
              <a:gd name="connsiteY0" fmla="*/ 0 h 4156364"/>
              <a:gd name="connsiteX1" fmla="*/ 7342910 w 7342910"/>
              <a:gd name="connsiteY1" fmla="*/ 0 h 4156364"/>
              <a:gd name="connsiteX2" fmla="*/ 7342910 w 7342910"/>
              <a:gd name="connsiteY2" fmla="*/ 4156364 h 4156364"/>
              <a:gd name="connsiteX3" fmla="*/ 0 w 7342910"/>
              <a:gd name="connsiteY3" fmla="*/ 4156364 h 4156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42910" h="4156364">
                <a:moveTo>
                  <a:pt x="0" y="0"/>
                </a:moveTo>
                <a:lnTo>
                  <a:pt x="7342910" y="0"/>
                </a:lnTo>
                <a:lnTo>
                  <a:pt x="7342910" y="4156364"/>
                </a:lnTo>
                <a:lnTo>
                  <a:pt x="0" y="41563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475511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9F4574E-8532-2B54-6719-A1A425AE17A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020888" y="1956810"/>
            <a:ext cx="2408961" cy="2950169"/>
          </a:xfrm>
          <a:custGeom>
            <a:avLst/>
            <a:gdLst>
              <a:gd name="connsiteX0" fmla="*/ 612888 w 2408961"/>
              <a:gd name="connsiteY0" fmla="*/ 0 h 2950169"/>
              <a:gd name="connsiteX1" fmla="*/ 1796073 w 2408961"/>
              <a:gd name="connsiteY1" fmla="*/ 0 h 2950169"/>
              <a:gd name="connsiteX2" fmla="*/ 2408961 w 2408961"/>
              <a:gd name="connsiteY2" fmla="*/ 612888 h 2950169"/>
              <a:gd name="connsiteX3" fmla="*/ 2408961 w 2408961"/>
              <a:gd name="connsiteY3" fmla="*/ 2337281 h 2950169"/>
              <a:gd name="connsiteX4" fmla="*/ 1796073 w 2408961"/>
              <a:gd name="connsiteY4" fmla="*/ 2950169 h 2950169"/>
              <a:gd name="connsiteX5" fmla="*/ 612888 w 2408961"/>
              <a:gd name="connsiteY5" fmla="*/ 2950169 h 2950169"/>
              <a:gd name="connsiteX6" fmla="*/ 0 w 2408961"/>
              <a:gd name="connsiteY6" fmla="*/ 2337281 h 2950169"/>
              <a:gd name="connsiteX7" fmla="*/ 0 w 2408961"/>
              <a:gd name="connsiteY7" fmla="*/ 612888 h 2950169"/>
              <a:gd name="connsiteX8" fmla="*/ 612888 w 2408961"/>
              <a:gd name="connsiteY8" fmla="*/ 0 h 2950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08961" h="2950169">
                <a:moveTo>
                  <a:pt x="612888" y="0"/>
                </a:moveTo>
                <a:lnTo>
                  <a:pt x="1796073" y="0"/>
                </a:lnTo>
                <a:cubicBezTo>
                  <a:pt x="2134562" y="0"/>
                  <a:pt x="2408961" y="274399"/>
                  <a:pt x="2408961" y="612888"/>
                </a:cubicBezTo>
                <a:lnTo>
                  <a:pt x="2408961" y="2337281"/>
                </a:lnTo>
                <a:cubicBezTo>
                  <a:pt x="2408961" y="2675770"/>
                  <a:pt x="2134562" y="2950169"/>
                  <a:pt x="1796073" y="2950169"/>
                </a:cubicBezTo>
                <a:lnTo>
                  <a:pt x="612888" y="2950169"/>
                </a:lnTo>
                <a:cubicBezTo>
                  <a:pt x="274399" y="2950169"/>
                  <a:pt x="0" y="2675770"/>
                  <a:pt x="0" y="2337281"/>
                </a:cubicBezTo>
                <a:lnTo>
                  <a:pt x="0" y="612888"/>
                </a:lnTo>
                <a:cubicBezTo>
                  <a:pt x="0" y="274399"/>
                  <a:pt x="274399" y="0"/>
                  <a:pt x="61288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06833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78D84AC-A6E1-F91B-3CCF-0B26AE0EABF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58416" y="2305050"/>
            <a:ext cx="1783784" cy="2203450"/>
          </a:xfrm>
          <a:custGeom>
            <a:avLst/>
            <a:gdLst>
              <a:gd name="connsiteX0" fmla="*/ 383977 w 1783784"/>
              <a:gd name="connsiteY0" fmla="*/ 0 h 2203450"/>
              <a:gd name="connsiteX1" fmla="*/ 1399807 w 1783784"/>
              <a:gd name="connsiteY1" fmla="*/ 0 h 2203450"/>
              <a:gd name="connsiteX2" fmla="*/ 1783784 w 1783784"/>
              <a:gd name="connsiteY2" fmla="*/ 383977 h 2203450"/>
              <a:gd name="connsiteX3" fmla="*/ 1783784 w 1783784"/>
              <a:gd name="connsiteY3" fmla="*/ 1819473 h 2203450"/>
              <a:gd name="connsiteX4" fmla="*/ 1399807 w 1783784"/>
              <a:gd name="connsiteY4" fmla="*/ 2203450 h 2203450"/>
              <a:gd name="connsiteX5" fmla="*/ 383977 w 1783784"/>
              <a:gd name="connsiteY5" fmla="*/ 2203450 h 2203450"/>
              <a:gd name="connsiteX6" fmla="*/ 0 w 1783784"/>
              <a:gd name="connsiteY6" fmla="*/ 1819473 h 2203450"/>
              <a:gd name="connsiteX7" fmla="*/ 0 w 1783784"/>
              <a:gd name="connsiteY7" fmla="*/ 383977 h 2203450"/>
              <a:gd name="connsiteX8" fmla="*/ 383977 w 1783784"/>
              <a:gd name="connsiteY8" fmla="*/ 0 h 2203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83784" h="2203450">
                <a:moveTo>
                  <a:pt x="383977" y="0"/>
                </a:moveTo>
                <a:lnTo>
                  <a:pt x="1399807" y="0"/>
                </a:lnTo>
                <a:cubicBezTo>
                  <a:pt x="1611872" y="0"/>
                  <a:pt x="1783784" y="171912"/>
                  <a:pt x="1783784" y="383977"/>
                </a:cubicBezTo>
                <a:lnTo>
                  <a:pt x="1783784" y="1819473"/>
                </a:lnTo>
                <a:cubicBezTo>
                  <a:pt x="1783784" y="2031538"/>
                  <a:pt x="1611872" y="2203450"/>
                  <a:pt x="1399807" y="2203450"/>
                </a:cubicBezTo>
                <a:lnTo>
                  <a:pt x="383977" y="2203450"/>
                </a:lnTo>
                <a:cubicBezTo>
                  <a:pt x="171912" y="2203450"/>
                  <a:pt x="0" y="2031538"/>
                  <a:pt x="0" y="1819473"/>
                </a:cubicBezTo>
                <a:lnTo>
                  <a:pt x="0" y="383977"/>
                </a:lnTo>
                <a:cubicBezTo>
                  <a:pt x="0" y="171912"/>
                  <a:pt x="171912" y="0"/>
                  <a:pt x="38397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90D6453-A87D-BAF6-F993-4BF9D589DFF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620816" y="2381250"/>
            <a:ext cx="1696472" cy="2082800"/>
          </a:xfrm>
          <a:custGeom>
            <a:avLst/>
            <a:gdLst>
              <a:gd name="connsiteX0" fmla="*/ 449005 w 1696472"/>
              <a:gd name="connsiteY0" fmla="*/ 0 h 2082800"/>
              <a:gd name="connsiteX1" fmla="*/ 1247467 w 1696472"/>
              <a:gd name="connsiteY1" fmla="*/ 0 h 2082800"/>
              <a:gd name="connsiteX2" fmla="*/ 1696472 w 1696472"/>
              <a:gd name="connsiteY2" fmla="*/ 449005 h 2082800"/>
              <a:gd name="connsiteX3" fmla="*/ 1696472 w 1696472"/>
              <a:gd name="connsiteY3" fmla="*/ 1633795 h 2082800"/>
              <a:gd name="connsiteX4" fmla="*/ 1247467 w 1696472"/>
              <a:gd name="connsiteY4" fmla="*/ 2082800 h 2082800"/>
              <a:gd name="connsiteX5" fmla="*/ 449005 w 1696472"/>
              <a:gd name="connsiteY5" fmla="*/ 2082800 h 2082800"/>
              <a:gd name="connsiteX6" fmla="*/ 0 w 1696472"/>
              <a:gd name="connsiteY6" fmla="*/ 1633795 h 2082800"/>
              <a:gd name="connsiteX7" fmla="*/ 0 w 1696472"/>
              <a:gd name="connsiteY7" fmla="*/ 449005 h 2082800"/>
              <a:gd name="connsiteX8" fmla="*/ 449005 w 1696472"/>
              <a:gd name="connsiteY8" fmla="*/ 0 h 208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96472" h="2082800">
                <a:moveTo>
                  <a:pt x="449005" y="0"/>
                </a:moveTo>
                <a:lnTo>
                  <a:pt x="1247467" y="0"/>
                </a:lnTo>
                <a:cubicBezTo>
                  <a:pt x="1495446" y="0"/>
                  <a:pt x="1696472" y="201026"/>
                  <a:pt x="1696472" y="449005"/>
                </a:cubicBezTo>
                <a:lnTo>
                  <a:pt x="1696472" y="1633795"/>
                </a:lnTo>
                <a:cubicBezTo>
                  <a:pt x="1696472" y="1881774"/>
                  <a:pt x="1495446" y="2082800"/>
                  <a:pt x="1247467" y="2082800"/>
                </a:cubicBezTo>
                <a:lnTo>
                  <a:pt x="449005" y="2082800"/>
                </a:lnTo>
                <a:cubicBezTo>
                  <a:pt x="201026" y="2082800"/>
                  <a:pt x="0" y="1881774"/>
                  <a:pt x="0" y="1633795"/>
                </a:cubicBezTo>
                <a:lnTo>
                  <a:pt x="0" y="449005"/>
                </a:lnTo>
                <a:cubicBezTo>
                  <a:pt x="0" y="201026"/>
                  <a:pt x="201026" y="0"/>
                  <a:pt x="44900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304054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5310D32-1CE2-0228-9FA4-620BAE9A85E2}"/>
              </a:ext>
            </a:extLst>
          </p:cNvPr>
          <p:cNvSpPr/>
          <p:nvPr userDrawn="1"/>
        </p:nvSpPr>
        <p:spPr>
          <a:xfrm>
            <a:off x="289560" y="261620"/>
            <a:ext cx="11612880" cy="63347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954420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5310D32-1CE2-0228-9FA4-620BAE9A85E2}"/>
              </a:ext>
            </a:extLst>
          </p:cNvPr>
          <p:cNvSpPr/>
          <p:nvPr userDrawn="1"/>
        </p:nvSpPr>
        <p:spPr>
          <a:xfrm>
            <a:off x="289560" y="261620"/>
            <a:ext cx="11612880" cy="633476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402331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5310D32-1CE2-0228-9FA4-620BAE9A85E2}"/>
              </a:ext>
            </a:extLst>
          </p:cNvPr>
          <p:cNvSpPr/>
          <p:nvPr userDrawn="1"/>
        </p:nvSpPr>
        <p:spPr>
          <a:xfrm>
            <a:off x="289560" y="261620"/>
            <a:ext cx="11612880" cy="633476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1935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 MockUp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Рисунок 3"/>
          <p:cNvSpPr>
            <a:spLocks noGrp="1"/>
          </p:cNvSpPr>
          <p:nvPr>
            <p:ph type="pic" sz="quarter" idx="20"/>
          </p:nvPr>
        </p:nvSpPr>
        <p:spPr>
          <a:xfrm>
            <a:off x="5375537" y="-4037366"/>
            <a:ext cx="2817271" cy="6048276"/>
          </a:xfrm>
          <a:custGeom>
            <a:avLst/>
            <a:gdLst>
              <a:gd name="connsiteX0" fmla="*/ 504100 w 4225907"/>
              <a:gd name="connsiteY0" fmla="*/ 0 h 9073814"/>
              <a:gd name="connsiteX1" fmla="*/ 930960 w 4225907"/>
              <a:gd name="connsiteY1" fmla="*/ 0 h 9073814"/>
              <a:gd name="connsiteX2" fmla="*/ 937566 w 4225907"/>
              <a:gd name="connsiteY2" fmla="*/ 1017 h 9073814"/>
              <a:gd name="connsiteX3" fmla="*/ 943156 w 4225907"/>
              <a:gd name="connsiteY3" fmla="*/ 4066 h 9073814"/>
              <a:gd name="connsiteX4" fmla="*/ 948237 w 4225907"/>
              <a:gd name="connsiteY4" fmla="*/ 8640 h 9073814"/>
              <a:gd name="connsiteX5" fmla="*/ 952303 w 4225907"/>
              <a:gd name="connsiteY5" fmla="*/ 14229 h 9073814"/>
              <a:gd name="connsiteX6" fmla="*/ 956368 w 4225907"/>
              <a:gd name="connsiteY6" fmla="*/ 22360 h 9073814"/>
              <a:gd name="connsiteX7" fmla="*/ 959417 w 4225907"/>
              <a:gd name="connsiteY7" fmla="*/ 30999 h 9073814"/>
              <a:gd name="connsiteX8" fmla="*/ 962466 w 4225907"/>
              <a:gd name="connsiteY8" fmla="*/ 41162 h 9073814"/>
              <a:gd name="connsiteX9" fmla="*/ 964499 w 4225907"/>
              <a:gd name="connsiteY9" fmla="*/ 52850 h 9073814"/>
              <a:gd name="connsiteX10" fmla="*/ 969072 w 4225907"/>
              <a:gd name="connsiteY10" fmla="*/ 77750 h 9073814"/>
              <a:gd name="connsiteX11" fmla="*/ 974154 w 4225907"/>
              <a:gd name="connsiteY11" fmla="*/ 106716 h 9073814"/>
              <a:gd name="connsiteX12" fmla="*/ 977203 w 4225907"/>
              <a:gd name="connsiteY12" fmla="*/ 121452 h 9073814"/>
              <a:gd name="connsiteX13" fmla="*/ 980760 w 4225907"/>
              <a:gd name="connsiteY13" fmla="*/ 136697 h 9073814"/>
              <a:gd name="connsiteX14" fmla="*/ 983809 w 4225907"/>
              <a:gd name="connsiteY14" fmla="*/ 152451 h 9073814"/>
              <a:gd name="connsiteX15" fmla="*/ 988382 w 4225907"/>
              <a:gd name="connsiteY15" fmla="*/ 167695 h 9073814"/>
              <a:gd name="connsiteX16" fmla="*/ 993464 w 4225907"/>
              <a:gd name="connsiteY16" fmla="*/ 183957 h 9073814"/>
              <a:gd name="connsiteX17" fmla="*/ 999562 w 4225907"/>
              <a:gd name="connsiteY17" fmla="*/ 199710 h 9073814"/>
              <a:gd name="connsiteX18" fmla="*/ 1006168 w 4225907"/>
              <a:gd name="connsiteY18" fmla="*/ 214954 h 9073814"/>
              <a:gd name="connsiteX19" fmla="*/ 1014299 w 4225907"/>
              <a:gd name="connsiteY19" fmla="*/ 229691 h 9073814"/>
              <a:gd name="connsiteX20" fmla="*/ 1022430 w 4225907"/>
              <a:gd name="connsiteY20" fmla="*/ 244429 h 9073814"/>
              <a:gd name="connsiteX21" fmla="*/ 1032593 w 4225907"/>
              <a:gd name="connsiteY21" fmla="*/ 258149 h 9073814"/>
              <a:gd name="connsiteX22" fmla="*/ 1044789 w 4225907"/>
              <a:gd name="connsiteY22" fmla="*/ 270853 h 9073814"/>
              <a:gd name="connsiteX23" fmla="*/ 1058001 w 4225907"/>
              <a:gd name="connsiteY23" fmla="*/ 283557 h 9073814"/>
              <a:gd name="connsiteX24" fmla="*/ 1071722 w 4225907"/>
              <a:gd name="connsiteY24" fmla="*/ 294737 h 9073814"/>
              <a:gd name="connsiteX25" fmla="*/ 1088491 w 4225907"/>
              <a:gd name="connsiteY25" fmla="*/ 304900 h 9073814"/>
              <a:gd name="connsiteX26" fmla="*/ 1106277 w 4225907"/>
              <a:gd name="connsiteY26" fmla="*/ 314047 h 9073814"/>
              <a:gd name="connsiteX27" fmla="*/ 1126604 w 4225907"/>
              <a:gd name="connsiteY27" fmla="*/ 321670 h 9073814"/>
              <a:gd name="connsiteX28" fmla="*/ 1148455 w 4225907"/>
              <a:gd name="connsiteY28" fmla="*/ 327768 h 9073814"/>
              <a:gd name="connsiteX29" fmla="*/ 1172847 w 4225907"/>
              <a:gd name="connsiteY29" fmla="*/ 332341 h 9073814"/>
              <a:gd name="connsiteX30" fmla="*/ 1198763 w 4225907"/>
              <a:gd name="connsiteY30" fmla="*/ 335390 h 9073814"/>
              <a:gd name="connsiteX31" fmla="*/ 1227729 w 4225907"/>
              <a:gd name="connsiteY31" fmla="*/ 336406 h 9073814"/>
              <a:gd name="connsiteX32" fmla="*/ 2998178 w 4225907"/>
              <a:gd name="connsiteY32" fmla="*/ 336406 h 9073814"/>
              <a:gd name="connsiteX33" fmla="*/ 3027144 w 4225907"/>
              <a:gd name="connsiteY33" fmla="*/ 335390 h 9073814"/>
              <a:gd name="connsiteX34" fmla="*/ 3053060 w 4225907"/>
              <a:gd name="connsiteY34" fmla="*/ 332341 h 9073814"/>
              <a:gd name="connsiteX35" fmla="*/ 3077452 w 4225907"/>
              <a:gd name="connsiteY35" fmla="*/ 327768 h 9073814"/>
              <a:gd name="connsiteX36" fmla="*/ 3099303 w 4225907"/>
              <a:gd name="connsiteY36" fmla="*/ 321670 h 9073814"/>
              <a:gd name="connsiteX37" fmla="*/ 3119630 w 4225907"/>
              <a:gd name="connsiteY37" fmla="*/ 314047 h 9073814"/>
              <a:gd name="connsiteX38" fmla="*/ 3137416 w 4225907"/>
              <a:gd name="connsiteY38" fmla="*/ 304900 h 9073814"/>
              <a:gd name="connsiteX39" fmla="*/ 3154185 w 4225907"/>
              <a:gd name="connsiteY39" fmla="*/ 294737 h 9073814"/>
              <a:gd name="connsiteX40" fmla="*/ 3167906 w 4225907"/>
              <a:gd name="connsiteY40" fmla="*/ 283557 h 9073814"/>
              <a:gd name="connsiteX41" fmla="*/ 3181118 w 4225907"/>
              <a:gd name="connsiteY41" fmla="*/ 270853 h 9073814"/>
              <a:gd name="connsiteX42" fmla="*/ 3193314 w 4225907"/>
              <a:gd name="connsiteY42" fmla="*/ 258149 h 9073814"/>
              <a:gd name="connsiteX43" fmla="*/ 3203477 w 4225907"/>
              <a:gd name="connsiteY43" fmla="*/ 244429 h 9073814"/>
              <a:gd name="connsiteX44" fmla="*/ 3211608 w 4225907"/>
              <a:gd name="connsiteY44" fmla="*/ 229691 h 9073814"/>
              <a:gd name="connsiteX45" fmla="*/ 3219739 w 4225907"/>
              <a:gd name="connsiteY45" fmla="*/ 214954 h 9073814"/>
              <a:gd name="connsiteX46" fmla="*/ 3226345 w 4225907"/>
              <a:gd name="connsiteY46" fmla="*/ 199710 h 9073814"/>
              <a:gd name="connsiteX47" fmla="*/ 3232443 w 4225907"/>
              <a:gd name="connsiteY47" fmla="*/ 183957 h 9073814"/>
              <a:gd name="connsiteX48" fmla="*/ 3237524 w 4225907"/>
              <a:gd name="connsiteY48" fmla="*/ 167695 h 9073814"/>
              <a:gd name="connsiteX49" fmla="*/ 3242098 w 4225907"/>
              <a:gd name="connsiteY49" fmla="*/ 152451 h 9073814"/>
              <a:gd name="connsiteX50" fmla="*/ 3245147 w 4225907"/>
              <a:gd name="connsiteY50" fmla="*/ 136697 h 9073814"/>
              <a:gd name="connsiteX51" fmla="*/ 3248704 w 4225907"/>
              <a:gd name="connsiteY51" fmla="*/ 121452 h 9073814"/>
              <a:gd name="connsiteX52" fmla="*/ 3251753 w 4225907"/>
              <a:gd name="connsiteY52" fmla="*/ 106716 h 9073814"/>
              <a:gd name="connsiteX53" fmla="*/ 3256835 w 4225907"/>
              <a:gd name="connsiteY53" fmla="*/ 77750 h 9073814"/>
              <a:gd name="connsiteX54" fmla="*/ 3261408 w 4225907"/>
              <a:gd name="connsiteY54" fmla="*/ 52850 h 9073814"/>
              <a:gd name="connsiteX55" fmla="*/ 3263441 w 4225907"/>
              <a:gd name="connsiteY55" fmla="*/ 41162 h 9073814"/>
              <a:gd name="connsiteX56" fmla="*/ 3266490 w 4225907"/>
              <a:gd name="connsiteY56" fmla="*/ 30999 h 9073814"/>
              <a:gd name="connsiteX57" fmla="*/ 3269539 w 4225907"/>
              <a:gd name="connsiteY57" fmla="*/ 22360 h 9073814"/>
              <a:gd name="connsiteX58" fmla="*/ 3273604 w 4225907"/>
              <a:gd name="connsiteY58" fmla="*/ 14229 h 9073814"/>
              <a:gd name="connsiteX59" fmla="*/ 3277670 w 4225907"/>
              <a:gd name="connsiteY59" fmla="*/ 8640 h 9073814"/>
              <a:gd name="connsiteX60" fmla="*/ 3282751 w 4225907"/>
              <a:gd name="connsiteY60" fmla="*/ 4066 h 9073814"/>
              <a:gd name="connsiteX61" fmla="*/ 3288341 w 4225907"/>
              <a:gd name="connsiteY61" fmla="*/ 1017 h 9073814"/>
              <a:gd name="connsiteX62" fmla="*/ 3294947 w 4225907"/>
              <a:gd name="connsiteY62" fmla="*/ 0 h 9073814"/>
              <a:gd name="connsiteX63" fmla="*/ 3721806 w 4225907"/>
              <a:gd name="connsiteY63" fmla="*/ 0 h 9073814"/>
              <a:gd name="connsiteX64" fmla="*/ 3755854 w 4225907"/>
              <a:gd name="connsiteY64" fmla="*/ 508 h 9073814"/>
              <a:gd name="connsiteX65" fmla="*/ 3788376 w 4225907"/>
              <a:gd name="connsiteY65" fmla="*/ 3557 h 9073814"/>
              <a:gd name="connsiteX66" fmla="*/ 3819882 w 4225907"/>
              <a:gd name="connsiteY66" fmla="*/ 7623 h 9073814"/>
              <a:gd name="connsiteX67" fmla="*/ 3849356 w 4225907"/>
              <a:gd name="connsiteY67" fmla="*/ 13213 h 9073814"/>
              <a:gd name="connsiteX68" fmla="*/ 3878322 w 4225907"/>
              <a:gd name="connsiteY68" fmla="*/ 19819 h 9073814"/>
              <a:gd name="connsiteX69" fmla="*/ 3905254 w 4225907"/>
              <a:gd name="connsiteY69" fmla="*/ 28966 h 9073814"/>
              <a:gd name="connsiteX70" fmla="*/ 3931679 w 4225907"/>
              <a:gd name="connsiteY70" fmla="*/ 38621 h 9073814"/>
              <a:gd name="connsiteX71" fmla="*/ 3956579 w 4225907"/>
              <a:gd name="connsiteY71" fmla="*/ 50309 h 9073814"/>
              <a:gd name="connsiteX72" fmla="*/ 3979955 w 4225907"/>
              <a:gd name="connsiteY72" fmla="*/ 63013 h 9073814"/>
              <a:gd name="connsiteX73" fmla="*/ 4002314 w 4225907"/>
              <a:gd name="connsiteY73" fmla="*/ 77750 h 9073814"/>
              <a:gd name="connsiteX74" fmla="*/ 4023657 w 4225907"/>
              <a:gd name="connsiteY74" fmla="*/ 92995 h 9073814"/>
              <a:gd name="connsiteX75" fmla="*/ 4043984 w 4225907"/>
              <a:gd name="connsiteY75" fmla="*/ 110272 h 9073814"/>
              <a:gd name="connsiteX76" fmla="*/ 4062786 w 4225907"/>
              <a:gd name="connsiteY76" fmla="*/ 128058 h 9073814"/>
              <a:gd name="connsiteX77" fmla="*/ 4080064 w 4225907"/>
              <a:gd name="connsiteY77" fmla="*/ 146861 h 9073814"/>
              <a:gd name="connsiteX78" fmla="*/ 4096833 w 4225907"/>
              <a:gd name="connsiteY78" fmla="*/ 167695 h 9073814"/>
              <a:gd name="connsiteX79" fmla="*/ 4112586 w 4225907"/>
              <a:gd name="connsiteY79" fmla="*/ 189546 h 9073814"/>
              <a:gd name="connsiteX80" fmla="*/ 4126815 w 4225907"/>
              <a:gd name="connsiteY80" fmla="*/ 211398 h 9073814"/>
              <a:gd name="connsiteX81" fmla="*/ 4140027 w 4225907"/>
              <a:gd name="connsiteY81" fmla="*/ 235282 h 9073814"/>
              <a:gd name="connsiteX82" fmla="*/ 4152731 w 4225907"/>
              <a:gd name="connsiteY82" fmla="*/ 260181 h 9073814"/>
              <a:gd name="connsiteX83" fmla="*/ 4163402 w 4225907"/>
              <a:gd name="connsiteY83" fmla="*/ 285590 h 9073814"/>
              <a:gd name="connsiteX84" fmla="*/ 4174074 w 4225907"/>
              <a:gd name="connsiteY84" fmla="*/ 312522 h 9073814"/>
              <a:gd name="connsiteX85" fmla="*/ 4183221 w 4225907"/>
              <a:gd name="connsiteY85" fmla="*/ 340471 h 9073814"/>
              <a:gd name="connsiteX86" fmla="*/ 4191860 w 4225907"/>
              <a:gd name="connsiteY86" fmla="*/ 368421 h 9073814"/>
              <a:gd name="connsiteX87" fmla="*/ 4199482 w 4225907"/>
              <a:gd name="connsiteY87" fmla="*/ 397894 h 9073814"/>
              <a:gd name="connsiteX88" fmla="*/ 4205580 w 4225907"/>
              <a:gd name="connsiteY88" fmla="*/ 428384 h 9073814"/>
              <a:gd name="connsiteX89" fmla="*/ 4211170 w 4225907"/>
              <a:gd name="connsiteY89" fmla="*/ 459383 h 9073814"/>
              <a:gd name="connsiteX90" fmla="*/ 4215744 w 4225907"/>
              <a:gd name="connsiteY90" fmla="*/ 490889 h 9073814"/>
              <a:gd name="connsiteX91" fmla="*/ 4219809 w 4225907"/>
              <a:gd name="connsiteY91" fmla="*/ 523411 h 9073814"/>
              <a:gd name="connsiteX92" fmla="*/ 4222350 w 4225907"/>
              <a:gd name="connsiteY92" fmla="*/ 556442 h 9073814"/>
              <a:gd name="connsiteX93" fmla="*/ 4224382 w 4225907"/>
              <a:gd name="connsiteY93" fmla="*/ 590490 h 9073814"/>
              <a:gd name="connsiteX94" fmla="*/ 4225399 w 4225907"/>
              <a:gd name="connsiteY94" fmla="*/ 624536 h 9073814"/>
              <a:gd name="connsiteX95" fmla="*/ 4225907 w 4225907"/>
              <a:gd name="connsiteY95" fmla="*/ 659092 h 9073814"/>
              <a:gd name="connsiteX96" fmla="*/ 4225907 w 4225907"/>
              <a:gd name="connsiteY96" fmla="*/ 8479260 h 9073814"/>
              <a:gd name="connsiteX97" fmla="*/ 4225399 w 4225907"/>
              <a:gd name="connsiteY97" fmla="*/ 8512799 h 9073814"/>
              <a:gd name="connsiteX98" fmla="*/ 4223874 w 4225907"/>
              <a:gd name="connsiteY98" fmla="*/ 8546338 h 9073814"/>
              <a:gd name="connsiteX99" fmla="*/ 4220317 w 4225907"/>
              <a:gd name="connsiteY99" fmla="*/ 8578352 h 9073814"/>
              <a:gd name="connsiteX100" fmla="*/ 4216252 w 4225907"/>
              <a:gd name="connsiteY100" fmla="*/ 8609858 h 9073814"/>
              <a:gd name="connsiteX101" fmla="*/ 4211170 w 4225907"/>
              <a:gd name="connsiteY101" fmla="*/ 8640348 h 9073814"/>
              <a:gd name="connsiteX102" fmla="*/ 4204564 w 4225907"/>
              <a:gd name="connsiteY102" fmla="*/ 8669822 h 9073814"/>
              <a:gd name="connsiteX103" fmla="*/ 4196434 w 4225907"/>
              <a:gd name="connsiteY103" fmla="*/ 8698279 h 9073814"/>
              <a:gd name="connsiteX104" fmla="*/ 4187794 w 4225907"/>
              <a:gd name="connsiteY104" fmla="*/ 8726228 h 9073814"/>
              <a:gd name="connsiteX105" fmla="*/ 4177631 w 4225907"/>
              <a:gd name="connsiteY105" fmla="*/ 8753161 h 9073814"/>
              <a:gd name="connsiteX106" fmla="*/ 4166960 w 4225907"/>
              <a:gd name="connsiteY106" fmla="*/ 8779078 h 9073814"/>
              <a:gd name="connsiteX107" fmla="*/ 4154256 w 4225907"/>
              <a:gd name="connsiteY107" fmla="*/ 8803978 h 9073814"/>
              <a:gd name="connsiteX108" fmla="*/ 4141552 w 4225907"/>
              <a:gd name="connsiteY108" fmla="*/ 8828370 h 9073814"/>
              <a:gd name="connsiteX109" fmla="*/ 4126815 w 4225907"/>
              <a:gd name="connsiteY109" fmla="*/ 8850729 h 9073814"/>
              <a:gd name="connsiteX110" fmla="*/ 4111570 w 4225907"/>
              <a:gd name="connsiteY110" fmla="*/ 8873088 h 9073814"/>
              <a:gd name="connsiteX111" fmla="*/ 4094800 w 4225907"/>
              <a:gd name="connsiteY111" fmla="*/ 8893923 h 9073814"/>
              <a:gd name="connsiteX112" fmla="*/ 4076506 w 4225907"/>
              <a:gd name="connsiteY112" fmla="*/ 8913742 h 9073814"/>
              <a:gd name="connsiteX113" fmla="*/ 4058212 w 4225907"/>
              <a:gd name="connsiteY113" fmla="*/ 8932544 h 9073814"/>
              <a:gd name="connsiteX114" fmla="*/ 4038902 w 4225907"/>
              <a:gd name="connsiteY114" fmla="*/ 8950330 h 9073814"/>
              <a:gd name="connsiteX115" fmla="*/ 4017559 w 4225907"/>
              <a:gd name="connsiteY115" fmla="*/ 8966591 h 9073814"/>
              <a:gd name="connsiteX116" fmla="*/ 3995708 w 4225907"/>
              <a:gd name="connsiteY116" fmla="*/ 8981836 h 9073814"/>
              <a:gd name="connsiteX117" fmla="*/ 3972840 w 4225907"/>
              <a:gd name="connsiteY117" fmla="*/ 8996573 h 9073814"/>
              <a:gd name="connsiteX118" fmla="*/ 3948957 w 4225907"/>
              <a:gd name="connsiteY118" fmla="*/ 9009785 h 9073814"/>
              <a:gd name="connsiteX119" fmla="*/ 3924056 w 4225907"/>
              <a:gd name="connsiteY119" fmla="*/ 9021473 h 9073814"/>
              <a:gd name="connsiteX120" fmla="*/ 3898648 w 4225907"/>
              <a:gd name="connsiteY120" fmla="*/ 9032653 h 9073814"/>
              <a:gd name="connsiteX121" fmla="*/ 3871207 w 4225907"/>
              <a:gd name="connsiteY121" fmla="*/ 9042308 h 9073814"/>
              <a:gd name="connsiteX122" fmla="*/ 3843766 w 4225907"/>
              <a:gd name="connsiteY122" fmla="*/ 9050438 h 9073814"/>
              <a:gd name="connsiteX123" fmla="*/ 3815309 w 4225907"/>
              <a:gd name="connsiteY123" fmla="*/ 9057553 h 9073814"/>
              <a:gd name="connsiteX124" fmla="*/ 3785327 w 4225907"/>
              <a:gd name="connsiteY124" fmla="*/ 9063143 h 9073814"/>
              <a:gd name="connsiteX125" fmla="*/ 3754837 w 4225907"/>
              <a:gd name="connsiteY125" fmla="*/ 9068224 h 9073814"/>
              <a:gd name="connsiteX126" fmla="*/ 3723331 w 4225907"/>
              <a:gd name="connsiteY126" fmla="*/ 9070765 h 9073814"/>
              <a:gd name="connsiteX127" fmla="*/ 3690300 w 4225907"/>
              <a:gd name="connsiteY127" fmla="*/ 9073306 h 9073814"/>
              <a:gd name="connsiteX128" fmla="*/ 3657270 w 4225907"/>
              <a:gd name="connsiteY128" fmla="*/ 9073814 h 9073814"/>
              <a:gd name="connsiteX129" fmla="*/ 568638 w 4225907"/>
              <a:gd name="connsiteY129" fmla="*/ 9073814 h 9073814"/>
              <a:gd name="connsiteX130" fmla="*/ 536623 w 4225907"/>
              <a:gd name="connsiteY130" fmla="*/ 9073306 h 9073814"/>
              <a:gd name="connsiteX131" fmla="*/ 505117 w 4225907"/>
              <a:gd name="connsiteY131" fmla="*/ 9070765 h 9073814"/>
              <a:gd name="connsiteX132" fmla="*/ 474627 w 4225907"/>
              <a:gd name="connsiteY132" fmla="*/ 9068224 h 9073814"/>
              <a:gd name="connsiteX133" fmla="*/ 445153 w 4225907"/>
              <a:gd name="connsiteY133" fmla="*/ 9063651 h 9073814"/>
              <a:gd name="connsiteX134" fmla="*/ 416188 w 4225907"/>
              <a:gd name="connsiteY134" fmla="*/ 9058061 h 9073814"/>
              <a:gd name="connsiteX135" fmla="*/ 387731 w 4225907"/>
              <a:gd name="connsiteY135" fmla="*/ 9050947 h 9073814"/>
              <a:gd name="connsiteX136" fmla="*/ 360798 w 4225907"/>
              <a:gd name="connsiteY136" fmla="*/ 9042816 h 9073814"/>
              <a:gd name="connsiteX137" fmla="*/ 333865 w 4225907"/>
              <a:gd name="connsiteY137" fmla="*/ 9033669 h 9073814"/>
              <a:gd name="connsiteX138" fmla="*/ 308456 w 4225907"/>
              <a:gd name="connsiteY138" fmla="*/ 9023506 h 9073814"/>
              <a:gd name="connsiteX139" fmla="*/ 284064 w 4225907"/>
              <a:gd name="connsiteY139" fmla="*/ 9011310 h 9073814"/>
              <a:gd name="connsiteX140" fmla="*/ 260181 w 4225907"/>
              <a:gd name="connsiteY140" fmla="*/ 8999114 h 9073814"/>
              <a:gd name="connsiteX141" fmla="*/ 237313 w 4225907"/>
              <a:gd name="connsiteY141" fmla="*/ 8985393 h 9073814"/>
              <a:gd name="connsiteX142" fmla="*/ 214954 w 4225907"/>
              <a:gd name="connsiteY142" fmla="*/ 8970148 h 9073814"/>
              <a:gd name="connsiteX143" fmla="*/ 194119 w 4225907"/>
              <a:gd name="connsiteY143" fmla="*/ 8954395 h 9073814"/>
              <a:gd name="connsiteX144" fmla="*/ 174301 w 4225907"/>
              <a:gd name="connsiteY144" fmla="*/ 8937117 h 9073814"/>
              <a:gd name="connsiteX145" fmla="*/ 154990 w 4225907"/>
              <a:gd name="connsiteY145" fmla="*/ 8918823 h 9073814"/>
              <a:gd name="connsiteX146" fmla="*/ 136696 w 4225907"/>
              <a:gd name="connsiteY146" fmla="*/ 8900529 h 9073814"/>
              <a:gd name="connsiteX147" fmla="*/ 119419 w 4225907"/>
              <a:gd name="connsiteY147" fmla="*/ 8879695 h 9073814"/>
              <a:gd name="connsiteX148" fmla="*/ 103666 w 4225907"/>
              <a:gd name="connsiteY148" fmla="*/ 8858860 h 9073814"/>
              <a:gd name="connsiteX149" fmla="*/ 88929 w 4225907"/>
              <a:gd name="connsiteY149" fmla="*/ 8837517 h 9073814"/>
              <a:gd name="connsiteX150" fmla="*/ 74700 w 4225907"/>
              <a:gd name="connsiteY150" fmla="*/ 8814141 h 9073814"/>
              <a:gd name="connsiteX151" fmla="*/ 62504 w 4225907"/>
              <a:gd name="connsiteY151" fmla="*/ 8790257 h 9073814"/>
              <a:gd name="connsiteX152" fmla="*/ 50816 w 4225907"/>
              <a:gd name="connsiteY152" fmla="*/ 8765357 h 9073814"/>
              <a:gd name="connsiteX153" fmla="*/ 40145 w 4225907"/>
              <a:gd name="connsiteY153" fmla="*/ 8739949 h 9073814"/>
              <a:gd name="connsiteX154" fmla="*/ 30998 w 4225907"/>
              <a:gd name="connsiteY154" fmla="*/ 8713524 h 9073814"/>
              <a:gd name="connsiteX155" fmla="*/ 22867 w 4225907"/>
              <a:gd name="connsiteY155" fmla="*/ 8686083 h 9073814"/>
              <a:gd name="connsiteX156" fmla="*/ 15753 w 4225907"/>
              <a:gd name="connsiteY156" fmla="*/ 8658134 h 9073814"/>
              <a:gd name="connsiteX157" fmla="*/ 10163 w 4225907"/>
              <a:gd name="connsiteY157" fmla="*/ 8628661 h 9073814"/>
              <a:gd name="connsiteX158" fmla="*/ 5590 w 4225907"/>
              <a:gd name="connsiteY158" fmla="*/ 8599187 h 9073814"/>
              <a:gd name="connsiteX159" fmla="*/ 3049 w 4225907"/>
              <a:gd name="connsiteY159" fmla="*/ 8568697 h 9073814"/>
              <a:gd name="connsiteX160" fmla="*/ 508 w 4225907"/>
              <a:gd name="connsiteY160" fmla="*/ 8537191 h 9073814"/>
              <a:gd name="connsiteX161" fmla="*/ 0 w 4225907"/>
              <a:gd name="connsiteY161" fmla="*/ 8505176 h 9073814"/>
              <a:gd name="connsiteX162" fmla="*/ 0 w 4225907"/>
              <a:gd name="connsiteY162" fmla="*/ 620472 h 9073814"/>
              <a:gd name="connsiteX163" fmla="*/ 508 w 4225907"/>
              <a:gd name="connsiteY163" fmla="*/ 587441 h 9073814"/>
              <a:gd name="connsiteX164" fmla="*/ 1524 w 4225907"/>
              <a:gd name="connsiteY164" fmla="*/ 555426 h 9073814"/>
              <a:gd name="connsiteX165" fmla="*/ 4065 w 4225907"/>
              <a:gd name="connsiteY165" fmla="*/ 523411 h 9073814"/>
              <a:gd name="connsiteX166" fmla="*/ 7622 w 4225907"/>
              <a:gd name="connsiteY166" fmla="*/ 492922 h 9073814"/>
              <a:gd name="connsiteX167" fmla="*/ 11179 w 4225907"/>
              <a:gd name="connsiteY167" fmla="*/ 462432 h 9073814"/>
              <a:gd name="connsiteX168" fmla="*/ 16261 w 4225907"/>
              <a:gd name="connsiteY168" fmla="*/ 431942 h 9073814"/>
              <a:gd name="connsiteX169" fmla="*/ 22867 w 4225907"/>
              <a:gd name="connsiteY169" fmla="*/ 402976 h 9073814"/>
              <a:gd name="connsiteX170" fmla="*/ 29982 w 4225907"/>
              <a:gd name="connsiteY170" fmla="*/ 375027 h 9073814"/>
              <a:gd name="connsiteX171" fmla="*/ 38112 w 4225907"/>
              <a:gd name="connsiteY171" fmla="*/ 347078 h 9073814"/>
              <a:gd name="connsiteX172" fmla="*/ 47259 w 4225907"/>
              <a:gd name="connsiteY172" fmla="*/ 320654 h 9073814"/>
              <a:gd name="connsiteX173" fmla="*/ 56914 w 4225907"/>
              <a:gd name="connsiteY173" fmla="*/ 294228 h 9073814"/>
              <a:gd name="connsiteX174" fmla="*/ 68094 w 4225907"/>
              <a:gd name="connsiteY174" fmla="*/ 269329 h 9073814"/>
              <a:gd name="connsiteX175" fmla="*/ 79782 w 4225907"/>
              <a:gd name="connsiteY175" fmla="*/ 244936 h 9073814"/>
              <a:gd name="connsiteX176" fmla="*/ 92486 w 4225907"/>
              <a:gd name="connsiteY176" fmla="*/ 221561 h 9073814"/>
              <a:gd name="connsiteX177" fmla="*/ 106715 w 4225907"/>
              <a:gd name="connsiteY177" fmla="*/ 199710 h 9073814"/>
              <a:gd name="connsiteX178" fmla="*/ 121451 w 4225907"/>
              <a:gd name="connsiteY178" fmla="*/ 177859 h 9073814"/>
              <a:gd name="connsiteX179" fmla="*/ 137713 w 4225907"/>
              <a:gd name="connsiteY179" fmla="*/ 157532 h 9073814"/>
              <a:gd name="connsiteX180" fmla="*/ 154990 w 4225907"/>
              <a:gd name="connsiteY180" fmla="*/ 138221 h 9073814"/>
              <a:gd name="connsiteX181" fmla="*/ 172268 w 4225907"/>
              <a:gd name="connsiteY181" fmla="*/ 120436 h 9073814"/>
              <a:gd name="connsiteX182" fmla="*/ 191578 w 4225907"/>
              <a:gd name="connsiteY182" fmla="*/ 103158 h 9073814"/>
              <a:gd name="connsiteX183" fmla="*/ 211905 w 4225907"/>
              <a:gd name="connsiteY183" fmla="*/ 87405 h 9073814"/>
              <a:gd name="connsiteX184" fmla="*/ 233248 w 4225907"/>
              <a:gd name="connsiteY184" fmla="*/ 73177 h 9073814"/>
              <a:gd name="connsiteX185" fmla="*/ 255099 w 4225907"/>
              <a:gd name="connsiteY185" fmla="*/ 59456 h 9073814"/>
              <a:gd name="connsiteX186" fmla="*/ 278475 w 4225907"/>
              <a:gd name="connsiteY186" fmla="*/ 47768 h 9073814"/>
              <a:gd name="connsiteX187" fmla="*/ 302867 w 4225907"/>
              <a:gd name="connsiteY187" fmla="*/ 36081 h 9073814"/>
              <a:gd name="connsiteX188" fmla="*/ 328275 w 4225907"/>
              <a:gd name="connsiteY188" fmla="*/ 27441 h 9073814"/>
              <a:gd name="connsiteX189" fmla="*/ 355208 w 4225907"/>
              <a:gd name="connsiteY189" fmla="*/ 18802 h 9073814"/>
              <a:gd name="connsiteX190" fmla="*/ 382141 w 4225907"/>
              <a:gd name="connsiteY190" fmla="*/ 12704 h 9073814"/>
              <a:gd name="connsiteX191" fmla="*/ 411106 w 4225907"/>
              <a:gd name="connsiteY191" fmla="*/ 6606 h 9073814"/>
              <a:gd name="connsiteX192" fmla="*/ 441088 w 4225907"/>
              <a:gd name="connsiteY192" fmla="*/ 3049 h 9073814"/>
              <a:gd name="connsiteX193" fmla="*/ 472086 w 4225907"/>
              <a:gd name="connsiteY193" fmla="*/ 508 h 9073814"/>
              <a:gd name="connsiteX194" fmla="*/ 504100 w 4225907"/>
              <a:gd name="connsiteY194" fmla="*/ 0 h 9073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4225907" h="9073814">
                <a:moveTo>
                  <a:pt x="504100" y="0"/>
                </a:moveTo>
                <a:lnTo>
                  <a:pt x="930960" y="0"/>
                </a:lnTo>
                <a:lnTo>
                  <a:pt x="937566" y="1017"/>
                </a:lnTo>
                <a:lnTo>
                  <a:pt x="943156" y="4066"/>
                </a:lnTo>
                <a:lnTo>
                  <a:pt x="948237" y="8640"/>
                </a:lnTo>
                <a:lnTo>
                  <a:pt x="952303" y="14229"/>
                </a:lnTo>
                <a:lnTo>
                  <a:pt x="956368" y="22360"/>
                </a:lnTo>
                <a:lnTo>
                  <a:pt x="959417" y="30999"/>
                </a:lnTo>
                <a:lnTo>
                  <a:pt x="962466" y="41162"/>
                </a:lnTo>
                <a:lnTo>
                  <a:pt x="964499" y="52850"/>
                </a:lnTo>
                <a:lnTo>
                  <a:pt x="969072" y="77750"/>
                </a:lnTo>
                <a:lnTo>
                  <a:pt x="974154" y="106716"/>
                </a:lnTo>
                <a:lnTo>
                  <a:pt x="977203" y="121452"/>
                </a:lnTo>
                <a:lnTo>
                  <a:pt x="980760" y="136697"/>
                </a:lnTo>
                <a:lnTo>
                  <a:pt x="983809" y="152451"/>
                </a:lnTo>
                <a:lnTo>
                  <a:pt x="988382" y="167695"/>
                </a:lnTo>
                <a:lnTo>
                  <a:pt x="993464" y="183957"/>
                </a:lnTo>
                <a:lnTo>
                  <a:pt x="999562" y="199710"/>
                </a:lnTo>
                <a:lnTo>
                  <a:pt x="1006168" y="214954"/>
                </a:lnTo>
                <a:lnTo>
                  <a:pt x="1014299" y="229691"/>
                </a:lnTo>
                <a:lnTo>
                  <a:pt x="1022430" y="244429"/>
                </a:lnTo>
                <a:lnTo>
                  <a:pt x="1032593" y="258149"/>
                </a:lnTo>
                <a:lnTo>
                  <a:pt x="1044789" y="270853"/>
                </a:lnTo>
                <a:lnTo>
                  <a:pt x="1058001" y="283557"/>
                </a:lnTo>
                <a:lnTo>
                  <a:pt x="1071722" y="294737"/>
                </a:lnTo>
                <a:lnTo>
                  <a:pt x="1088491" y="304900"/>
                </a:lnTo>
                <a:lnTo>
                  <a:pt x="1106277" y="314047"/>
                </a:lnTo>
                <a:lnTo>
                  <a:pt x="1126604" y="321670"/>
                </a:lnTo>
                <a:lnTo>
                  <a:pt x="1148455" y="327768"/>
                </a:lnTo>
                <a:lnTo>
                  <a:pt x="1172847" y="332341"/>
                </a:lnTo>
                <a:lnTo>
                  <a:pt x="1198763" y="335390"/>
                </a:lnTo>
                <a:lnTo>
                  <a:pt x="1227729" y="336406"/>
                </a:lnTo>
                <a:lnTo>
                  <a:pt x="2998178" y="336406"/>
                </a:lnTo>
                <a:lnTo>
                  <a:pt x="3027144" y="335390"/>
                </a:lnTo>
                <a:lnTo>
                  <a:pt x="3053060" y="332341"/>
                </a:lnTo>
                <a:lnTo>
                  <a:pt x="3077452" y="327768"/>
                </a:lnTo>
                <a:lnTo>
                  <a:pt x="3099303" y="321670"/>
                </a:lnTo>
                <a:lnTo>
                  <a:pt x="3119630" y="314047"/>
                </a:lnTo>
                <a:lnTo>
                  <a:pt x="3137416" y="304900"/>
                </a:lnTo>
                <a:lnTo>
                  <a:pt x="3154185" y="294737"/>
                </a:lnTo>
                <a:lnTo>
                  <a:pt x="3167906" y="283557"/>
                </a:lnTo>
                <a:lnTo>
                  <a:pt x="3181118" y="270853"/>
                </a:lnTo>
                <a:lnTo>
                  <a:pt x="3193314" y="258149"/>
                </a:lnTo>
                <a:lnTo>
                  <a:pt x="3203477" y="244429"/>
                </a:lnTo>
                <a:lnTo>
                  <a:pt x="3211608" y="229691"/>
                </a:lnTo>
                <a:lnTo>
                  <a:pt x="3219739" y="214954"/>
                </a:lnTo>
                <a:lnTo>
                  <a:pt x="3226345" y="199710"/>
                </a:lnTo>
                <a:lnTo>
                  <a:pt x="3232443" y="183957"/>
                </a:lnTo>
                <a:lnTo>
                  <a:pt x="3237524" y="167695"/>
                </a:lnTo>
                <a:lnTo>
                  <a:pt x="3242098" y="152451"/>
                </a:lnTo>
                <a:lnTo>
                  <a:pt x="3245147" y="136697"/>
                </a:lnTo>
                <a:lnTo>
                  <a:pt x="3248704" y="121452"/>
                </a:lnTo>
                <a:lnTo>
                  <a:pt x="3251753" y="106716"/>
                </a:lnTo>
                <a:lnTo>
                  <a:pt x="3256835" y="77750"/>
                </a:lnTo>
                <a:lnTo>
                  <a:pt x="3261408" y="52850"/>
                </a:lnTo>
                <a:lnTo>
                  <a:pt x="3263441" y="41162"/>
                </a:lnTo>
                <a:lnTo>
                  <a:pt x="3266490" y="30999"/>
                </a:lnTo>
                <a:lnTo>
                  <a:pt x="3269539" y="22360"/>
                </a:lnTo>
                <a:lnTo>
                  <a:pt x="3273604" y="14229"/>
                </a:lnTo>
                <a:lnTo>
                  <a:pt x="3277670" y="8640"/>
                </a:lnTo>
                <a:lnTo>
                  <a:pt x="3282751" y="4066"/>
                </a:lnTo>
                <a:lnTo>
                  <a:pt x="3288341" y="1017"/>
                </a:lnTo>
                <a:lnTo>
                  <a:pt x="3294947" y="0"/>
                </a:lnTo>
                <a:lnTo>
                  <a:pt x="3721806" y="0"/>
                </a:lnTo>
                <a:lnTo>
                  <a:pt x="3755854" y="508"/>
                </a:lnTo>
                <a:lnTo>
                  <a:pt x="3788376" y="3557"/>
                </a:lnTo>
                <a:lnTo>
                  <a:pt x="3819882" y="7623"/>
                </a:lnTo>
                <a:lnTo>
                  <a:pt x="3849356" y="13213"/>
                </a:lnTo>
                <a:lnTo>
                  <a:pt x="3878322" y="19819"/>
                </a:lnTo>
                <a:lnTo>
                  <a:pt x="3905254" y="28966"/>
                </a:lnTo>
                <a:lnTo>
                  <a:pt x="3931679" y="38621"/>
                </a:lnTo>
                <a:lnTo>
                  <a:pt x="3956579" y="50309"/>
                </a:lnTo>
                <a:lnTo>
                  <a:pt x="3979955" y="63013"/>
                </a:lnTo>
                <a:lnTo>
                  <a:pt x="4002314" y="77750"/>
                </a:lnTo>
                <a:lnTo>
                  <a:pt x="4023657" y="92995"/>
                </a:lnTo>
                <a:lnTo>
                  <a:pt x="4043984" y="110272"/>
                </a:lnTo>
                <a:lnTo>
                  <a:pt x="4062786" y="128058"/>
                </a:lnTo>
                <a:lnTo>
                  <a:pt x="4080064" y="146861"/>
                </a:lnTo>
                <a:lnTo>
                  <a:pt x="4096833" y="167695"/>
                </a:lnTo>
                <a:lnTo>
                  <a:pt x="4112586" y="189546"/>
                </a:lnTo>
                <a:lnTo>
                  <a:pt x="4126815" y="211398"/>
                </a:lnTo>
                <a:lnTo>
                  <a:pt x="4140027" y="235282"/>
                </a:lnTo>
                <a:lnTo>
                  <a:pt x="4152731" y="260181"/>
                </a:lnTo>
                <a:lnTo>
                  <a:pt x="4163402" y="285590"/>
                </a:lnTo>
                <a:lnTo>
                  <a:pt x="4174074" y="312522"/>
                </a:lnTo>
                <a:lnTo>
                  <a:pt x="4183221" y="340471"/>
                </a:lnTo>
                <a:lnTo>
                  <a:pt x="4191860" y="368421"/>
                </a:lnTo>
                <a:lnTo>
                  <a:pt x="4199482" y="397894"/>
                </a:lnTo>
                <a:lnTo>
                  <a:pt x="4205580" y="428384"/>
                </a:lnTo>
                <a:lnTo>
                  <a:pt x="4211170" y="459383"/>
                </a:lnTo>
                <a:lnTo>
                  <a:pt x="4215744" y="490889"/>
                </a:lnTo>
                <a:lnTo>
                  <a:pt x="4219809" y="523411"/>
                </a:lnTo>
                <a:lnTo>
                  <a:pt x="4222350" y="556442"/>
                </a:lnTo>
                <a:lnTo>
                  <a:pt x="4224382" y="590490"/>
                </a:lnTo>
                <a:lnTo>
                  <a:pt x="4225399" y="624536"/>
                </a:lnTo>
                <a:lnTo>
                  <a:pt x="4225907" y="659092"/>
                </a:lnTo>
                <a:lnTo>
                  <a:pt x="4225907" y="8479260"/>
                </a:lnTo>
                <a:lnTo>
                  <a:pt x="4225399" y="8512799"/>
                </a:lnTo>
                <a:lnTo>
                  <a:pt x="4223874" y="8546338"/>
                </a:lnTo>
                <a:lnTo>
                  <a:pt x="4220317" y="8578352"/>
                </a:lnTo>
                <a:lnTo>
                  <a:pt x="4216252" y="8609858"/>
                </a:lnTo>
                <a:lnTo>
                  <a:pt x="4211170" y="8640348"/>
                </a:lnTo>
                <a:lnTo>
                  <a:pt x="4204564" y="8669822"/>
                </a:lnTo>
                <a:lnTo>
                  <a:pt x="4196434" y="8698279"/>
                </a:lnTo>
                <a:lnTo>
                  <a:pt x="4187794" y="8726228"/>
                </a:lnTo>
                <a:lnTo>
                  <a:pt x="4177631" y="8753161"/>
                </a:lnTo>
                <a:lnTo>
                  <a:pt x="4166960" y="8779078"/>
                </a:lnTo>
                <a:lnTo>
                  <a:pt x="4154256" y="8803978"/>
                </a:lnTo>
                <a:lnTo>
                  <a:pt x="4141552" y="8828370"/>
                </a:lnTo>
                <a:lnTo>
                  <a:pt x="4126815" y="8850729"/>
                </a:lnTo>
                <a:lnTo>
                  <a:pt x="4111570" y="8873088"/>
                </a:lnTo>
                <a:lnTo>
                  <a:pt x="4094800" y="8893923"/>
                </a:lnTo>
                <a:lnTo>
                  <a:pt x="4076506" y="8913742"/>
                </a:lnTo>
                <a:lnTo>
                  <a:pt x="4058212" y="8932544"/>
                </a:lnTo>
                <a:lnTo>
                  <a:pt x="4038902" y="8950330"/>
                </a:lnTo>
                <a:lnTo>
                  <a:pt x="4017559" y="8966591"/>
                </a:lnTo>
                <a:lnTo>
                  <a:pt x="3995708" y="8981836"/>
                </a:lnTo>
                <a:lnTo>
                  <a:pt x="3972840" y="8996573"/>
                </a:lnTo>
                <a:lnTo>
                  <a:pt x="3948957" y="9009785"/>
                </a:lnTo>
                <a:lnTo>
                  <a:pt x="3924056" y="9021473"/>
                </a:lnTo>
                <a:lnTo>
                  <a:pt x="3898648" y="9032653"/>
                </a:lnTo>
                <a:lnTo>
                  <a:pt x="3871207" y="9042308"/>
                </a:lnTo>
                <a:lnTo>
                  <a:pt x="3843766" y="9050438"/>
                </a:lnTo>
                <a:lnTo>
                  <a:pt x="3815309" y="9057553"/>
                </a:lnTo>
                <a:lnTo>
                  <a:pt x="3785327" y="9063143"/>
                </a:lnTo>
                <a:lnTo>
                  <a:pt x="3754837" y="9068224"/>
                </a:lnTo>
                <a:lnTo>
                  <a:pt x="3723331" y="9070765"/>
                </a:lnTo>
                <a:lnTo>
                  <a:pt x="3690300" y="9073306"/>
                </a:lnTo>
                <a:lnTo>
                  <a:pt x="3657270" y="9073814"/>
                </a:lnTo>
                <a:lnTo>
                  <a:pt x="568638" y="9073814"/>
                </a:lnTo>
                <a:lnTo>
                  <a:pt x="536623" y="9073306"/>
                </a:lnTo>
                <a:lnTo>
                  <a:pt x="505117" y="9070765"/>
                </a:lnTo>
                <a:lnTo>
                  <a:pt x="474627" y="9068224"/>
                </a:lnTo>
                <a:lnTo>
                  <a:pt x="445153" y="9063651"/>
                </a:lnTo>
                <a:lnTo>
                  <a:pt x="416188" y="9058061"/>
                </a:lnTo>
                <a:lnTo>
                  <a:pt x="387731" y="9050947"/>
                </a:lnTo>
                <a:lnTo>
                  <a:pt x="360798" y="9042816"/>
                </a:lnTo>
                <a:lnTo>
                  <a:pt x="333865" y="9033669"/>
                </a:lnTo>
                <a:lnTo>
                  <a:pt x="308456" y="9023506"/>
                </a:lnTo>
                <a:lnTo>
                  <a:pt x="284064" y="9011310"/>
                </a:lnTo>
                <a:lnTo>
                  <a:pt x="260181" y="8999114"/>
                </a:lnTo>
                <a:lnTo>
                  <a:pt x="237313" y="8985393"/>
                </a:lnTo>
                <a:lnTo>
                  <a:pt x="214954" y="8970148"/>
                </a:lnTo>
                <a:lnTo>
                  <a:pt x="194119" y="8954395"/>
                </a:lnTo>
                <a:lnTo>
                  <a:pt x="174301" y="8937117"/>
                </a:lnTo>
                <a:lnTo>
                  <a:pt x="154990" y="8918823"/>
                </a:lnTo>
                <a:lnTo>
                  <a:pt x="136696" y="8900529"/>
                </a:lnTo>
                <a:lnTo>
                  <a:pt x="119419" y="8879695"/>
                </a:lnTo>
                <a:lnTo>
                  <a:pt x="103666" y="8858860"/>
                </a:lnTo>
                <a:lnTo>
                  <a:pt x="88929" y="8837517"/>
                </a:lnTo>
                <a:lnTo>
                  <a:pt x="74700" y="8814141"/>
                </a:lnTo>
                <a:lnTo>
                  <a:pt x="62504" y="8790257"/>
                </a:lnTo>
                <a:lnTo>
                  <a:pt x="50816" y="8765357"/>
                </a:lnTo>
                <a:lnTo>
                  <a:pt x="40145" y="8739949"/>
                </a:lnTo>
                <a:lnTo>
                  <a:pt x="30998" y="8713524"/>
                </a:lnTo>
                <a:lnTo>
                  <a:pt x="22867" y="8686083"/>
                </a:lnTo>
                <a:lnTo>
                  <a:pt x="15753" y="8658134"/>
                </a:lnTo>
                <a:lnTo>
                  <a:pt x="10163" y="8628661"/>
                </a:lnTo>
                <a:lnTo>
                  <a:pt x="5590" y="8599187"/>
                </a:lnTo>
                <a:lnTo>
                  <a:pt x="3049" y="8568697"/>
                </a:lnTo>
                <a:lnTo>
                  <a:pt x="508" y="8537191"/>
                </a:lnTo>
                <a:lnTo>
                  <a:pt x="0" y="8505176"/>
                </a:lnTo>
                <a:lnTo>
                  <a:pt x="0" y="620472"/>
                </a:lnTo>
                <a:lnTo>
                  <a:pt x="508" y="587441"/>
                </a:lnTo>
                <a:lnTo>
                  <a:pt x="1524" y="555426"/>
                </a:lnTo>
                <a:lnTo>
                  <a:pt x="4065" y="523411"/>
                </a:lnTo>
                <a:lnTo>
                  <a:pt x="7622" y="492922"/>
                </a:lnTo>
                <a:lnTo>
                  <a:pt x="11179" y="462432"/>
                </a:lnTo>
                <a:lnTo>
                  <a:pt x="16261" y="431942"/>
                </a:lnTo>
                <a:lnTo>
                  <a:pt x="22867" y="402976"/>
                </a:lnTo>
                <a:lnTo>
                  <a:pt x="29982" y="375027"/>
                </a:lnTo>
                <a:lnTo>
                  <a:pt x="38112" y="347078"/>
                </a:lnTo>
                <a:lnTo>
                  <a:pt x="47259" y="320654"/>
                </a:lnTo>
                <a:lnTo>
                  <a:pt x="56914" y="294228"/>
                </a:lnTo>
                <a:lnTo>
                  <a:pt x="68094" y="269329"/>
                </a:lnTo>
                <a:lnTo>
                  <a:pt x="79782" y="244936"/>
                </a:lnTo>
                <a:lnTo>
                  <a:pt x="92486" y="221561"/>
                </a:lnTo>
                <a:lnTo>
                  <a:pt x="106715" y="199710"/>
                </a:lnTo>
                <a:lnTo>
                  <a:pt x="121451" y="177859"/>
                </a:lnTo>
                <a:lnTo>
                  <a:pt x="137713" y="157532"/>
                </a:lnTo>
                <a:lnTo>
                  <a:pt x="154990" y="138221"/>
                </a:lnTo>
                <a:lnTo>
                  <a:pt x="172268" y="120436"/>
                </a:lnTo>
                <a:lnTo>
                  <a:pt x="191578" y="103158"/>
                </a:lnTo>
                <a:lnTo>
                  <a:pt x="211905" y="87405"/>
                </a:lnTo>
                <a:lnTo>
                  <a:pt x="233248" y="73177"/>
                </a:lnTo>
                <a:lnTo>
                  <a:pt x="255099" y="59456"/>
                </a:lnTo>
                <a:lnTo>
                  <a:pt x="278475" y="47768"/>
                </a:lnTo>
                <a:lnTo>
                  <a:pt x="302867" y="36081"/>
                </a:lnTo>
                <a:lnTo>
                  <a:pt x="328275" y="27441"/>
                </a:lnTo>
                <a:lnTo>
                  <a:pt x="355208" y="18802"/>
                </a:lnTo>
                <a:lnTo>
                  <a:pt x="382141" y="12704"/>
                </a:lnTo>
                <a:lnTo>
                  <a:pt x="411106" y="6606"/>
                </a:lnTo>
                <a:lnTo>
                  <a:pt x="441088" y="3049"/>
                </a:lnTo>
                <a:lnTo>
                  <a:pt x="472086" y="508"/>
                </a:lnTo>
                <a:lnTo>
                  <a:pt x="504100" y="0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1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21"/>
          </p:nvPr>
        </p:nvSpPr>
        <p:spPr>
          <a:xfrm>
            <a:off x="5375537" y="2594498"/>
            <a:ext cx="2817271" cy="6048276"/>
          </a:xfrm>
          <a:custGeom>
            <a:avLst/>
            <a:gdLst>
              <a:gd name="connsiteX0" fmla="*/ 504100 w 4225907"/>
              <a:gd name="connsiteY0" fmla="*/ 0 h 9073814"/>
              <a:gd name="connsiteX1" fmla="*/ 930960 w 4225907"/>
              <a:gd name="connsiteY1" fmla="*/ 0 h 9073814"/>
              <a:gd name="connsiteX2" fmla="*/ 937566 w 4225907"/>
              <a:gd name="connsiteY2" fmla="*/ 1017 h 9073814"/>
              <a:gd name="connsiteX3" fmla="*/ 943156 w 4225907"/>
              <a:gd name="connsiteY3" fmla="*/ 4066 h 9073814"/>
              <a:gd name="connsiteX4" fmla="*/ 948237 w 4225907"/>
              <a:gd name="connsiteY4" fmla="*/ 8640 h 9073814"/>
              <a:gd name="connsiteX5" fmla="*/ 952303 w 4225907"/>
              <a:gd name="connsiteY5" fmla="*/ 14229 h 9073814"/>
              <a:gd name="connsiteX6" fmla="*/ 956368 w 4225907"/>
              <a:gd name="connsiteY6" fmla="*/ 22360 h 9073814"/>
              <a:gd name="connsiteX7" fmla="*/ 959417 w 4225907"/>
              <a:gd name="connsiteY7" fmla="*/ 30999 h 9073814"/>
              <a:gd name="connsiteX8" fmla="*/ 962466 w 4225907"/>
              <a:gd name="connsiteY8" fmla="*/ 41162 h 9073814"/>
              <a:gd name="connsiteX9" fmla="*/ 964499 w 4225907"/>
              <a:gd name="connsiteY9" fmla="*/ 52850 h 9073814"/>
              <a:gd name="connsiteX10" fmla="*/ 969072 w 4225907"/>
              <a:gd name="connsiteY10" fmla="*/ 77750 h 9073814"/>
              <a:gd name="connsiteX11" fmla="*/ 974154 w 4225907"/>
              <a:gd name="connsiteY11" fmla="*/ 106716 h 9073814"/>
              <a:gd name="connsiteX12" fmla="*/ 977203 w 4225907"/>
              <a:gd name="connsiteY12" fmla="*/ 121452 h 9073814"/>
              <a:gd name="connsiteX13" fmla="*/ 980760 w 4225907"/>
              <a:gd name="connsiteY13" fmla="*/ 136697 h 9073814"/>
              <a:gd name="connsiteX14" fmla="*/ 983809 w 4225907"/>
              <a:gd name="connsiteY14" fmla="*/ 152451 h 9073814"/>
              <a:gd name="connsiteX15" fmla="*/ 988382 w 4225907"/>
              <a:gd name="connsiteY15" fmla="*/ 167695 h 9073814"/>
              <a:gd name="connsiteX16" fmla="*/ 993464 w 4225907"/>
              <a:gd name="connsiteY16" fmla="*/ 183957 h 9073814"/>
              <a:gd name="connsiteX17" fmla="*/ 999562 w 4225907"/>
              <a:gd name="connsiteY17" fmla="*/ 199710 h 9073814"/>
              <a:gd name="connsiteX18" fmla="*/ 1006168 w 4225907"/>
              <a:gd name="connsiteY18" fmla="*/ 214954 h 9073814"/>
              <a:gd name="connsiteX19" fmla="*/ 1014299 w 4225907"/>
              <a:gd name="connsiteY19" fmla="*/ 229691 h 9073814"/>
              <a:gd name="connsiteX20" fmla="*/ 1022430 w 4225907"/>
              <a:gd name="connsiteY20" fmla="*/ 244429 h 9073814"/>
              <a:gd name="connsiteX21" fmla="*/ 1032593 w 4225907"/>
              <a:gd name="connsiteY21" fmla="*/ 258149 h 9073814"/>
              <a:gd name="connsiteX22" fmla="*/ 1044789 w 4225907"/>
              <a:gd name="connsiteY22" fmla="*/ 270853 h 9073814"/>
              <a:gd name="connsiteX23" fmla="*/ 1058001 w 4225907"/>
              <a:gd name="connsiteY23" fmla="*/ 283557 h 9073814"/>
              <a:gd name="connsiteX24" fmla="*/ 1071722 w 4225907"/>
              <a:gd name="connsiteY24" fmla="*/ 294737 h 9073814"/>
              <a:gd name="connsiteX25" fmla="*/ 1088491 w 4225907"/>
              <a:gd name="connsiteY25" fmla="*/ 304900 h 9073814"/>
              <a:gd name="connsiteX26" fmla="*/ 1106277 w 4225907"/>
              <a:gd name="connsiteY26" fmla="*/ 314047 h 9073814"/>
              <a:gd name="connsiteX27" fmla="*/ 1126604 w 4225907"/>
              <a:gd name="connsiteY27" fmla="*/ 321670 h 9073814"/>
              <a:gd name="connsiteX28" fmla="*/ 1148455 w 4225907"/>
              <a:gd name="connsiteY28" fmla="*/ 327768 h 9073814"/>
              <a:gd name="connsiteX29" fmla="*/ 1172847 w 4225907"/>
              <a:gd name="connsiteY29" fmla="*/ 332341 h 9073814"/>
              <a:gd name="connsiteX30" fmla="*/ 1198763 w 4225907"/>
              <a:gd name="connsiteY30" fmla="*/ 335390 h 9073814"/>
              <a:gd name="connsiteX31" fmla="*/ 1227729 w 4225907"/>
              <a:gd name="connsiteY31" fmla="*/ 336406 h 9073814"/>
              <a:gd name="connsiteX32" fmla="*/ 2998178 w 4225907"/>
              <a:gd name="connsiteY32" fmla="*/ 336406 h 9073814"/>
              <a:gd name="connsiteX33" fmla="*/ 3027144 w 4225907"/>
              <a:gd name="connsiteY33" fmla="*/ 335390 h 9073814"/>
              <a:gd name="connsiteX34" fmla="*/ 3053060 w 4225907"/>
              <a:gd name="connsiteY34" fmla="*/ 332341 h 9073814"/>
              <a:gd name="connsiteX35" fmla="*/ 3077452 w 4225907"/>
              <a:gd name="connsiteY35" fmla="*/ 327768 h 9073814"/>
              <a:gd name="connsiteX36" fmla="*/ 3099303 w 4225907"/>
              <a:gd name="connsiteY36" fmla="*/ 321670 h 9073814"/>
              <a:gd name="connsiteX37" fmla="*/ 3119630 w 4225907"/>
              <a:gd name="connsiteY37" fmla="*/ 314047 h 9073814"/>
              <a:gd name="connsiteX38" fmla="*/ 3137416 w 4225907"/>
              <a:gd name="connsiteY38" fmla="*/ 304900 h 9073814"/>
              <a:gd name="connsiteX39" fmla="*/ 3154185 w 4225907"/>
              <a:gd name="connsiteY39" fmla="*/ 294737 h 9073814"/>
              <a:gd name="connsiteX40" fmla="*/ 3167906 w 4225907"/>
              <a:gd name="connsiteY40" fmla="*/ 283557 h 9073814"/>
              <a:gd name="connsiteX41" fmla="*/ 3181118 w 4225907"/>
              <a:gd name="connsiteY41" fmla="*/ 270853 h 9073814"/>
              <a:gd name="connsiteX42" fmla="*/ 3193314 w 4225907"/>
              <a:gd name="connsiteY42" fmla="*/ 258149 h 9073814"/>
              <a:gd name="connsiteX43" fmla="*/ 3203477 w 4225907"/>
              <a:gd name="connsiteY43" fmla="*/ 244429 h 9073814"/>
              <a:gd name="connsiteX44" fmla="*/ 3211608 w 4225907"/>
              <a:gd name="connsiteY44" fmla="*/ 229691 h 9073814"/>
              <a:gd name="connsiteX45" fmla="*/ 3219739 w 4225907"/>
              <a:gd name="connsiteY45" fmla="*/ 214954 h 9073814"/>
              <a:gd name="connsiteX46" fmla="*/ 3226345 w 4225907"/>
              <a:gd name="connsiteY46" fmla="*/ 199710 h 9073814"/>
              <a:gd name="connsiteX47" fmla="*/ 3232443 w 4225907"/>
              <a:gd name="connsiteY47" fmla="*/ 183957 h 9073814"/>
              <a:gd name="connsiteX48" fmla="*/ 3237524 w 4225907"/>
              <a:gd name="connsiteY48" fmla="*/ 167695 h 9073814"/>
              <a:gd name="connsiteX49" fmla="*/ 3242098 w 4225907"/>
              <a:gd name="connsiteY49" fmla="*/ 152451 h 9073814"/>
              <a:gd name="connsiteX50" fmla="*/ 3245147 w 4225907"/>
              <a:gd name="connsiteY50" fmla="*/ 136697 h 9073814"/>
              <a:gd name="connsiteX51" fmla="*/ 3248704 w 4225907"/>
              <a:gd name="connsiteY51" fmla="*/ 121452 h 9073814"/>
              <a:gd name="connsiteX52" fmla="*/ 3251753 w 4225907"/>
              <a:gd name="connsiteY52" fmla="*/ 106716 h 9073814"/>
              <a:gd name="connsiteX53" fmla="*/ 3256835 w 4225907"/>
              <a:gd name="connsiteY53" fmla="*/ 77750 h 9073814"/>
              <a:gd name="connsiteX54" fmla="*/ 3261408 w 4225907"/>
              <a:gd name="connsiteY54" fmla="*/ 52850 h 9073814"/>
              <a:gd name="connsiteX55" fmla="*/ 3263441 w 4225907"/>
              <a:gd name="connsiteY55" fmla="*/ 41162 h 9073814"/>
              <a:gd name="connsiteX56" fmla="*/ 3266490 w 4225907"/>
              <a:gd name="connsiteY56" fmla="*/ 30999 h 9073814"/>
              <a:gd name="connsiteX57" fmla="*/ 3269539 w 4225907"/>
              <a:gd name="connsiteY57" fmla="*/ 22360 h 9073814"/>
              <a:gd name="connsiteX58" fmla="*/ 3273604 w 4225907"/>
              <a:gd name="connsiteY58" fmla="*/ 14229 h 9073814"/>
              <a:gd name="connsiteX59" fmla="*/ 3277670 w 4225907"/>
              <a:gd name="connsiteY59" fmla="*/ 8640 h 9073814"/>
              <a:gd name="connsiteX60" fmla="*/ 3282751 w 4225907"/>
              <a:gd name="connsiteY60" fmla="*/ 4066 h 9073814"/>
              <a:gd name="connsiteX61" fmla="*/ 3288341 w 4225907"/>
              <a:gd name="connsiteY61" fmla="*/ 1017 h 9073814"/>
              <a:gd name="connsiteX62" fmla="*/ 3294947 w 4225907"/>
              <a:gd name="connsiteY62" fmla="*/ 0 h 9073814"/>
              <a:gd name="connsiteX63" fmla="*/ 3721806 w 4225907"/>
              <a:gd name="connsiteY63" fmla="*/ 0 h 9073814"/>
              <a:gd name="connsiteX64" fmla="*/ 3755854 w 4225907"/>
              <a:gd name="connsiteY64" fmla="*/ 508 h 9073814"/>
              <a:gd name="connsiteX65" fmla="*/ 3788376 w 4225907"/>
              <a:gd name="connsiteY65" fmla="*/ 3557 h 9073814"/>
              <a:gd name="connsiteX66" fmla="*/ 3819882 w 4225907"/>
              <a:gd name="connsiteY66" fmla="*/ 7623 h 9073814"/>
              <a:gd name="connsiteX67" fmla="*/ 3849356 w 4225907"/>
              <a:gd name="connsiteY67" fmla="*/ 13213 h 9073814"/>
              <a:gd name="connsiteX68" fmla="*/ 3878322 w 4225907"/>
              <a:gd name="connsiteY68" fmla="*/ 19819 h 9073814"/>
              <a:gd name="connsiteX69" fmla="*/ 3905254 w 4225907"/>
              <a:gd name="connsiteY69" fmla="*/ 28966 h 9073814"/>
              <a:gd name="connsiteX70" fmla="*/ 3931679 w 4225907"/>
              <a:gd name="connsiteY70" fmla="*/ 38621 h 9073814"/>
              <a:gd name="connsiteX71" fmla="*/ 3956579 w 4225907"/>
              <a:gd name="connsiteY71" fmla="*/ 50309 h 9073814"/>
              <a:gd name="connsiteX72" fmla="*/ 3979955 w 4225907"/>
              <a:gd name="connsiteY72" fmla="*/ 63013 h 9073814"/>
              <a:gd name="connsiteX73" fmla="*/ 4002314 w 4225907"/>
              <a:gd name="connsiteY73" fmla="*/ 77750 h 9073814"/>
              <a:gd name="connsiteX74" fmla="*/ 4023657 w 4225907"/>
              <a:gd name="connsiteY74" fmla="*/ 92995 h 9073814"/>
              <a:gd name="connsiteX75" fmla="*/ 4043984 w 4225907"/>
              <a:gd name="connsiteY75" fmla="*/ 110272 h 9073814"/>
              <a:gd name="connsiteX76" fmla="*/ 4062786 w 4225907"/>
              <a:gd name="connsiteY76" fmla="*/ 128058 h 9073814"/>
              <a:gd name="connsiteX77" fmla="*/ 4080064 w 4225907"/>
              <a:gd name="connsiteY77" fmla="*/ 146861 h 9073814"/>
              <a:gd name="connsiteX78" fmla="*/ 4096833 w 4225907"/>
              <a:gd name="connsiteY78" fmla="*/ 167695 h 9073814"/>
              <a:gd name="connsiteX79" fmla="*/ 4112586 w 4225907"/>
              <a:gd name="connsiteY79" fmla="*/ 189546 h 9073814"/>
              <a:gd name="connsiteX80" fmla="*/ 4126815 w 4225907"/>
              <a:gd name="connsiteY80" fmla="*/ 211398 h 9073814"/>
              <a:gd name="connsiteX81" fmla="*/ 4140027 w 4225907"/>
              <a:gd name="connsiteY81" fmla="*/ 235282 h 9073814"/>
              <a:gd name="connsiteX82" fmla="*/ 4152731 w 4225907"/>
              <a:gd name="connsiteY82" fmla="*/ 260181 h 9073814"/>
              <a:gd name="connsiteX83" fmla="*/ 4163402 w 4225907"/>
              <a:gd name="connsiteY83" fmla="*/ 285590 h 9073814"/>
              <a:gd name="connsiteX84" fmla="*/ 4174074 w 4225907"/>
              <a:gd name="connsiteY84" fmla="*/ 312522 h 9073814"/>
              <a:gd name="connsiteX85" fmla="*/ 4183221 w 4225907"/>
              <a:gd name="connsiteY85" fmla="*/ 340471 h 9073814"/>
              <a:gd name="connsiteX86" fmla="*/ 4191860 w 4225907"/>
              <a:gd name="connsiteY86" fmla="*/ 368421 h 9073814"/>
              <a:gd name="connsiteX87" fmla="*/ 4199482 w 4225907"/>
              <a:gd name="connsiteY87" fmla="*/ 397894 h 9073814"/>
              <a:gd name="connsiteX88" fmla="*/ 4205580 w 4225907"/>
              <a:gd name="connsiteY88" fmla="*/ 428384 h 9073814"/>
              <a:gd name="connsiteX89" fmla="*/ 4211170 w 4225907"/>
              <a:gd name="connsiteY89" fmla="*/ 459383 h 9073814"/>
              <a:gd name="connsiteX90" fmla="*/ 4215744 w 4225907"/>
              <a:gd name="connsiteY90" fmla="*/ 490889 h 9073814"/>
              <a:gd name="connsiteX91" fmla="*/ 4219809 w 4225907"/>
              <a:gd name="connsiteY91" fmla="*/ 523411 h 9073814"/>
              <a:gd name="connsiteX92" fmla="*/ 4222350 w 4225907"/>
              <a:gd name="connsiteY92" fmla="*/ 556442 h 9073814"/>
              <a:gd name="connsiteX93" fmla="*/ 4224382 w 4225907"/>
              <a:gd name="connsiteY93" fmla="*/ 590490 h 9073814"/>
              <a:gd name="connsiteX94" fmla="*/ 4225399 w 4225907"/>
              <a:gd name="connsiteY94" fmla="*/ 624536 h 9073814"/>
              <a:gd name="connsiteX95" fmla="*/ 4225907 w 4225907"/>
              <a:gd name="connsiteY95" fmla="*/ 659092 h 9073814"/>
              <a:gd name="connsiteX96" fmla="*/ 4225907 w 4225907"/>
              <a:gd name="connsiteY96" fmla="*/ 8479260 h 9073814"/>
              <a:gd name="connsiteX97" fmla="*/ 4225399 w 4225907"/>
              <a:gd name="connsiteY97" fmla="*/ 8512799 h 9073814"/>
              <a:gd name="connsiteX98" fmla="*/ 4223874 w 4225907"/>
              <a:gd name="connsiteY98" fmla="*/ 8546338 h 9073814"/>
              <a:gd name="connsiteX99" fmla="*/ 4220317 w 4225907"/>
              <a:gd name="connsiteY99" fmla="*/ 8578352 h 9073814"/>
              <a:gd name="connsiteX100" fmla="*/ 4216252 w 4225907"/>
              <a:gd name="connsiteY100" fmla="*/ 8609858 h 9073814"/>
              <a:gd name="connsiteX101" fmla="*/ 4211170 w 4225907"/>
              <a:gd name="connsiteY101" fmla="*/ 8640348 h 9073814"/>
              <a:gd name="connsiteX102" fmla="*/ 4204564 w 4225907"/>
              <a:gd name="connsiteY102" fmla="*/ 8669822 h 9073814"/>
              <a:gd name="connsiteX103" fmla="*/ 4196434 w 4225907"/>
              <a:gd name="connsiteY103" fmla="*/ 8698279 h 9073814"/>
              <a:gd name="connsiteX104" fmla="*/ 4187794 w 4225907"/>
              <a:gd name="connsiteY104" fmla="*/ 8726228 h 9073814"/>
              <a:gd name="connsiteX105" fmla="*/ 4177631 w 4225907"/>
              <a:gd name="connsiteY105" fmla="*/ 8753161 h 9073814"/>
              <a:gd name="connsiteX106" fmla="*/ 4166960 w 4225907"/>
              <a:gd name="connsiteY106" fmla="*/ 8779078 h 9073814"/>
              <a:gd name="connsiteX107" fmla="*/ 4154256 w 4225907"/>
              <a:gd name="connsiteY107" fmla="*/ 8803978 h 9073814"/>
              <a:gd name="connsiteX108" fmla="*/ 4141552 w 4225907"/>
              <a:gd name="connsiteY108" fmla="*/ 8828370 h 9073814"/>
              <a:gd name="connsiteX109" fmla="*/ 4126815 w 4225907"/>
              <a:gd name="connsiteY109" fmla="*/ 8850729 h 9073814"/>
              <a:gd name="connsiteX110" fmla="*/ 4111570 w 4225907"/>
              <a:gd name="connsiteY110" fmla="*/ 8873088 h 9073814"/>
              <a:gd name="connsiteX111" fmla="*/ 4094800 w 4225907"/>
              <a:gd name="connsiteY111" fmla="*/ 8893923 h 9073814"/>
              <a:gd name="connsiteX112" fmla="*/ 4076506 w 4225907"/>
              <a:gd name="connsiteY112" fmla="*/ 8913742 h 9073814"/>
              <a:gd name="connsiteX113" fmla="*/ 4058212 w 4225907"/>
              <a:gd name="connsiteY113" fmla="*/ 8932544 h 9073814"/>
              <a:gd name="connsiteX114" fmla="*/ 4038902 w 4225907"/>
              <a:gd name="connsiteY114" fmla="*/ 8950330 h 9073814"/>
              <a:gd name="connsiteX115" fmla="*/ 4017559 w 4225907"/>
              <a:gd name="connsiteY115" fmla="*/ 8966591 h 9073814"/>
              <a:gd name="connsiteX116" fmla="*/ 3995708 w 4225907"/>
              <a:gd name="connsiteY116" fmla="*/ 8981836 h 9073814"/>
              <a:gd name="connsiteX117" fmla="*/ 3972840 w 4225907"/>
              <a:gd name="connsiteY117" fmla="*/ 8996573 h 9073814"/>
              <a:gd name="connsiteX118" fmla="*/ 3948957 w 4225907"/>
              <a:gd name="connsiteY118" fmla="*/ 9009785 h 9073814"/>
              <a:gd name="connsiteX119" fmla="*/ 3924056 w 4225907"/>
              <a:gd name="connsiteY119" fmla="*/ 9021473 h 9073814"/>
              <a:gd name="connsiteX120" fmla="*/ 3898648 w 4225907"/>
              <a:gd name="connsiteY120" fmla="*/ 9032653 h 9073814"/>
              <a:gd name="connsiteX121" fmla="*/ 3871207 w 4225907"/>
              <a:gd name="connsiteY121" fmla="*/ 9042308 h 9073814"/>
              <a:gd name="connsiteX122" fmla="*/ 3843766 w 4225907"/>
              <a:gd name="connsiteY122" fmla="*/ 9050438 h 9073814"/>
              <a:gd name="connsiteX123" fmla="*/ 3815309 w 4225907"/>
              <a:gd name="connsiteY123" fmla="*/ 9057553 h 9073814"/>
              <a:gd name="connsiteX124" fmla="*/ 3785327 w 4225907"/>
              <a:gd name="connsiteY124" fmla="*/ 9063143 h 9073814"/>
              <a:gd name="connsiteX125" fmla="*/ 3754837 w 4225907"/>
              <a:gd name="connsiteY125" fmla="*/ 9068224 h 9073814"/>
              <a:gd name="connsiteX126" fmla="*/ 3723331 w 4225907"/>
              <a:gd name="connsiteY126" fmla="*/ 9070765 h 9073814"/>
              <a:gd name="connsiteX127" fmla="*/ 3690300 w 4225907"/>
              <a:gd name="connsiteY127" fmla="*/ 9073306 h 9073814"/>
              <a:gd name="connsiteX128" fmla="*/ 3657270 w 4225907"/>
              <a:gd name="connsiteY128" fmla="*/ 9073814 h 9073814"/>
              <a:gd name="connsiteX129" fmla="*/ 568638 w 4225907"/>
              <a:gd name="connsiteY129" fmla="*/ 9073814 h 9073814"/>
              <a:gd name="connsiteX130" fmla="*/ 536623 w 4225907"/>
              <a:gd name="connsiteY130" fmla="*/ 9073306 h 9073814"/>
              <a:gd name="connsiteX131" fmla="*/ 505117 w 4225907"/>
              <a:gd name="connsiteY131" fmla="*/ 9070765 h 9073814"/>
              <a:gd name="connsiteX132" fmla="*/ 474627 w 4225907"/>
              <a:gd name="connsiteY132" fmla="*/ 9068224 h 9073814"/>
              <a:gd name="connsiteX133" fmla="*/ 445153 w 4225907"/>
              <a:gd name="connsiteY133" fmla="*/ 9063651 h 9073814"/>
              <a:gd name="connsiteX134" fmla="*/ 416188 w 4225907"/>
              <a:gd name="connsiteY134" fmla="*/ 9058061 h 9073814"/>
              <a:gd name="connsiteX135" fmla="*/ 387731 w 4225907"/>
              <a:gd name="connsiteY135" fmla="*/ 9050947 h 9073814"/>
              <a:gd name="connsiteX136" fmla="*/ 360798 w 4225907"/>
              <a:gd name="connsiteY136" fmla="*/ 9042816 h 9073814"/>
              <a:gd name="connsiteX137" fmla="*/ 333865 w 4225907"/>
              <a:gd name="connsiteY137" fmla="*/ 9033669 h 9073814"/>
              <a:gd name="connsiteX138" fmla="*/ 308456 w 4225907"/>
              <a:gd name="connsiteY138" fmla="*/ 9023506 h 9073814"/>
              <a:gd name="connsiteX139" fmla="*/ 284064 w 4225907"/>
              <a:gd name="connsiteY139" fmla="*/ 9011310 h 9073814"/>
              <a:gd name="connsiteX140" fmla="*/ 260181 w 4225907"/>
              <a:gd name="connsiteY140" fmla="*/ 8999114 h 9073814"/>
              <a:gd name="connsiteX141" fmla="*/ 237313 w 4225907"/>
              <a:gd name="connsiteY141" fmla="*/ 8985393 h 9073814"/>
              <a:gd name="connsiteX142" fmla="*/ 214954 w 4225907"/>
              <a:gd name="connsiteY142" fmla="*/ 8970148 h 9073814"/>
              <a:gd name="connsiteX143" fmla="*/ 194119 w 4225907"/>
              <a:gd name="connsiteY143" fmla="*/ 8954395 h 9073814"/>
              <a:gd name="connsiteX144" fmla="*/ 174301 w 4225907"/>
              <a:gd name="connsiteY144" fmla="*/ 8937117 h 9073814"/>
              <a:gd name="connsiteX145" fmla="*/ 154990 w 4225907"/>
              <a:gd name="connsiteY145" fmla="*/ 8918823 h 9073814"/>
              <a:gd name="connsiteX146" fmla="*/ 136696 w 4225907"/>
              <a:gd name="connsiteY146" fmla="*/ 8900529 h 9073814"/>
              <a:gd name="connsiteX147" fmla="*/ 119419 w 4225907"/>
              <a:gd name="connsiteY147" fmla="*/ 8879695 h 9073814"/>
              <a:gd name="connsiteX148" fmla="*/ 103666 w 4225907"/>
              <a:gd name="connsiteY148" fmla="*/ 8858860 h 9073814"/>
              <a:gd name="connsiteX149" fmla="*/ 88929 w 4225907"/>
              <a:gd name="connsiteY149" fmla="*/ 8837517 h 9073814"/>
              <a:gd name="connsiteX150" fmla="*/ 74700 w 4225907"/>
              <a:gd name="connsiteY150" fmla="*/ 8814141 h 9073814"/>
              <a:gd name="connsiteX151" fmla="*/ 62504 w 4225907"/>
              <a:gd name="connsiteY151" fmla="*/ 8790257 h 9073814"/>
              <a:gd name="connsiteX152" fmla="*/ 50816 w 4225907"/>
              <a:gd name="connsiteY152" fmla="*/ 8765357 h 9073814"/>
              <a:gd name="connsiteX153" fmla="*/ 40145 w 4225907"/>
              <a:gd name="connsiteY153" fmla="*/ 8739949 h 9073814"/>
              <a:gd name="connsiteX154" fmla="*/ 30998 w 4225907"/>
              <a:gd name="connsiteY154" fmla="*/ 8713524 h 9073814"/>
              <a:gd name="connsiteX155" fmla="*/ 22867 w 4225907"/>
              <a:gd name="connsiteY155" fmla="*/ 8686083 h 9073814"/>
              <a:gd name="connsiteX156" fmla="*/ 15753 w 4225907"/>
              <a:gd name="connsiteY156" fmla="*/ 8658134 h 9073814"/>
              <a:gd name="connsiteX157" fmla="*/ 10163 w 4225907"/>
              <a:gd name="connsiteY157" fmla="*/ 8628661 h 9073814"/>
              <a:gd name="connsiteX158" fmla="*/ 5590 w 4225907"/>
              <a:gd name="connsiteY158" fmla="*/ 8599187 h 9073814"/>
              <a:gd name="connsiteX159" fmla="*/ 3049 w 4225907"/>
              <a:gd name="connsiteY159" fmla="*/ 8568697 h 9073814"/>
              <a:gd name="connsiteX160" fmla="*/ 508 w 4225907"/>
              <a:gd name="connsiteY160" fmla="*/ 8537191 h 9073814"/>
              <a:gd name="connsiteX161" fmla="*/ 0 w 4225907"/>
              <a:gd name="connsiteY161" fmla="*/ 8505176 h 9073814"/>
              <a:gd name="connsiteX162" fmla="*/ 0 w 4225907"/>
              <a:gd name="connsiteY162" fmla="*/ 620472 h 9073814"/>
              <a:gd name="connsiteX163" fmla="*/ 508 w 4225907"/>
              <a:gd name="connsiteY163" fmla="*/ 587441 h 9073814"/>
              <a:gd name="connsiteX164" fmla="*/ 1524 w 4225907"/>
              <a:gd name="connsiteY164" fmla="*/ 555426 h 9073814"/>
              <a:gd name="connsiteX165" fmla="*/ 4065 w 4225907"/>
              <a:gd name="connsiteY165" fmla="*/ 523411 h 9073814"/>
              <a:gd name="connsiteX166" fmla="*/ 7622 w 4225907"/>
              <a:gd name="connsiteY166" fmla="*/ 492922 h 9073814"/>
              <a:gd name="connsiteX167" fmla="*/ 11179 w 4225907"/>
              <a:gd name="connsiteY167" fmla="*/ 462432 h 9073814"/>
              <a:gd name="connsiteX168" fmla="*/ 16261 w 4225907"/>
              <a:gd name="connsiteY168" fmla="*/ 431942 h 9073814"/>
              <a:gd name="connsiteX169" fmla="*/ 22867 w 4225907"/>
              <a:gd name="connsiteY169" fmla="*/ 402976 h 9073814"/>
              <a:gd name="connsiteX170" fmla="*/ 29982 w 4225907"/>
              <a:gd name="connsiteY170" fmla="*/ 375027 h 9073814"/>
              <a:gd name="connsiteX171" fmla="*/ 38112 w 4225907"/>
              <a:gd name="connsiteY171" fmla="*/ 347078 h 9073814"/>
              <a:gd name="connsiteX172" fmla="*/ 47259 w 4225907"/>
              <a:gd name="connsiteY172" fmla="*/ 320654 h 9073814"/>
              <a:gd name="connsiteX173" fmla="*/ 56914 w 4225907"/>
              <a:gd name="connsiteY173" fmla="*/ 294228 h 9073814"/>
              <a:gd name="connsiteX174" fmla="*/ 68094 w 4225907"/>
              <a:gd name="connsiteY174" fmla="*/ 269329 h 9073814"/>
              <a:gd name="connsiteX175" fmla="*/ 79782 w 4225907"/>
              <a:gd name="connsiteY175" fmla="*/ 244936 h 9073814"/>
              <a:gd name="connsiteX176" fmla="*/ 92486 w 4225907"/>
              <a:gd name="connsiteY176" fmla="*/ 221561 h 9073814"/>
              <a:gd name="connsiteX177" fmla="*/ 106715 w 4225907"/>
              <a:gd name="connsiteY177" fmla="*/ 199710 h 9073814"/>
              <a:gd name="connsiteX178" fmla="*/ 121451 w 4225907"/>
              <a:gd name="connsiteY178" fmla="*/ 177859 h 9073814"/>
              <a:gd name="connsiteX179" fmla="*/ 137713 w 4225907"/>
              <a:gd name="connsiteY179" fmla="*/ 157532 h 9073814"/>
              <a:gd name="connsiteX180" fmla="*/ 154990 w 4225907"/>
              <a:gd name="connsiteY180" fmla="*/ 138221 h 9073814"/>
              <a:gd name="connsiteX181" fmla="*/ 172268 w 4225907"/>
              <a:gd name="connsiteY181" fmla="*/ 120436 h 9073814"/>
              <a:gd name="connsiteX182" fmla="*/ 191578 w 4225907"/>
              <a:gd name="connsiteY182" fmla="*/ 103158 h 9073814"/>
              <a:gd name="connsiteX183" fmla="*/ 211905 w 4225907"/>
              <a:gd name="connsiteY183" fmla="*/ 87405 h 9073814"/>
              <a:gd name="connsiteX184" fmla="*/ 233248 w 4225907"/>
              <a:gd name="connsiteY184" fmla="*/ 73177 h 9073814"/>
              <a:gd name="connsiteX185" fmla="*/ 255099 w 4225907"/>
              <a:gd name="connsiteY185" fmla="*/ 59456 h 9073814"/>
              <a:gd name="connsiteX186" fmla="*/ 278475 w 4225907"/>
              <a:gd name="connsiteY186" fmla="*/ 47768 h 9073814"/>
              <a:gd name="connsiteX187" fmla="*/ 302867 w 4225907"/>
              <a:gd name="connsiteY187" fmla="*/ 36081 h 9073814"/>
              <a:gd name="connsiteX188" fmla="*/ 328275 w 4225907"/>
              <a:gd name="connsiteY188" fmla="*/ 27441 h 9073814"/>
              <a:gd name="connsiteX189" fmla="*/ 355208 w 4225907"/>
              <a:gd name="connsiteY189" fmla="*/ 18802 h 9073814"/>
              <a:gd name="connsiteX190" fmla="*/ 382141 w 4225907"/>
              <a:gd name="connsiteY190" fmla="*/ 12704 h 9073814"/>
              <a:gd name="connsiteX191" fmla="*/ 411106 w 4225907"/>
              <a:gd name="connsiteY191" fmla="*/ 6606 h 9073814"/>
              <a:gd name="connsiteX192" fmla="*/ 441088 w 4225907"/>
              <a:gd name="connsiteY192" fmla="*/ 3049 h 9073814"/>
              <a:gd name="connsiteX193" fmla="*/ 472086 w 4225907"/>
              <a:gd name="connsiteY193" fmla="*/ 508 h 9073814"/>
              <a:gd name="connsiteX194" fmla="*/ 504100 w 4225907"/>
              <a:gd name="connsiteY194" fmla="*/ 0 h 9073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4225907" h="9073814">
                <a:moveTo>
                  <a:pt x="504100" y="0"/>
                </a:moveTo>
                <a:lnTo>
                  <a:pt x="930960" y="0"/>
                </a:lnTo>
                <a:lnTo>
                  <a:pt x="937566" y="1017"/>
                </a:lnTo>
                <a:lnTo>
                  <a:pt x="943156" y="4066"/>
                </a:lnTo>
                <a:lnTo>
                  <a:pt x="948237" y="8640"/>
                </a:lnTo>
                <a:lnTo>
                  <a:pt x="952303" y="14229"/>
                </a:lnTo>
                <a:lnTo>
                  <a:pt x="956368" y="22360"/>
                </a:lnTo>
                <a:lnTo>
                  <a:pt x="959417" y="30999"/>
                </a:lnTo>
                <a:lnTo>
                  <a:pt x="962466" y="41162"/>
                </a:lnTo>
                <a:lnTo>
                  <a:pt x="964499" y="52850"/>
                </a:lnTo>
                <a:lnTo>
                  <a:pt x="969072" y="77750"/>
                </a:lnTo>
                <a:lnTo>
                  <a:pt x="974154" y="106716"/>
                </a:lnTo>
                <a:lnTo>
                  <a:pt x="977203" y="121452"/>
                </a:lnTo>
                <a:lnTo>
                  <a:pt x="980760" y="136697"/>
                </a:lnTo>
                <a:lnTo>
                  <a:pt x="983809" y="152451"/>
                </a:lnTo>
                <a:lnTo>
                  <a:pt x="988382" y="167695"/>
                </a:lnTo>
                <a:lnTo>
                  <a:pt x="993464" y="183957"/>
                </a:lnTo>
                <a:lnTo>
                  <a:pt x="999562" y="199710"/>
                </a:lnTo>
                <a:lnTo>
                  <a:pt x="1006168" y="214954"/>
                </a:lnTo>
                <a:lnTo>
                  <a:pt x="1014299" y="229691"/>
                </a:lnTo>
                <a:lnTo>
                  <a:pt x="1022430" y="244429"/>
                </a:lnTo>
                <a:lnTo>
                  <a:pt x="1032593" y="258149"/>
                </a:lnTo>
                <a:lnTo>
                  <a:pt x="1044789" y="270853"/>
                </a:lnTo>
                <a:lnTo>
                  <a:pt x="1058001" y="283557"/>
                </a:lnTo>
                <a:lnTo>
                  <a:pt x="1071722" y="294737"/>
                </a:lnTo>
                <a:lnTo>
                  <a:pt x="1088491" y="304900"/>
                </a:lnTo>
                <a:lnTo>
                  <a:pt x="1106277" y="314047"/>
                </a:lnTo>
                <a:lnTo>
                  <a:pt x="1126604" y="321670"/>
                </a:lnTo>
                <a:lnTo>
                  <a:pt x="1148455" y="327768"/>
                </a:lnTo>
                <a:lnTo>
                  <a:pt x="1172847" y="332341"/>
                </a:lnTo>
                <a:lnTo>
                  <a:pt x="1198763" y="335390"/>
                </a:lnTo>
                <a:lnTo>
                  <a:pt x="1227729" y="336406"/>
                </a:lnTo>
                <a:lnTo>
                  <a:pt x="2998178" y="336406"/>
                </a:lnTo>
                <a:lnTo>
                  <a:pt x="3027144" y="335390"/>
                </a:lnTo>
                <a:lnTo>
                  <a:pt x="3053060" y="332341"/>
                </a:lnTo>
                <a:lnTo>
                  <a:pt x="3077452" y="327768"/>
                </a:lnTo>
                <a:lnTo>
                  <a:pt x="3099303" y="321670"/>
                </a:lnTo>
                <a:lnTo>
                  <a:pt x="3119630" y="314047"/>
                </a:lnTo>
                <a:lnTo>
                  <a:pt x="3137416" y="304900"/>
                </a:lnTo>
                <a:lnTo>
                  <a:pt x="3154185" y="294737"/>
                </a:lnTo>
                <a:lnTo>
                  <a:pt x="3167906" y="283557"/>
                </a:lnTo>
                <a:lnTo>
                  <a:pt x="3181118" y="270853"/>
                </a:lnTo>
                <a:lnTo>
                  <a:pt x="3193314" y="258149"/>
                </a:lnTo>
                <a:lnTo>
                  <a:pt x="3203477" y="244429"/>
                </a:lnTo>
                <a:lnTo>
                  <a:pt x="3211608" y="229691"/>
                </a:lnTo>
                <a:lnTo>
                  <a:pt x="3219739" y="214954"/>
                </a:lnTo>
                <a:lnTo>
                  <a:pt x="3226345" y="199710"/>
                </a:lnTo>
                <a:lnTo>
                  <a:pt x="3232443" y="183957"/>
                </a:lnTo>
                <a:lnTo>
                  <a:pt x="3237524" y="167695"/>
                </a:lnTo>
                <a:lnTo>
                  <a:pt x="3242098" y="152451"/>
                </a:lnTo>
                <a:lnTo>
                  <a:pt x="3245147" y="136697"/>
                </a:lnTo>
                <a:lnTo>
                  <a:pt x="3248704" y="121452"/>
                </a:lnTo>
                <a:lnTo>
                  <a:pt x="3251753" y="106716"/>
                </a:lnTo>
                <a:lnTo>
                  <a:pt x="3256835" y="77750"/>
                </a:lnTo>
                <a:lnTo>
                  <a:pt x="3261408" y="52850"/>
                </a:lnTo>
                <a:lnTo>
                  <a:pt x="3263441" y="41162"/>
                </a:lnTo>
                <a:lnTo>
                  <a:pt x="3266490" y="30999"/>
                </a:lnTo>
                <a:lnTo>
                  <a:pt x="3269539" y="22360"/>
                </a:lnTo>
                <a:lnTo>
                  <a:pt x="3273604" y="14229"/>
                </a:lnTo>
                <a:lnTo>
                  <a:pt x="3277670" y="8640"/>
                </a:lnTo>
                <a:lnTo>
                  <a:pt x="3282751" y="4066"/>
                </a:lnTo>
                <a:lnTo>
                  <a:pt x="3288341" y="1017"/>
                </a:lnTo>
                <a:lnTo>
                  <a:pt x="3294947" y="0"/>
                </a:lnTo>
                <a:lnTo>
                  <a:pt x="3721806" y="0"/>
                </a:lnTo>
                <a:lnTo>
                  <a:pt x="3755854" y="508"/>
                </a:lnTo>
                <a:lnTo>
                  <a:pt x="3788376" y="3557"/>
                </a:lnTo>
                <a:lnTo>
                  <a:pt x="3819882" y="7623"/>
                </a:lnTo>
                <a:lnTo>
                  <a:pt x="3849356" y="13213"/>
                </a:lnTo>
                <a:lnTo>
                  <a:pt x="3878322" y="19819"/>
                </a:lnTo>
                <a:lnTo>
                  <a:pt x="3905254" y="28966"/>
                </a:lnTo>
                <a:lnTo>
                  <a:pt x="3931679" y="38621"/>
                </a:lnTo>
                <a:lnTo>
                  <a:pt x="3956579" y="50309"/>
                </a:lnTo>
                <a:lnTo>
                  <a:pt x="3979955" y="63013"/>
                </a:lnTo>
                <a:lnTo>
                  <a:pt x="4002314" y="77750"/>
                </a:lnTo>
                <a:lnTo>
                  <a:pt x="4023657" y="92995"/>
                </a:lnTo>
                <a:lnTo>
                  <a:pt x="4043984" y="110272"/>
                </a:lnTo>
                <a:lnTo>
                  <a:pt x="4062786" y="128058"/>
                </a:lnTo>
                <a:lnTo>
                  <a:pt x="4080064" y="146861"/>
                </a:lnTo>
                <a:lnTo>
                  <a:pt x="4096833" y="167695"/>
                </a:lnTo>
                <a:lnTo>
                  <a:pt x="4112586" y="189546"/>
                </a:lnTo>
                <a:lnTo>
                  <a:pt x="4126815" y="211398"/>
                </a:lnTo>
                <a:lnTo>
                  <a:pt x="4140027" y="235282"/>
                </a:lnTo>
                <a:lnTo>
                  <a:pt x="4152731" y="260181"/>
                </a:lnTo>
                <a:lnTo>
                  <a:pt x="4163402" y="285590"/>
                </a:lnTo>
                <a:lnTo>
                  <a:pt x="4174074" y="312522"/>
                </a:lnTo>
                <a:lnTo>
                  <a:pt x="4183221" y="340471"/>
                </a:lnTo>
                <a:lnTo>
                  <a:pt x="4191860" y="368421"/>
                </a:lnTo>
                <a:lnTo>
                  <a:pt x="4199482" y="397894"/>
                </a:lnTo>
                <a:lnTo>
                  <a:pt x="4205580" y="428384"/>
                </a:lnTo>
                <a:lnTo>
                  <a:pt x="4211170" y="459383"/>
                </a:lnTo>
                <a:lnTo>
                  <a:pt x="4215744" y="490889"/>
                </a:lnTo>
                <a:lnTo>
                  <a:pt x="4219809" y="523411"/>
                </a:lnTo>
                <a:lnTo>
                  <a:pt x="4222350" y="556442"/>
                </a:lnTo>
                <a:lnTo>
                  <a:pt x="4224382" y="590490"/>
                </a:lnTo>
                <a:lnTo>
                  <a:pt x="4225399" y="624536"/>
                </a:lnTo>
                <a:lnTo>
                  <a:pt x="4225907" y="659092"/>
                </a:lnTo>
                <a:lnTo>
                  <a:pt x="4225907" y="8479260"/>
                </a:lnTo>
                <a:lnTo>
                  <a:pt x="4225399" y="8512799"/>
                </a:lnTo>
                <a:lnTo>
                  <a:pt x="4223874" y="8546338"/>
                </a:lnTo>
                <a:lnTo>
                  <a:pt x="4220317" y="8578352"/>
                </a:lnTo>
                <a:lnTo>
                  <a:pt x="4216252" y="8609858"/>
                </a:lnTo>
                <a:lnTo>
                  <a:pt x="4211170" y="8640348"/>
                </a:lnTo>
                <a:lnTo>
                  <a:pt x="4204564" y="8669822"/>
                </a:lnTo>
                <a:lnTo>
                  <a:pt x="4196434" y="8698279"/>
                </a:lnTo>
                <a:lnTo>
                  <a:pt x="4187794" y="8726228"/>
                </a:lnTo>
                <a:lnTo>
                  <a:pt x="4177631" y="8753161"/>
                </a:lnTo>
                <a:lnTo>
                  <a:pt x="4166960" y="8779078"/>
                </a:lnTo>
                <a:lnTo>
                  <a:pt x="4154256" y="8803978"/>
                </a:lnTo>
                <a:lnTo>
                  <a:pt x="4141552" y="8828370"/>
                </a:lnTo>
                <a:lnTo>
                  <a:pt x="4126815" y="8850729"/>
                </a:lnTo>
                <a:lnTo>
                  <a:pt x="4111570" y="8873088"/>
                </a:lnTo>
                <a:lnTo>
                  <a:pt x="4094800" y="8893923"/>
                </a:lnTo>
                <a:lnTo>
                  <a:pt x="4076506" y="8913742"/>
                </a:lnTo>
                <a:lnTo>
                  <a:pt x="4058212" y="8932544"/>
                </a:lnTo>
                <a:lnTo>
                  <a:pt x="4038902" y="8950330"/>
                </a:lnTo>
                <a:lnTo>
                  <a:pt x="4017559" y="8966591"/>
                </a:lnTo>
                <a:lnTo>
                  <a:pt x="3995708" y="8981836"/>
                </a:lnTo>
                <a:lnTo>
                  <a:pt x="3972840" y="8996573"/>
                </a:lnTo>
                <a:lnTo>
                  <a:pt x="3948957" y="9009785"/>
                </a:lnTo>
                <a:lnTo>
                  <a:pt x="3924056" y="9021473"/>
                </a:lnTo>
                <a:lnTo>
                  <a:pt x="3898648" y="9032653"/>
                </a:lnTo>
                <a:lnTo>
                  <a:pt x="3871207" y="9042308"/>
                </a:lnTo>
                <a:lnTo>
                  <a:pt x="3843766" y="9050438"/>
                </a:lnTo>
                <a:lnTo>
                  <a:pt x="3815309" y="9057553"/>
                </a:lnTo>
                <a:lnTo>
                  <a:pt x="3785327" y="9063143"/>
                </a:lnTo>
                <a:lnTo>
                  <a:pt x="3754837" y="9068224"/>
                </a:lnTo>
                <a:lnTo>
                  <a:pt x="3723331" y="9070765"/>
                </a:lnTo>
                <a:lnTo>
                  <a:pt x="3690300" y="9073306"/>
                </a:lnTo>
                <a:lnTo>
                  <a:pt x="3657270" y="9073814"/>
                </a:lnTo>
                <a:lnTo>
                  <a:pt x="568638" y="9073814"/>
                </a:lnTo>
                <a:lnTo>
                  <a:pt x="536623" y="9073306"/>
                </a:lnTo>
                <a:lnTo>
                  <a:pt x="505117" y="9070765"/>
                </a:lnTo>
                <a:lnTo>
                  <a:pt x="474627" y="9068224"/>
                </a:lnTo>
                <a:lnTo>
                  <a:pt x="445153" y="9063651"/>
                </a:lnTo>
                <a:lnTo>
                  <a:pt x="416188" y="9058061"/>
                </a:lnTo>
                <a:lnTo>
                  <a:pt x="387731" y="9050947"/>
                </a:lnTo>
                <a:lnTo>
                  <a:pt x="360798" y="9042816"/>
                </a:lnTo>
                <a:lnTo>
                  <a:pt x="333865" y="9033669"/>
                </a:lnTo>
                <a:lnTo>
                  <a:pt x="308456" y="9023506"/>
                </a:lnTo>
                <a:lnTo>
                  <a:pt x="284064" y="9011310"/>
                </a:lnTo>
                <a:lnTo>
                  <a:pt x="260181" y="8999114"/>
                </a:lnTo>
                <a:lnTo>
                  <a:pt x="237313" y="8985393"/>
                </a:lnTo>
                <a:lnTo>
                  <a:pt x="214954" y="8970148"/>
                </a:lnTo>
                <a:lnTo>
                  <a:pt x="194119" y="8954395"/>
                </a:lnTo>
                <a:lnTo>
                  <a:pt x="174301" y="8937117"/>
                </a:lnTo>
                <a:lnTo>
                  <a:pt x="154990" y="8918823"/>
                </a:lnTo>
                <a:lnTo>
                  <a:pt x="136696" y="8900529"/>
                </a:lnTo>
                <a:lnTo>
                  <a:pt x="119419" y="8879695"/>
                </a:lnTo>
                <a:lnTo>
                  <a:pt x="103666" y="8858860"/>
                </a:lnTo>
                <a:lnTo>
                  <a:pt x="88929" y="8837517"/>
                </a:lnTo>
                <a:lnTo>
                  <a:pt x="74700" y="8814141"/>
                </a:lnTo>
                <a:lnTo>
                  <a:pt x="62504" y="8790257"/>
                </a:lnTo>
                <a:lnTo>
                  <a:pt x="50816" y="8765357"/>
                </a:lnTo>
                <a:lnTo>
                  <a:pt x="40145" y="8739949"/>
                </a:lnTo>
                <a:lnTo>
                  <a:pt x="30998" y="8713524"/>
                </a:lnTo>
                <a:lnTo>
                  <a:pt x="22867" y="8686083"/>
                </a:lnTo>
                <a:lnTo>
                  <a:pt x="15753" y="8658134"/>
                </a:lnTo>
                <a:lnTo>
                  <a:pt x="10163" y="8628661"/>
                </a:lnTo>
                <a:lnTo>
                  <a:pt x="5590" y="8599187"/>
                </a:lnTo>
                <a:lnTo>
                  <a:pt x="3049" y="8568697"/>
                </a:lnTo>
                <a:lnTo>
                  <a:pt x="508" y="8537191"/>
                </a:lnTo>
                <a:lnTo>
                  <a:pt x="0" y="8505176"/>
                </a:lnTo>
                <a:lnTo>
                  <a:pt x="0" y="620472"/>
                </a:lnTo>
                <a:lnTo>
                  <a:pt x="508" y="587441"/>
                </a:lnTo>
                <a:lnTo>
                  <a:pt x="1524" y="555426"/>
                </a:lnTo>
                <a:lnTo>
                  <a:pt x="4065" y="523411"/>
                </a:lnTo>
                <a:lnTo>
                  <a:pt x="7622" y="492922"/>
                </a:lnTo>
                <a:lnTo>
                  <a:pt x="11179" y="462432"/>
                </a:lnTo>
                <a:lnTo>
                  <a:pt x="16261" y="431942"/>
                </a:lnTo>
                <a:lnTo>
                  <a:pt x="22867" y="402976"/>
                </a:lnTo>
                <a:lnTo>
                  <a:pt x="29982" y="375027"/>
                </a:lnTo>
                <a:lnTo>
                  <a:pt x="38112" y="347078"/>
                </a:lnTo>
                <a:lnTo>
                  <a:pt x="47259" y="320654"/>
                </a:lnTo>
                <a:lnTo>
                  <a:pt x="56914" y="294228"/>
                </a:lnTo>
                <a:lnTo>
                  <a:pt x="68094" y="269329"/>
                </a:lnTo>
                <a:lnTo>
                  <a:pt x="79782" y="244936"/>
                </a:lnTo>
                <a:lnTo>
                  <a:pt x="92486" y="221561"/>
                </a:lnTo>
                <a:lnTo>
                  <a:pt x="106715" y="199710"/>
                </a:lnTo>
                <a:lnTo>
                  <a:pt x="121451" y="177859"/>
                </a:lnTo>
                <a:lnTo>
                  <a:pt x="137713" y="157532"/>
                </a:lnTo>
                <a:lnTo>
                  <a:pt x="154990" y="138221"/>
                </a:lnTo>
                <a:lnTo>
                  <a:pt x="172268" y="120436"/>
                </a:lnTo>
                <a:lnTo>
                  <a:pt x="191578" y="103158"/>
                </a:lnTo>
                <a:lnTo>
                  <a:pt x="211905" y="87405"/>
                </a:lnTo>
                <a:lnTo>
                  <a:pt x="233248" y="73177"/>
                </a:lnTo>
                <a:lnTo>
                  <a:pt x="255099" y="59456"/>
                </a:lnTo>
                <a:lnTo>
                  <a:pt x="278475" y="47768"/>
                </a:lnTo>
                <a:lnTo>
                  <a:pt x="302867" y="36081"/>
                </a:lnTo>
                <a:lnTo>
                  <a:pt x="328275" y="27441"/>
                </a:lnTo>
                <a:lnTo>
                  <a:pt x="355208" y="18802"/>
                </a:lnTo>
                <a:lnTo>
                  <a:pt x="382141" y="12704"/>
                </a:lnTo>
                <a:lnTo>
                  <a:pt x="411106" y="6606"/>
                </a:lnTo>
                <a:lnTo>
                  <a:pt x="441088" y="3049"/>
                </a:lnTo>
                <a:lnTo>
                  <a:pt x="472086" y="508"/>
                </a:lnTo>
                <a:lnTo>
                  <a:pt x="504100" y="0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1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4" name="Рисунок 3"/>
          <p:cNvSpPr>
            <a:spLocks noGrp="1"/>
          </p:cNvSpPr>
          <p:nvPr>
            <p:ph type="pic" sz="quarter" idx="22"/>
          </p:nvPr>
        </p:nvSpPr>
        <p:spPr>
          <a:xfrm>
            <a:off x="8767931" y="-1724713"/>
            <a:ext cx="2817271" cy="6048276"/>
          </a:xfrm>
          <a:custGeom>
            <a:avLst/>
            <a:gdLst>
              <a:gd name="connsiteX0" fmla="*/ 504100 w 4225907"/>
              <a:gd name="connsiteY0" fmla="*/ 0 h 9073814"/>
              <a:gd name="connsiteX1" fmla="*/ 930960 w 4225907"/>
              <a:gd name="connsiteY1" fmla="*/ 0 h 9073814"/>
              <a:gd name="connsiteX2" fmla="*/ 937566 w 4225907"/>
              <a:gd name="connsiteY2" fmla="*/ 1017 h 9073814"/>
              <a:gd name="connsiteX3" fmla="*/ 943156 w 4225907"/>
              <a:gd name="connsiteY3" fmla="*/ 4066 h 9073814"/>
              <a:gd name="connsiteX4" fmla="*/ 948237 w 4225907"/>
              <a:gd name="connsiteY4" fmla="*/ 8640 h 9073814"/>
              <a:gd name="connsiteX5" fmla="*/ 952303 w 4225907"/>
              <a:gd name="connsiteY5" fmla="*/ 14229 h 9073814"/>
              <a:gd name="connsiteX6" fmla="*/ 956368 w 4225907"/>
              <a:gd name="connsiteY6" fmla="*/ 22360 h 9073814"/>
              <a:gd name="connsiteX7" fmla="*/ 959417 w 4225907"/>
              <a:gd name="connsiteY7" fmla="*/ 30999 h 9073814"/>
              <a:gd name="connsiteX8" fmla="*/ 962466 w 4225907"/>
              <a:gd name="connsiteY8" fmla="*/ 41162 h 9073814"/>
              <a:gd name="connsiteX9" fmla="*/ 964499 w 4225907"/>
              <a:gd name="connsiteY9" fmla="*/ 52850 h 9073814"/>
              <a:gd name="connsiteX10" fmla="*/ 969072 w 4225907"/>
              <a:gd name="connsiteY10" fmla="*/ 77750 h 9073814"/>
              <a:gd name="connsiteX11" fmla="*/ 974154 w 4225907"/>
              <a:gd name="connsiteY11" fmla="*/ 106716 h 9073814"/>
              <a:gd name="connsiteX12" fmla="*/ 977203 w 4225907"/>
              <a:gd name="connsiteY12" fmla="*/ 121452 h 9073814"/>
              <a:gd name="connsiteX13" fmla="*/ 980760 w 4225907"/>
              <a:gd name="connsiteY13" fmla="*/ 136697 h 9073814"/>
              <a:gd name="connsiteX14" fmla="*/ 983809 w 4225907"/>
              <a:gd name="connsiteY14" fmla="*/ 152451 h 9073814"/>
              <a:gd name="connsiteX15" fmla="*/ 988382 w 4225907"/>
              <a:gd name="connsiteY15" fmla="*/ 167695 h 9073814"/>
              <a:gd name="connsiteX16" fmla="*/ 993464 w 4225907"/>
              <a:gd name="connsiteY16" fmla="*/ 183957 h 9073814"/>
              <a:gd name="connsiteX17" fmla="*/ 999562 w 4225907"/>
              <a:gd name="connsiteY17" fmla="*/ 199710 h 9073814"/>
              <a:gd name="connsiteX18" fmla="*/ 1006168 w 4225907"/>
              <a:gd name="connsiteY18" fmla="*/ 214954 h 9073814"/>
              <a:gd name="connsiteX19" fmla="*/ 1014299 w 4225907"/>
              <a:gd name="connsiteY19" fmla="*/ 229691 h 9073814"/>
              <a:gd name="connsiteX20" fmla="*/ 1022430 w 4225907"/>
              <a:gd name="connsiteY20" fmla="*/ 244429 h 9073814"/>
              <a:gd name="connsiteX21" fmla="*/ 1032593 w 4225907"/>
              <a:gd name="connsiteY21" fmla="*/ 258149 h 9073814"/>
              <a:gd name="connsiteX22" fmla="*/ 1044789 w 4225907"/>
              <a:gd name="connsiteY22" fmla="*/ 270853 h 9073814"/>
              <a:gd name="connsiteX23" fmla="*/ 1058001 w 4225907"/>
              <a:gd name="connsiteY23" fmla="*/ 283557 h 9073814"/>
              <a:gd name="connsiteX24" fmla="*/ 1071722 w 4225907"/>
              <a:gd name="connsiteY24" fmla="*/ 294737 h 9073814"/>
              <a:gd name="connsiteX25" fmla="*/ 1088491 w 4225907"/>
              <a:gd name="connsiteY25" fmla="*/ 304900 h 9073814"/>
              <a:gd name="connsiteX26" fmla="*/ 1106277 w 4225907"/>
              <a:gd name="connsiteY26" fmla="*/ 314047 h 9073814"/>
              <a:gd name="connsiteX27" fmla="*/ 1126604 w 4225907"/>
              <a:gd name="connsiteY27" fmla="*/ 321670 h 9073814"/>
              <a:gd name="connsiteX28" fmla="*/ 1148455 w 4225907"/>
              <a:gd name="connsiteY28" fmla="*/ 327768 h 9073814"/>
              <a:gd name="connsiteX29" fmla="*/ 1172847 w 4225907"/>
              <a:gd name="connsiteY29" fmla="*/ 332341 h 9073814"/>
              <a:gd name="connsiteX30" fmla="*/ 1198763 w 4225907"/>
              <a:gd name="connsiteY30" fmla="*/ 335390 h 9073814"/>
              <a:gd name="connsiteX31" fmla="*/ 1227729 w 4225907"/>
              <a:gd name="connsiteY31" fmla="*/ 336406 h 9073814"/>
              <a:gd name="connsiteX32" fmla="*/ 2998178 w 4225907"/>
              <a:gd name="connsiteY32" fmla="*/ 336406 h 9073814"/>
              <a:gd name="connsiteX33" fmla="*/ 3027144 w 4225907"/>
              <a:gd name="connsiteY33" fmla="*/ 335390 h 9073814"/>
              <a:gd name="connsiteX34" fmla="*/ 3053060 w 4225907"/>
              <a:gd name="connsiteY34" fmla="*/ 332341 h 9073814"/>
              <a:gd name="connsiteX35" fmla="*/ 3077452 w 4225907"/>
              <a:gd name="connsiteY35" fmla="*/ 327768 h 9073814"/>
              <a:gd name="connsiteX36" fmla="*/ 3099303 w 4225907"/>
              <a:gd name="connsiteY36" fmla="*/ 321670 h 9073814"/>
              <a:gd name="connsiteX37" fmla="*/ 3119630 w 4225907"/>
              <a:gd name="connsiteY37" fmla="*/ 314047 h 9073814"/>
              <a:gd name="connsiteX38" fmla="*/ 3137416 w 4225907"/>
              <a:gd name="connsiteY38" fmla="*/ 304900 h 9073814"/>
              <a:gd name="connsiteX39" fmla="*/ 3154185 w 4225907"/>
              <a:gd name="connsiteY39" fmla="*/ 294737 h 9073814"/>
              <a:gd name="connsiteX40" fmla="*/ 3167906 w 4225907"/>
              <a:gd name="connsiteY40" fmla="*/ 283557 h 9073814"/>
              <a:gd name="connsiteX41" fmla="*/ 3181118 w 4225907"/>
              <a:gd name="connsiteY41" fmla="*/ 270853 h 9073814"/>
              <a:gd name="connsiteX42" fmla="*/ 3193314 w 4225907"/>
              <a:gd name="connsiteY42" fmla="*/ 258149 h 9073814"/>
              <a:gd name="connsiteX43" fmla="*/ 3203477 w 4225907"/>
              <a:gd name="connsiteY43" fmla="*/ 244429 h 9073814"/>
              <a:gd name="connsiteX44" fmla="*/ 3211608 w 4225907"/>
              <a:gd name="connsiteY44" fmla="*/ 229691 h 9073814"/>
              <a:gd name="connsiteX45" fmla="*/ 3219739 w 4225907"/>
              <a:gd name="connsiteY45" fmla="*/ 214954 h 9073814"/>
              <a:gd name="connsiteX46" fmla="*/ 3226345 w 4225907"/>
              <a:gd name="connsiteY46" fmla="*/ 199710 h 9073814"/>
              <a:gd name="connsiteX47" fmla="*/ 3232443 w 4225907"/>
              <a:gd name="connsiteY47" fmla="*/ 183957 h 9073814"/>
              <a:gd name="connsiteX48" fmla="*/ 3237524 w 4225907"/>
              <a:gd name="connsiteY48" fmla="*/ 167695 h 9073814"/>
              <a:gd name="connsiteX49" fmla="*/ 3242098 w 4225907"/>
              <a:gd name="connsiteY49" fmla="*/ 152451 h 9073814"/>
              <a:gd name="connsiteX50" fmla="*/ 3245147 w 4225907"/>
              <a:gd name="connsiteY50" fmla="*/ 136697 h 9073814"/>
              <a:gd name="connsiteX51" fmla="*/ 3248704 w 4225907"/>
              <a:gd name="connsiteY51" fmla="*/ 121452 h 9073814"/>
              <a:gd name="connsiteX52" fmla="*/ 3251753 w 4225907"/>
              <a:gd name="connsiteY52" fmla="*/ 106716 h 9073814"/>
              <a:gd name="connsiteX53" fmla="*/ 3256835 w 4225907"/>
              <a:gd name="connsiteY53" fmla="*/ 77750 h 9073814"/>
              <a:gd name="connsiteX54" fmla="*/ 3261408 w 4225907"/>
              <a:gd name="connsiteY54" fmla="*/ 52850 h 9073814"/>
              <a:gd name="connsiteX55" fmla="*/ 3263441 w 4225907"/>
              <a:gd name="connsiteY55" fmla="*/ 41162 h 9073814"/>
              <a:gd name="connsiteX56" fmla="*/ 3266490 w 4225907"/>
              <a:gd name="connsiteY56" fmla="*/ 30999 h 9073814"/>
              <a:gd name="connsiteX57" fmla="*/ 3269539 w 4225907"/>
              <a:gd name="connsiteY57" fmla="*/ 22360 h 9073814"/>
              <a:gd name="connsiteX58" fmla="*/ 3273604 w 4225907"/>
              <a:gd name="connsiteY58" fmla="*/ 14229 h 9073814"/>
              <a:gd name="connsiteX59" fmla="*/ 3277670 w 4225907"/>
              <a:gd name="connsiteY59" fmla="*/ 8640 h 9073814"/>
              <a:gd name="connsiteX60" fmla="*/ 3282751 w 4225907"/>
              <a:gd name="connsiteY60" fmla="*/ 4066 h 9073814"/>
              <a:gd name="connsiteX61" fmla="*/ 3288341 w 4225907"/>
              <a:gd name="connsiteY61" fmla="*/ 1017 h 9073814"/>
              <a:gd name="connsiteX62" fmla="*/ 3294947 w 4225907"/>
              <a:gd name="connsiteY62" fmla="*/ 0 h 9073814"/>
              <a:gd name="connsiteX63" fmla="*/ 3721806 w 4225907"/>
              <a:gd name="connsiteY63" fmla="*/ 0 h 9073814"/>
              <a:gd name="connsiteX64" fmla="*/ 3755854 w 4225907"/>
              <a:gd name="connsiteY64" fmla="*/ 508 h 9073814"/>
              <a:gd name="connsiteX65" fmla="*/ 3788376 w 4225907"/>
              <a:gd name="connsiteY65" fmla="*/ 3557 h 9073814"/>
              <a:gd name="connsiteX66" fmla="*/ 3819882 w 4225907"/>
              <a:gd name="connsiteY66" fmla="*/ 7623 h 9073814"/>
              <a:gd name="connsiteX67" fmla="*/ 3849356 w 4225907"/>
              <a:gd name="connsiteY67" fmla="*/ 13213 h 9073814"/>
              <a:gd name="connsiteX68" fmla="*/ 3878322 w 4225907"/>
              <a:gd name="connsiteY68" fmla="*/ 19819 h 9073814"/>
              <a:gd name="connsiteX69" fmla="*/ 3905254 w 4225907"/>
              <a:gd name="connsiteY69" fmla="*/ 28966 h 9073814"/>
              <a:gd name="connsiteX70" fmla="*/ 3931679 w 4225907"/>
              <a:gd name="connsiteY70" fmla="*/ 38621 h 9073814"/>
              <a:gd name="connsiteX71" fmla="*/ 3956579 w 4225907"/>
              <a:gd name="connsiteY71" fmla="*/ 50309 h 9073814"/>
              <a:gd name="connsiteX72" fmla="*/ 3979955 w 4225907"/>
              <a:gd name="connsiteY72" fmla="*/ 63013 h 9073814"/>
              <a:gd name="connsiteX73" fmla="*/ 4002314 w 4225907"/>
              <a:gd name="connsiteY73" fmla="*/ 77750 h 9073814"/>
              <a:gd name="connsiteX74" fmla="*/ 4023657 w 4225907"/>
              <a:gd name="connsiteY74" fmla="*/ 92995 h 9073814"/>
              <a:gd name="connsiteX75" fmla="*/ 4043984 w 4225907"/>
              <a:gd name="connsiteY75" fmla="*/ 110272 h 9073814"/>
              <a:gd name="connsiteX76" fmla="*/ 4062786 w 4225907"/>
              <a:gd name="connsiteY76" fmla="*/ 128058 h 9073814"/>
              <a:gd name="connsiteX77" fmla="*/ 4080064 w 4225907"/>
              <a:gd name="connsiteY77" fmla="*/ 146861 h 9073814"/>
              <a:gd name="connsiteX78" fmla="*/ 4096833 w 4225907"/>
              <a:gd name="connsiteY78" fmla="*/ 167695 h 9073814"/>
              <a:gd name="connsiteX79" fmla="*/ 4112586 w 4225907"/>
              <a:gd name="connsiteY79" fmla="*/ 189546 h 9073814"/>
              <a:gd name="connsiteX80" fmla="*/ 4126815 w 4225907"/>
              <a:gd name="connsiteY80" fmla="*/ 211398 h 9073814"/>
              <a:gd name="connsiteX81" fmla="*/ 4140027 w 4225907"/>
              <a:gd name="connsiteY81" fmla="*/ 235282 h 9073814"/>
              <a:gd name="connsiteX82" fmla="*/ 4152731 w 4225907"/>
              <a:gd name="connsiteY82" fmla="*/ 260181 h 9073814"/>
              <a:gd name="connsiteX83" fmla="*/ 4163402 w 4225907"/>
              <a:gd name="connsiteY83" fmla="*/ 285590 h 9073814"/>
              <a:gd name="connsiteX84" fmla="*/ 4174074 w 4225907"/>
              <a:gd name="connsiteY84" fmla="*/ 312522 h 9073814"/>
              <a:gd name="connsiteX85" fmla="*/ 4183221 w 4225907"/>
              <a:gd name="connsiteY85" fmla="*/ 340471 h 9073814"/>
              <a:gd name="connsiteX86" fmla="*/ 4191860 w 4225907"/>
              <a:gd name="connsiteY86" fmla="*/ 368421 h 9073814"/>
              <a:gd name="connsiteX87" fmla="*/ 4199482 w 4225907"/>
              <a:gd name="connsiteY87" fmla="*/ 397894 h 9073814"/>
              <a:gd name="connsiteX88" fmla="*/ 4205580 w 4225907"/>
              <a:gd name="connsiteY88" fmla="*/ 428384 h 9073814"/>
              <a:gd name="connsiteX89" fmla="*/ 4211170 w 4225907"/>
              <a:gd name="connsiteY89" fmla="*/ 459383 h 9073814"/>
              <a:gd name="connsiteX90" fmla="*/ 4215744 w 4225907"/>
              <a:gd name="connsiteY90" fmla="*/ 490889 h 9073814"/>
              <a:gd name="connsiteX91" fmla="*/ 4219809 w 4225907"/>
              <a:gd name="connsiteY91" fmla="*/ 523411 h 9073814"/>
              <a:gd name="connsiteX92" fmla="*/ 4222350 w 4225907"/>
              <a:gd name="connsiteY92" fmla="*/ 556442 h 9073814"/>
              <a:gd name="connsiteX93" fmla="*/ 4224382 w 4225907"/>
              <a:gd name="connsiteY93" fmla="*/ 590490 h 9073814"/>
              <a:gd name="connsiteX94" fmla="*/ 4225399 w 4225907"/>
              <a:gd name="connsiteY94" fmla="*/ 624536 h 9073814"/>
              <a:gd name="connsiteX95" fmla="*/ 4225907 w 4225907"/>
              <a:gd name="connsiteY95" fmla="*/ 659092 h 9073814"/>
              <a:gd name="connsiteX96" fmla="*/ 4225907 w 4225907"/>
              <a:gd name="connsiteY96" fmla="*/ 8479260 h 9073814"/>
              <a:gd name="connsiteX97" fmla="*/ 4225399 w 4225907"/>
              <a:gd name="connsiteY97" fmla="*/ 8512799 h 9073814"/>
              <a:gd name="connsiteX98" fmla="*/ 4223874 w 4225907"/>
              <a:gd name="connsiteY98" fmla="*/ 8546338 h 9073814"/>
              <a:gd name="connsiteX99" fmla="*/ 4220317 w 4225907"/>
              <a:gd name="connsiteY99" fmla="*/ 8578352 h 9073814"/>
              <a:gd name="connsiteX100" fmla="*/ 4216252 w 4225907"/>
              <a:gd name="connsiteY100" fmla="*/ 8609858 h 9073814"/>
              <a:gd name="connsiteX101" fmla="*/ 4211170 w 4225907"/>
              <a:gd name="connsiteY101" fmla="*/ 8640348 h 9073814"/>
              <a:gd name="connsiteX102" fmla="*/ 4204564 w 4225907"/>
              <a:gd name="connsiteY102" fmla="*/ 8669822 h 9073814"/>
              <a:gd name="connsiteX103" fmla="*/ 4196434 w 4225907"/>
              <a:gd name="connsiteY103" fmla="*/ 8698279 h 9073814"/>
              <a:gd name="connsiteX104" fmla="*/ 4187794 w 4225907"/>
              <a:gd name="connsiteY104" fmla="*/ 8726228 h 9073814"/>
              <a:gd name="connsiteX105" fmla="*/ 4177631 w 4225907"/>
              <a:gd name="connsiteY105" fmla="*/ 8753161 h 9073814"/>
              <a:gd name="connsiteX106" fmla="*/ 4166960 w 4225907"/>
              <a:gd name="connsiteY106" fmla="*/ 8779078 h 9073814"/>
              <a:gd name="connsiteX107" fmla="*/ 4154256 w 4225907"/>
              <a:gd name="connsiteY107" fmla="*/ 8803978 h 9073814"/>
              <a:gd name="connsiteX108" fmla="*/ 4141552 w 4225907"/>
              <a:gd name="connsiteY108" fmla="*/ 8828370 h 9073814"/>
              <a:gd name="connsiteX109" fmla="*/ 4126815 w 4225907"/>
              <a:gd name="connsiteY109" fmla="*/ 8850729 h 9073814"/>
              <a:gd name="connsiteX110" fmla="*/ 4111570 w 4225907"/>
              <a:gd name="connsiteY110" fmla="*/ 8873088 h 9073814"/>
              <a:gd name="connsiteX111" fmla="*/ 4094800 w 4225907"/>
              <a:gd name="connsiteY111" fmla="*/ 8893923 h 9073814"/>
              <a:gd name="connsiteX112" fmla="*/ 4076506 w 4225907"/>
              <a:gd name="connsiteY112" fmla="*/ 8913742 h 9073814"/>
              <a:gd name="connsiteX113" fmla="*/ 4058212 w 4225907"/>
              <a:gd name="connsiteY113" fmla="*/ 8932544 h 9073814"/>
              <a:gd name="connsiteX114" fmla="*/ 4038902 w 4225907"/>
              <a:gd name="connsiteY114" fmla="*/ 8950330 h 9073814"/>
              <a:gd name="connsiteX115" fmla="*/ 4017559 w 4225907"/>
              <a:gd name="connsiteY115" fmla="*/ 8966591 h 9073814"/>
              <a:gd name="connsiteX116" fmla="*/ 3995708 w 4225907"/>
              <a:gd name="connsiteY116" fmla="*/ 8981836 h 9073814"/>
              <a:gd name="connsiteX117" fmla="*/ 3972840 w 4225907"/>
              <a:gd name="connsiteY117" fmla="*/ 8996573 h 9073814"/>
              <a:gd name="connsiteX118" fmla="*/ 3948957 w 4225907"/>
              <a:gd name="connsiteY118" fmla="*/ 9009785 h 9073814"/>
              <a:gd name="connsiteX119" fmla="*/ 3924056 w 4225907"/>
              <a:gd name="connsiteY119" fmla="*/ 9021473 h 9073814"/>
              <a:gd name="connsiteX120" fmla="*/ 3898648 w 4225907"/>
              <a:gd name="connsiteY120" fmla="*/ 9032653 h 9073814"/>
              <a:gd name="connsiteX121" fmla="*/ 3871207 w 4225907"/>
              <a:gd name="connsiteY121" fmla="*/ 9042308 h 9073814"/>
              <a:gd name="connsiteX122" fmla="*/ 3843766 w 4225907"/>
              <a:gd name="connsiteY122" fmla="*/ 9050438 h 9073814"/>
              <a:gd name="connsiteX123" fmla="*/ 3815309 w 4225907"/>
              <a:gd name="connsiteY123" fmla="*/ 9057553 h 9073814"/>
              <a:gd name="connsiteX124" fmla="*/ 3785327 w 4225907"/>
              <a:gd name="connsiteY124" fmla="*/ 9063143 h 9073814"/>
              <a:gd name="connsiteX125" fmla="*/ 3754837 w 4225907"/>
              <a:gd name="connsiteY125" fmla="*/ 9068224 h 9073814"/>
              <a:gd name="connsiteX126" fmla="*/ 3723331 w 4225907"/>
              <a:gd name="connsiteY126" fmla="*/ 9070765 h 9073814"/>
              <a:gd name="connsiteX127" fmla="*/ 3690300 w 4225907"/>
              <a:gd name="connsiteY127" fmla="*/ 9073306 h 9073814"/>
              <a:gd name="connsiteX128" fmla="*/ 3657270 w 4225907"/>
              <a:gd name="connsiteY128" fmla="*/ 9073814 h 9073814"/>
              <a:gd name="connsiteX129" fmla="*/ 568638 w 4225907"/>
              <a:gd name="connsiteY129" fmla="*/ 9073814 h 9073814"/>
              <a:gd name="connsiteX130" fmla="*/ 536623 w 4225907"/>
              <a:gd name="connsiteY130" fmla="*/ 9073306 h 9073814"/>
              <a:gd name="connsiteX131" fmla="*/ 505117 w 4225907"/>
              <a:gd name="connsiteY131" fmla="*/ 9070765 h 9073814"/>
              <a:gd name="connsiteX132" fmla="*/ 474627 w 4225907"/>
              <a:gd name="connsiteY132" fmla="*/ 9068224 h 9073814"/>
              <a:gd name="connsiteX133" fmla="*/ 445153 w 4225907"/>
              <a:gd name="connsiteY133" fmla="*/ 9063651 h 9073814"/>
              <a:gd name="connsiteX134" fmla="*/ 416188 w 4225907"/>
              <a:gd name="connsiteY134" fmla="*/ 9058061 h 9073814"/>
              <a:gd name="connsiteX135" fmla="*/ 387731 w 4225907"/>
              <a:gd name="connsiteY135" fmla="*/ 9050947 h 9073814"/>
              <a:gd name="connsiteX136" fmla="*/ 360798 w 4225907"/>
              <a:gd name="connsiteY136" fmla="*/ 9042816 h 9073814"/>
              <a:gd name="connsiteX137" fmla="*/ 333865 w 4225907"/>
              <a:gd name="connsiteY137" fmla="*/ 9033669 h 9073814"/>
              <a:gd name="connsiteX138" fmla="*/ 308456 w 4225907"/>
              <a:gd name="connsiteY138" fmla="*/ 9023506 h 9073814"/>
              <a:gd name="connsiteX139" fmla="*/ 284064 w 4225907"/>
              <a:gd name="connsiteY139" fmla="*/ 9011310 h 9073814"/>
              <a:gd name="connsiteX140" fmla="*/ 260181 w 4225907"/>
              <a:gd name="connsiteY140" fmla="*/ 8999114 h 9073814"/>
              <a:gd name="connsiteX141" fmla="*/ 237313 w 4225907"/>
              <a:gd name="connsiteY141" fmla="*/ 8985393 h 9073814"/>
              <a:gd name="connsiteX142" fmla="*/ 214954 w 4225907"/>
              <a:gd name="connsiteY142" fmla="*/ 8970148 h 9073814"/>
              <a:gd name="connsiteX143" fmla="*/ 194119 w 4225907"/>
              <a:gd name="connsiteY143" fmla="*/ 8954395 h 9073814"/>
              <a:gd name="connsiteX144" fmla="*/ 174301 w 4225907"/>
              <a:gd name="connsiteY144" fmla="*/ 8937117 h 9073814"/>
              <a:gd name="connsiteX145" fmla="*/ 154990 w 4225907"/>
              <a:gd name="connsiteY145" fmla="*/ 8918823 h 9073814"/>
              <a:gd name="connsiteX146" fmla="*/ 136696 w 4225907"/>
              <a:gd name="connsiteY146" fmla="*/ 8900529 h 9073814"/>
              <a:gd name="connsiteX147" fmla="*/ 119419 w 4225907"/>
              <a:gd name="connsiteY147" fmla="*/ 8879695 h 9073814"/>
              <a:gd name="connsiteX148" fmla="*/ 103666 w 4225907"/>
              <a:gd name="connsiteY148" fmla="*/ 8858860 h 9073814"/>
              <a:gd name="connsiteX149" fmla="*/ 88929 w 4225907"/>
              <a:gd name="connsiteY149" fmla="*/ 8837517 h 9073814"/>
              <a:gd name="connsiteX150" fmla="*/ 74700 w 4225907"/>
              <a:gd name="connsiteY150" fmla="*/ 8814141 h 9073814"/>
              <a:gd name="connsiteX151" fmla="*/ 62504 w 4225907"/>
              <a:gd name="connsiteY151" fmla="*/ 8790257 h 9073814"/>
              <a:gd name="connsiteX152" fmla="*/ 50816 w 4225907"/>
              <a:gd name="connsiteY152" fmla="*/ 8765357 h 9073814"/>
              <a:gd name="connsiteX153" fmla="*/ 40145 w 4225907"/>
              <a:gd name="connsiteY153" fmla="*/ 8739949 h 9073814"/>
              <a:gd name="connsiteX154" fmla="*/ 30998 w 4225907"/>
              <a:gd name="connsiteY154" fmla="*/ 8713524 h 9073814"/>
              <a:gd name="connsiteX155" fmla="*/ 22867 w 4225907"/>
              <a:gd name="connsiteY155" fmla="*/ 8686083 h 9073814"/>
              <a:gd name="connsiteX156" fmla="*/ 15753 w 4225907"/>
              <a:gd name="connsiteY156" fmla="*/ 8658134 h 9073814"/>
              <a:gd name="connsiteX157" fmla="*/ 10163 w 4225907"/>
              <a:gd name="connsiteY157" fmla="*/ 8628661 h 9073814"/>
              <a:gd name="connsiteX158" fmla="*/ 5590 w 4225907"/>
              <a:gd name="connsiteY158" fmla="*/ 8599187 h 9073814"/>
              <a:gd name="connsiteX159" fmla="*/ 3049 w 4225907"/>
              <a:gd name="connsiteY159" fmla="*/ 8568697 h 9073814"/>
              <a:gd name="connsiteX160" fmla="*/ 508 w 4225907"/>
              <a:gd name="connsiteY160" fmla="*/ 8537191 h 9073814"/>
              <a:gd name="connsiteX161" fmla="*/ 0 w 4225907"/>
              <a:gd name="connsiteY161" fmla="*/ 8505176 h 9073814"/>
              <a:gd name="connsiteX162" fmla="*/ 0 w 4225907"/>
              <a:gd name="connsiteY162" fmla="*/ 620472 h 9073814"/>
              <a:gd name="connsiteX163" fmla="*/ 508 w 4225907"/>
              <a:gd name="connsiteY163" fmla="*/ 587441 h 9073814"/>
              <a:gd name="connsiteX164" fmla="*/ 1524 w 4225907"/>
              <a:gd name="connsiteY164" fmla="*/ 555426 h 9073814"/>
              <a:gd name="connsiteX165" fmla="*/ 4065 w 4225907"/>
              <a:gd name="connsiteY165" fmla="*/ 523411 h 9073814"/>
              <a:gd name="connsiteX166" fmla="*/ 7622 w 4225907"/>
              <a:gd name="connsiteY166" fmla="*/ 492922 h 9073814"/>
              <a:gd name="connsiteX167" fmla="*/ 11179 w 4225907"/>
              <a:gd name="connsiteY167" fmla="*/ 462432 h 9073814"/>
              <a:gd name="connsiteX168" fmla="*/ 16261 w 4225907"/>
              <a:gd name="connsiteY168" fmla="*/ 431942 h 9073814"/>
              <a:gd name="connsiteX169" fmla="*/ 22867 w 4225907"/>
              <a:gd name="connsiteY169" fmla="*/ 402976 h 9073814"/>
              <a:gd name="connsiteX170" fmla="*/ 29982 w 4225907"/>
              <a:gd name="connsiteY170" fmla="*/ 375027 h 9073814"/>
              <a:gd name="connsiteX171" fmla="*/ 38112 w 4225907"/>
              <a:gd name="connsiteY171" fmla="*/ 347078 h 9073814"/>
              <a:gd name="connsiteX172" fmla="*/ 47259 w 4225907"/>
              <a:gd name="connsiteY172" fmla="*/ 320654 h 9073814"/>
              <a:gd name="connsiteX173" fmla="*/ 56914 w 4225907"/>
              <a:gd name="connsiteY173" fmla="*/ 294228 h 9073814"/>
              <a:gd name="connsiteX174" fmla="*/ 68094 w 4225907"/>
              <a:gd name="connsiteY174" fmla="*/ 269329 h 9073814"/>
              <a:gd name="connsiteX175" fmla="*/ 79782 w 4225907"/>
              <a:gd name="connsiteY175" fmla="*/ 244936 h 9073814"/>
              <a:gd name="connsiteX176" fmla="*/ 92486 w 4225907"/>
              <a:gd name="connsiteY176" fmla="*/ 221561 h 9073814"/>
              <a:gd name="connsiteX177" fmla="*/ 106715 w 4225907"/>
              <a:gd name="connsiteY177" fmla="*/ 199710 h 9073814"/>
              <a:gd name="connsiteX178" fmla="*/ 121451 w 4225907"/>
              <a:gd name="connsiteY178" fmla="*/ 177859 h 9073814"/>
              <a:gd name="connsiteX179" fmla="*/ 137713 w 4225907"/>
              <a:gd name="connsiteY179" fmla="*/ 157532 h 9073814"/>
              <a:gd name="connsiteX180" fmla="*/ 154990 w 4225907"/>
              <a:gd name="connsiteY180" fmla="*/ 138221 h 9073814"/>
              <a:gd name="connsiteX181" fmla="*/ 172268 w 4225907"/>
              <a:gd name="connsiteY181" fmla="*/ 120436 h 9073814"/>
              <a:gd name="connsiteX182" fmla="*/ 191578 w 4225907"/>
              <a:gd name="connsiteY182" fmla="*/ 103158 h 9073814"/>
              <a:gd name="connsiteX183" fmla="*/ 211905 w 4225907"/>
              <a:gd name="connsiteY183" fmla="*/ 87405 h 9073814"/>
              <a:gd name="connsiteX184" fmla="*/ 233248 w 4225907"/>
              <a:gd name="connsiteY184" fmla="*/ 73177 h 9073814"/>
              <a:gd name="connsiteX185" fmla="*/ 255099 w 4225907"/>
              <a:gd name="connsiteY185" fmla="*/ 59456 h 9073814"/>
              <a:gd name="connsiteX186" fmla="*/ 278475 w 4225907"/>
              <a:gd name="connsiteY186" fmla="*/ 47768 h 9073814"/>
              <a:gd name="connsiteX187" fmla="*/ 302867 w 4225907"/>
              <a:gd name="connsiteY187" fmla="*/ 36081 h 9073814"/>
              <a:gd name="connsiteX188" fmla="*/ 328275 w 4225907"/>
              <a:gd name="connsiteY188" fmla="*/ 27441 h 9073814"/>
              <a:gd name="connsiteX189" fmla="*/ 355208 w 4225907"/>
              <a:gd name="connsiteY189" fmla="*/ 18802 h 9073814"/>
              <a:gd name="connsiteX190" fmla="*/ 382141 w 4225907"/>
              <a:gd name="connsiteY190" fmla="*/ 12704 h 9073814"/>
              <a:gd name="connsiteX191" fmla="*/ 411106 w 4225907"/>
              <a:gd name="connsiteY191" fmla="*/ 6606 h 9073814"/>
              <a:gd name="connsiteX192" fmla="*/ 441088 w 4225907"/>
              <a:gd name="connsiteY192" fmla="*/ 3049 h 9073814"/>
              <a:gd name="connsiteX193" fmla="*/ 472086 w 4225907"/>
              <a:gd name="connsiteY193" fmla="*/ 508 h 9073814"/>
              <a:gd name="connsiteX194" fmla="*/ 504100 w 4225907"/>
              <a:gd name="connsiteY194" fmla="*/ 0 h 9073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4225907" h="9073814">
                <a:moveTo>
                  <a:pt x="504100" y="0"/>
                </a:moveTo>
                <a:lnTo>
                  <a:pt x="930960" y="0"/>
                </a:lnTo>
                <a:lnTo>
                  <a:pt x="937566" y="1017"/>
                </a:lnTo>
                <a:lnTo>
                  <a:pt x="943156" y="4066"/>
                </a:lnTo>
                <a:lnTo>
                  <a:pt x="948237" y="8640"/>
                </a:lnTo>
                <a:lnTo>
                  <a:pt x="952303" y="14229"/>
                </a:lnTo>
                <a:lnTo>
                  <a:pt x="956368" y="22360"/>
                </a:lnTo>
                <a:lnTo>
                  <a:pt x="959417" y="30999"/>
                </a:lnTo>
                <a:lnTo>
                  <a:pt x="962466" y="41162"/>
                </a:lnTo>
                <a:lnTo>
                  <a:pt x="964499" y="52850"/>
                </a:lnTo>
                <a:lnTo>
                  <a:pt x="969072" y="77750"/>
                </a:lnTo>
                <a:lnTo>
                  <a:pt x="974154" y="106716"/>
                </a:lnTo>
                <a:lnTo>
                  <a:pt x="977203" y="121452"/>
                </a:lnTo>
                <a:lnTo>
                  <a:pt x="980760" y="136697"/>
                </a:lnTo>
                <a:lnTo>
                  <a:pt x="983809" y="152451"/>
                </a:lnTo>
                <a:lnTo>
                  <a:pt x="988382" y="167695"/>
                </a:lnTo>
                <a:lnTo>
                  <a:pt x="993464" y="183957"/>
                </a:lnTo>
                <a:lnTo>
                  <a:pt x="999562" y="199710"/>
                </a:lnTo>
                <a:lnTo>
                  <a:pt x="1006168" y="214954"/>
                </a:lnTo>
                <a:lnTo>
                  <a:pt x="1014299" y="229691"/>
                </a:lnTo>
                <a:lnTo>
                  <a:pt x="1022430" y="244429"/>
                </a:lnTo>
                <a:lnTo>
                  <a:pt x="1032593" y="258149"/>
                </a:lnTo>
                <a:lnTo>
                  <a:pt x="1044789" y="270853"/>
                </a:lnTo>
                <a:lnTo>
                  <a:pt x="1058001" y="283557"/>
                </a:lnTo>
                <a:lnTo>
                  <a:pt x="1071722" y="294737"/>
                </a:lnTo>
                <a:lnTo>
                  <a:pt x="1088491" y="304900"/>
                </a:lnTo>
                <a:lnTo>
                  <a:pt x="1106277" y="314047"/>
                </a:lnTo>
                <a:lnTo>
                  <a:pt x="1126604" y="321670"/>
                </a:lnTo>
                <a:lnTo>
                  <a:pt x="1148455" y="327768"/>
                </a:lnTo>
                <a:lnTo>
                  <a:pt x="1172847" y="332341"/>
                </a:lnTo>
                <a:lnTo>
                  <a:pt x="1198763" y="335390"/>
                </a:lnTo>
                <a:lnTo>
                  <a:pt x="1227729" y="336406"/>
                </a:lnTo>
                <a:lnTo>
                  <a:pt x="2998178" y="336406"/>
                </a:lnTo>
                <a:lnTo>
                  <a:pt x="3027144" y="335390"/>
                </a:lnTo>
                <a:lnTo>
                  <a:pt x="3053060" y="332341"/>
                </a:lnTo>
                <a:lnTo>
                  <a:pt x="3077452" y="327768"/>
                </a:lnTo>
                <a:lnTo>
                  <a:pt x="3099303" y="321670"/>
                </a:lnTo>
                <a:lnTo>
                  <a:pt x="3119630" y="314047"/>
                </a:lnTo>
                <a:lnTo>
                  <a:pt x="3137416" y="304900"/>
                </a:lnTo>
                <a:lnTo>
                  <a:pt x="3154185" y="294737"/>
                </a:lnTo>
                <a:lnTo>
                  <a:pt x="3167906" y="283557"/>
                </a:lnTo>
                <a:lnTo>
                  <a:pt x="3181118" y="270853"/>
                </a:lnTo>
                <a:lnTo>
                  <a:pt x="3193314" y="258149"/>
                </a:lnTo>
                <a:lnTo>
                  <a:pt x="3203477" y="244429"/>
                </a:lnTo>
                <a:lnTo>
                  <a:pt x="3211608" y="229691"/>
                </a:lnTo>
                <a:lnTo>
                  <a:pt x="3219739" y="214954"/>
                </a:lnTo>
                <a:lnTo>
                  <a:pt x="3226345" y="199710"/>
                </a:lnTo>
                <a:lnTo>
                  <a:pt x="3232443" y="183957"/>
                </a:lnTo>
                <a:lnTo>
                  <a:pt x="3237524" y="167695"/>
                </a:lnTo>
                <a:lnTo>
                  <a:pt x="3242098" y="152451"/>
                </a:lnTo>
                <a:lnTo>
                  <a:pt x="3245147" y="136697"/>
                </a:lnTo>
                <a:lnTo>
                  <a:pt x="3248704" y="121452"/>
                </a:lnTo>
                <a:lnTo>
                  <a:pt x="3251753" y="106716"/>
                </a:lnTo>
                <a:lnTo>
                  <a:pt x="3256835" y="77750"/>
                </a:lnTo>
                <a:lnTo>
                  <a:pt x="3261408" y="52850"/>
                </a:lnTo>
                <a:lnTo>
                  <a:pt x="3263441" y="41162"/>
                </a:lnTo>
                <a:lnTo>
                  <a:pt x="3266490" y="30999"/>
                </a:lnTo>
                <a:lnTo>
                  <a:pt x="3269539" y="22360"/>
                </a:lnTo>
                <a:lnTo>
                  <a:pt x="3273604" y="14229"/>
                </a:lnTo>
                <a:lnTo>
                  <a:pt x="3277670" y="8640"/>
                </a:lnTo>
                <a:lnTo>
                  <a:pt x="3282751" y="4066"/>
                </a:lnTo>
                <a:lnTo>
                  <a:pt x="3288341" y="1017"/>
                </a:lnTo>
                <a:lnTo>
                  <a:pt x="3294947" y="0"/>
                </a:lnTo>
                <a:lnTo>
                  <a:pt x="3721806" y="0"/>
                </a:lnTo>
                <a:lnTo>
                  <a:pt x="3755854" y="508"/>
                </a:lnTo>
                <a:lnTo>
                  <a:pt x="3788376" y="3557"/>
                </a:lnTo>
                <a:lnTo>
                  <a:pt x="3819882" y="7623"/>
                </a:lnTo>
                <a:lnTo>
                  <a:pt x="3849356" y="13213"/>
                </a:lnTo>
                <a:lnTo>
                  <a:pt x="3878322" y="19819"/>
                </a:lnTo>
                <a:lnTo>
                  <a:pt x="3905254" y="28966"/>
                </a:lnTo>
                <a:lnTo>
                  <a:pt x="3931679" y="38621"/>
                </a:lnTo>
                <a:lnTo>
                  <a:pt x="3956579" y="50309"/>
                </a:lnTo>
                <a:lnTo>
                  <a:pt x="3979955" y="63013"/>
                </a:lnTo>
                <a:lnTo>
                  <a:pt x="4002314" y="77750"/>
                </a:lnTo>
                <a:lnTo>
                  <a:pt x="4023657" y="92995"/>
                </a:lnTo>
                <a:lnTo>
                  <a:pt x="4043984" y="110272"/>
                </a:lnTo>
                <a:lnTo>
                  <a:pt x="4062786" y="128058"/>
                </a:lnTo>
                <a:lnTo>
                  <a:pt x="4080064" y="146861"/>
                </a:lnTo>
                <a:lnTo>
                  <a:pt x="4096833" y="167695"/>
                </a:lnTo>
                <a:lnTo>
                  <a:pt x="4112586" y="189546"/>
                </a:lnTo>
                <a:lnTo>
                  <a:pt x="4126815" y="211398"/>
                </a:lnTo>
                <a:lnTo>
                  <a:pt x="4140027" y="235282"/>
                </a:lnTo>
                <a:lnTo>
                  <a:pt x="4152731" y="260181"/>
                </a:lnTo>
                <a:lnTo>
                  <a:pt x="4163402" y="285590"/>
                </a:lnTo>
                <a:lnTo>
                  <a:pt x="4174074" y="312522"/>
                </a:lnTo>
                <a:lnTo>
                  <a:pt x="4183221" y="340471"/>
                </a:lnTo>
                <a:lnTo>
                  <a:pt x="4191860" y="368421"/>
                </a:lnTo>
                <a:lnTo>
                  <a:pt x="4199482" y="397894"/>
                </a:lnTo>
                <a:lnTo>
                  <a:pt x="4205580" y="428384"/>
                </a:lnTo>
                <a:lnTo>
                  <a:pt x="4211170" y="459383"/>
                </a:lnTo>
                <a:lnTo>
                  <a:pt x="4215744" y="490889"/>
                </a:lnTo>
                <a:lnTo>
                  <a:pt x="4219809" y="523411"/>
                </a:lnTo>
                <a:lnTo>
                  <a:pt x="4222350" y="556442"/>
                </a:lnTo>
                <a:lnTo>
                  <a:pt x="4224382" y="590490"/>
                </a:lnTo>
                <a:lnTo>
                  <a:pt x="4225399" y="624536"/>
                </a:lnTo>
                <a:lnTo>
                  <a:pt x="4225907" y="659092"/>
                </a:lnTo>
                <a:lnTo>
                  <a:pt x="4225907" y="8479260"/>
                </a:lnTo>
                <a:lnTo>
                  <a:pt x="4225399" y="8512799"/>
                </a:lnTo>
                <a:lnTo>
                  <a:pt x="4223874" y="8546338"/>
                </a:lnTo>
                <a:lnTo>
                  <a:pt x="4220317" y="8578352"/>
                </a:lnTo>
                <a:lnTo>
                  <a:pt x="4216252" y="8609858"/>
                </a:lnTo>
                <a:lnTo>
                  <a:pt x="4211170" y="8640348"/>
                </a:lnTo>
                <a:lnTo>
                  <a:pt x="4204564" y="8669822"/>
                </a:lnTo>
                <a:lnTo>
                  <a:pt x="4196434" y="8698279"/>
                </a:lnTo>
                <a:lnTo>
                  <a:pt x="4187794" y="8726228"/>
                </a:lnTo>
                <a:lnTo>
                  <a:pt x="4177631" y="8753161"/>
                </a:lnTo>
                <a:lnTo>
                  <a:pt x="4166960" y="8779078"/>
                </a:lnTo>
                <a:lnTo>
                  <a:pt x="4154256" y="8803978"/>
                </a:lnTo>
                <a:lnTo>
                  <a:pt x="4141552" y="8828370"/>
                </a:lnTo>
                <a:lnTo>
                  <a:pt x="4126815" y="8850729"/>
                </a:lnTo>
                <a:lnTo>
                  <a:pt x="4111570" y="8873088"/>
                </a:lnTo>
                <a:lnTo>
                  <a:pt x="4094800" y="8893923"/>
                </a:lnTo>
                <a:lnTo>
                  <a:pt x="4076506" y="8913742"/>
                </a:lnTo>
                <a:lnTo>
                  <a:pt x="4058212" y="8932544"/>
                </a:lnTo>
                <a:lnTo>
                  <a:pt x="4038902" y="8950330"/>
                </a:lnTo>
                <a:lnTo>
                  <a:pt x="4017559" y="8966591"/>
                </a:lnTo>
                <a:lnTo>
                  <a:pt x="3995708" y="8981836"/>
                </a:lnTo>
                <a:lnTo>
                  <a:pt x="3972840" y="8996573"/>
                </a:lnTo>
                <a:lnTo>
                  <a:pt x="3948957" y="9009785"/>
                </a:lnTo>
                <a:lnTo>
                  <a:pt x="3924056" y="9021473"/>
                </a:lnTo>
                <a:lnTo>
                  <a:pt x="3898648" y="9032653"/>
                </a:lnTo>
                <a:lnTo>
                  <a:pt x="3871207" y="9042308"/>
                </a:lnTo>
                <a:lnTo>
                  <a:pt x="3843766" y="9050438"/>
                </a:lnTo>
                <a:lnTo>
                  <a:pt x="3815309" y="9057553"/>
                </a:lnTo>
                <a:lnTo>
                  <a:pt x="3785327" y="9063143"/>
                </a:lnTo>
                <a:lnTo>
                  <a:pt x="3754837" y="9068224"/>
                </a:lnTo>
                <a:lnTo>
                  <a:pt x="3723331" y="9070765"/>
                </a:lnTo>
                <a:lnTo>
                  <a:pt x="3690300" y="9073306"/>
                </a:lnTo>
                <a:lnTo>
                  <a:pt x="3657270" y="9073814"/>
                </a:lnTo>
                <a:lnTo>
                  <a:pt x="568638" y="9073814"/>
                </a:lnTo>
                <a:lnTo>
                  <a:pt x="536623" y="9073306"/>
                </a:lnTo>
                <a:lnTo>
                  <a:pt x="505117" y="9070765"/>
                </a:lnTo>
                <a:lnTo>
                  <a:pt x="474627" y="9068224"/>
                </a:lnTo>
                <a:lnTo>
                  <a:pt x="445153" y="9063651"/>
                </a:lnTo>
                <a:lnTo>
                  <a:pt x="416188" y="9058061"/>
                </a:lnTo>
                <a:lnTo>
                  <a:pt x="387731" y="9050947"/>
                </a:lnTo>
                <a:lnTo>
                  <a:pt x="360798" y="9042816"/>
                </a:lnTo>
                <a:lnTo>
                  <a:pt x="333865" y="9033669"/>
                </a:lnTo>
                <a:lnTo>
                  <a:pt x="308456" y="9023506"/>
                </a:lnTo>
                <a:lnTo>
                  <a:pt x="284064" y="9011310"/>
                </a:lnTo>
                <a:lnTo>
                  <a:pt x="260181" y="8999114"/>
                </a:lnTo>
                <a:lnTo>
                  <a:pt x="237313" y="8985393"/>
                </a:lnTo>
                <a:lnTo>
                  <a:pt x="214954" y="8970148"/>
                </a:lnTo>
                <a:lnTo>
                  <a:pt x="194119" y="8954395"/>
                </a:lnTo>
                <a:lnTo>
                  <a:pt x="174301" y="8937117"/>
                </a:lnTo>
                <a:lnTo>
                  <a:pt x="154990" y="8918823"/>
                </a:lnTo>
                <a:lnTo>
                  <a:pt x="136696" y="8900529"/>
                </a:lnTo>
                <a:lnTo>
                  <a:pt x="119419" y="8879695"/>
                </a:lnTo>
                <a:lnTo>
                  <a:pt x="103666" y="8858860"/>
                </a:lnTo>
                <a:lnTo>
                  <a:pt x="88929" y="8837517"/>
                </a:lnTo>
                <a:lnTo>
                  <a:pt x="74700" y="8814141"/>
                </a:lnTo>
                <a:lnTo>
                  <a:pt x="62504" y="8790257"/>
                </a:lnTo>
                <a:lnTo>
                  <a:pt x="50816" y="8765357"/>
                </a:lnTo>
                <a:lnTo>
                  <a:pt x="40145" y="8739949"/>
                </a:lnTo>
                <a:lnTo>
                  <a:pt x="30998" y="8713524"/>
                </a:lnTo>
                <a:lnTo>
                  <a:pt x="22867" y="8686083"/>
                </a:lnTo>
                <a:lnTo>
                  <a:pt x="15753" y="8658134"/>
                </a:lnTo>
                <a:lnTo>
                  <a:pt x="10163" y="8628661"/>
                </a:lnTo>
                <a:lnTo>
                  <a:pt x="5590" y="8599187"/>
                </a:lnTo>
                <a:lnTo>
                  <a:pt x="3049" y="8568697"/>
                </a:lnTo>
                <a:lnTo>
                  <a:pt x="508" y="8537191"/>
                </a:lnTo>
                <a:lnTo>
                  <a:pt x="0" y="8505176"/>
                </a:lnTo>
                <a:lnTo>
                  <a:pt x="0" y="620472"/>
                </a:lnTo>
                <a:lnTo>
                  <a:pt x="508" y="587441"/>
                </a:lnTo>
                <a:lnTo>
                  <a:pt x="1524" y="555426"/>
                </a:lnTo>
                <a:lnTo>
                  <a:pt x="4065" y="523411"/>
                </a:lnTo>
                <a:lnTo>
                  <a:pt x="7622" y="492922"/>
                </a:lnTo>
                <a:lnTo>
                  <a:pt x="11179" y="462432"/>
                </a:lnTo>
                <a:lnTo>
                  <a:pt x="16261" y="431942"/>
                </a:lnTo>
                <a:lnTo>
                  <a:pt x="22867" y="402976"/>
                </a:lnTo>
                <a:lnTo>
                  <a:pt x="29982" y="375027"/>
                </a:lnTo>
                <a:lnTo>
                  <a:pt x="38112" y="347078"/>
                </a:lnTo>
                <a:lnTo>
                  <a:pt x="47259" y="320654"/>
                </a:lnTo>
                <a:lnTo>
                  <a:pt x="56914" y="294228"/>
                </a:lnTo>
                <a:lnTo>
                  <a:pt x="68094" y="269329"/>
                </a:lnTo>
                <a:lnTo>
                  <a:pt x="79782" y="244936"/>
                </a:lnTo>
                <a:lnTo>
                  <a:pt x="92486" y="221561"/>
                </a:lnTo>
                <a:lnTo>
                  <a:pt x="106715" y="199710"/>
                </a:lnTo>
                <a:lnTo>
                  <a:pt x="121451" y="177859"/>
                </a:lnTo>
                <a:lnTo>
                  <a:pt x="137713" y="157532"/>
                </a:lnTo>
                <a:lnTo>
                  <a:pt x="154990" y="138221"/>
                </a:lnTo>
                <a:lnTo>
                  <a:pt x="172268" y="120436"/>
                </a:lnTo>
                <a:lnTo>
                  <a:pt x="191578" y="103158"/>
                </a:lnTo>
                <a:lnTo>
                  <a:pt x="211905" y="87405"/>
                </a:lnTo>
                <a:lnTo>
                  <a:pt x="233248" y="73177"/>
                </a:lnTo>
                <a:lnTo>
                  <a:pt x="255099" y="59456"/>
                </a:lnTo>
                <a:lnTo>
                  <a:pt x="278475" y="47768"/>
                </a:lnTo>
                <a:lnTo>
                  <a:pt x="302867" y="36081"/>
                </a:lnTo>
                <a:lnTo>
                  <a:pt x="328275" y="27441"/>
                </a:lnTo>
                <a:lnTo>
                  <a:pt x="355208" y="18802"/>
                </a:lnTo>
                <a:lnTo>
                  <a:pt x="382141" y="12704"/>
                </a:lnTo>
                <a:lnTo>
                  <a:pt x="411106" y="6606"/>
                </a:lnTo>
                <a:lnTo>
                  <a:pt x="441088" y="3049"/>
                </a:lnTo>
                <a:lnTo>
                  <a:pt x="472086" y="508"/>
                </a:lnTo>
                <a:lnTo>
                  <a:pt x="504100" y="0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1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5" name="Рисунок 3"/>
          <p:cNvSpPr>
            <a:spLocks noGrp="1"/>
          </p:cNvSpPr>
          <p:nvPr>
            <p:ph type="pic" sz="quarter" idx="23"/>
          </p:nvPr>
        </p:nvSpPr>
        <p:spPr>
          <a:xfrm>
            <a:off x="8767931" y="4907152"/>
            <a:ext cx="2817271" cy="6048276"/>
          </a:xfrm>
          <a:custGeom>
            <a:avLst/>
            <a:gdLst>
              <a:gd name="connsiteX0" fmla="*/ 504100 w 4225907"/>
              <a:gd name="connsiteY0" fmla="*/ 0 h 9073814"/>
              <a:gd name="connsiteX1" fmla="*/ 930960 w 4225907"/>
              <a:gd name="connsiteY1" fmla="*/ 0 h 9073814"/>
              <a:gd name="connsiteX2" fmla="*/ 937566 w 4225907"/>
              <a:gd name="connsiteY2" fmla="*/ 1017 h 9073814"/>
              <a:gd name="connsiteX3" fmla="*/ 943156 w 4225907"/>
              <a:gd name="connsiteY3" fmla="*/ 4066 h 9073814"/>
              <a:gd name="connsiteX4" fmla="*/ 948237 w 4225907"/>
              <a:gd name="connsiteY4" fmla="*/ 8640 h 9073814"/>
              <a:gd name="connsiteX5" fmla="*/ 952303 w 4225907"/>
              <a:gd name="connsiteY5" fmla="*/ 14229 h 9073814"/>
              <a:gd name="connsiteX6" fmla="*/ 956368 w 4225907"/>
              <a:gd name="connsiteY6" fmla="*/ 22360 h 9073814"/>
              <a:gd name="connsiteX7" fmla="*/ 959417 w 4225907"/>
              <a:gd name="connsiteY7" fmla="*/ 30999 h 9073814"/>
              <a:gd name="connsiteX8" fmla="*/ 962466 w 4225907"/>
              <a:gd name="connsiteY8" fmla="*/ 41162 h 9073814"/>
              <a:gd name="connsiteX9" fmla="*/ 964499 w 4225907"/>
              <a:gd name="connsiteY9" fmla="*/ 52850 h 9073814"/>
              <a:gd name="connsiteX10" fmla="*/ 969072 w 4225907"/>
              <a:gd name="connsiteY10" fmla="*/ 77750 h 9073814"/>
              <a:gd name="connsiteX11" fmla="*/ 974154 w 4225907"/>
              <a:gd name="connsiteY11" fmla="*/ 106716 h 9073814"/>
              <a:gd name="connsiteX12" fmla="*/ 977203 w 4225907"/>
              <a:gd name="connsiteY12" fmla="*/ 121452 h 9073814"/>
              <a:gd name="connsiteX13" fmla="*/ 980760 w 4225907"/>
              <a:gd name="connsiteY13" fmla="*/ 136697 h 9073814"/>
              <a:gd name="connsiteX14" fmla="*/ 983809 w 4225907"/>
              <a:gd name="connsiteY14" fmla="*/ 152451 h 9073814"/>
              <a:gd name="connsiteX15" fmla="*/ 988382 w 4225907"/>
              <a:gd name="connsiteY15" fmla="*/ 167695 h 9073814"/>
              <a:gd name="connsiteX16" fmla="*/ 993464 w 4225907"/>
              <a:gd name="connsiteY16" fmla="*/ 183957 h 9073814"/>
              <a:gd name="connsiteX17" fmla="*/ 999562 w 4225907"/>
              <a:gd name="connsiteY17" fmla="*/ 199710 h 9073814"/>
              <a:gd name="connsiteX18" fmla="*/ 1006168 w 4225907"/>
              <a:gd name="connsiteY18" fmla="*/ 214954 h 9073814"/>
              <a:gd name="connsiteX19" fmla="*/ 1014299 w 4225907"/>
              <a:gd name="connsiteY19" fmla="*/ 229691 h 9073814"/>
              <a:gd name="connsiteX20" fmla="*/ 1022430 w 4225907"/>
              <a:gd name="connsiteY20" fmla="*/ 244429 h 9073814"/>
              <a:gd name="connsiteX21" fmla="*/ 1032593 w 4225907"/>
              <a:gd name="connsiteY21" fmla="*/ 258149 h 9073814"/>
              <a:gd name="connsiteX22" fmla="*/ 1044789 w 4225907"/>
              <a:gd name="connsiteY22" fmla="*/ 270853 h 9073814"/>
              <a:gd name="connsiteX23" fmla="*/ 1058001 w 4225907"/>
              <a:gd name="connsiteY23" fmla="*/ 283557 h 9073814"/>
              <a:gd name="connsiteX24" fmla="*/ 1071722 w 4225907"/>
              <a:gd name="connsiteY24" fmla="*/ 294737 h 9073814"/>
              <a:gd name="connsiteX25" fmla="*/ 1088491 w 4225907"/>
              <a:gd name="connsiteY25" fmla="*/ 304900 h 9073814"/>
              <a:gd name="connsiteX26" fmla="*/ 1106277 w 4225907"/>
              <a:gd name="connsiteY26" fmla="*/ 314047 h 9073814"/>
              <a:gd name="connsiteX27" fmla="*/ 1126604 w 4225907"/>
              <a:gd name="connsiteY27" fmla="*/ 321670 h 9073814"/>
              <a:gd name="connsiteX28" fmla="*/ 1148455 w 4225907"/>
              <a:gd name="connsiteY28" fmla="*/ 327768 h 9073814"/>
              <a:gd name="connsiteX29" fmla="*/ 1172847 w 4225907"/>
              <a:gd name="connsiteY29" fmla="*/ 332341 h 9073814"/>
              <a:gd name="connsiteX30" fmla="*/ 1198763 w 4225907"/>
              <a:gd name="connsiteY30" fmla="*/ 335390 h 9073814"/>
              <a:gd name="connsiteX31" fmla="*/ 1227729 w 4225907"/>
              <a:gd name="connsiteY31" fmla="*/ 336406 h 9073814"/>
              <a:gd name="connsiteX32" fmla="*/ 2998178 w 4225907"/>
              <a:gd name="connsiteY32" fmla="*/ 336406 h 9073814"/>
              <a:gd name="connsiteX33" fmla="*/ 3027144 w 4225907"/>
              <a:gd name="connsiteY33" fmla="*/ 335390 h 9073814"/>
              <a:gd name="connsiteX34" fmla="*/ 3053060 w 4225907"/>
              <a:gd name="connsiteY34" fmla="*/ 332341 h 9073814"/>
              <a:gd name="connsiteX35" fmla="*/ 3077452 w 4225907"/>
              <a:gd name="connsiteY35" fmla="*/ 327768 h 9073814"/>
              <a:gd name="connsiteX36" fmla="*/ 3099303 w 4225907"/>
              <a:gd name="connsiteY36" fmla="*/ 321670 h 9073814"/>
              <a:gd name="connsiteX37" fmla="*/ 3119630 w 4225907"/>
              <a:gd name="connsiteY37" fmla="*/ 314047 h 9073814"/>
              <a:gd name="connsiteX38" fmla="*/ 3137416 w 4225907"/>
              <a:gd name="connsiteY38" fmla="*/ 304900 h 9073814"/>
              <a:gd name="connsiteX39" fmla="*/ 3154185 w 4225907"/>
              <a:gd name="connsiteY39" fmla="*/ 294737 h 9073814"/>
              <a:gd name="connsiteX40" fmla="*/ 3167906 w 4225907"/>
              <a:gd name="connsiteY40" fmla="*/ 283557 h 9073814"/>
              <a:gd name="connsiteX41" fmla="*/ 3181118 w 4225907"/>
              <a:gd name="connsiteY41" fmla="*/ 270853 h 9073814"/>
              <a:gd name="connsiteX42" fmla="*/ 3193314 w 4225907"/>
              <a:gd name="connsiteY42" fmla="*/ 258149 h 9073814"/>
              <a:gd name="connsiteX43" fmla="*/ 3203477 w 4225907"/>
              <a:gd name="connsiteY43" fmla="*/ 244429 h 9073814"/>
              <a:gd name="connsiteX44" fmla="*/ 3211608 w 4225907"/>
              <a:gd name="connsiteY44" fmla="*/ 229691 h 9073814"/>
              <a:gd name="connsiteX45" fmla="*/ 3219739 w 4225907"/>
              <a:gd name="connsiteY45" fmla="*/ 214954 h 9073814"/>
              <a:gd name="connsiteX46" fmla="*/ 3226345 w 4225907"/>
              <a:gd name="connsiteY46" fmla="*/ 199710 h 9073814"/>
              <a:gd name="connsiteX47" fmla="*/ 3232443 w 4225907"/>
              <a:gd name="connsiteY47" fmla="*/ 183957 h 9073814"/>
              <a:gd name="connsiteX48" fmla="*/ 3237524 w 4225907"/>
              <a:gd name="connsiteY48" fmla="*/ 167695 h 9073814"/>
              <a:gd name="connsiteX49" fmla="*/ 3242098 w 4225907"/>
              <a:gd name="connsiteY49" fmla="*/ 152451 h 9073814"/>
              <a:gd name="connsiteX50" fmla="*/ 3245147 w 4225907"/>
              <a:gd name="connsiteY50" fmla="*/ 136697 h 9073814"/>
              <a:gd name="connsiteX51" fmla="*/ 3248704 w 4225907"/>
              <a:gd name="connsiteY51" fmla="*/ 121452 h 9073814"/>
              <a:gd name="connsiteX52" fmla="*/ 3251753 w 4225907"/>
              <a:gd name="connsiteY52" fmla="*/ 106716 h 9073814"/>
              <a:gd name="connsiteX53" fmla="*/ 3256835 w 4225907"/>
              <a:gd name="connsiteY53" fmla="*/ 77750 h 9073814"/>
              <a:gd name="connsiteX54" fmla="*/ 3261408 w 4225907"/>
              <a:gd name="connsiteY54" fmla="*/ 52850 h 9073814"/>
              <a:gd name="connsiteX55" fmla="*/ 3263441 w 4225907"/>
              <a:gd name="connsiteY55" fmla="*/ 41162 h 9073814"/>
              <a:gd name="connsiteX56" fmla="*/ 3266490 w 4225907"/>
              <a:gd name="connsiteY56" fmla="*/ 30999 h 9073814"/>
              <a:gd name="connsiteX57" fmla="*/ 3269539 w 4225907"/>
              <a:gd name="connsiteY57" fmla="*/ 22360 h 9073814"/>
              <a:gd name="connsiteX58" fmla="*/ 3273604 w 4225907"/>
              <a:gd name="connsiteY58" fmla="*/ 14229 h 9073814"/>
              <a:gd name="connsiteX59" fmla="*/ 3277670 w 4225907"/>
              <a:gd name="connsiteY59" fmla="*/ 8640 h 9073814"/>
              <a:gd name="connsiteX60" fmla="*/ 3282751 w 4225907"/>
              <a:gd name="connsiteY60" fmla="*/ 4066 h 9073814"/>
              <a:gd name="connsiteX61" fmla="*/ 3288341 w 4225907"/>
              <a:gd name="connsiteY61" fmla="*/ 1017 h 9073814"/>
              <a:gd name="connsiteX62" fmla="*/ 3294947 w 4225907"/>
              <a:gd name="connsiteY62" fmla="*/ 0 h 9073814"/>
              <a:gd name="connsiteX63" fmla="*/ 3721806 w 4225907"/>
              <a:gd name="connsiteY63" fmla="*/ 0 h 9073814"/>
              <a:gd name="connsiteX64" fmla="*/ 3755854 w 4225907"/>
              <a:gd name="connsiteY64" fmla="*/ 508 h 9073814"/>
              <a:gd name="connsiteX65" fmla="*/ 3788376 w 4225907"/>
              <a:gd name="connsiteY65" fmla="*/ 3557 h 9073814"/>
              <a:gd name="connsiteX66" fmla="*/ 3819882 w 4225907"/>
              <a:gd name="connsiteY66" fmla="*/ 7623 h 9073814"/>
              <a:gd name="connsiteX67" fmla="*/ 3849356 w 4225907"/>
              <a:gd name="connsiteY67" fmla="*/ 13213 h 9073814"/>
              <a:gd name="connsiteX68" fmla="*/ 3878322 w 4225907"/>
              <a:gd name="connsiteY68" fmla="*/ 19819 h 9073814"/>
              <a:gd name="connsiteX69" fmla="*/ 3905254 w 4225907"/>
              <a:gd name="connsiteY69" fmla="*/ 28966 h 9073814"/>
              <a:gd name="connsiteX70" fmla="*/ 3931679 w 4225907"/>
              <a:gd name="connsiteY70" fmla="*/ 38621 h 9073814"/>
              <a:gd name="connsiteX71" fmla="*/ 3956579 w 4225907"/>
              <a:gd name="connsiteY71" fmla="*/ 50309 h 9073814"/>
              <a:gd name="connsiteX72" fmla="*/ 3979955 w 4225907"/>
              <a:gd name="connsiteY72" fmla="*/ 63013 h 9073814"/>
              <a:gd name="connsiteX73" fmla="*/ 4002314 w 4225907"/>
              <a:gd name="connsiteY73" fmla="*/ 77750 h 9073814"/>
              <a:gd name="connsiteX74" fmla="*/ 4023657 w 4225907"/>
              <a:gd name="connsiteY74" fmla="*/ 92995 h 9073814"/>
              <a:gd name="connsiteX75" fmla="*/ 4043984 w 4225907"/>
              <a:gd name="connsiteY75" fmla="*/ 110272 h 9073814"/>
              <a:gd name="connsiteX76" fmla="*/ 4062786 w 4225907"/>
              <a:gd name="connsiteY76" fmla="*/ 128058 h 9073814"/>
              <a:gd name="connsiteX77" fmla="*/ 4080064 w 4225907"/>
              <a:gd name="connsiteY77" fmla="*/ 146861 h 9073814"/>
              <a:gd name="connsiteX78" fmla="*/ 4096833 w 4225907"/>
              <a:gd name="connsiteY78" fmla="*/ 167695 h 9073814"/>
              <a:gd name="connsiteX79" fmla="*/ 4112586 w 4225907"/>
              <a:gd name="connsiteY79" fmla="*/ 189546 h 9073814"/>
              <a:gd name="connsiteX80" fmla="*/ 4126815 w 4225907"/>
              <a:gd name="connsiteY80" fmla="*/ 211398 h 9073814"/>
              <a:gd name="connsiteX81" fmla="*/ 4140027 w 4225907"/>
              <a:gd name="connsiteY81" fmla="*/ 235282 h 9073814"/>
              <a:gd name="connsiteX82" fmla="*/ 4152731 w 4225907"/>
              <a:gd name="connsiteY82" fmla="*/ 260181 h 9073814"/>
              <a:gd name="connsiteX83" fmla="*/ 4163402 w 4225907"/>
              <a:gd name="connsiteY83" fmla="*/ 285590 h 9073814"/>
              <a:gd name="connsiteX84" fmla="*/ 4174074 w 4225907"/>
              <a:gd name="connsiteY84" fmla="*/ 312522 h 9073814"/>
              <a:gd name="connsiteX85" fmla="*/ 4183221 w 4225907"/>
              <a:gd name="connsiteY85" fmla="*/ 340471 h 9073814"/>
              <a:gd name="connsiteX86" fmla="*/ 4191860 w 4225907"/>
              <a:gd name="connsiteY86" fmla="*/ 368421 h 9073814"/>
              <a:gd name="connsiteX87" fmla="*/ 4199482 w 4225907"/>
              <a:gd name="connsiteY87" fmla="*/ 397894 h 9073814"/>
              <a:gd name="connsiteX88" fmla="*/ 4205580 w 4225907"/>
              <a:gd name="connsiteY88" fmla="*/ 428384 h 9073814"/>
              <a:gd name="connsiteX89" fmla="*/ 4211170 w 4225907"/>
              <a:gd name="connsiteY89" fmla="*/ 459383 h 9073814"/>
              <a:gd name="connsiteX90" fmla="*/ 4215744 w 4225907"/>
              <a:gd name="connsiteY90" fmla="*/ 490889 h 9073814"/>
              <a:gd name="connsiteX91" fmla="*/ 4219809 w 4225907"/>
              <a:gd name="connsiteY91" fmla="*/ 523411 h 9073814"/>
              <a:gd name="connsiteX92" fmla="*/ 4222350 w 4225907"/>
              <a:gd name="connsiteY92" fmla="*/ 556442 h 9073814"/>
              <a:gd name="connsiteX93" fmla="*/ 4224382 w 4225907"/>
              <a:gd name="connsiteY93" fmla="*/ 590490 h 9073814"/>
              <a:gd name="connsiteX94" fmla="*/ 4225399 w 4225907"/>
              <a:gd name="connsiteY94" fmla="*/ 624536 h 9073814"/>
              <a:gd name="connsiteX95" fmla="*/ 4225907 w 4225907"/>
              <a:gd name="connsiteY95" fmla="*/ 659092 h 9073814"/>
              <a:gd name="connsiteX96" fmla="*/ 4225907 w 4225907"/>
              <a:gd name="connsiteY96" fmla="*/ 8479260 h 9073814"/>
              <a:gd name="connsiteX97" fmla="*/ 4225399 w 4225907"/>
              <a:gd name="connsiteY97" fmla="*/ 8512799 h 9073814"/>
              <a:gd name="connsiteX98" fmla="*/ 4223874 w 4225907"/>
              <a:gd name="connsiteY98" fmla="*/ 8546338 h 9073814"/>
              <a:gd name="connsiteX99" fmla="*/ 4220317 w 4225907"/>
              <a:gd name="connsiteY99" fmla="*/ 8578352 h 9073814"/>
              <a:gd name="connsiteX100" fmla="*/ 4216252 w 4225907"/>
              <a:gd name="connsiteY100" fmla="*/ 8609858 h 9073814"/>
              <a:gd name="connsiteX101" fmla="*/ 4211170 w 4225907"/>
              <a:gd name="connsiteY101" fmla="*/ 8640348 h 9073814"/>
              <a:gd name="connsiteX102" fmla="*/ 4204564 w 4225907"/>
              <a:gd name="connsiteY102" fmla="*/ 8669822 h 9073814"/>
              <a:gd name="connsiteX103" fmla="*/ 4196434 w 4225907"/>
              <a:gd name="connsiteY103" fmla="*/ 8698279 h 9073814"/>
              <a:gd name="connsiteX104" fmla="*/ 4187794 w 4225907"/>
              <a:gd name="connsiteY104" fmla="*/ 8726228 h 9073814"/>
              <a:gd name="connsiteX105" fmla="*/ 4177631 w 4225907"/>
              <a:gd name="connsiteY105" fmla="*/ 8753161 h 9073814"/>
              <a:gd name="connsiteX106" fmla="*/ 4166960 w 4225907"/>
              <a:gd name="connsiteY106" fmla="*/ 8779078 h 9073814"/>
              <a:gd name="connsiteX107" fmla="*/ 4154256 w 4225907"/>
              <a:gd name="connsiteY107" fmla="*/ 8803978 h 9073814"/>
              <a:gd name="connsiteX108" fmla="*/ 4141552 w 4225907"/>
              <a:gd name="connsiteY108" fmla="*/ 8828370 h 9073814"/>
              <a:gd name="connsiteX109" fmla="*/ 4126815 w 4225907"/>
              <a:gd name="connsiteY109" fmla="*/ 8850729 h 9073814"/>
              <a:gd name="connsiteX110" fmla="*/ 4111570 w 4225907"/>
              <a:gd name="connsiteY110" fmla="*/ 8873088 h 9073814"/>
              <a:gd name="connsiteX111" fmla="*/ 4094800 w 4225907"/>
              <a:gd name="connsiteY111" fmla="*/ 8893923 h 9073814"/>
              <a:gd name="connsiteX112" fmla="*/ 4076506 w 4225907"/>
              <a:gd name="connsiteY112" fmla="*/ 8913742 h 9073814"/>
              <a:gd name="connsiteX113" fmla="*/ 4058212 w 4225907"/>
              <a:gd name="connsiteY113" fmla="*/ 8932544 h 9073814"/>
              <a:gd name="connsiteX114" fmla="*/ 4038902 w 4225907"/>
              <a:gd name="connsiteY114" fmla="*/ 8950330 h 9073814"/>
              <a:gd name="connsiteX115" fmla="*/ 4017559 w 4225907"/>
              <a:gd name="connsiteY115" fmla="*/ 8966591 h 9073814"/>
              <a:gd name="connsiteX116" fmla="*/ 3995708 w 4225907"/>
              <a:gd name="connsiteY116" fmla="*/ 8981836 h 9073814"/>
              <a:gd name="connsiteX117" fmla="*/ 3972840 w 4225907"/>
              <a:gd name="connsiteY117" fmla="*/ 8996573 h 9073814"/>
              <a:gd name="connsiteX118" fmla="*/ 3948957 w 4225907"/>
              <a:gd name="connsiteY118" fmla="*/ 9009785 h 9073814"/>
              <a:gd name="connsiteX119" fmla="*/ 3924056 w 4225907"/>
              <a:gd name="connsiteY119" fmla="*/ 9021473 h 9073814"/>
              <a:gd name="connsiteX120" fmla="*/ 3898648 w 4225907"/>
              <a:gd name="connsiteY120" fmla="*/ 9032653 h 9073814"/>
              <a:gd name="connsiteX121" fmla="*/ 3871207 w 4225907"/>
              <a:gd name="connsiteY121" fmla="*/ 9042308 h 9073814"/>
              <a:gd name="connsiteX122" fmla="*/ 3843766 w 4225907"/>
              <a:gd name="connsiteY122" fmla="*/ 9050438 h 9073814"/>
              <a:gd name="connsiteX123" fmla="*/ 3815309 w 4225907"/>
              <a:gd name="connsiteY123" fmla="*/ 9057553 h 9073814"/>
              <a:gd name="connsiteX124" fmla="*/ 3785327 w 4225907"/>
              <a:gd name="connsiteY124" fmla="*/ 9063143 h 9073814"/>
              <a:gd name="connsiteX125" fmla="*/ 3754837 w 4225907"/>
              <a:gd name="connsiteY125" fmla="*/ 9068224 h 9073814"/>
              <a:gd name="connsiteX126" fmla="*/ 3723331 w 4225907"/>
              <a:gd name="connsiteY126" fmla="*/ 9070765 h 9073814"/>
              <a:gd name="connsiteX127" fmla="*/ 3690300 w 4225907"/>
              <a:gd name="connsiteY127" fmla="*/ 9073306 h 9073814"/>
              <a:gd name="connsiteX128" fmla="*/ 3657270 w 4225907"/>
              <a:gd name="connsiteY128" fmla="*/ 9073814 h 9073814"/>
              <a:gd name="connsiteX129" fmla="*/ 568638 w 4225907"/>
              <a:gd name="connsiteY129" fmla="*/ 9073814 h 9073814"/>
              <a:gd name="connsiteX130" fmla="*/ 536623 w 4225907"/>
              <a:gd name="connsiteY130" fmla="*/ 9073306 h 9073814"/>
              <a:gd name="connsiteX131" fmla="*/ 505117 w 4225907"/>
              <a:gd name="connsiteY131" fmla="*/ 9070765 h 9073814"/>
              <a:gd name="connsiteX132" fmla="*/ 474627 w 4225907"/>
              <a:gd name="connsiteY132" fmla="*/ 9068224 h 9073814"/>
              <a:gd name="connsiteX133" fmla="*/ 445153 w 4225907"/>
              <a:gd name="connsiteY133" fmla="*/ 9063651 h 9073814"/>
              <a:gd name="connsiteX134" fmla="*/ 416188 w 4225907"/>
              <a:gd name="connsiteY134" fmla="*/ 9058061 h 9073814"/>
              <a:gd name="connsiteX135" fmla="*/ 387731 w 4225907"/>
              <a:gd name="connsiteY135" fmla="*/ 9050947 h 9073814"/>
              <a:gd name="connsiteX136" fmla="*/ 360798 w 4225907"/>
              <a:gd name="connsiteY136" fmla="*/ 9042816 h 9073814"/>
              <a:gd name="connsiteX137" fmla="*/ 333865 w 4225907"/>
              <a:gd name="connsiteY137" fmla="*/ 9033669 h 9073814"/>
              <a:gd name="connsiteX138" fmla="*/ 308456 w 4225907"/>
              <a:gd name="connsiteY138" fmla="*/ 9023506 h 9073814"/>
              <a:gd name="connsiteX139" fmla="*/ 284064 w 4225907"/>
              <a:gd name="connsiteY139" fmla="*/ 9011310 h 9073814"/>
              <a:gd name="connsiteX140" fmla="*/ 260181 w 4225907"/>
              <a:gd name="connsiteY140" fmla="*/ 8999114 h 9073814"/>
              <a:gd name="connsiteX141" fmla="*/ 237313 w 4225907"/>
              <a:gd name="connsiteY141" fmla="*/ 8985393 h 9073814"/>
              <a:gd name="connsiteX142" fmla="*/ 214954 w 4225907"/>
              <a:gd name="connsiteY142" fmla="*/ 8970148 h 9073814"/>
              <a:gd name="connsiteX143" fmla="*/ 194119 w 4225907"/>
              <a:gd name="connsiteY143" fmla="*/ 8954395 h 9073814"/>
              <a:gd name="connsiteX144" fmla="*/ 174301 w 4225907"/>
              <a:gd name="connsiteY144" fmla="*/ 8937117 h 9073814"/>
              <a:gd name="connsiteX145" fmla="*/ 154990 w 4225907"/>
              <a:gd name="connsiteY145" fmla="*/ 8918823 h 9073814"/>
              <a:gd name="connsiteX146" fmla="*/ 136696 w 4225907"/>
              <a:gd name="connsiteY146" fmla="*/ 8900529 h 9073814"/>
              <a:gd name="connsiteX147" fmla="*/ 119419 w 4225907"/>
              <a:gd name="connsiteY147" fmla="*/ 8879695 h 9073814"/>
              <a:gd name="connsiteX148" fmla="*/ 103666 w 4225907"/>
              <a:gd name="connsiteY148" fmla="*/ 8858860 h 9073814"/>
              <a:gd name="connsiteX149" fmla="*/ 88929 w 4225907"/>
              <a:gd name="connsiteY149" fmla="*/ 8837517 h 9073814"/>
              <a:gd name="connsiteX150" fmla="*/ 74700 w 4225907"/>
              <a:gd name="connsiteY150" fmla="*/ 8814141 h 9073814"/>
              <a:gd name="connsiteX151" fmla="*/ 62504 w 4225907"/>
              <a:gd name="connsiteY151" fmla="*/ 8790257 h 9073814"/>
              <a:gd name="connsiteX152" fmla="*/ 50816 w 4225907"/>
              <a:gd name="connsiteY152" fmla="*/ 8765357 h 9073814"/>
              <a:gd name="connsiteX153" fmla="*/ 40145 w 4225907"/>
              <a:gd name="connsiteY153" fmla="*/ 8739949 h 9073814"/>
              <a:gd name="connsiteX154" fmla="*/ 30998 w 4225907"/>
              <a:gd name="connsiteY154" fmla="*/ 8713524 h 9073814"/>
              <a:gd name="connsiteX155" fmla="*/ 22867 w 4225907"/>
              <a:gd name="connsiteY155" fmla="*/ 8686083 h 9073814"/>
              <a:gd name="connsiteX156" fmla="*/ 15753 w 4225907"/>
              <a:gd name="connsiteY156" fmla="*/ 8658134 h 9073814"/>
              <a:gd name="connsiteX157" fmla="*/ 10163 w 4225907"/>
              <a:gd name="connsiteY157" fmla="*/ 8628661 h 9073814"/>
              <a:gd name="connsiteX158" fmla="*/ 5590 w 4225907"/>
              <a:gd name="connsiteY158" fmla="*/ 8599187 h 9073814"/>
              <a:gd name="connsiteX159" fmla="*/ 3049 w 4225907"/>
              <a:gd name="connsiteY159" fmla="*/ 8568697 h 9073814"/>
              <a:gd name="connsiteX160" fmla="*/ 508 w 4225907"/>
              <a:gd name="connsiteY160" fmla="*/ 8537191 h 9073814"/>
              <a:gd name="connsiteX161" fmla="*/ 0 w 4225907"/>
              <a:gd name="connsiteY161" fmla="*/ 8505176 h 9073814"/>
              <a:gd name="connsiteX162" fmla="*/ 0 w 4225907"/>
              <a:gd name="connsiteY162" fmla="*/ 620472 h 9073814"/>
              <a:gd name="connsiteX163" fmla="*/ 508 w 4225907"/>
              <a:gd name="connsiteY163" fmla="*/ 587441 h 9073814"/>
              <a:gd name="connsiteX164" fmla="*/ 1524 w 4225907"/>
              <a:gd name="connsiteY164" fmla="*/ 555426 h 9073814"/>
              <a:gd name="connsiteX165" fmla="*/ 4065 w 4225907"/>
              <a:gd name="connsiteY165" fmla="*/ 523411 h 9073814"/>
              <a:gd name="connsiteX166" fmla="*/ 7622 w 4225907"/>
              <a:gd name="connsiteY166" fmla="*/ 492922 h 9073814"/>
              <a:gd name="connsiteX167" fmla="*/ 11179 w 4225907"/>
              <a:gd name="connsiteY167" fmla="*/ 462432 h 9073814"/>
              <a:gd name="connsiteX168" fmla="*/ 16261 w 4225907"/>
              <a:gd name="connsiteY168" fmla="*/ 431942 h 9073814"/>
              <a:gd name="connsiteX169" fmla="*/ 22867 w 4225907"/>
              <a:gd name="connsiteY169" fmla="*/ 402976 h 9073814"/>
              <a:gd name="connsiteX170" fmla="*/ 29982 w 4225907"/>
              <a:gd name="connsiteY170" fmla="*/ 375027 h 9073814"/>
              <a:gd name="connsiteX171" fmla="*/ 38112 w 4225907"/>
              <a:gd name="connsiteY171" fmla="*/ 347078 h 9073814"/>
              <a:gd name="connsiteX172" fmla="*/ 47259 w 4225907"/>
              <a:gd name="connsiteY172" fmla="*/ 320654 h 9073814"/>
              <a:gd name="connsiteX173" fmla="*/ 56914 w 4225907"/>
              <a:gd name="connsiteY173" fmla="*/ 294228 h 9073814"/>
              <a:gd name="connsiteX174" fmla="*/ 68094 w 4225907"/>
              <a:gd name="connsiteY174" fmla="*/ 269329 h 9073814"/>
              <a:gd name="connsiteX175" fmla="*/ 79782 w 4225907"/>
              <a:gd name="connsiteY175" fmla="*/ 244936 h 9073814"/>
              <a:gd name="connsiteX176" fmla="*/ 92486 w 4225907"/>
              <a:gd name="connsiteY176" fmla="*/ 221561 h 9073814"/>
              <a:gd name="connsiteX177" fmla="*/ 106715 w 4225907"/>
              <a:gd name="connsiteY177" fmla="*/ 199710 h 9073814"/>
              <a:gd name="connsiteX178" fmla="*/ 121451 w 4225907"/>
              <a:gd name="connsiteY178" fmla="*/ 177859 h 9073814"/>
              <a:gd name="connsiteX179" fmla="*/ 137713 w 4225907"/>
              <a:gd name="connsiteY179" fmla="*/ 157532 h 9073814"/>
              <a:gd name="connsiteX180" fmla="*/ 154990 w 4225907"/>
              <a:gd name="connsiteY180" fmla="*/ 138221 h 9073814"/>
              <a:gd name="connsiteX181" fmla="*/ 172268 w 4225907"/>
              <a:gd name="connsiteY181" fmla="*/ 120436 h 9073814"/>
              <a:gd name="connsiteX182" fmla="*/ 191578 w 4225907"/>
              <a:gd name="connsiteY182" fmla="*/ 103158 h 9073814"/>
              <a:gd name="connsiteX183" fmla="*/ 211905 w 4225907"/>
              <a:gd name="connsiteY183" fmla="*/ 87405 h 9073814"/>
              <a:gd name="connsiteX184" fmla="*/ 233248 w 4225907"/>
              <a:gd name="connsiteY184" fmla="*/ 73177 h 9073814"/>
              <a:gd name="connsiteX185" fmla="*/ 255099 w 4225907"/>
              <a:gd name="connsiteY185" fmla="*/ 59456 h 9073814"/>
              <a:gd name="connsiteX186" fmla="*/ 278475 w 4225907"/>
              <a:gd name="connsiteY186" fmla="*/ 47768 h 9073814"/>
              <a:gd name="connsiteX187" fmla="*/ 302867 w 4225907"/>
              <a:gd name="connsiteY187" fmla="*/ 36081 h 9073814"/>
              <a:gd name="connsiteX188" fmla="*/ 328275 w 4225907"/>
              <a:gd name="connsiteY188" fmla="*/ 27441 h 9073814"/>
              <a:gd name="connsiteX189" fmla="*/ 355208 w 4225907"/>
              <a:gd name="connsiteY189" fmla="*/ 18802 h 9073814"/>
              <a:gd name="connsiteX190" fmla="*/ 382141 w 4225907"/>
              <a:gd name="connsiteY190" fmla="*/ 12704 h 9073814"/>
              <a:gd name="connsiteX191" fmla="*/ 411106 w 4225907"/>
              <a:gd name="connsiteY191" fmla="*/ 6606 h 9073814"/>
              <a:gd name="connsiteX192" fmla="*/ 441088 w 4225907"/>
              <a:gd name="connsiteY192" fmla="*/ 3049 h 9073814"/>
              <a:gd name="connsiteX193" fmla="*/ 472086 w 4225907"/>
              <a:gd name="connsiteY193" fmla="*/ 508 h 9073814"/>
              <a:gd name="connsiteX194" fmla="*/ 504100 w 4225907"/>
              <a:gd name="connsiteY194" fmla="*/ 0 h 9073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4225907" h="9073814">
                <a:moveTo>
                  <a:pt x="504100" y="0"/>
                </a:moveTo>
                <a:lnTo>
                  <a:pt x="930960" y="0"/>
                </a:lnTo>
                <a:lnTo>
                  <a:pt x="937566" y="1017"/>
                </a:lnTo>
                <a:lnTo>
                  <a:pt x="943156" y="4066"/>
                </a:lnTo>
                <a:lnTo>
                  <a:pt x="948237" y="8640"/>
                </a:lnTo>
                <a:lnTo>
                  <a:pt x="952303" y="14229"/>
                </a:lnTo>
                <a:lnTo>
                  <a:pt x="956368" y="22360"/>
                </a:lnTo>
                <a:lnTo>
                  <a:pt x="959417" y="30999"/>
                </a:lnTo>
                <a:lnTo>
                  <a:pt x="962466" y="41162"/>
                </a:lnTo>
                <a:lnTo>
                  <a:pt x="964499" y="52850"/>
                </a:lnTo>
                <a:lnTo>
                  <a:pt x="969072" y="77750"/>
                </a:lnTo>
                <a:lnTo>
                  <a:pt x="974154" y="106716"/>
                </a:lnTo>
                <a:lnTo>
                  <a:pt x="977203" y="121452"/>
                </a:lnTo>
                <a:lnTo>
                  <a:pt x="980760" y="136697"/>
                </a:lnTo>
                <a:lnTo>
                  <a:pt x="983809" y="152451"/>
                </a:lnTo>
                <a:lnTo>
                  <a:pt x="988382" y="167695"/>
                </a:lnTo>
                <a:lnTo>
                  <a:pt x="993464" y="183957"/>
                </a:lnTo>
                <a:lnTo>
                  <a:pt x="999562" y="199710"/>
                </a:lnTo>
                <a:lnTo>
                  <a:pt x="1006168" y="214954"/>
                </a:lnTo>
                <a:lnTo>
                  <a:pt x="1014299" y="229691"/>
                </a:lnTo>
                <a:lnTo>
                  <a:pt x="1022430" y="244429"/>
                </a:lnTo>
                <a:lnTo>
                  <a:pt x="1032593" y="258149"/>
                </a:lnTo>
                <a:lnTo>
                  <a:pt x="1044789" y="270853"/>
                </a:lnTo>
                <a:lnTo>
                  <a:pt x="1058001" y="283557"/>
                </a:lnTo>
                <a:lnTo>
                  <a:pt x="1071722" y="294737"/>
                </a:lnTo>
                <a:lnTo>
                  <a:pt x="1088491" y="304900"/>
                </a:lnTo>
                <a:lnTo>
                  <a:pt x="1106277" y="314047"/>
                </a:lnTo>
                <a:lnTo>
                  <a:pt x="1126604" y="321670"/>
                </a:lnTo>
                <a:lnTo>
                  <a:pt x="1148455" y="327768"/>
                </a:lnTo>
                <a:lnTo>
                  <a:pt x="1172847" y="332341"/>
                </a:lnTo>
                <a:lnTo>
                  <a:pt x="1198763" y="335390"/>
                </a:lnTo>
                <a:lnTo>
                  <a:pt x="1227729" y="336406"/>
                </a:lnTo>
                <a:lnTo>
                  <a:pt x="2998178" y="336406"/>
                </a:lnTo>
                <a:lnTo>
                  <a:pt x="3027144" y="335390"/>
                </a:lnTo>
                <a:lnTo>
                  <a:pt x="3053060" y="332341"/>
                </a:lnTo>
                <a:lnTo>
                  <a:pt x="3077452" y="327768"/>
                </a:lnTo>
                <a:lnTo>
                  <a:pt x="3099303" y="321670"/>
                </a:lnTo>
                <a:lnTo>
                  <a:pt x="3119630" y="314047"/>
                </a:lnTo>
                <a:lnTo>
                  <a:pt x="3137416" y="304900"/>
                </a:lnTo>
                <a:lnTo>
                  <a:pt x="3154185" y="294737"/>
                </a:lnTo>
                <a:lnTo>
                  <a:pt x="3167906" y="283557"/>
                </a:lnTo>
                <a:lnTo>
                  <a:pt x="3181118" y="270853"/>
                </a:lnTo>
                <a:lnTo>
                  <a:pt x="3193314" y="258149"/>
                </a:lnTo>
                <a:lnTo>
                  <a:pt x="3203477" y="244429"/>
                </a:lnTo>
                <a:lnTo>
                  <a:pt x="3211608" y="229691"/>
                </a:lnTo>
                <a:lnTo>
                  <a:pt x="3219739" y="214954"/>
                </a:lnTo>
                <a:lnTo>
                  <a:pt x="3226345" y="199710"/>
                </a:lnTo>
                <a:lnTo>
                  <a:pt x="3232443" y="183957"/>
                </a:lnTo>
                <a:lnTo>
                  <a:pt x="3237524" y="167695"/>
                </a:lnTo>
                <a:lnTo>
                  <a:pt x="3242098" y="152451"/>
                </a:lnTo>
                <a:lnTo>
                  <a:pt x="3245147" y="136697"/>
                </a:lnTo>
                <a:lnTo>
                  <a:pt x="3248704" y="121452"/>
                </a:lnTo>
                <a:lnTo>
                  <a:pt x="3251753" y="106716"/>
                </a:lnTo>
                <a:lnTo>
                  <a:pt x="3256835" y="77750"/>
                </a:lnTo>
                <a:lnTo>
                  <a:pt x="3261408" y="52850"/>
                </a:lnTo>
                <a:lnTo>
                  <a:pt x="3263441" y="41162"/>
                </a:lnTo>
                <a:lnTo>
                  <a:pt x="3266490" y="30999"/>
                </a:lnTo>
                <a:lnTo>
                  <a:pt x="3269539" y="22360"/>
                </a:lnTo>
                <a:lnTo>
                  <a:pt x="3273604" y="14229"/>
                </a:lnTo>
                <a:lnTo>
                  <a:pt x="3277670" y="8640"/>
                </a:lnTo>
                <a:lnTo>
                  <a:pt x="3282751" y="4066"/>
                </a:lnTo>
                <a:lnTo>
                  <a:pt x="3288341" y="1017"/>
                </a:lnTo>
                <a:lnTo>
                  <a:pt x="3294947" y="0"/>
                </a:lnTo>
                <a:lnTo>
                  <a:pt x="3721806" y="0"/>
                </a:lnTo>
                <a:lnTo>
                  <a:pt x="3755854" y="508"/>
                </a:lnTo>
                <a:lnTo>
                  <a:pt x="3788376" y="3557"/>
                </a:lnTo>
                <a:lnTo>
                  <a:pt x="3819882" y="7623"/>
                </a:lnTo>
                <a:lnTo>
                  <a:pt x="3849356" y="13213"/>
                </a:lnTo>
                <a:lnTo>
                  <a:pt x="3878322" y="19819"/>
                </a:lnTo>
                <a:lnTo>
                  <a:pt x="3905254" y="28966"/>
                </a:lnTo>
                <a:lnTo>
                  <a:pt x="3931679" y="38621"/>
                </a:lnTo>
                <a:lnTo>
                  <a:pt x="3956579" y="50309"/>
                </a:lnTo>
                <a:lnTo>
                  <a:pt x="3979955" y="63013"/>
                </a:lnTo>
                <a:lnTo>
                  <a:pt x="4002314" y="77750"/>
                </a:lnTo>
                <a:lnTo>
                  <a:pt x="4023657" y="92995"/>
                </a:lnTo>
                <a:lnTo>
                  <a:pt x="4043984" y="110272"/>
                </a:lnTo>
                <a:lnTo>
                  <a:pt x="4062786" y="128058"/>
                </a:lnTo>
                <a:lnTo>
                  <a:pt x="4080064" y="146861"/>
                </a:lnTo>
                <a:lnTo>
                  <a:pt x="4096833" y="167695"/>
                </a:lnTo>
                <a:lnTo>
                  <a:pt x="4112586" y="189546"/>
                </a:lnTo>
                <a:lnTo>
                  <a:pt x="4126815" y="211398"/>
                </a:lnTo>
                <a:lnTo>
                  <a:pt x="4140027" y="235282"/>
                </a:lnTo>
                <a:lnTo>
                  <a:pt x="4152731" y="260181"/>
                </a:lnTo>
                <a:lnTo>
                  <a:pt x="4163402" y="285590"/>
                </a:lnTo>
                <a:lnTo>
                  <a:pt x="4174074" y="312522"/>
                </a:lnTo>
                <a:lnTo>
                  <a:pt x="4183221" y="340471"/>
                </a:lnTo>
                <a:lnTo>
                  <a:pt x="4191860" y="368421"/>
                </a:lnTo>
                <a:lnTo>
                  <a:pt x="4199482" y="397894"/>
                </a:lnTo>
                <a:lnTo>
                  <a:pt x="4205580" y="428384"/>
                </a:lnTo>
                <a:lnTo>
                  <a:pt x="4211170" y="459383"/>
                </a:lnTo>
                <a:lnTo>
                  <a:pt x="4215744" y="490889"/>
                </a:lnTo>
                <a:lnTo>
                  <a:pt x="4219809" y="523411"/>
                </a:lnTo>
                <a:lnTo>
                  <a:pt x="4222350" y="556442"/>
                </a:lnTo>
                <a:lnTo>
                  <a:pt x="4224382" y="590490"/>
                </a:lnTo>
                <a:lnTo>
                  <a:pt x="4225399" y="624536"/>
                </a:lnTo>
                <a:lnTo>
                  <a:pt x="4225907" y="659092"/>
                </a:lnTo>
                <a:lnTo>
                  <a:pt x="4225907" y="8479260"/>
                </a:lnTo>
                <a:lnTo>
                  <a:pt x="4225399" y="8512799"/>
                </a:lnTo>
                <a:lnTo>
                  <a:pt x="4223874" y="8546338"/>
                </a:lnTo>
                <a:lnTo>
                  <a:pt x="4220317" y="8578352"/>
                </a:lnTo>
                <a:lnTo>
                  <a:pt x="4216252" y="8609858"/>
                </a:lnTo>
                <a:lnTo>
                  <a:pt x="4211170" y="8640348"/>
                </a:lnTo>
                <a:lnTo>
                  <a:pt x="4204564" y="8669822"/>
                </a:lnTo>
                <a:lnTo>
                  <a:pt x="4196434" y="8698279"/>
                </a:lnTo>
                <a:lnTo>
                  <a:pt x="4187794" y="8726228"/>
                </a:lnTo>
                <a:lnTo>
                  <a:pt x="4177631" y="8753161"/>
                </a:lnTo>
                <a:lnTo>
                  <a:pt x="4166960" y="8779078"/>
                </a:lnTo>
                <a:lnTo>
                  <a:pt x="4154256" y="8803978"/>
                </a:lnTo>
                <a:lnTo>
                  <a:pt x="4141552" y="8828370"/>
                </a:lnTo>
                <a:lnTo>
                  <a:pt x="4126815" y="8850729"/>
                </a:lnTo>
                <a:lnTo>
                  <a:pt x="4111570" y="8873088"/>
                </a:lnTo>
                <a:lnTo>
                  <a:pt x="4094800" y="8893923"/>
                </a:lnTo>
                <a:lnTo>
                  <a:pt x="4076506" y="8913742"/>
                </a:lnTo>
                <a:lnTo>
                  <a:pt x="4058212" y="8932544"/>
                </a:lnTo>
                <a:lnTo>
                  <a:pt x="4038902" y="8950330"/>
                </a:lnTo>
                <a:lnTo>
                  <a:pt x="4017559" y="8966591"/>
                </a:lnTo>
                <a:lnTo>
                  <a:pt x="3995708" y="8981836"/>
                </a:lnTo>
                <a:lnTo>
                  <a:pt x="3972840" y="8996573"/>
                </a:lnTo>
                <a:lnTo>
                  <a:pt x="3948957" y="9009785"/>
                </a:lnTo>
                <a:lnTo>
                  <a:pt x="3924056" y="9021473"/>
                </a:lnTo>
                <a:lnTo>
                  <a:pt x="3898648" y="9032653"/>
                </a:lnTo>
                <a:lnTo>
                  <a:pt x="3871207" y="9042308"/>
                </a:lnTo>
                <a:lnTo>
                  <a:pt x="3843766" y="9050438"/>
                </a:lnTo>
                <a:lnTo>
                  <a:pt x="3815309" y="9057553"/>
                </a:lnTo>
                <a:lnTo>
                  <a:pt x="3785327" y="9063143"/>
                </a:lnTo>
                <a:lnTo>
                  <a:pt x="3754837" y="9068224"/>
                </a:lnTo>
                <a:lnTo>
                  <a:pt x="3723331" y="9070765"/>
                </a:lnTo>
                <a:lnTo>
                  <a:pt x="3690300" y="9073306"/>
                </a:lnTo>
                <a:lnTo>
                  <a:pt x="3657270" y="9073814"/>
                </a:lnTo>
                <a:lnTo>
                  <a:pt x="568638" y="9073814"/>
                </a:lnTo>
                <a:lnTo>
                  <a:pt x="536623" y="9073306"/>
                </a:lnTo>
                <a:lnTo>
                  <a:pt x="505117" y="9070765"/>
                </a:lnTo>
                <a:lnTo>
                  <a:pt x="474627" y="9068224"/>
                </a:lnTo>
                <a:lnTo>
                  <a:pt x="445153" y="9063651"/>
                </a:lnTo>
                <a:lnTo>
                  <a:pt x="416188" y="9058061"/>
                </a:lnTo>
                <a:lnTo>
                  <a:pt x="387731" y="9050947"/>
                </a:lnTo>
                <a:lnTo>
                  <a:pt x="360798" y="9042816"/>
                </a:lnTo>
                <a:lnTo>
                  <a:pt x="333865" y="9033669"/>
                </a:lnTo>
                <a:lnTo>
                  <a:pt x="308456" y="9023506"/>
                </a:lnTo>
                <a:lnTo>
                  <a:pt x="284064" y="9011310"/>
                </a:lnTo>
                <a:lnTo>
                  <a:pt x="260181" y="8999114"/>
                </a:lnTo>
                <a:lnTo>
                  <a:pt x="237313" y="8985393"/>
                </a:lnTo>
                <a:lnTo>
                  <a:pt x="214954" y="8970148"/>
                </a:lnTo>
                <a:lnTo>
                  <a:pt x="194119" y="8954395"/>
                </a:lnTo>
                <a:lnTo>
                  <a:pt x="174301" y="8937117"/>
                </a:lnTo>
                <a:lnTo>
                  <a:pt x="154990" y="8918823"/>
                </a:lnTo>
                <a:lnTo>
                  <a:pt x="136696" y="8900529"/>
                </a:lnTo>
                <a:lnTo>
                  <a:pt x="119419" y="8879695"/>
                </a:lnTo>
                <a:lnTo>
                  <a:pt x="103666" y="8858860"/>
                </a:lnTo>
                <a:lnTo>
                  <a:pt x="88929" y="8837517"/>
                </a:lnTo>
                <a:lnTo>
                  <a:pt x="74700" y="8814141"/>
                </a:lnTo>
                <a:lnTo>
                  <a:pt x="62504" y="8790257"/>
                </a:lnTo>
                <a:lnTo>
                  <a:pt x="50816" y="8765357"/>
                </a:lnTo>
                <a:lnTo>
                  <a:pt x="40145" y="8739949"/>
                </a:lnTo>
                <a:lnTo>
                  <a:pt x="30998" y="8713524"/>
                </a:lnTo>
                <a:lnTo>
                  <a:pt x="22867" y="8686083"/>
                </a:lnTo>
                <a:lnTo>
                  <a:pt x="15753" y="8658134"/>
                </a:lnTo>
                <a:lnTo>
                  <a:pt x="10163" y="8628661"/>
                </a:lnTo>
                <a:lnTo>
                  <a:pt x="5590" y="8599187"/>
                </a:lnTo>
                <a:lnTo>
                  <a:pt x="3049" y="8568697"/>
                </a:lnTo>
                <a:lnTo>
                  <a:pt x="508" y="8537191"/>
                </a:lnTo>
                <a:lnTo>
                  <a:pt x="0" y="8505176"/>
                </a:lnTo>
                <a:lnTo>
                  <a:pt x="0" y="620472"/>
                </a:lnTo>
                <a:lnTo>
                  <a:pt x="508" y="587441"/>
                </a:lnTo>
                <a:lnTo>
                  <a:pt x="1524" y="555426"/>
                </a:lnTo>
                <a:lnTo>
                  <a:pt x="4065" y="523411"/>
                </a:lnTo>
                <a:lnTo>
                  <a:pt x="7622" y="492922"/>
                </a:lnTo>
                <a:lnTo>
                  <a:pt x="11179" y="462432"/>
                </a:lnTo>
                <a:lnTo>
                  <a:pt x="16261" y="431942"/>
                </a:lnTo>
                <a:lnTo>
                  <a:pt x="22867" y="402976"/>
                </a:lnTo>
                <a:lnTo>
                  <a:pt x="29982" y="375027"/>
                </a:lnTo>
                <a:lnTo>
                  <a:pt x="38112" y="347078"/>
                </a:lnTo>
                <a:lnTo>
                  <a:pt x="47259" y="320654"/>
                </a:lnTo>
                <a:lnTo>
                  <a:pt x="56914" y="294228"/>
                </a:lnTo>
                <a:lnTo>
                  <a:pt x="68094" y="269329"/>
                </a:lnTo>
                <a:lnTo>
                  <a:pt x="79782" y="244936"/>
                </a:lnTo>
                <a:lnTo>
                  <a:pt x="92486" y="221561"/>
                </a:lnTo>
                <a:lnTo>
                  <a:pt x="106715" y="199710"/>
                </a:lnTo>
                <a:lnTo>
                  <a:pt x="121451" y="177859"/>
                </a:lnTo>
                <a:lnTo>
                  <a:pt x="137713" y="157532"/>
                </a:lnTo>
                <a:lnTo>
                  <a:pt x="154990" y="138221"/>
                </a:lnTo>
                <a:lnTo>
                  <a:pt x="172268" y="120436"/>
                </a:lnTo>
                <a:lnTo>
                  <a:pt x="191578" y="103158"/>
                </a:lnTo>
                <a:lnTo>
                  <a:pt x="211905" y="87405"/>
                </a:lnTo>
                <a:lnTo>
                  <a:pt x="233248" y="73177"/>
                </a:lnTo>
                <a:lnTo>
                  <a:pt x="255099" y="59456"/>
                </a:lnTo>
                <a:lnTo>
                  <a:pt x="278475" y="47768"/>
                </a:lnTo>
                <a:lnTo>
                  <a:pt x="302867" y="36081"/>
                </a:lnTo>
                <a:lnTo>
                  <a:pt x="328275" y="27441"/>
                </a:lnTo>
                <a:lnTo>
                  <a:pt x="355208" y="18802"/>
                </a:lnTo>
                <a:lnTo>
                  <a:pt x="382141" y="12704"/>
                </a:lnTo>
                <a:lnTo>
                  <a:pt x="411106" y="6606"/>
                </a:lnTo>
                <a:lnTo>
                  <a:pt x="441088" y="3049"/>
                </a:lnTo>
                <a:lnTo>
                  <a:pt x="472086" y="508"/>
                </a:lnTo>
                <a:lnTo>
                  <a:pt x="504100" y="0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1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5087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 MockUp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2"/>
          <p:cNvSpPr>
            <a:spLocks noGrp="1"/>
          </p:cNvSpPr>
          <p:nvPr>
            <p:ph type="pic" sz="quarter" idx="20"/>
          </p:nvPr>
        </p:nvSpPr>
        <p:spPr>
          <a:xfrm>
            <a:off x="5282620" y="-92513"/>
            <a:ext cx="5715607" cy="7022962"/>
          </a:xfrm>
          <a:custGeom>
            <a:avLst/>
            <a:gdLst>
              <a:gd name="connsiteX0" fmla="*/ 3744577 w 6451296"/>
              <a:gd name="connsiteY0" fmla="*/ 0 h 7928153"/>
              <a:gd name="connsiteX1" fmla="*/ 3766125 w 6451296"/>
              <a:gd name="connsiteY1" fmla="*/ 1293 h 7928153"/>
              <a:gd name="connsiteX2" fmla="*/ 3788400 w 6451296"/>
              <a:gd name="connsiteY2" fmla="*/ 3006 h 7928153"/>
              <a:gd name="connsiteX3" fmla="*/ 3810142 w 6451296"/>
              <a:gd name="connsiteY3" fmla="*/ 7320 h 7928153"/>
              <a:gd name="connsiteX4" fmla="*/ 3832975 w 6451296"/>
              <a:gd name="connsiteY4" fmla="*/ 12263 h 7928153"/>
              <a:gd name="connsiteX5" fmla="*/ 3854759 w 6451296"/>
              <a:gd name="connsiteY5" fmla="*/ 19024 h 7928153"/>
              <a:gd name="connsiteX6" fmla="*/ 3877996 w 6451296"/>
              <a:gd name="connsiteY6" fmla="*/ 26624 h 7928153"/>
              <a:gd name="connsiteX7" fmla="*/ 3900911 w 6451296"/>
              <a:gd name="connsiteY7" fmla="*/ 36462 h 7928153"/>
              <a:gd name="connsiteX8" fmla="*/ 3924134 w 6451296"/>
              <a:gd name="connsiteY8" fmla="*/ 47446 h 7928153"/>
              <a:gd name="connsiteX9" fmla="*/ 3947244 w 6451296"/>
              <a:gd name="connsiteY9" fmla="*/ 60304 h 7928153"/>
              <a:gd name="connsiteX10" fmla="*/ 4252580 w 6451296"/>
              <a:gd name="connsiteY10" fmla="*/ 236590 h 7928153"/>
              <a:gd name="connsiteX11" fmla="*/ 4256886 w 6451296"/>
              <a:gd name="connsiteY11" fmla="*/ 240045 h 7928153"/>
              <a:gd name="connsiteX12" fmla="*/ 4259625 w 6451296"/>
              <a:gd name="connsiteY12" fmla="*/ 244534 h 7928153"/>
              <a:gd name="connsiteX13" fmla="*/ 4261371 w 6451296"/>
              <a:gd name="connsiteY13" fmla="*/ 249905 h 7928153"/>
              <a:gd name="connsiteX14" fmla="*/ 4261970 w 6451296"/>
              <a:gd name="connsiteY14" fmla="*/ 255582 h 7928153"/>
              <a:gd name="connsiteX15" fmla="*/ 4261521 w 6451296"/>
              <a:gd name="connsiteY15" fmla="*/ 263077 h 7928153"/>
              <a:gd name="connsiteX16" fmla="*/ 4260134 w 6451296"/>
              <a:gd name="connsiteY16" fmla="*/ 270515 h 7928153"/>
              <a:gd name="connsiteX17" fmla="*/ 4258118 w 6451296"/>
              <a:gd name="connsiteY17" fmla="*/ 279044 h 7928153"/>
              <a:gd name="connsiteX18" fmla="*/ 4254745 w 6451296"/>
              <a:gd name="connsiteY18" fmla="*/ 288244 h 7928153"/>
              <a:gd name="connsiteX19" fmla="*/ 4247733 w 6451296"/>
              <a:gd name="connsiteY19" fmla="*/ 307944 h 7928153"/>
              <a:gd name="connsiteX20" fmla="*/ 4239405 w 6451296"/>
              <a:gd name="connsiteY20" fmla="*/ 330762 h 7928153"/>
              <a:gd name="connsiteX21" fmla="*/ 4235500 w 6451296"/>
              <a:gd name="connsiteY21" fmla="*/ 342563 h 7928153"/>
              <a:gd name="connsiteX22" fmla="*/ 4231749 w 6451296"/>
              <a:gd name="connsiteY22" fmla="*/ 354937 h 7928153"/>
              <a:gd name="connsiteX23" fmla="*/ 4227424 w 6451296"/>
              <a:gd name="connsiteY23" fmla="*/ 367464 h 7928153"/>
              <a:gd name="connsiteX24" fmla="*/ 4224400 w 6451296"/>
              <a:gd name="connsiteY24" fmla="*/ 380258 h 7928153"/>
              <a:gd name="connsiteX25" fmla="*/ 4221319 w 6451296"/>
              <a:gd name="connsiteY25" fmla="*/ 393988 h 7928153"/>
              <a:gd name="connsiteX26" fmla="*/ 4219175 w 6451296"/>
              <a:gd name="connsiteY26" fmla="*/ 407775 h 7928153"/>
              <a:gd name="connsiteX27" fmla="*/ 4217605 w 6451296"/>
              <a:gd name="connsiteY27" fmla="*/ 421408 h 7928153"/>
              <a:gd name="connsiteX28" fmla="*/ 4217335 w 6451296"/>
              <a:gd name="connsiteY28" fmla="*/ 435307 h 7928153"/>
              <a:gd name="connsiteX29" fmla="*/ 4217064 w 6451296"/>
              <a:gd name="connsiteY29" fmla="*/ 449206 h 7928153"/>
              <a:gd name="connsiteX30" fmla="*/ 4218668 w 6451296"/>
              <a:gd name="connsiteY30" fmla="*/ 463218 h 7928153"/>
              <a:gd name="connsiteX31" fmla="*/ 4222145 w 6451296"/>
              <a:gd name="connsiteY31" fmla="*/ 477342 h 7928153"/>
              <a:gd name="connsiteX32" fmla="*/ 4226350 w 6451296"/>
              <a:gd name="connsiteY32" fmla="*/ 491886 h 7928153"/>
              <a:gd name="connsiteX33" fmla="*/ 4231547 w 6451296"/>
              <a:gd name="connsiteY33" fmla="*/ 505549 h 7928153"/>
              <a:gd name="connsiteX34" fmla="*/ 4239345 w 6451296"/>
              <a:gd name="connsiteY34" fmla="*/ 519745 h 7928153"/>
              <a:gd name="connsiteX35" fmla="*/ 4248290 w 6451296"/>
              <a:gd name="connsiteY35" fmla="*/ 533633 h 7928153"/>
              <a:gd name="connsiteX36" fmla="*/ 4259682 w 6451296"/>
              <a:gd name="connsiteY36" fmla="*/ 547480 h 7928153"/>
              <a:gd name="connsiteX37" fmla="*/ 4272793 w 6451296"/>
              <a:gd name="connsiteY37" fmla="*/ 560866 h 7928153"/>
              <a:gd name="connsiteX38" fmla="*/ 4288352 w 6451296"/>
              <a:gd name="connsiteY38" fmla="*/ 574211 h 7928153"/>
              <a:gd name="connsiteX39" fmla="*/ 4305632 w 6451296"/>
              <a:gd name="connsiteY39" fmla="*/ 587095 h 7928153"/>
              <a:gd name="connsiteX40" fmla="*/ 4325931 w 6451296"/>
              <a:gd name="connsiteY40" fmla="*/ 599784 h 7928153"/>
              <a:gd name="connsiteX41" fmla="*/ 5592348 w 6451296"/>
              <a:gd name="connsiteY41" fmla="*/ 1330950 h 7928153"/>
              <a:gd name="connsiteX42" fmla="*/ 5613487 w 6451296"/>
              <a:gd name="connsiteY42" fmla="*/ 1342185 h 7928153"/>
              <a:gd name="connsiteX43" fmla="*/ 5633284 w 6451296"/>
              <a:gd name="connsiteY43" fmla="*/ 1350707 h 7928153"/>
              <a:gd name="connsiteX44" fmla="*/ 5652620 w 6451296"/>
              <a:gd name="connsiteY44" fmla="*/ 1357509 h 7928153"/>
              <a:gd name="connsiteX45" fmla="*/ 5670769 w 6451296"/>
              <a:gd name="connsiteY45" fmla="*/ 1362172 h 7928153"/>
              <a:gd name="connsiteX46" fmla="*/ 5688457 w 6451296"/>
              <a:gd name="connsiteY46" fmla="*/ 1365114 h 7928153"/>
              <a:gd name="connsiteX47" fmla="*/ 5704957 w 6451296"/>
              <a:gd name="connsiteY47" fmla="*/ 1365916 h 7928153"/>
              <a:gd name="connsiteX48" fmla="*/ 5721149 w 6451296"/>
              <a:gd name="connsiteY48" fmla="*/ 1365572 h 7928153"/>
              <a:gd name="connsiteX49" fmla="*/ 5735581 w 6451296"/>
              <a:gd name="connsiteY49" fmla="*/ 1363241 h 7928153"/>
              <a:gd name="connsiteX50" fmla="*/ 5750278 w 6451296"/>
              <a:gd name="connsiteY50" fmla="*/ 1359610 h 7928153"/>
              <a:gd name="connsiteX51" fmla="*/ 5764249 w 6451296"/>
              <a:gd name="connsiteY51" fmla="*/ 1355560 h 7928153"/>
              <a:gd name="connsiteX52" fmla="*/ 5777185 w 6451296"/>
              <a:gd name="connsiteY52" fmla="*/ 1349942 h 7928153"/>
              <a:gd name="connsiteX53" fmla="*/ 5789087 w 6451296"/>
              <a:gd name="connsiteY53" fmla="*/ 1342759 h 7928153"/>
              <a:gd name="connsiteX54" fmla="*/ 5800989 w 6451296"/>
              <a:gd name="connsiteY54" fmla="*/ 1335575 h 7928153"/>
              <a:gd name="connsiteX55" fmla="*/ 5812010 w 6451296"/>
              <a:gd name="connsiteY55" fmla="*/ 1327399 h 7928153"/>
              <a:gd name="connsiteX56" fmla="*/ 5822878 w 6451296"/>
              <a:gd name="connsiteY56" fmla="*/ 1318649 h 7928153"/>
              <a:gd name="connsiteX57" fmla="*/ 5833229 w 6451296"/>
              <a:gd name="connsiteY57" fmla="*/ 1309116 h 7928153"/>
              <a:gd name="connsiteX58" fmla="*/ 5842796 w 6451296"/>
              <a:gd name="connsiteY58" fmla="*/ 1300099 h 7928153"/>
              <a:gd name="connsiteX59" fmla="*/ 5851483 w 6451296"/>
              <a:gd name="connsiteY59" fmla="*/ 1290090 h 7928153"/>
              <a:gd name="connsiteX60" fmla="*/ 5860323 w 6451296"/>
              <a:gd name="connsiteY60" fmla="*/ 1280655 h 7928153"/>
              <a:gd name="connsiteX61" fmla="*/ 5868590 w 6451296"/>
              <a:gd name="connsiteY61" fmla="*/ 1271372 h 7928153"/>
              <a:gd name="connsiteX62" fmla="*/ 5884187 w 6451296"/>
              <a:gd name="connsiteY62" fmla="*/ 1252752 h 7928153"/>
              <a:gd name="connsiteX63" fmla="*/ 5897742 w 6451296"/>
              <a:gd name="connsiteY63" fmla="*/ 1236829 h 7928153"/>
              <a:gd name="connsiteX64" fmla="*/ 5904023 w 6451296"/>
              <a:gd name="connsiteY64" fmla="*/ 1229308 h 7928153"/>
              <a:gd name="connsiteX65" fmla="*/ 5910401 w 6451296"/>
              <a:gd name="connsiteY65" fmla="*/ 1223297 h 7928153"/>
              <a:gd name="connsiteX66" fmla="*/ 5916150 w 6451296"/>
              <a:gd name="connsiteY66" fmla="*/ 1218377 h 7928153"/>
              <a:gd name="connsiteX67" fmla="*/ 5922416 w 6451296"/>
              <a:gd name="connsiteY67" fmla="*/ 1214240 h 7928153"/>
              <a:gd name="connsiteX68" fmla="*/ 5927632 w 6451296"/>
              <a:gd name="connsiteY68" fmla="*/ 1211921 h 7928153"/>
              <a:gd name="connsiteX69" fmla="*/ 5933156 w 6451296"/>
              <a:gd name="connsiteY69" fmla="*/ 1210748 h 7928153"/>
              <a:gd name="connsiteX70" fmla="*/ 5938413 w 6451296"/>
              <a:gd name="connsiteY70" fmla="*/ 1210876 h 7928153"/>
              <a:gd name="connsiteX71" fmla="*/ 5943559 w 6451296"/>
              <a:gd name="connsiteY71" fmla="*/ 1212877 h 7928153"/>
              <a:gd name="connsiteX72" fmla="*/ 6248894 w 6451296"/>
              <a:gd name="connsiteY72" fmla="*/ 1389163 h 7928153"/>
              <a:gd name="connsiteX73" fmla="*/ 6273039 w 6451296"/>
              <a:gd name="connsiteY73" fmla="*/ 1403587 h 7928153"/>
              <a:gd name="connsiteX74" fmla="*/ 6295043 w 6451296"/>
              <a:gd name="connsiteY74" fmla="*/ 1419199 h 7928153"/>
              <a:gd name="connsiteX75" fmla="*/ 6315901 w 6451296"/>
              <a:gd name="connsiteY75" fmla="*/ 1435119 h 7928153"/>
              <a:gd name="connsiteX76" fmla="*/ 6334675 w 6451296"/>
              <a:gd name="connsiteY76" fmla="*/ 1451289 h 7928153"/>
              <a:gd name="connsiteX77" fmla="*/ 6352666 w 6451296"/>
              <a:gd name="connsiteY77" fmla="*/ 1467977 h 7928153"/>
              <a:gd name="connsiteX78" fmla="*/ 6368154 w 6451296"/>
              <a:gd name="connsiteY78" fmla="*/ 1485643 h 7928153"/>
              <a:gd name="connsiteX79" fmla="*/ 6383068 w 6451296"/>
              <a:gd name="connsiteY79" fmla="*/ 1503462 h 7928153"/>
              <a:gd name="connsiteX80" fmla="*/ 6396053 w 6451296"/>
              <a:gd name="connsiteY80" fmla="*/ 1522106 h 7928153"/>
              <a:gd name="connsiteX81" fmla="*/ 6407527 w 6451296"/>
              <a:gd name="connsiteY81" fmla="*/ 1540847 h 7928153"/>
              <a:gd name="connsiteX82" fmla="*/ 6417434 w 6451296"/>
              <a:gd name="connsiteY82" fmla="*/ 1560622 h 7928153"/>
              <a:gd name="connsiteX83" fmla="*/ 6426405 w 6451296"/>
              <a:gd name="connsiteY83" fmla="*/ 1580341 h 7928153"/>
              <a:gd name="connsiteX84" fmla="*/ 6433810 w 6451296"/>
              <a:gd name="connsiteY84" fmla="*/ 1601095 h 7928153"/>
              <a:gd name="connsiteX85" fmla="*/ 6439914 w 6451296"/>
              <a:gd name="connsiteY85" fmla="*/ 1621582 h 7928153"/>
              <a:gd name="connsiteX86" fmla="*/ 6444508 w 6451296"/>
              <a:gd name="connsiteY86" fmla="*/ 1642166 h 7928153"/>
              <a:gd name="connsiteX87" fmla="*/ 6447899 w 6451296"/>
              <a:gd name="connsiteY87" fmla="*/ 1663995 h 7928153"/>
              <a:gd name="connsiteX88" fmla="*/ 6450143 w 6451296"/>
              <a:gd name="connsiteY88" fmla="*/ 1686132 h 7928153"/>
              <a:gd name="connsiteX89" fmla="*/ 6451296 w 6451296"/>
              <a:gd name="connsiteY89" fmla="*/ 1707638 h 7928153"/>
              <a:gd name="connsiteX90" fmla="*/ 6450884 w 6451296"/>
              <a:gd name="connsiteY90" fmla="*/ 1730179 h 7928153"/>
              <a:gd name="connsiteX91" fmla="*/ 6449688 w 6451296"/>
              <a:gd name="connsiteY91" fmla="*/ 1753237 h 7928153"/>
              <a:gd name="connsiteX92" fmla="*/ 6446828 w 6451296"/>
              <a:gd name="connsiteY92" fmla="*/ 1775819 h 7928153"/>
              <a:gd name="connsiteX93" fmla="*/ 6443339 w 6451296"/>
              <a:gd name="connsiteY93" fmla="*/ 1799491 h 7928153"/>
              <a:gd name="connsiteX94" fmla="*/ 6438339 w 6451296"/>
              <a:gd name="connsiteY94" fmla="*/ 1823261 h 7928153"/>
              <a:gd name="connsiteX95" fmla="*/ 6432976 w 6451296"/>
              <a:gd name="connsiteY95" fmla="*/ 1846821 h 7928153"/>
              <a:gd name="connsiteX96" fmla="*/ 6426256 w 6451296"/>
              <a:gd name="connsiteY96" fmla="*/ 1871051 h 7928153"/>
              <a:gd name="connsiteX97" fmla="*/ 6418026 w 6451296"/>
              <a:gd name="connsiteY97" fmla="*/ 1895380 h 7928153"/>
              <a:gd name="connsiteX98" fmla="*/ 6409223 w 6451296"/>
              <a:gd name="connsiteY98" fmla="*/ 1919861 h 7928153"/>
              <a:gd name="connsiteX99" fmla="*/ 6399483 w 6451296"/>
              <a:gd name="connsiteY99" fmla="*/ 1944287 h 7928153"/>
              <a:gd name="connsiteX100" fmla="*/ 6388960 w 6451296"/>
              <a:gd name="connsiteY100" fmla="*/ 1969229 h 7928153"/>
              <a:gd name="connsiteX101" fmla="*/ 6377136 w 6451296"/>
              <a:gd name="connsiteY101" fmla="*/ 1993906 h 7928153"/>
              <a:gd name="connsiteX102" fmla="*/ 6364529 w 6451296"/>
              <a:gd name="connsiteY102" fmla="*/ 2019099 h 7928153"/>
              <a:gd name="connsiteX103" fmla="*/ 6351195 w 6451296"/>
              <a:gd name="connsiteY103" fmla="*/ 2043873 h 7928153"/>
              <a:gd name="connsiteX104" fmla="*/ 6337288 w 6451296"/>
              <a:gd name="connsiteY104" fmla="*/ 2068801 h 7928153"/>
              <a:gd name="connsiteX105" fmla="*/ 3107691 w 6451296"/>
              <a:gd name="connsiteY105" fmla="*/ 7662627 h 7928153"/>
              <a:gd name="connsiteX106" fmla="*/ 3093476 w 6451296"/>
              <a:gd name="connsiteY106" fmla="*/ 7686408 h 7928153"/>
              <a:gd name="connsiteX107" fmla="*/ 3078535 w 6451296"/>
              <a:gd name="connsiteY107" fmla="*/ 7709769 h 7928153"/>
              <a:gd name="connsiteX108" fmla="*/ 3062769 w 6451296"/>
              <a:gd name="connsiteY108" fmla="*/ 7731200 h 7928153"/>
              <a:gd name="connsiteX109" fmla="*/ 3046849 w 6451296"/>
              <a:gd name="connsiteY109" fmla="*/ 7752058 h 7928153"/>
              <a:gd name="connsiteX110" fmla="*/ 3030623 w 6451296"/>
              <a:gd name="connsiteY110" fmla="*/ 7771769 h 7928153"/>
              <a:gd name="connsiteX111" fmla="*/ 3013725 w 6451296"/>
              <a:gd name="connsiteY111" fmla="*/ 7790123 h 7928153"/>
              <a:gd name="connsiteX112" fmla="*/ 2996157 w 6451296"/>
              <a:gd name="connsiteY112" fmla="*/ 7807121 h 7928153"/>
              <a:gd name="connsiteX113" fmla="*/ 2978435 w 6451296"/>
              <a:gd name="connsiteY113" fmla="*/ 7823546 h 7928153"/>
              <a:gd name="connsiteX114" fmla="*/ 2960042 w 6451296"/>
              <a:gd name="connsiteY114" fmla="*/ 7838613 h 7928153"/>
              <a:gd name="connsiteX115" fmla="*/ 2941705 w 6451296"/>
              <a:gd name="connsiteY115" fmla="*/ 7852745 h 7928153"/>
              <a:gd name="connsiteX116" fmla="*/ 2922335 w 6451296"/>
              <a:gd name="connsiteY116" fmla="*/ 7865309 h 7928153"/>
              <a:gd name="connsiteX117" fmla="*/ 2903174 w 6451296"/>
              <a:gd name="connsiteY117" fmla="*/ 7877511 h 7928153"/>
              <a:gd name="connsiteX118" fmla="*/ 2883399 w 6451296"/>
              <a:gd name="connsiteY118" fmla="*/ 7887418 h 7928153"/>
              <a:gd name="connsiteX119" fmla="*/ 2863260 w 6451296"/>
              <a:gd name="connsiteY119" fmla="*/ 7897116 h 7928153"/>
              <a:gd name="connsiteX120" fmla="*/ 2842660 w 6451296"/>
              <a:gd name="connsiteY120" fmla="*/ 7905094 h 7928153"/>
              <a:gd name="connsiteX121" fmla="*/ 2821390 w 6451296"/>
              <a:gd name="connsiteY121" fmla="*/ 7911715 h 7928153"/>
              <a:gd name="connsiteX122" fmla="*/ 2800539 w 6451296"/>
              <a:gd name="connsiteY122" fmla="*/ 7917609 h 7928153"/>
              <a:gd name="connsiteX123" fmla="*/ 2779381 w 6451296"/>
              <a:gd name="connsiteY123" fmla="*/ 7922357 h 7928153"/>
              <a:gd name="connsiteX124" fmla="*/ 2757398 w 6451296"/>
              <a:gd name="connsiteY124" fmla="*/ 7925174 h 7928153"/>
              <a:gd name="connsiteX125" fmla="*/ 2735472 w 6451296"/>
              <a:gd name="connsiteY125" fmla="*/ 7927055 h 7928153"/>
              <a:gd name="connsiteX126" fmla="*/ 2713029 w 6451296"/>
              <a:gd name="connsiteY126" fmla="*/ 7928153 h 7928153"/>
              <a:gd name="connsiteX127" fmla="*/ 2690488 w 6451296"/>
              <a:gd name="connsiteY127" fmla="*/ 7927740 h 7928153"/>
              <a:gd name="connsiteX128" fmla="*/ 2667850 w 6451296"/>
              <a:gd name="connsiteY128" fmla="*/ 7925817 h 7928153"/>
              <a:gd name="connsiteX129" fmla="*/ 2645058 w 6451296"/>
              <a:gd name="connsiteY129" fmla="*/ 7923321 h 7928153"/>
              <a:gd name="connsiteX130" fmla="*/ 2621442 w 6451296"/>
              <a:gd name="connsiteY130" fmla="*/ 7918894 h 7928153"/>
              <a:gd name="connsiteX131" fmla="*/ 2598456 w 6451296"/>
              <a:gd name="connsiteY131" fmla="*/ 7913378 h 7928153"/>
              <a:gd name="connsiteX132" fmla="*/ 2575162 w 6451296"/>
              <a:gd name="connsiteY132" fmla="*/ 7906714 h 7928153"/>
              <a:gd name="connsiteX133" fmla="*/ 2551407 w 6451296"/>
              <a:gd name="connsiteY133" fmla="*/ 7898330 h 7928153"/>
              <a:gd name="connsiteX134" fmla="*/ 2527499 w 6451296"/>
              <a:gd name="connsiteY134" fmla="*/ 7889374 h 7928153"/>
              <a:gd name="connsiteX135" fmla="*/ 2503913 w 6451296"/>
              <a:gd name="connsiteY135" fmla="*/ 7878180 h 7928153"/>
              <a:gd name="connsiteX136" fmla="*/ 2479236 w 6451296"/>
              <a:gd name="connsiteY136" fmla="*/ 7866356 h 7928153"/>
              <a:gd name="connsiteX137" fmla="*/ 2455399 w 6451296"/>
              <a:gd name="connsiteY137" fmla="*/ 7853078 h 7928153"/>
              <a:gd name="connsiteX138" fmla="*/ 246076 w 6451296"/>
              <a:gd name="connsiteY138" fmla="*/ 6577526 h 7928153"/>
              <a:gd name="connsiteX139" fmla="*/ 223386 w 6451296"/>
              <a:gd name="connsiteY139" fmla="*/ 6563941 h 7928153"/>
              <a:gd name="connsiteX140" fmla="*/ 201899 w 6451296"/>
              <a:gd name="connsiteY140" fmla="*/ 6549111 h 7928153"/>
              <a:gd name="connsiteX141" fmla="*/ 181138 w 6451296"/>
              <a:gd name="connsiteY141" fmla="*/ 6534702 h 7928153"/>
              <a:gd name="connsiteX142" fmla="*/ 161944 w 6451296"/>
              <a:gd name="connsiteY142" fmla="*/ 6519259 h 7928153"/>
              <a:gd name="connsiteX143" fmla="*/ 143533 w 6451296"/>
              <a:gd name="connsiteY143" fmla="*/ 6503298 h 7928153"/>
              <a:gd name="connsiteX144" fmla="*/ 126116 w 6451296"/>
              <a:gd name="connsiteY144" fmla="*/ 6486456 h 7928153"/>
              <a:gd name="connsiteX145" fmla="*/ 110208 w 6451296"/>
              <a:gd name="connsiteY145" fmla="*/ 6469518 h 7928153"/>
              <a:gd name="connsiteX146" fmla="*/ 94721 w 6451296"/>
              <a:gd name="connsiteY146" fmla="*/ 6451852 h 7928153"/>
              <a:gd name="connsiteX147" fmla="*/ 80743 w 6451296"/>
              <a:gd name="connsiteY147" fmla="*/ 6434089 h 7928153"/>
              <a:gd name="connsiteX148" fmla="*/ 68332 w 6451296"/>
              <a:gd name="connsiteY148" fmla="*/ 6415292 h 7928153"/>
              <a:gd name="connsiteX149" fmla="*/ 56285 w 6451296"/>
              <a:gd name="connsiteY149" fmla="*/ 6396704 h 7928153"/>
              <a:gd name="connsiteX150" fmla="*/ 45594 w 6451296"/>
              <a:gd name="connsiteY150" fmla="*/ 6377446 h 7928153"/>
              <a:gd name="connsiteX151" fmla="*/ 35896 w 6451296"/>
              <a:gd name="connsiteY151" fmla="*/ 6357307 h 7928153"/>
              <a:gd name="connsiteX152" fmla="*/ 27498 w 6451296"/>
              <a:gd name="connsiteY152" fmla="*/ 6337435 h 7928153"/>
              <a:gd name="connsiteX153" fmla="*/ 20458 w 6451296"/>
              <a:gd name="connsiteY153" fmla="*/ 6316891 h 7928153"/>
              <a:gd name="connsiteX154" fmla="*/ 14200 w 6451296"/>
              <a:gd name="connsiteY154" fmla="*/ 6295830 h 7928153"/>
              <a:gd name="connsiteX155" fmla="*/ 8669 w 6451296"/>
              <a:gd name="connsiteY155" fmla="*/ 6275190 h 7928153"/>
              <a:gd name="connsiteX156" fmla="*/ 4915 w 6451296"/>
              <a:gd name="connsiteY156" fmla="*/ 6253151 h 7928153"/>
              <a:gd name="connsiteX157" fmla="*/ 2251 w 6451296"/>
              <a:gd name="connsiteY157" fmla="*/ 6231742 h 7928153"/>
              <a:gd name="connsiteX158" fmla="*/ 524 w 6451296"/>
              <a:gd name="connsiteY158" fmla="*/ 6210389 h 7928153"/>
              <a:gd name="connsiteX159" fmla="*/ 0 w 6451296"/>
              <a:gd name="connsiteY159" fmla="*/ 6187792 h 7928153"/>
              <a:gd name="connsiteX160" fmla="*/ 1139 w 6451296"/>
              <a:gd name="connsiteY160" fmla="*/ 6165671 h 7928153"/>
              <a:gd name="connsiteX161" fmla="*/ 3062 w 6451296"/>
              <a:gd name="connsiteY161" fmla="*/ 6143033 h 7928153"/>
              <a:gd name="connsiteX162" fmla="*/ 5922 w 6451296"/>
              <a:gd name="connsiteY162" fmla="*/ 6120451 h 7928153"/>
              <a:gd name="connsiteX163" fmla="*/ 10292 w 6451296"/>
              <a:gd name="connsiteY163" fmla="*/ 6097772 h 7928153"/>
              <a:gd name="connsiteX164" fmla="*/ 15809 w 6451296"/>
              <a:gd name="connsiteY164" fmla="*/ 6074785 h 7928153"/>
              <a:gd name="connsiteX165" fmla="*/ 22262 w 6451296"/>
              <a:gd name="connsiteY165" fmla="*/ 6051855 h 7928153"/>
              <a:gd name="connsiteX166" fmla="*/ 30436 w 6451296"/>
              <a:gd name="connsiteY166" fmla="*/ 6028464 h 7928153"/>
              <a:gd name="connsiteX167" fmla="*/ 39337 w 6451296"/>
              <a:gd name="connsiteY167" fmla="*/ 6005492 h 7928153"/>
              <a:gd name="connsiteX168" fmla="*/ 50111 w 6451296"/>
              <a:gd name="connsiteY168" fmla="*/ 5982633 h 7928153"/>
              <a:gd name="connsiteX169" fmla="*/ 61305 w 6451296"/>
              <a:gd name="connsiteY169" fmla="*/ 5959047 h 7928153"/>
              <a:gd name="connsiteX170" fmla="*/ 74163 w 6451296"/>
              <a:gd name="connsiteY170" fmla="*/ 5935937 h 7928153"/>
              <a:gd name="connsiteX171" fmla="*/ 3330413 w 6451296"/>
              <a:gd name="connsiteY171" fmla="*/ 295947 h 7928153"/>
              <a:gd name="connsiteX172" fmla="*/ 3344418 w 6451296"/>
              <a:gd name="connsiteY172" fmla="*/ 272529 h 7928153"/>
              <a:gd name="connsiteX173" fmla="*/ 3358366 w 6451296"/>
              <a:gd name="connsiteY173" fmla="*/ 250049 h 7928153"/>
              <a:gd name="connsiteX174" fmla="*/ 3373405 w 6451296"/>
              <a:gd name="connsiteY174" fmla="*/ 228198 h 7928153"/>
              <a:gd name="connsiteX175" fmla="*/ 3388541 w 6451296"/>
              <a:gd name="connsiteY175" fmla="*/ 207857 h 7928153"/>
              <a:gd name="connsiteX176" fmla="*/ 3403678 w 6451296"/>
              <a:gd name="connsiteY176" fmla="*/ 187517 h 7928153"/>
              <a:gd name="connsiteX177" fmla="*/ 3419904 w 6451296"/>
              <a:gd name="connsiteY177" fmla="*/ 167806 h 7928153"/>
              <a:gd name="connsiteX178" fmla="*/ 3436592 w 6451296"/>
              <a:gd name="connsiteY178" fmla="*/ 149815 h 7928153"/>
              <a:gd name="connsiteX179" fmla="*/ 3453224 w 6451296"/>
              <a:gd name="connsiteY179" fmla="*/ 132760 h 7928153"/>
              <a:gd name="connsiteX180" fmla="*/ 3470582 w 6451296"/>
              <a:gd name="connsiteY180" fmla="*/ 116126 h 7928153"/>
              <a:gd name="connsiteX181" fmla="*/ 3488038 w 6451296"/>
              <a:gd name="connsiteY181" fmla="*/ 101002 h 7928153"/>
              <a:gd name="connsiteX182" fmla="*/ 3505857 w 6451296"/>
              <a:gd name="connsiteY182" fmla="*/ 86087 h 7928153"/>
              <a:gd name="connsiteX183" fmla="*/ 3524137 w 6451296"/>
              <a:gd name="connsiteY183" fmla="*/ 72893 h 7928153"/>
              <a:gd name="connsiteX184" fmla="*/ 3542571 w 6451296"/>
              <a:gd name="connsiteY184" fmla="*/ 60272 h 7928153"/>
              <a:gd name="connsiteX185" fmla="*/ 3561312 w 6451296"/>
              <a:gd name="connsiteY185" fmla="*/ 48798 h 7928153"/>
              <a:gd name="connsiteX186" fmla="*/ 3580514 w 6451296"/>
              <a:gd name="connsiteY186" fmla="*/ 39044 h 7928153"/>
              <a:gd name="connsiteX187" fmla="*/ 3600080 w 6451296"/>
              <a:gd name="connsiteY187" fmla="*/ 29500 h 7928153"/>
              <a:gd name="connsiteX188" fmla="*/ 3620106 w 6451296"/>
              <a:gd name="connsiteY188" fmla="*/ 21676 h 7928153"/>
              <a:gd name="connsiteX189" fmla="*/ 3640440 w 6451296"/>
              <a:gd name="connsiteY189" fmla="*/ 14998 h 7928153"/>
              <a:gd name="connsiteX190" fmla="*/ 3660144 w 6451296"/>
              <a:gd name="connsiteY190" fmla="*/ 9411 h 7928153"/>
              <a:gd name="connsiteX191" fmla="*/ 3681092 w 6451296"/>
              <a:gd name="connsiteY191" fmla="*/ 5027 h 7928153"/>
              <a:gd name="connsiteX192" fmla="*/ 3702138 w 6451296"/>
              <a:gd name="connsiteY192" fmla="*/ 2153 h 7928153"/>
              <a:gd name="connsiteX193" fmla="*/ 3723281 w 6451296"/>
              <a:gd name="connsiteY193" fmla="*/ 790 h 7928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</a:cxnLst>
            <a:rect l="l" t="t" r="r" b="b"/>
            <a:pathLst>
              <a:path w="6451296" h="7928153">
                <a:moveTo>
                  <a:pt x="3744577" y="0"/>
                </a:moveTo>
                <a:lnTo>
                  <a:pt x="3766125" y="1293"/>
                </a:lnTo>
                <a:lnTo>
                  <a:pt x="3788400" y="3006"/>
                </a:lnTo>
                <a:lnTo>
                  <a:pt x="3810142" y="7320"/>
                </a:lnTo>
                <a:lnTo>
                  <a:pt x="3832975" y="12263"/>
                </a:lnTo>
                <a:lnTo>
                  <a:pt x="3854759" y="19024"/>
                </a:lnTo>
                <a:lnTo>
                  <a:pt x="3877996" y="26624"/>
                </a:lnTo>
                <a:lnTo>
                  <a:pt x="3900911" y="36462"/>
                </a:lnTo>
                <a:lnTo>
                  <a:pt x="3924134" y="47446"/>
                </a:lnTo>
                <a:lnTo>
                  <a:pt x="3947244" y="60304"/>
                </a:lnTo>
                <a:lnTo>
                  <a:pt x="4252580" y="236590"/>
                </a:lnTo>
                <a:lnTo>
                  <a:pt x="4256886" y="240045"/>
                </a:lnTo>
                <a:lnTo>
                  <a:pt x="4259625" y="244534"/>
                </a:lnTo>
                <a:lnTo>
                  <a:pt x="4261371" y="249905"/>
                </a:lnTo>
                <a:lnTo>
                  <a:pt x="4261970" y="255582"/>
                </a:lnTo>
                <a:lnTo>
                  <a:pt x="4261521" y="263077"/>
                </a:lnTo>
                <a:lnTo>
                  <a:pt x="4260134" y="270515"/>
                </a:lnTo>
                <a:lnTo>
                  <a:pt x="4258118" y="279044"/>
                </a:lnTo>
                <a:lnTo>
                  <a:pt x="4254745" y="288244"/>
                </a:lnTo>
                <a:lnTo>
                  <a:pt x="4247733" y="307944"/>
                </a:lnTo>
                <a:lnTo>
                  <a:pt x="4239405" y="330762"/>
                </a:lnTo>
                <a:lnTo>
                  <a:pt x="4235500" y="342563"/>
                </a:lnTo>
                <a:lnTo>
                  <a:pt x="4231749" y="354937"/>
                </a:lnTo>
                <a:lnTo>
                  <a:pt x="4227424" y="367464"/>
                </a:lnTo>
                <a:lnTo>
                  <a:pt x="4224400" y="380258"/>
                </a:lnTo>
                <a:lnTo>
                  <a:pt x="4221319" y="393988"/>
                </a:lnTo>
                <a:lnTo>
                  <a:pt x="4219175" y="407775"/>
                </a:lnTo>
                <a:lnTo>
                  <a:pt x="4217605" y="421408"/>
                </a:lnTo>
                <a:lnTo>
                  <a:pt x="4217335" y="435307"/>
                </a:lnTo>
                <a:lnTo>
                  <a:pt x="4217064" y="449206"/>
                </a:lnTo>
                <a:lnTo>
                  <a:pt x="4218668" y="463218"/>
                </a:lnTo>
                <a:lnTo>
                  <a:pt x="4222145" y="477342"/>
                </a:lnTo>
                <a:lnTo>
                  <a:pt x="4226350" y="491886"/>
                </a:lnTo>
                <a:lnTo>
                  <a:pt x="4231547" y="505549"/>
                </a:lnTo>
                <a:lnTo>
                  <a:pt x="4239345" y="519745"/>
                </a:lnTo>
                <a:lnTo>
                  <a:pt x="4248290" y="533633"/>
                </a:lnTo>
                <a:lnTo>
                  <a:pt x="4259682" y="547480"/>
                </a:lnTo>
                <a:lnTo>
                  <a:pt x="4272793" y="560866"/>
                </a:lnTo>
                <a:lnTo>
                  <a:pt x="4288352" y="574211"/>
                </a:lnTo>
                <a:lnTo>
                  <a:pt x="4305632" y="587095"/>
                </a:lnTo>
                <a:lnTo>
                  <a:pt x="4325931" y="599784"/>
                </a:lnTo>
                <a:lnTo>
                  <a:pt x="5592348" y="1330950"/>
                </a:lnTo>
                <a:lnTo>
                  <a:pt x="5613487" y="1342185"/>
                </a:lnTo>
                <a:lnTo>
                  <a:pt x="5633284" y="1350707"/>
                </a:lnTo>
                <a:lnTo>
                  <a:pt x="5652620" y="1357509"/>
                </a:lnTo>
                <a:lnTo>
                  <a:pt x="5670769" y="1362172"/>
                </a:lnTo>
                <a:lnTo>
                  <a:pt x="5688457" y="1365114"/>
                </a:lnTo>
                <a:lnTo>
                  <a:pt x="5704957" y="1365916"/>
                </a:lnTo>
                <a:lnTo>
                  <a:pt x="5721149" y="1365572"/>
                </a:lnTo>
                <a:lnTo>
                  <a:pt x="5735581" y="1363241"/>
                </a:lnTo>
                <a:lnTo>
                  <a:pt x="5750278" y="1359610"/>
                </a:lnTo>
                <a:lnTo>
                  <a:pt x="5764249" y="1355560"/>
                </a:lnTo>
                <a:lnTo>
                  <a:pt x="5777185" y="1349942"/>
                </a:lnTo>
                <a:lnTo>
                  <a:pt x="5789087" y="1342759"/>
                </a:lnTo>
                <a:lnTo>
                  <a:pt x="5800989" y="1335575"/>
                </a:lnTo>
                <a:lnTo>
                  <a:pt x="5812010" y="1327399"/>
                </a:lnTo>
                <a:lnTo>
                  <a:pt x="5822878" y="1318649"/>
                </a:lnTo>
                <a:lnTo>
                  <a:pt x="5833229" y="1309116"/>
                </a:lnTo>
                <a:lnTo>
                  <a:pt x="5842796" y="1300099"/>
                </a:lnTo>
                <a:lnTo>
                  <a:pt x="5851483" y="1290090"/>
                </a:lnTo>
                <a:lnTo>
                  <a:pt x="5860323" y="1280655"/>
                </a:lnTo>
                <a:lnTo>
                  <a:pt x="5868590" y="1271372"/>
                </a:lnTo>
                <a:lnTo>
                  <a:pt x="5884187" y="1252752"/>
                </a:lnTo>
                <a:lnTo>
                  <a:pt x="5897742" y="1236829"/>
                </a:lnTo>
                <a:lnTo>
                  <a:pt x="5904023" y="1229308"/>
                </a:lnTo>
                <a:lnTo>
                  <a:pt x="5910401" y="1223297"/>
                </a:lnTo>
                <a:lnTo>
                  <a:pt x="5916150" y="1218377"/>
                </a:lnTo>
                <a:lnTo>
                  <a:pt x="5922416" y="1214240"/>
                </a:lnTo>
                <a:lnTo>
                  <a:pt x="5927632" y="1211921"/>
                </a:lnTo>
                <a:lnTo>
                  <a:pt x="5933156" y="1210748"/>
                </a:lnTo>
                <a:lnTo>
                  <a:pt x="5938413" y="1210876"/>
                </a:lnTo>
                <a:lnTo>
                  <a:pt x="5943559" y="1212877"/>
                </a:lnTo>
                <a:lnTo>
                  <a:pt x="6248894" y="1389163"/>
                </a:lnTo>
                <a:lnTo>
                  <a:pt x="6273039" y="1403587"/>
                </a:lnTo>
                <a:lnTo>
                  <a:pt x="6295043" y="1419199"/>
                </a:lnTo>
                <a:lnTo>
                  <a:pt x="6315901" y="1435119"/>
                </a:lnTo>
                <a:lnTo>
                  <a:pt x="6334675" y="1451289"/>
                </a:lnTo>
                <a:lnTo>
                  <a:pt x="6352666" y="1467977"/>
                </a:lnTo>
                <a:lnTo>
                  <a:pt x="6368154" y="1485643"/>
                </a:lnTo>
                <a:lnTo>
                  <a:pt x="6383068" y="1503462"/>
                </a:lnTo>
                <a:lnTo>
                  <a:pt x="6396053" y="1522106"/>
                </a:lnTo>
                <a:lnTo>
                  <a:pt x="6407527" y="1540847"/>
                </a:lnTo>
                <a:lnTo>
                  <a:pt x="6417434" y="1560622"/>
                </a:lnTo>
                <a:lnTo>
                  <a:pt x="6426405" y="1580341"/>
                </a:lnTo>
                <a:lnTo>
                  <a:pt x="6433810" y="1601095"/>
                </a:lnTo>
                <a:lnTo>
                  <a:pt x="6439914" y="1621582"/>
                </a:lnTo>
                <a:lnTo>
                  <a:pt x="6444508" y="1642166"/>
                </a:lnTo>
                <a:lnTo>
                  <a:pt x="6447899" y="1663995"/>
                </a:lnTo>
                <a:lnTo>
                  <a:pt x="6450143" y="1686132"/>
                </a:lnTo>
                <a:lnTo>
                  <a:pt x="6451296" y="1707638"/>
                </a:lnTo>
                <a:lnTo>
                  <a:pt x="6450884" y="1730179"/>
                </a:lnTo>
                <a:lnTo>
                  <a:pt x="6449688" y="1753237"/>
                </a:lnTo>
                <a:lnTo>
                  <a:pt x="6446828" y="1775819"/>
                </a:lnTo>
                <a:lnTo>
                  <a:pt x="6443339" y="1799491"/>
                </a:lnTo>
                <a:lnTo>
                  <a:pt x="6438339" y="1823261"/>
                </a:lnTo>
                <a:lnTo>
                  <a:pt x="6432976" y="1846821"/>
                </a:lnTo>
                <a:lnTo>
                  <a:pt x="6426256" y="1871051"/>
                </a:lnTo>
                <a:lnTo>
                  <a:pt x="6418026" y="1895380"/>
                </a:lnTo>
                <a:lnTo>
                  <a:pt x="6409223" y="1919861"/>
                </a:lnTo>
                <a:lnTo>
                  <a:pt x="6399483" y="1944287"/>
                </a:lnTo>
                <a:lnTo>
                  <a:pt x="6388960" y="1969229"/>
                </a:lnTo>
                <a:lnTo>
                  <a:pt x="6377136" y="1993906"/>
                </a:lnTo>
                <a:lnTo>
                  <a:pt x="6364529" y="2019099"/>
                </a:lnTo>
                <a:lnTo>
                  <a:pt x="6351195" y="2043873"/>
                </a:lnTo>
                <a:lnTo>
                  <a:pt x="6337288" y="2068801"/>
                </a:lnTo>
                <a:lnTo>
                  <a:pt x="3107691" y="7662627"/>
                </a:lnTo>
                <a:lnTo>
                  <a:pt x="3093476" y="7686408"/>
                </a:lnTo>
                <a:lnTo>
                  <a:pt x="3078535" y="7709769"/>
                </a:lnTo>
                <a:lnTo>
                  <a:pt x="3062769" y="7731200"/>
                </a:lnTo>
                <a:lnTo>
                  <a:pt x="3046849" y="7752058"/>
                </a:lnTo>
                <a:lnTo>
                  <a:pt x="3030623" y="7771769"/>
                </a:lnTo>
                <a:lnTo>
                  <a:pt x="3013725" y="7790123"/>
                </a:lnTo>
                <a:lnTo>
                  <a:pt x="2996157" y="7807121"/>
                </a:lnTo>
                <a:lnTo>
                  <a:pt x="2978435" y="7823546"/>
                </a:lnTo>
                <a:lnTo>
                  <a:pt x="2960042" y="7838613"/>
                </a:lnTo>
                <a:lnTo>
                  <a:pt x="2941705" y="7852745"/>
                </a:lnTo>
                <a:lnTo>
                  <a:pt x="2922335" y="7865309"/>
                </a:lnTo>
                <a:lnTo>
                  <a:pt x="2903174" y="7877511"/>
                </a:lnTo>
                <a:lnTo>
                  <a:pt x="2883399" y="7887418"/>
                </a:lnTo>
                <a:lnTo>
                  <a:pt x="2863260" y="7897116"/>
                </a:lnTo>
                <a:lnTo>
                  <a:pt x="2842660" y="7905094"/>
                </a:lnTo>
                <a:lnTo>
                  <a:pt x="2821390" y="7911715"/>
                </a:lnTo>
                <a:lnTo>
                  <a:pt x="2800539" y="7917609"/>
                </a:lnTo>
                <a:lnTo>
                  <a:pt x="2779381" y="7922357"/>
                </a:lnTo>
                <a:lnTo>
                  <a:pt x="2757398" y="7925174"/>
                </a:lnTo>
                <a:lnTo>
                  <a:pt x="2735472" y="7927055"/>
                </a:lnTo>
                <a:lnTo>
                  <a:pt x="2713029" y="7928153"/>
                </a:lnTo>
                <a:lnTo>
                  <a:pt x="2690488" y="7927740"/>
                </a:lnTo>
                <a:lnTo>
                  <a:pt x="2667850" y="7925817"/>
                </a:lnTo>
                <a:lnTo>
                  <a:pt x="2645058" y="7923321"/>
                </a:lnTo>
                <a:lnTo>
                  <a:pt x="2621442" y="7918894"/>
                </a:lnTo>
                <a:lnTo>
                  <a:pt x="2598456" y="7913378"/>
                </a:lnTo>
                <a:lnTo>
                  <a:pt x="2575162" y="7906714"/>
                </a:lnTo>
                <a:lnTo>
                  <a:pt x="2551407" y="7898330"/>
                </a:lnTo>
                <a:lnTo>
                  <a:pt x="2527499" y="7889374"/>
                </a:lnTo>
                <a:lnTo>
                  <a:pt x="2503913" y="7878180"/>
                </a:lnTo>
                <a:lnTo>
                  <a:pt x="2479236" y="7866356"/>
                </a:lnTo>
                <a:lnTo>
                  <a:pt x="2455399" y="7853078"/>
                </a:lnTo>
                <a:lnTo>
                  <a:pt x="246076" y="6577526"/>
                </a:lnTo>
                <a:lnTo>
                  <a:pt x="223386" y="6563941"/>
                </a:lnTo>
                <a:lnTo>
                  <a:pt x="201899" y="6549111"/>
                </a:lnTo>
                <a:lnTo>
                  <a:pt x="181138" y="6534702"/>
                </a:lnTo>
                <a:lnTo>
                  <a:pt x="161944" y="6519259"/>
                </a:lnTo>
                <a:lnTo>
                  <a:pt x="143533" y="6503298"/>
                </a:lnTo>
                <a:lnTo>
                  <a:pt x="126116" y="6486456"/>
                </a:lnTo>
                <a:lnTo>
                  <a:pt x="110208" y="6469518"/>
                </a:lnTo>
                <a:lnTo>
                  <a:pt x="94721" y="6451852"/>
                </a:lnTo>
                <a:lnTo>
                  <a:pt x="80743" y="6434089"/>
                </a:lnTo>
                <a:lnTo>
                  <a:pt x="68332" y="6415292"/>
                </a:lnTo>
                <a:lnTo>
                  <a:pt x="56285" y="6396704"/>
                </a:lnTo>
                <a:lnTo>
                  <a:pt x="45594" y="6377446"/>
                </a:lnTo>
                <a:lnTo>
                  <a:pt x="35896" y="6357307"/>
                </a:lnTo>
                <a:lnTo>
                  <a:pt x="27498" y="6337435"/>
                </a:lnTo>
                <a:lnTo>
                  <a:pt x="20458" y="6316891"/>
                </a:lnTo>
                <a:lnTo>
                  <a:pt x="14200" y="6295830"/>
                </a:lnTo>
                <a:lnTo>
                  <a:pt x="8669" y="6275190"/>
                </a:lnTo>
                <a:lnTo>
                  <a:pt x="4915" y="6253151"/>
                </a:lnTo>
                <a:lnTo>
                  <a:pt x="2251" y="6231742"/>
                </a:lnTo>
                <a:lnTo>
                  <a:pt x="524" y="6210389"/>
                </a:lnTo>
                <a:lnTo>
                  <a:pt x="0" y="6187792"/>
                </a:lnTo>
                <a:lnTo>
                  <a:pt x="1139" y="6165671"/>
                </a:lnTo>
                <a:lnTo>
                  <a:pt x="3062" y="6143033"/>
                </a:lnTo>
                <a:lnTo>
                  <a:pt x="5922" y="6120451"/>
                </a:lnTo>
                <a:lnTo>
                  <a:pt x="10292" y="6097772"/>
                </a:lnTo>
                <a:lnTo>
                  <a:pt x="15809" y="6074785"/>
                </a:lnTo>
                <a:lnTo>
                  <a:pt x="22262" y="6051855"/>
                </a:lnTo>
                <a:lnTo>
                  <a:pt x="30436" y="6028464"/>
                </a:lnTo>
                <a:lnTo>
                  <a:pt x="39337" y="6005492"/>
                </a:lnTo>
                <a:lnTo>
                  <a:pt x="50111" y="5982633"/>
                </a:lnTo>
                <a:lnTo>
                  <a:pt x="61305" y="5959047"/>
                </a:lnTo>
                <a:lnTo>
                  <a:pt x="74163" y="5935937"/>
                </a:lnTo>
                <a:lnTo>
                  <a:pt x="3330413" y="295947"/>
                </a:lnTo>
                <a:lnTo>
                  <a:pt x="3344418" y="272529"/>
                </a:lnTo>
                <a:lnTo>
                  <a:pt x="3358366" y="250049"/>
                </a:lnTo>
                <a:lnTo>
                  <a:pt x="3373405" y="228198"/>
                </a:lnTo>
                <a:lnTo>
                  <a:pt x="3388541" y="207857"/>
                </a:lnTo>
                <a:lnTo>
                  <a:pt x="3403678" y="187517"/>
                </a:lnTo>
                <a:lnTo>
                  <a:pt x="3419904" y="167806"/>
                </a:lnTo>
                <a:lnTo>
                  <a:pt x="3436592" y="149815"/>
                </a:lnTo>
                <a:lnTo>
                  <a:pt x="3453224" y="132760"/>
                </a:lnTo>
                <a:lnTo>
                  <a:pt x="3470582" y="116126"/>
                </a:lnTo>
                <a:lnTo>
                  <a:pt x="3488038" y="101002"/>
                </a:lnTo>
                <a:lnTo>
                  <a:pt x="3505857" y="86087"/>
                </a:lnTo>
                <a:lnTo>
                  <a:pt x="3524137" y="72893"/>
                </a:lnTo>
                <a:lnTo>
                  <a:pt x="3542571" y="60272"/>
                </a:lnTo>
                <a:lnTo>
                  <a:pt x="3561312" y="48798"/>
                </a:lnTo>
                <a:lnTo>
                  <a:pt x="3580514" y="39044"/>
                </a:lnTo>
                <a:lnTo>
                  <a:pt x="3600080" y="29500"/>
                </a:lnTo>
                <a:lnTo>
                  <a:pt x="3620106" y="21676"/>
                </a:lnTo>
                <a:lnTo>
                  <a:pt x="3640440" y="14998"/>
                </a:lnTo>
                <a:lnTo>
                  <a:pt x="3660144" y="9411"/>
                </a:lnTo>
                <a:lnTo>
                  <a:pt x="3681092" y="5027"/>
                </a:lnTo>
                <a:lnTo>
                  <a:pt x="3702138" y="2153"/>
                </a:lnTo>
                <a:lnTo>
                  <a:pt x="3723281" y="790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6" name="Рисунок 2"/>
          <p:cNvSpPr>
            <a:spLocks noGrp="1"/>
          </p:cNvSpPr>
          <p:nvPr>
            <p:ph type="pic" sz="quarter" idx="21"/>
          </p:nvPr>
        </p:nvSpPr>
        <p:spPr>
          <a:xfrm>
            <a:off x="9455407" y="-92513"/>
            <a:ext cx="5715607" cy="7022962"/>
          </a:xfrm>
          <a:custGeom>
            <a:avLst/>
            <a:gdLst>
              <a:gd name="connsiteX0" fmla="*/ 3744577 w 6451296"/>
              <a:gd name="connsiteY0" fmla="*/ 0 h 7928153"/>
              <a:gd name="connsiteX1" fmla="*/ 3766125 w 6451296"/>
              <a:gd name="connsiteY1" fmla="*/ 1293 h 7928153"/>
              <a:gd name="connsiteX2" fmla="*/ 3788400 w 6451296"/>
              <a:gd name="connsiteY2" fmla="*/ 3006 h 7928153"/>
              <a:gd name="connsiteX3" fmla="*/ 3810142 w 6451296"/>
              <a:gd name="connsiteY3" fmla="*/ 7320 h 7928153"/>
              <a:gd name="connsiteX4" fmla="*/ 3832975 w 6451296"/>
              <a:gd name="connsiteY4" fmla="*/ 12263 h 7928153"/>
              <a:gd name="connsiteX5" fmla="*/ 3854759 w 6451296"/>
              <a:gd name="connsiteY5" fmla="*/ 19024 h 7928153"/>
              <a:gd name="connsiteX6" fmla="*/ 3877996 w 6451296"/>
              <a:gd name="connsiteY6" fmla="*/ 26624 h 7928153"/>
              <a:gd name="connsiteX7" fmla="*/ 3900911 w 6451296"/>
              <a:gd name="connsiteY7" fmla="*/ 36462 h 7928153"/>
              <a:gd name="connsiteX8" fmla="*/ 3924134 w 6451296"/>
              <a:gd name="connsiteY8" fmla="*/ 47446 h 7928153"/>
              <a:gd name="connsiteX9" fmla="*/ 3947244 w 6451296"/>
              <a:gd name="connsiteY9" fmla="*/ 60304 h 7928153"/>
              <a:gd name="connsiteX10" fmla="*/ 4252580 w 6451296"/>
              <a:gd name="connsiteY10" fmla="*/ 236590 h 7928153"/>
              <a:gd name="connsiteX11" fmla="*/ 4256886 w 6451296"/>
              <a:gd name="connsiteY11" fmla="*/ 240045 h 7928153"/>
              <a:gd name="connsiteX12" fmla="*/ 4259625 w 6451296"/>
              <a:gd name="connsiteY12" fmla="*/ 244534 h 7928153"/>
              <a:gd name="connsiteX13" fmla="*/ 4261371 w 6451296"/>
              <a:gd name="connsiteY13" fmla="*/ 249905 h 7928153"/>
              <a:gd name="connsiteX14" fmla="*/ 4261970 w 6451296"/>
              <a:gd name="connsiteY14" fmla="*/ 255582 h 7928153"/>
              <a:gd name="connsiteX15" fmla="*/ 4261521 w 6451296"/>
              <a:gd name="connsiteY15" fmla="*/ 263077 h 7928153"/>
              <a:gd name="connsiteX16" fmla="*/ 4260134 w 6451296"/>
              <a:gd name="connsiteY16" fmla="*/ 270515 h 7928153"/>
              <a:gd name="connsiteX17" fmla="*/ 4258118 w 6451296"/>
              <a:gd name="connsiteY17" fmla="*/ 279044 h 7928153"/>
              <a:gd name="connsiteX18" fmla="*/ 4254745 w 6451296"/>
              <a:gd name="connsiteY18" fmla="*/ 288244 h 7928153"/>
              <a:gd name="connsiteX19" fmla="*/ 4247733 w 6451296"/>
              <a:gd name="connsiteY19" fmla="*/ 307944 h 7928153"/>
              <a:gd name="connsiteX20" fmla="*/ 4239405 w 6451296"/>
              <a:gd name="connsiteY20" fmla="*/ 330762 h 7928153"/>
              <a:gd name="connsiteX21" fmla="*/ 4235500 w 6451296"/>
              <a:gd name="connsiteY21" fmla="*/ 342563 h 7928153"/>
              <a:gd name="connsiteX22" fmla="*/ 4231749 w 6451296"/>
              <a:gd name="connsiteY22" fmla="*/ 354937 h 7928153"/>
              <a:gd name="connsiteX23" fmla="*/ 4227424 w 6451296"/>
              <a:gd name="connsiteY23" fmla="*/ 367464 h 7928153"/>
              <a:gd name="connsiteX24" fmla="*/ 4224400 w 6451296"/>
              <a:gd name="connsiteY24" fmla="*/ 380258 h 7928153"/>
              <a:gd name="connsiteX25" fmla="*/ 4221319 w 6451296"/>
              <a:gd name="connsiteY25" fmla="*/ 393988 h 7928153"/>
              <a:gd name="connsiteX26" fmla="*/ 4219175 w 6451296"/>
              <a:gd name="connsiteY26" fmla="*/ 407775 h 7928153"/>
              <a:gd name="connsiteX27" fmla="*/ 4217605 w 6451296"/>
              <a:gd name="connsiteY27" fmla="*/ 421408 h 7928153"/>
              <a:gd name="connsiteX28" fmla="*/ 4217335 w 6451296"/>
              <a:gd name="connsiteY28" fmla="*/ 435307 h 7928153"/>
              <a:gd name="connsiteX29" fmla="*/ 4217064 w 6451296"/>
              <a:gd name="connsiteY29" fmla="*/ 449206 h 7928153"/>
              <a:gd name="connsiteX30" fmla="*/ 4218668 w 6451296"/>
              <a:gd name="connsiteY30" fmla="*/ 463218 h 7928153"/>
              <a:gd name="connsiteX31" fmla="*/ 4222145 w 6451296"/>
              <a:gd name="connsiteY31" fmla="*/ 477342 h 7928153"/>
              <a:gd name="connsiteX32" fmla="*/ 4226350 w 6451296"/>
              <a:gd name="connsiteY32" fmla="*/ 491886 h 7928153"/>
              <a:gd name="connsiteX33" fmla="*/ 4231547 w 6451296"/>
              <a:gd name="connsiteY33" fmla="*/ 505549 h 7928153"/>
              <a:gd name="connsiteX34" fmla="*/ 4239345 w 6451296"/>
              <a:gd name="connsiteY34" fmla="*/ 519745 h 7928153"/>
              <a:gd name="connsiteX35" fmla="*/ 4248290 w 6451296"/>
              <a:gd name="connsiteY35" fmla="*/ 533633 h 7928153"/>
              <a:gd name="connsiteX36" fmla="*/ 4259682 w 6451296"/>
              <a:gd name="connsiteY36" fmla="*/ 547480 h 7928153"/>
              <a:gd name="connsiteX37" fmla="*/ 4272793 w 6451296"/>
              <a:gd name="connsiteY37" fmla="*/ 560866 h 7928153"/>
              <a:gd name="connsiteX38" fmla="*/ 4288352 w 6451296"/>
              <a:gd name="connsiteY38" fmla="*/ 574211 h 7928153"/>
              <a:gd name="connsiteX39" fmla="*/ 4305632 w 6451296"/>
              <a:gd name="connsiteY39" fmla="*/ 587095 h 7928153"/>
              <a:gd name="connsiteX40" fmla="*/ 4325931 w 6451296"/>
              <a:gd name="connsiteY40" fmla="*/ 599784 h 7928153"/>
              <a:gd name="connsiteX41" fmla="*/ 5592348 w 6451296"/>
              <a:gd name="connsiteY41" fmla="*/ 1330950 h 7928153"/>
              <a:gd name="connsiteX42" fmla="*/ 5613487 w 6451296"/>
              <a:gd name="connsiteY42" fmla="*/ 1342185 h 7928153"/>
              <a:gd name="connsiteX43" fmla="*/ 5633284 w 6451296"/>
              <a:gd name="connsiteY43" fmla="*/ 1350707 h 7928153"/>
              <a:gd name="connsiteX44" fmla="*/ 5652620 w 6451296"/>
              <a:gd name="connsiteY44" fmla="*/ 1357509 h 7928153"/>
              <a:gd name="connsiteX45" fmla="*/ 5670769 w 6451296"/>
              <a:gd name="connsiteY45" fmla="*/ 1362172 h 7928153"/>
              <a:gd name="connsiteX46" fmla="*/ 5688457 w 6451296"/>
              <a:gd name="connsiteY46" fmla="*/ 1365114 h 7928153"/>
              <a:gd name="connsiteX47" fmla="*/ 5704957 w 6451296"/>
              <a:gd name="connsiteY47" fmla="*/ 1365916 h 7928153"/>
              <a:gd name="connsiteX48" fmla="*/ 5721149 w 6451296"/>
              <a:gd name="connsiteY48" fmla="*/ 1365572 h 7928153"/>
              <a:gd name="connsiteX49" fmla="*/ 5735581 w 6451296"/>
              <a:gd name="connsiteY49" fmla="*/ 1363241 h 7928153"/>
              <a:gd name="connsiteX50" fmla="*/ 5750278 w 6451296"/>
              <a:gd name="connsiteY50" fmla="*/ 1359610 h 7928153"/>
              <a:gd name="connsiteX51" fmla="*/ 5764249 w 6451296"/>
              <a:gd name="connsiteY51" fmla="*/ 1355560 h 7928153"/>
              <a:gd name="connsiteX52" fmla="*/ 5777185 w 6451296"/>
              <a:gd name="connsiteY52" fmla="*/ 1349942 h 7928153"/>
              <a:gd name="connsiteX53" fmla="*/ 5789087 w 6451296"/>
              <a:gd name="connsiteY53" fmla="*/ 1342759 h 7928153"/>
              <a:gd name="connsiteX54" fmla="*/ 5800989 w 6451296"/>
              <a:gd name="connsiteY54" fmla="*/ 1335575 h 7928153"/>
              <a:gd name="connsiteX55" fmla="*/ 5812010 w 6451296"/>
              <a:gd name="connsiteY55" fmla="*/ 1327399 h 7928153"/>
              <a:gd name="connsiteX56" fmla="*/ 5822878 w 6451296"/>
              <a:gd name="connsiteY56" fmla="*/ 1318649 h 7928153"/>
              <a:gd name="connsiteX57" fmla="*/ 5833229 w 6451296"/>
              <a:gd name="connsiteY57" fmla="*/ 1309116 h 7928153"/>
              <a:gd name="connsiteX58" fmla="*/ 5842796 w 6451296"/>
              <a:gd name="connsiteY58" fmla="*/ 1300099 h 7928153"/>
              <a:gd name="connsiteX59" fmla="*/ 5851483 w 6451296"/>
              <a:gd name="connsiteY59" fmla="*/ 1290090 h 7928153"/>
              <a:gd name="connsiteX60" fmla="*/ 5860323 w 6451296"/>
              <a:gd name="connsiteY60" fmla="*/ 1280655 h 7928153"/>
              <a:gd name="connsiteX61" fmla="*/ 5868590 w 6451296"/>
              <a:gd name="connsiteY61" fmla="*/ 1271372 h 7928153"/>
              <a:gd name="connsiteX62" fmla="*/ 5884187 w 6451296"/>
              <a:gd name="connsiteY62" fmla="*/ 1252752 h 7928153"/>
              <a:gd name="connsiteX63" fmla="*/ 5897742 w 6451296"/>
              <a:gd name="connsiteY63" fmla="*/ 1236829 h 7928153"/>
              <a:gd name="connsiteX64" fmla="*/ 5904023 w 6451296"/>
              <a:gd name="connsiteY64" fmla="*/ 1229308 h 7928153"/>
              <a:gd name="connsiteX65" fmla="*/ 5910401 w 6451296"/>
              <a:gd name="connsiteY65" fmla="*/ 1223297 h 7928153"/>
              <a:gd name="connsiteX66" fmla="*/ 5916150 w 6451296"/>
              <a:gd name="connsiteY66" fmla="*/ 1218377 h 7928153"/>
              <a:gd name="connsiteX67" fmla="*/ 5922416 w 6451296"/>
              <a:gd name="connsiteY67" fmla="*/ 1214240 h 7928153"/>
              <a:gd name="connsiteX68" fmla="*/ 5927632 w 6451296"/>
              <a:gd name="connsiteY68" fmla="*/ 1211921 h 7928153"/>
              <a:gd name="connsiteX69" fmla="*/ 5933156 w 6451296"/>
              <a:gd name="connsiteY69" fmla="*/ 1210748 h 7928153"/>
              <a:gd name="connsiteX70" fmla="*/ 5938413 w 6451296"/>
              <a:gd name="connsiteY70" fmla="*/ 1210876 h 7928153"/>
              <a:gd name="connsiteX71" fmla="*/ 5943559 w 6451296"/>
              <a:gd name="connsiteY71" fmla="*/ 1212877 h 7928153"/>
              <a:gd name="connsiteX72" fmla="*/ 6248894 w 6451296"/>
              <a:gd name="connsiteY72" fmla="*/ 1389163 h 7928153"/>
              <a:gd name="connsiteX73" fmla="*/ 6273039 w 6451296"/>
              <a:gd name="connsiteY73" fmla="*/ 1403587 h 7928153"/>
              <a:gd name="connsiteX74" fmla="*/ 6295043 w 6451296"/>
              <a:gd name="connsiteY74" fmla="*/ 1419199 h 7928153"/>
              <a:gd name="connsiteX75" fmla="*/ 6315901 w 6451296"/>
              <a:gd name="connsiteY75" fmla="*/ 1435119 h 7928153"/>
              <a:gd name="connsiteX76" fmla="*/ 6334675 w 6451296"/>
              <a:gd name="connsiteY76" fmla="*/ 1451289 h 7928153"/>
              <a:gd name="connsiteX77" fmla="*/ 6352666 w 6451296"/>
              <a:gd name="connsiteY77" fmla="*/ 1467977 h 7928153"/>
              <a:gd name="connsiteX78" fmla="*/ 6368154 w 6451296"/>
              <a:gd name="connsiteY78" fmla="*/ 1485643 h 7928153"/>
              <a:gd name="connsiteX79" fmla="*/ 6383068 w 6451296"/>
              <a:gd name="connsiteY79" fmla="*/ 1503462 h 7928153"/>
              <a:gd name="connsiteX80" fmla="*/ 6396053 w 6451296"/>
              <a:gd name="connsiteY80" fmla="*/ 1522106 h 7928153"/>
              <a:gd name="connsiteX81" fmla="*/ 6407527 w 6451296"/>
              <a:gd name="connsiteY81" fmla="*/ 1540847 h 7928153"/>
              <a:gd name="connsiteX82" fmla="*/ 6417434 w 6451296"/>
              <a:gd name="connsiteY82" fmla="*/ 1560622 h 7928153"/>
              <a:gd name="connsiteX83" fmla="*/ 6426405 w 6451296"/>
              <a:gd name="connsiteY83" fmla="*/ 1580341 h 7928153"/>
              <a:gd name="connsiteX84" fmla="*/ 6433810 w 6451296"/>
              <a:gd name="connsiteY84" fmla="*/ 1601095 h 7928153"/>
              <a:gd name="connsiteX85" fmla="*/ 6439914 w 6451296"/>
              <a:gd name="connsiteY85" fmla="*/ 1621582 h 7928153"/>
              <a:gd name="connsiteX86" fmla="*/ 6444508 w 6451296"/>
              <a:gd name="connsiteY86" fmla="*/ 1642166 h 7928153"/>
              <a:gd name="connsiteX87" fmla="*/ 6447899 w 6451296"/>
              <a:gd name="connsiteY87" fmla="*/ 1663995 h 7928153"/>
              <a:gd name="connsiteX88" fmla="*/ 6450143 w 6451296"/>
              <a:gd name="connsiteY88" fmla="*/ 1686132 h 7928153"/>
              <a:gd name="connsiteX89" fmla="*/ 6451296 w 6451296"/>
              <a:gd name="connsiteY89" fmla="*/ 1707638 h 7928153"/>
              <a:gd name="connsiteX90" fmla="*/ 6450884 w 6451296"/>
              <a:gd name="connsiteY90" fmla="*/ 1730179 h 7928153"/>
              <a:gd name="connsiteX91" fmla="*/ 6449688 w 6451296"/>
              <a:gd name="connsiteY91" fmla="*/ 1753237 h 7928153"/>
              <a:gd name="connsiteX92" fmla="*/ 6446828 w 6451296"/>
              <a:gd name="connsiteY92" fmla="*/ 1775819 h 7928153"/>
              <a:gd name="connsiteX93" fmla="*/ 6443339 w 6451296"/>
              <a:gd name="connsiteY93" fmla="*/ 1799491 h 7928153"/>
              <a:gd name="connsiteX94" fmla="*/ 6438339 w 6451296"/>
              <a:gd name="connsiteY94" fmla="*/ 1823261 h 7928153"/>
              <a:gd name="connsiteX95" fmla="*/ 6432976 w 6451296"/>
              <a:gd name="connsiteY95" fmla="*/ 1846821 h 7928153"/>
              <a:gd name="connsiteX96" fmla="*/ 6426256 w 6451296"/>
              <a:gd name="connsiteY96" fmla="*/ 1871051 h 7928153"/>
              <a:gd name="connsiteX97" fmla="*/ 6418026 w 6451296"/>
              <a:gd name="connsiteY97" fmla="*/ 1895380 h 7928153"/>
              <a:gd name="connsiteX98" fmla="*/ 6409223 w 6451296"/>
              <a:gd name="connsiteY98" fmla="*/ 1919861 h 7928153"/>
              <a:gd name="connsiteX99" fmla="*/ 6399483 w 6451296"/>
              <a:gd name="connsiteY99" fmla="*/ 1944287 h 7928153"/>
              <a:gd name="connsiteX100" fmla="*/ 6388960 w 6451296"/>
              <a:gd name="connsiteY100" fmla="*/ 1969229 h 7928153"/>
              <a:gd name="connsiteX101" fmla="*/ 6377136 w 6451296"/>
              <a:gd name="connsiteY101" fmla="*/ 1993906 h 7928153"/>
              <a:gd name="connsiteX102" fmla="*/ 6364529 w 6451296"/>
              <a:gd name="connsiteY102" fmla="*/ 2019099 h 7928153"/>
              <a:gd name="connsiteX103" fmla="*/ 6351195 w 6451296"/>
              <a:gd name="connsiteY103" fmla="*/ 2043873 h 7928153"/>
              <a:gd name="connsiteX104" fmla="*/ 6337288 w 6451296"/>
              <a:gd name="connsiteY104" fmla="*/ 2068801 h 7928153"/>
              <a:gd name="connsiteX105" fmla="*/ 3107691 w 6451296"/>
              <a:gd name="connsiteY105" fmla="*/ 7662627 h 7928153"/>
              <a:gd name="connsiteX106" fmla="*/ 3093476 w 6451296"/>
              <a:gd name="connsiteY106" fmla="*/ 7686408 h 7928153"/>
              <a:gd name="connsiteX107" fmla="*/ 3078535 w 6451296"/>
              <a:gd name="connsiteY107" fmla="*/ 7709769 h 7928153"/>
              <a:gd name="connsiteX108" fmla="*/ 3062769 w 6451296"/>
              <a:gd name="connsiteY108" fmla="*/ 7731200 h 7928153"/>
              <a:gd name="connsiteX109" fmla="*/ 3046849 w 6451296"/>
              <a:gd name="connsiteY109" fmla="*/ 7752058 h 7928153"/>
              <a:gd name="connsiteX110" fmla="*/ 3030623 w 6451296"/>
              <a:gd name="connsiteY110" fmla="*/ 7771769 h 7928153"/>
              <a:gd name="connsiteX111" fmla="*/ 3013725 w 6451296"/>
              <a:gd name="connsiteY111" fmla="*/ 7790123 h 7928153"/>
              <a:gd name="connsiteX112" fmla="*/ 2996157 w 6451296"/>
              <a:gd name="connsiteY112" fmla="*/ 7807121 h 7928153"/>
              <a:gd name="connsiteX113" fmla="*/ 2978435 w 6451296"/>
              <a:gd name="connsiteY113" fmla="*/ 7823546 h 7928153"/>
              <a:gd name="connsiteX114" fmla="*/ 2960042 w 6451296"/>
              <a:gd name="connsiteY114" fmla="*/ 7838613 h 7928153"/>
              <a:gd name="connsiteX115" fmla="*/ 2941705 w 6451296"/>
              <a:gd name="connsiteY115" fmla="*/ 7852745 h 7928153"/>
              <a:gd name="connsiteX116" fmla="*/ 2922335 w 6451296"/>
              <a:gd name="connsiteY116" fmla="*/ 7865309 h 7928153"/>
              <a:gd name="connsiteX117" fmla="*/ 2903174 w 6451296"/>
              <a:gd name="connsiteY117" fmla="*/ 7877511 h 7928153"/>
              <a:gd name="connsiteX118" fmla="*/ 2883399 w 6451296"/>
              <a:gd name="connsiteY118" fmla="*/ 7887418 h 7928153"/>
              <a:gd name="connsiteX119" fmla="*/ 2863260 w 6451296"/>
              <a:gd name="connsiteY119" fmla="*/ 7897116 h 7928153"/>
              <a:gd name="connsiteX120" fmla="*/ 2842660 w 6451296"/>
              <a:gd name="connsiteY120" fmla="*/ 7905094 h 7928153"/>
              <a:gd name="connsiteX121" fmla="*/ 2821390 w 6451296"/>
              <a:gd name="connsiteY121" fmla="*/ 7911715 h 7928153"/>
              <a:gd name="connsiteX122" fmla="*/ 2800539 w 6451296"/>
              <a:gd name="connsiteY122" fmla="*/ 7917609 h 7928153"/>
              <a:gd name="connsiteX123" fmla="*/ 2779381 w 6451296"/>
              <a:gd name="connsiteY123" fmla="*/ 7922357 h 7928153"/>
              <a:gd name="connsiteX124" fmla="*/ 2757398 w 6451296"/>
              <a:gd name="connsiteY124" fmla="*/ 7925174 h 7928153"/>
              <a:gd name="connsiteX125" fmla="*/ 2735472 w 6451296"/>
              <a:gd name="connsiteY125" fmla="*/ 7927055 h 7928153"/>
              <a:gd name="connsiteX126" fmla="*/ 2713029 w 6451296"/>
              <a:gd name="connsiteY126" fmla="*/ 7928153 h 7928153"/>
              <a:gd name="connsiteX127" fmla="*/ 2690488 w 6451296"/>
              <a:gd name="connsiteY127" fmla="*/ 7927740 h 7928153"/>
              <a:gd name="connsiteX128" fmla="*/ 2667850 w 6451296"/>
              <a:gd name="connsiteY128" fmla="*/ 7925817 h 7928153"/>
              <a:gd name="connsiteX129" fmla="*/ 2645058 w 6451296"/>
              <a:gd name="connsiteY129" fmla="*/ 7923321 h 7928153"/>
              <a:gd name="connsiteX130" fmla="*/ 2621442 w 6451296"/>
              <a:gd name="connsiteY130" fmla="*/ 7918894 h 7928153"/>
              <a:gd name="connsiteX131" fmla="*/ 2598456 w 6451296"/>
              <a:gd name="connsiteY131" fmla="*/ 7913378 h 7928153"/>
              <a:gd name="connsiteX132" fmla="*/ 2575162 w 6451296"/>
              <a:gd name="connsiteY132" fmla="*/ 7906714 h 7928153"/>
              <a:gd name="connsiteX133" fmla="*/ 2551407 w 6451296"/>
              <a:gd name="connsiteY133" fmla="*/ 7898330 h 7928153"/>
              <a:gd name="connsiteX134" fmla="*/ 2527499 w 6451296"/>
              <a:gd name="connsiteY134" fmla="*/ 7889374 h 7928153"/>
              <a:gd name="connsiteX135" fmla="*/ 2503913 w 6451296"/>
              <a:gd name="connsiteY135" fmla="*/ 7878180 h 7928153"/>
              <a:gd name="connsiteX136" fmla="*/ 2479236 w 6451296"/>
              <a:gd name="connsiteY136" fmla="*/ 7866356 h 7928153"/>
              <a:gd name="connsiteX137" fmla="*/ 2455399 w 6451296"/>
              <a:gd name="connsiteY137" fmla="*/ 7853078 h 7928153"/>
              <a:gd name="connsiteX138" fmla="*/ 246076 w 6451296"/>
              <a:gd name="connsiteY138" fmla="*/ 6577526 h 7928153"/>
              <a:gd name="connsiteX139" fmla="*/ 223386 w 6451296"/>
              <a:gd name="connsiteY139" fmla="*/ 6563941 h 7928153"/>
              <a:gd name="connsiteX140" fmla="*/ 201899 w 6451296"/>
              <a:gd name="connsiteY140" fmla="*/ 6549111 h 7928153"/>
              <a:gd name="connsiteX141" fmla="*/ 181138 w 6451296"/>
              <a:gd name="connsiteY141" fmla="*/ 6534702 h 7928153"/>
              <a:gd name="connsiteX142" fmla="*/ 161944 w 6451296"/>
              <a:gd name="connsiteY142" fmla="*/ 6519259 h 7928153"/>
              <a:gd name="connsiteX143" fmla="*/ 143533 w 6451296"/>
              <a:gd name="connsiteY143" fmla="*/ 6503298 h 7928153"/>
              <a:gd name="connsiteX144" fmla="*/ 126116 w 6451296"/>
              <a:gd name="connsiteY144" fmla="*/ 6486456 h 7928153"/>
              <a:gd name="connsiteX145" fmla="*/ 110208 w 6451296"/>
              <a:gd name="connsiteY145" fmla="*/ 6469518 h 7928153"/>
              <a:gd name="connsiteX146" fmla="*/ 94721 w 6451296"/>
              <a:gd name="connsiteY146" fmla="*/ 6451852 h 7928153"/>
              <a:gd name="connsiteX147" fmla="*/ 80743 w 6451296"/>
              <a:gd name="connsiteY147" fmla="*/ 6434089 h 7928153"/>
              <a:gd name="connsiteX148" fmla="*/ 68332 w 6451296"/>
              <a:gd name="connsiteY148" fmla="*/ 6415292 h 7928153"/>
              <a:gd name="connsiteX149" fmla="*/ 56285 w 6451296"/>
              <a:gd name="connsiteY149" fmla="*/ 6396704 h 7928153"/>
              <a:gd name="connsiteX150" fmla="*/ 45594 w 6451296"/>
              <a:gd name="connsiteY150" fmla="*/ 6377446 h 7928153"/>
              <a:gd name="connsiteX151" fmla="*/ 35896 w 6451296"/>
              <a:gd name="connsiteY151" fmla="*/ 6357307 h 7928153"/>
              <a:gd name="connsiteX152" fmla="*/ 27498 w 6451296"/>
              <a:gd name="connsiteY152" fmla="*/ 6337435 h 7928153"/>
              <a:gd name="connsiteX153" fmla="*/ 20458 w 6451296"/>
              <a:gd name="connsiteY153" fmla="*/ 6316891 h 7928153"/>
              <a:gd name="connsiteX154" fmla="*/ 14200 w 6451296"/>
              <a:gd name="connsiteY154" fmla="*/ 6295830 h 7928153"/>
              <a:gd name="connsiteX155" fmla="*/ 8669 w 6451296"/>
              <a:gd name="connsiteY155" fmla="*/ 6275190 h 7928153"/>
              <a:gd name="connsiteX156" fmla="*/ 4915 w 6451296"/>
              <a:gd name="connsiteY156" fmla="*/ 6253151 h 7928153"/>
              <a:gd name="connsiteX157" fmla="*/ 2251 w 6451296"/>
              <a:gd name="connsiteY157" fmla="*/ 6231742 h 7928153"/>
              <a:gd name="connsiteX158" fmla="*/ 524 w 6451296"/>
              <a:gd name="connsiteY158" fmla="*/ 6210389 h 7928153"/>
              <a:gd name="connsiteX159" fmla="*/ 0 w 6451296"/>
              <a:gd name="connsiteY159" fmla="*/ 6187792 h 7928153"/>
              <a:gd name="connsiteX160" fmla="*/ 1139 w 6451296"/>
              <a:gd name="connsiteY160" fmla="*/ 6165671 h 7928153"/>
              <a:gd name="connsiteX161" fmla="*/ 3062 w 6451296"/>
              <a:gd name="connsiteY161" fmla="*/ 6143033 h 7928153"/>
              <a:gd name="connsiteX162" fmla="*/ 5922 w 6451296"/>
              <a:gd name="connsiteY162" fmla="*/ 6120451 h 7928153"/>
              <a:gd name="connsiteX163" fmla="*/ 10292 w 6451296"/>
              <a:gd name="connsiteY163" fmla="*/ 6097772 h 7928153"/>
              <a:gd name="connsiteX164" fmla="*/ 15809 w 6451296"/>
              <a:gd name="connsiteY164" fmla="*/ 6074785 h 7928153"/>
              <a:gd name="connsiteX165" fmla="*/ 22262 w 6451296"/>
              <a:gd name="connsiteY165" fmla="*/ 6051855 h 7928153"/>
              <a:gd name="connsiteX166" fmla="*/ 30436 w 6451296"/>
              <a:gd name="connsiteY166" fmla="*/ 6028464 h 7928153"/>
              <a:gd name="connsiteX167" fmla="*/ 39337 w 6451296"/>
              <a:gd name="connsiteY167" fmla="*/ 6005492 h 7928153"/>
              <a:gd name="connsiteX168" fmla="*/ 50111 w 6451296"/>
              <a:gd name="connsiteY168" fmla="*/ 5982633 h 7928153"/>
              <a:gd name="connsiteX169" fmla="*/ 61305 w 6451296"/>
              <a:gd name="connsiteY169" fmla="*/ 5959047 h 7928153"/>
              <a:gd name="connsiteX170" fmla="*/ 74163 w 6451296"/>
              <a:gd name="connsiteY170" fmla="*/ 5935937 h 7928153"/>
              <a:gd name="connsiteX171" fmla="*/ 3330413 w 6451296"/>
              <a:gd name="connsiteY171" fmla="*/ 295947 h 7928153"/>
              <a:gd name="connsiteX172" fmla="*/ 3344418 w 6451296"/>
              <a:gd name="connsiteY172" fmla="*/ 272529 h 7928153"/>
              <a:gd name="connsiteX173" fmla="*/ 3358366 w 6451296"/>
              <a:gd name="connsiteY173" fmla="*/ 250049 h 7928153"/>
              <a:gd name="connsiteX174" fmla="*/ 3373405 w 6451296"/>
              <a:gd name="connsiteY174" fmla="*/ 228198 h 7928153"/>
              <a:gd name="connsiteX175" fmla="*/ 3388541 w 6451296"/>
              <a:gd name="connsiteY175" fmla="*/ 207857 h 7928153"/>
              <a:gd name="connsiteX176" fmla="*/ 3403678 w 6451296"/>
              <a:gd name="connsiteY176" fmla="*/ 187517 h 7928153"/>
              <a:gd name="connsiteX177" fmla="*/ 3419904 w 6451296"/>
              <a:gd name="connsiteY177" fmla="*/ 167806 h 7928153"/>
              <a:gd name="connsiteX178" fmla="*/ 3436592 w 6451296"/>
              <a:gd name="connsiteY178" fmla="*/ 149815 h 7928153"/>
              <a:gd name="connsiteX179" fmla="*/ 3453224 w 6451296"/>
              <a:gd name="connsiteY179" fmla="*/ 132760 h 7928153"/>
              <a:gd name="connsiteX180" fmla="*/ 3470582 w 6451296"/>
              <a:gd name="connsiteY180" fmla="*/ 116126 h 7928153"/>
              <a:gd name="connsiteX181" fmla="*/ 3488038 w 6451296"/>
              <a:gd name="connsiteY181" fmla="*/ 101002 h 7928153"/>
              <a:gd name="connsiteX182" fmla="*/ 3505857 w 6451296"/>
              <a:gd name="connsiteY182" fmla="*/ 86087 h 7928153"/>
              <a:gd name="connsiteX183" fmla="*/ 3524137 w 6451296"/>
              <a:gd name="connsiteY183" fmla="*/ 72893 h 7928153"/>
              <a:gd name="connsiteX184" fmla="*/ 3542571 w 6451296"/>
              <a:gd name="connsiteY184" fmla="*/ 60272 h 7928153"/>
              <a:gd name="connsiteX185" fmla="*/ 3561312 w 6451296"/>
              <a:gd name="connsiteY185" fmla="*/ 48798 h 7928153"/>
              <a:gd name="connsiteX186" fmla="*/ 3580514 w 6451296"/>
              <a:gd name="connsiteY186" fmla="*/ 39044 h 7928153"/>
              <a:gd name="connsiteX187" fmla="*/ 3600080 w 6451296"/>
              <a:gd name="connsiteY187" fmla="*/ 29500 h 7928153"/>
              <a:gd name="connsiteX188" fmla="*/ 3620106 w 6451296"/>
              <a:gd name="connsiteY188" fmla="*/ 21676 h 7928153"/>
              <a:gd name="connsiteX189" fmla="*/ 3640440 w 6451296"/>
              <a:gd name="connsiteY189" fmla="*/ 14998 h 7928153"/>
              <a:gd name="connsiteX190" fmla="*/ 3660144 w 6451296"/>
              <a:gd name="connsiteY190" fmla="*/ 9411 h 7928153"/>
              <a:gd name="connsiteX191" fmla="*/ 3681092 w 6451296"/>
              <a:gd name="connsiteY191" fmla="*/ 5027 h 7928153"/>
              <a:gd name="connsiteX192" fmla="*/ 3702138 w 6451296"/>
              <a:gd name="connsiteY192" fmla="*/ 2153 h 7928153"/>
              <a:gd name="connsiteX193" fmla="*/ 3723281 w 6451296"/>
              <a:gd name="connsiteY193" fmla="*/ 790 h 7928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</a:cxnLst>
            <a:rect l="l" t="t" r="r" b="b"/>
            <a:pathLst>
              <a:path w="6451296" h="7928153">
                <a:moveTo>
                  <a:pt x="3744577" y="0"/>
                </a:moveTo>
                <a:lnTo>
                  <a:pt x="3766125" y="1293"/>
                </a:lnTo>
                <a:lnTo>
                  <a:pt x="3788400" y="3006"/>
                </a:lnTo>
                <a:lnTo>
                  <a:pt x="3810142" y="7320"/>
                </a:lnTo>
                <a:lnTo>
                  <a:pt x="3832975" y="12263"/>
                </a:lnTo>
                <a:lnTo>
                  <a:pt x="3854759" y="19024"/>
                </a:lnTo>
                <a:lnTo>
                  <a:pt x="3877996" y="26624"/>
                </a:lnTo>
                <a:lnTo>
                  <a:pt x="3900911" y="36462"/>
                </a:lnTo>
                <a:lnTo>
                  <a:pt x="3924134" y="47446"/>
                </a:lnTo>
                <a:lnTo>
                  <a:pt x="3947244" y="60304"/>
                </a:lnTo>
                <a:lnTo>
                  <a:pt x="4252580" y="236590"/>
                </a:lnTo>
                <a:lnTo>
                  <a:pt x="4256886" y="240045"/>
                </a:lnTo>
                <a:lnTo>
                  <a:pt x="4259625" y="244534"/>
                </a:lnTo>
                <a:lnTo>
                  <a:pt x="4261371" y="249905"/>
                </a:lnTo>
                <a:lnTo>
                  <a:pt x="4261970" y="255582"/>
                </a:lnTo>
                <a:lnTo>
                  <a:pt x="4261521" y="263077"/>
                </a:lnTo>
                <a:lnTo>
                  <a:pt x="4260134" y="270515"/>
                </a:lnTo>
                <a:lnTo>
                  <a:pt x="4258118" y="279044"/>
                </a:lnTo>
                <a:lnTo>
                  <a:pt x="4254745" y="288244"/>
                </a:lnTo>
                <a:lnTo>
                  <a:pt x="4247733" y="307944"/>
                </a:lnTo>
                <a:lnTo>
                  <a:pt x="4239405" y="330762"/>
                </a:lnTo>
                <a:lnTo>
                  <a:pt x="4235500" y="342563"/>
                </a:lnTo>
                <a:lnTo>
                  <a:pt x="4231749" y="354937"/>
                </a:lnTo>
                <a:lnTo>
                  <a:pt x="4227424" y="367464"/>
                </a:lnTo>
                <a:lnTo>
                  <a:pt x="4224400" y="380258"/>
                </a:lnTo>
                <a:lnTo>
                  <a:pt x="4221319" y="393988"/>
                </a:lnTo>
                <a:lnTo>
                  <a:pt x="4219175" y="407775"/>
                </a:lnTo>
                <a:lnTo>
                  <a:pt x="4217605" y="421408"/>
                </a:lnTo>
                <a:lnTo>
                  <a:pt x="4217335" y="435307"/>
                </a:lnTo>
                <a:lnTo>
                  <a:pt x="4217064" y="449206"/>
                </a:lnTo>
                <a:lnTo>
                  <a:pt x="4218668" y="463218"/>
                </a:lnTo>
                <a:lnTo>
                  <a:pt x="4222145" y="477342"/>
                </a:lnTo>
                <a:lnTo>
                  <a:pt x="4226350" y="491886"/>
                </a:lnTo>
                <a:lnTo>
                  <a:pt x="4231547" y="505549"/>
                </a:lnTo>
                <a:lnTo>
                  <a:pt x="4239345" y="519745"/>
                </a:lnTo>
                <a:lnTo>
                  <a:pt x="4248290" y="533633"/>
                </a:lnTo>
                <a:lnTo>
                  <a:pt x="4259682" y="547480"/>
                </a:lnTo>
                <a:lnTo>
                  <a:pt x="4272793" y="560866"/>
                </a:lnTo>
                <a:lnTo>
                  <a:pt x="4288352" y="574211"/>
                </a:lnTo>
                <a:lnTo>
                  <a:pt x="4305632" y="587095"/>
                </a:lnTo>
                <a:lnTo>
                  <a:pt x="4325931" y="599784"/>
                </a:lnTo>
                <a:lnTo>
                  <a:pt x="5592348" y="1330950"/>
                </a:lnTo>
                <a:lnTo>
                  <a:pt x="5613487" y="1342185"/>
                </a:lnTo>
                <a:lnTo>
                  <a:pt x="5633284" y="1350707"/>
                </a:lnTo>
                <a:lnTo>
                  <a:pt x="5652620" y="1357509"/>
                </a:lnTo>
                <a:lnTo>
                  <a:pt x="5670769" y="1362172"/>
                </a:lnTo>
                <a:lnTo>
                  <a:pt x="5688457" y="1365114"/>
                </a:lnTo>
                <a:lnTo>
                  <a:pt x="5704957" y="1365916"/>
                </a:lnTo>
                <a:lnTo>
                  <a:pt x="5721149" y="1365572"/>
                </a:lnTo>
                <a:lnTo>
                  <a:pt x="5735581" y="1363241"/>
                </a:lnTo>
                <a:lnTo>
                  <a:pt x="5750278" y="1359610"/>
                </a:lnTo>
                <a:lnTo>
                  <a:pt x="5764249" y="1355560"/>
                </a:lnTo>
                <a:lnTo>
                  <a:pt x="5777185" y="1349942"/>
                </a:lnTo>
                <a:lnTo>
                  <a:pt x="5789087" y="1342759"/>
                </a:lnTo>
                <a:lnTo>
                  <a:pt x="5800989" y="1335575"/>
                </a:lnTo>
                <a:lnTo>
                  <a:pt x="5812010" y="1327399"/>
                </a:lnTo>
                <a:lnTo>
                  <a:pt x="5822878" y="1318649"/>
                </a:lnTo>
                <a:lnTo>
                  <a:pt x="5833229" y="1309116"/>
                </a:lnTo>
                <a:lnTo>
                  <a:pt x="5842796" y="1300099"/>
                </a:lnTo>
                <a:lnTo>
                  <a:pt x="5851483" y="1290090"/>
                </a:lnTo>
                <a:lnTo>
                  <a:pt x="5860323" y="1280655"/>
                </a:lnTo>
                <a:lnTo>
                  <a:pt x="5868590" y="1271372"/>
                </a:lnTo>
                <a:lnTo>
                  <a:pt x="5884187" y="1252752"/>
                </a:lnTo>
                <a:lnTo>
                  <a:pt x="5897742" y="1236829"/>
                </a:lnTo>
                <a:lnTo>
                  <a:pt x="5904023" y="1229308"/>
                </a:lnTo>
                <a:lnTo>
                  <a:pt x="5910401" y="1223297"/>
                </a:lnTo>
                <a:lnTo>
                  <a:pt x="5916150" y="1218377"/>
                </a:lnTo>
                <a:lnTo>
                  <a:pt x="5922416" y="1214240"/>
                </a:lnTo>
                <a:lnTo>
                  <a:pt x="5927632" y="1211921"/>
                </a:lnTo>
                <a:lnTo>
                  <a:pt x="5933156" y="1210748"/>
                </a:lnTo>
                <a:lnTo>
                  <a:pt x="5938413" y="1210876"/>
                </a:lnTo>
                <a:lnTo>
                  <a:pt x="5943559" y="1212877"/>
                </a:lnTo>
                <a:lnTo>
                  <a:pt x="6248894" y="1389163"/>
                </a:lnTo>
                <a:lnTo>
                  <a:pt x="6273039" y="1403587"/>
                </a:lnTo>
                <a:lnTo>
                  <a:pt x="6295043" y="1419199"/>
                </a:lnTo>
                <a:lnTo>
                  <a:pt x="6315901" y="1435119"/>
                </a:lnTo>
                <a:lnTo>
                  <a:pt x="6334675" y="1451289"/>
                </a:lnTo>
                <a:lnTo>
                  <a:pt x="6352666" y="1467977"/>
                </a:lnTo>
                <a:lnTo>
                  <a:pt x="6368154" y="1485643"/>
                </a:lnTo>
                <a:lnTo>
                  <a:pt x="6383068" y="1503462"/>
                </a:lnTo>
                <a:lnTo>
                  <a:pt x="6396053" y="1522106"/>
                </a:lnTo>
                <a:lnTo>
                  <a:pt x="6407527" y="1540847"/>
                </a:lnTo>
                <a:lnTo>
                  <a:pt x="6417434" y="1560622"/>
                </a:lnTo>
                <a:lnTo>
                  <a:pt x="6426405" y="1580341"/>
                </a:lnTo>
                <a:lnTo>
                  <a:pt x="6433810" y="1601095"/>
                </a:lnTo>
                <a:lnTo>
                  <a:pt x="6439914" y="1621582"/>
                </a:lnTo>
                <a:lnTo>
                  <a:pt x="6444508" y="1642166"/>
                </a:lnTo>
                <a:lnTo>
                  <a:pt x="6447899" y="1663995"/>
                </a:lnTo>
                <a:lnTo>
                  <a:pt x="6450143" y="1686132"/>
                </a:lnTo>
                <a:lnTo>
                  <a:pt x="6451296" y="1707638"/>
                </a:lnTo>
                <a:lnTo>
                  <a:pt x="6450884" y="1730179"/>
                </a:lnTo>
                <a:lnTo>
                  <a:pt x="6449688" y="1753237"/>
                </a:lnTo>
                <a:lnTo>
                  <a:pt x="6446828" y="1775819"/>
                </a:lnTo>
                <a:lnTo>
                  <a:pt x="6443339" y="1799491"/>
                </a:lnTo>
                <a:lnTo>
                  <a:pt x="6438339" y="1823261"/>
                </a:lnTo>
                <a:lnTo>
                  <a:pt x="6432976" y="1846821"/>
                </a:lnTo>
                <a:lnTo>
                  <a:pt x="6426256" y="1871051"/>
                </a:lnTo>
                <a:lnTo>
                  <a:pt x="6418026" y="1895380"/>
                </a:lnTo>
                <a:lnTo>
                  <a:pt x="6409223" y="1919861"/>
                </a:lnTo>
                <a:lnTo>
                  <a:pt x="6399483" y="1944287"/>
                </a:lnTo>
                <a:lnTo>
                  <a:pt x="6388960" y="1969229"/>
                </a:lnTo>
                <a:lnTo>
                  <a:pt x="6377136" y="1993906"/>
                </a:lnTo>
                <a:lnTo>
                  <a:pt x="6364529" y="2019099"/>
                </a:lnTo>
                <a:lnTo>
                  <a:pt x="6351195" y="2043873"/>
                </a:lnTo>
                <a:lnTo>
                  <a:pt x="6337288" y="2068801"/>
                </a:lnTo>
                <a:lnTo>
                  <a:pt x="3107691" y="7662627"/>
                </a:lnTo>
                <a:lnTo>
                  <a:pt x="3093476" y="7686408"/>
                </a:lnTo>
                <a:lnTo>
                  <a:pt x="3078535" y="7709769"/>
                </a:lnTo>
                <a:lnTo>
                  <a:pt x="3062769" y="7731200"/>
                </a:lnTo>
                <a:lnTo>
                  <a:pt x="3046849" y="7752058"/>
                </a:lnTo>
                <a:lnTo>
                  <a:pt x="3030623" y="7771769"/>
                </a:lnTo>
                <a:lnTo>
                  <a:pt x="3013725" y="7790123"/>
                </a:lnTo>
                <a:lnTo>
                  <a:pt x="2996157" y="7807121"/>
                </a:lnTo>
                <a:lnTo>
                  <a:pt x="2978435" y="7823546"/>
                </a:lnTo>
                <a:lnTo>
                  <a:pt x="2960042" y="7838613"/>
                </a:lnTo>
                <a:lnTo>
                  <a:pt x="2941705" y="7852745"/>
                </a:lnTo>
                <a:lnTo>
                  <a:pt x="2922335" y="7865309"/>
                </a:lnTo>
                <a:lnTo>
                  <a:pt x="2903174" y="7877511"/>
                </a:lnTo>
                <a:lnTo>
                  <a:pt x="2883399" y="7887418"/>
                </a:lnTo>
                <a:lnTo>
                  <a:pt x="2863260" y="7897116"/>
                </a:lnTo>
                <a:lnTo>
                  <a:pt x="2842660" y="7905094"/>
                </a:lnTo>
                <a:lnTo>
                  <a:pt x="2821390" y="7911715"/>
                </a:lnTo>
                <a:lnTo>
                  <a:pt x="2800539" y="7917609"/>
                </a:lnTo>
                <a:lnTo>
                  <a:pt x="2779381" y="7922357"/>
                </a:lnTo>
                <a:lnTo>
                  <a:pt x="2757398" y="7925174"/>
                </a:lnTo>
                <a:lnTo>
                  <a:pt x="2735472" y="7927055"/>
                </a:lnTo>
                <a:lnTo>
                  <a:pt x="2713029" y="7928153"/>
                </a:lnTo>
                <a:lnTo>
                  <a:pt x="2690488" y="7927740"/>
                </a:lnTo>
                <a:lnTo>
                  <a:pt x="2667850" y="7925817"/>
                </a:lnTo>
                <a:lnTo>
                  <a:pt x="2645058" y="7923321"/>
                </a:lnTo>
                <a:lnTo>
                  <a:pt x="2621442" y="7918894"/>
                </a:lnTo>
                <a:lnTo>
                  <a:pt x="2598456" y="7913378"/>
                </a:lnTo>
                <a:lnTo>
                  <a:pt x="2575162" y="7906714"/>
                </a:lnTo>
                <a:lnTo>
                  <a:pt x="2551407" y="7898330"/>
                </a:lnTo>
                <a:lnTo>
                  <a:pt x="2527499" y="7889374"/>
                </a:lnTo>
                <a:lnTo>
                  <a:pt x="2503913" y="7878180"/>
                </a:lnTo>
                <a:lnTo>
                  <a:pt x="2479236" y="7866356"/>
                </a:lnTo>
                <a:lnTo>
                  <a:pt x="2455399" y="7853078"/>
                </a:lnTo>
                <a:lnTo>
                  <a:pt x="246076" y="6577526"/>
                </a:lnTo>
                <a:lnTo>
                  <a:pt x="223386" y="6563941"/>
                </a:lnTo>
                <a:lnTo>
                  <a:pt x="201899" y="6549111"/>
                </a:lnTo>
                <a:lnTo>
                  <a:pt x="181138" y="6534702"/>
                </a:lnTo>
                <a:lnTo>
                  <a:pt x="161944" y="6519259"/>
                </a:lnTo>
                <a:lnTo>
                  <a:pt x="143533" y="6503298"/>
                </a:lnTo>
                <a:lnTo>
                  <a:pt x="126116" y="6486456"/>
                </a:lnTo>
                <a:lnTo>
                  <a:pt x="110208" y="6469518"/>
                </a:lnTo>
                <a:lnTo>
                  <a:pt x="94721" y="6451852"/>
                </a:lnTo>
                <a:lnTo>
                  <a:pt x="80743" y="6434089"/>
                </a:lnTo>
                <a:lnTo>
                  <a:pt x="68332" y="6415292"/>
                </a:lnTo>
                <a:lnTo>
                  <a:pt x="56285" y="6396704"/>
                </a:lnTo>
                <a:lnTo>
                  <a:pt x="45594" y="6377446"/>
                </a:lnTo>
                <a:lnTo>
                  <a:pt x="35896" y="6357307"/>
                </a:lnTo>
                <a:lnTo>
                  <a:pt x="27498" y="6337435"/>
                </a:lnTo>
                <a:lnTo>
                  <a:pt x="20458" y="6316891"/>
                </a:lnTo>
                <a:lnTo>
                  <a:pt x="14200" y="6295830"/>
                </a:lnTo>
                <a:lnTo>
                  <a:pt x="8669" y="6275190"/>
                </a:lnTo>
                <a:lnTo>
                  <a:pt x="4915" y="6253151"/>
                </a:lnTo>
                <a:lnTo>
                  <a:pt x="2251" y="6231742"/>
                </a:lnTo>
                <a:lnTo>
                  <a:pt x="524" y="6210389"/>
                </a:lnTo>
                <a:lnTo>
                  <a:pt x="0" y="6187792"/>
                </a:lnTo>
                <a:lnTo>
                  <a:pt x="1139" y="6165671"/>
                </a:lnTo>
                <a:lnTo>
                  <a:pt x="3062" y="6143033"/>
                </a:lnTo>
                <a:lnTo>
                  <a:pt x="5922" y="6120451"/>
                </a:lnTo>
                <a:lnTo>
                  <a:pt x="10292" y="6097772"/>
                </a:lnTo>
                <a:lnTo>
                  <a:pt x="15809" y="6074785"/>
                </a:lnTo>
                <a:lnTo>
                  <a:pt x="22262" y="6051855"/>
                </a:lnTo>
                <a:lnTo>
                  <a:pt x="30436" y="6028464"/>
                </a:lnTo>
                <a:lnTo>
                  <a:pt x="39337" y="6005492"/>
                </a:lnTo>
                <a:lnTo>
                  <a:pt x="50111" y="5982633"/>
                </a:lnTo>
                <a:lnTo>
                  <a:pt x="61305" y="5959047"/>
                </a:lnTo>
                <a:lnTo>
                  <a:pt x="74163" y="5935937"/>
                </a:lnTo>
                <a:lnTo>
                  <a:pt x="3330413" y="295947"/>
                </a:lnTo>
                <a:lnTo>
                  <a:pt x="3344418" y="272529"/>
                </a:lnTo>
                <a:lnTo>
                  <a:pt x="3358366" y="250049"/>
                </a:lnTo>
                <a:lnTo>
                  <a:pt x="3373405" y="228198"/>
                </a:lnTo>
                <a:lnTo>
                  <a:pt x="3388541" y="207857"/>
                </a:lnTo>
                <a:lnTo>
                  <a:pt x="3403678" y="187517"/>
                </a:lnTo>
                <a:lnTo>
                  <a:pt x="3419904" y="167806"/>
                </a:lnTo>
                <a:lnTo>
                  <a:pt x="3436592" y="149815"/>
                </a:lnTo>
                <a:lnTo>
                  <a:pt x="3453224" y="132760"/>
                </a:lnTo>
                <a:lnTo>
                  <a:pt x="3470582" y="116126"/>
                </a:lnTo>
                <a:lnTo>
                  <a:pt x="3488038" y="101002"/>
                </a:lnTo>
                <a:lnTo>
                  <a:pt x="3505857" y="86087"/>
                </a:lnTo>
                <a:lnTo>
                  <a:pt x="3524137" y="72893"/>
                </a:lnTo>
                <a:lnTo>
                  <a:pt x="3542571" y="60272"/>
                </a:lnTo>
                <a:lnTo>
                  <a:pt x="3561312" y="48798"/>
                </a:lnTo>
                <a:lnTo>
                  <a:pt x="3580514" y="39044"/>
                </a:lnTo>
                <a:lnTo>
                  <a:pt x="3600080" y="29500"/>
                </a:lnTo>
                <a:lnTo>
                  <a:pt x="3620106" y="21676"/>
                </a:lnTo>
                <a:lnTo>
                  <a:pt x="3640440" y="14998"/>
                </a:lnTo>
                <a:lnTo>
                  <a:pt x="3660144" y="9411"/>
                </a:lnTo>
                <a:lnTo>
                  <a:pt x="3681092" y="5027"/>
                </a:lnTo>
                <a:lnTo>
                  <a:pt x="3702138" y="2153"/>
                </a:lnTo>
                <a:lnTo>
                  <a:pt x="3723281" y="790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220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 MockUp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Рисунок 19"/>
          <p:cNvSpPr>
            <a:spLocks noGrp="1"/>
          </p:cNvSpPr>
          <p:nvPr>
            <p:ph type="pic" sz="quarter" idx="20"/>
          </p:nvPr>
        </p:nvSpPr>
        <p:spPr>
          <a:xfrm>
            <a:off x="4574496" y="377496"/>
            <a:ext cx="3617082" cy="4444433"/>
          </a:xfrm>
          <a:custGeom>
            <a:avLst/>
            <a:gdLst>
              <a:gd name="connsiteX0" fmla="*/ 3319683 w 5425623"/>
              <a:gd name="connsiteY0" fmla="*/ 50716 h 6667679"/>
              <a:gd name="connsiteX1" fmla="*/ 3576474 w 5425623"/>
              <a:gd name="connsiteY1" fmla="*/ 198976 h 6667679"/>
              <a:gd name="connsiteX2" fmla="*/ 3580096 w 5425623"/>
              <a:gd name="connsiteY2" fmla="*/ 201881 h 6667679"/>
              <a:gd name="connsiteX3" fmla="*/ 3582399 w 5425623"/>
              <a:gd name="connsiteY3" fmla="*/ 205656 h 6667679"/>
              <a:gd name="connsiteX4" fmla="*/ 3583868 w 5425623"/>
              <a:gd name="connsiteY4" fmla="*/ 210173 h 6667679"/>
              <a:gd name="connsiteX5" fmla="*/ 3584372 w 5425623"/>
              <a:gd name="connsiteY5" fmla="*/ 214948 h 6667679"/>
              <a:gd name="connsiteX6" fmla="*/ 3583994 w 5425623"/>
              <a:gd name="connsiteY6" fmla="*/ 221251 h 6667679"/>
              <a:gd name="connsiteX7" fmla="*/ 3582827 w 5425623"/>
              <a:gd name="connsiteY7" fmla="*/ 227507 h 6667679"/>
              <a:gd name="connsiteX8" fmla="*/ 3581132 w 5425623"/>
              <a:gd name="connsiteY8" fmla="*/ 234680 h 6667679"/>
              <a:gd name="connsiteX9" fmla="*/ 3578295 w 5425623"/>
              <a:gd name="connsiteY9" fmla="*/ 242417 h 6667679"/>
              <a:gd name="connsiteX10" fmla="*/ 3572398 w 5425623"/>
              <a:gd name="connsiteY10" fmla="*/ 258986 h 6667679"/>
              <a:gd name="connsiteX11" fmla="*/ 3565395 w 5425623"/>
              <a:gd name="connsiteY11" fmla="*/ 278175 h 6667679"/>
              <a:gd name="connsiteX12" fmla="*/ 3562110 w 5425623"/>
              <a:gd name="connsiteY12" fmla="*/ 288100 h 6667679"/>
              <a:gd name="connsiteX13" fmla="*/ 3558955 w 5425623"/>
              <a:gd name="connsiteY13" fmla="*/ 298507 h 6667679"/>
              <a:gd name="connsiteX14" fmla="*/ 3555317 w 5425623"/>
              <a:gd name="connsiteY14" fmla="*/ 309043 h 6667679"/>
              <a:gd name="connsiteX15" fmla="*/ 3552774 w 5425623"/>
              <a:gd name="connsiteY15" fmla="*/ 319801 h 6667679"/>
              <a:gd name="connsiteX16" fmla="*/ 3550184 w 5425623"/>
              <a:gd name="connsiteY16" fmla="*/ 331349 h 6667679"/>
              <a:gd name="connsiteX17" fmla="*/ 3548381 w 5425623"/>
              <a:gd name="connsiteY17" fmla="*/ 342944 h 6667679"/>
              <a:gd name="connsiteX18" fmla="*/ 3547060 w 5425623"/>
              <a:gd name="connsiteY18" fmla="*/ 354410 h 6667679"/>
              <a:gd name="connsiteX19" fmla="*/ 3546833 w 5425623"/>
              <a:gd name="connsiteY19" fmla="*/ 366100 h 6667679"/>
              <a:gd name="connsiteX20" fmla="*/ 3546605 w 5425623"/>
              <a:gd name="connsiteY20" fmla="*/ 377789 h 6667679"/>
              <a:gd name="connsiteX21" fmla="*/ 3547954 w 5425623"/>
              <a:gd name="connsiteY21" fmla="*/ 389573 h 6667679"/>
              <a:gd name="connsiteX22" fmla="*/ 3550878 w 5425623"/>
              <a:gd name="connsiteY22" fmla="*/ 401451 h 6667679"/>
              <a:gd name="connsiteX23" fmla="*/ 3554414 w 5425623"/>
              <a:gd name="connsiteY23" fmla="*/ 413683 h 6667679"/>
              <a:gd name="connsiteX24" fmla="*/ 3558785 w 5425623"/>
              <a:gd name="connsiteY24" fmla="*/ 425174 h 6667679"/>
              <a:gd name="connsiteX25" fmla="*/ 3565344 w 5425623"/>
              <a:gd name="connsiteY25" fmla="*/ 437112 h 6667679"/>
              <a:gd name="connsiteX26" fmla="*/ 3572866 w 5425623"/>
              <a:gd name="connsiteY26" fmla="*/ 448792 h 6667679"/>
              <a:gd name="connsiteX27" fmla="*/ 3582448 w 5425623"/>
              <a:gd name="connsiteY27" fmla="*/ 460438 h 6667679"/>
              <a:gd name="connsiteX28" fmla="*/ 3593474 w 5425623"/>
              <a:gd name="connsiteY28" fmla="*/ 471695 h 6667679"/>
              <a:gd name="connsiteX29" fmla="*/ 3606560 w 5425623"/>
              <a:gd name="connsiteY29" fmla="*/ 482919 h 6667679"/>
              <a:gd name="connsiteX30" fmla="*/ 3621091 w 5425623"/>
              <a:gd name="connsiteY30" fmla="*/ 493755 h 6667679"/>
              <a:gd name="connsiteX31" fmla="*/ 3638164 w 5425623"/>
              <a:gd name="connsiteY31" fmla="*/ 504426 h 6667679"/>
              <a:gd name="connsiteX32" fmla="*/ 4703237 w 5425623"/>
              <a:gd name="connsiteY32" fmla="*/ 1119346 h 6667679"/>
              <a:gd name="connsiteX33" fmla="*/ 4721014 w 5425623"/>
              <a:gd name="connsiteY33" fmla="*/ 1128795 h 6667679"/>
              <a:gd name="connsiteX34" fmla="*/ 4737664 w 5425623"/>
              <a:gd name="connsiteY34" fmla="*/ 1135962 h 6667679"/>
              <a:gd name="connsiteX35" fmla="*/ 4753927 w 5425623"/>
              <a:gd name="connsiteY35" fmla="*/ 1141683 h 6667679"/>
              <a:gd name="connsiteX36" fmla="*/ 4769190 w 5425623"/>
              <a:gd name="connsiteY36" fmla="*/ 1145604 h 6667679"/>
              <a:gd name="connsiteX37" fmla="*/ 4784066 w 5425623"/>
              <a:gd name="connsiteY37" fmla="*/ 1148078 h 6667679"/>
              <a:gd name="connsiteX38" fmla="*/ 4797942 w 5425623"/>
              <a:gd name="connsiteY38" fmla="*/ 1148754 h 6667679"/>
              <a:gd name="connsiteX39" fmla="*/ 4811559 w 5425623"/>
              <a:gd name="connsiteY39" fmla="*/ 1148464 h 6667679"/>
              <a:gd name="connsiteX40" fmla="*/ 4823696 w 5425623"/>
              <a:gd name="connsiteY40" fmla="*/ 1146504 h 6667679"/>
              <a:gd name="connsiteX41" fmla="*/ 4836058 w 5425623"/>
              <a:gd name="connsiteY41" fmla="*/ 1143450 h 6667679"/>
              <a:gd name="connsiteX42" fmla="*/ 4847807 w 5425623"/>
              <a:gd name="connsiteY42" fmla="*/ 1140043 h 6667679"/>
              <a:gd name="connsiteX43" fmla="*/ 4858686 w 5425623"/>
              <a:gd name="connsiteY43" fmla="*/ 1135319 h 6667679"/>
              <a:gd name="connsiteX44" fmla="*/ 4868696 w 5425623"/>
              <a:gd name="connsiteY44" fmla="*/ 1129278 h 6667679"/>
              <a:gd name="connsiteX45" fmla="*/ 4878706 w 5425623"/>
              <a:gd name="connsiteY45" fmla="*/ 1123236 h 6667679"/>
              <a:gd name="connsiteX46" fmla="*/ 4887975 w 5425623"/>
              <a:gd name="connsiteY46" fmla="*/ 1116359 h 6667679"/>
              <a:gd name="connsiteX47" fmla="*/ 4897115 w 5425623"/>
              <a:gd name="connsiteY47" fmla="*/ 1109001 h 6667679"/>
              <a:gd name="connsiteX48" fmla="*/ 4905820 w 5425623"/>
              <a:gd name="connsiteY48" fmla="*/ 1100983 h 6667679"/>
              <a:gd name="connsiteX49" fmla="*/ 4913866 w 5425623"/>
              <a:gd name="connsiteY49" fmla="*/ 1093401 h 6667679"/>
              <a:gd name="connsiteX50" fmla="*/ 4921172 w 5425623"/>
              <a:gd name="connsiteY50" fmla="*/ 1084983 h 6667679"/>
              <a:gd name="connsiteX51" fmla="*/ 4928607 w 5425623"/>
              <a:gd name="connsiteY51" fmla="*/ 1077047 h 6667679"/>
              <a:gd name="connsiteX52" fmla="*/ 4935560 w 5425623"/>
              <a:gd name="connsiteY52" fmla="*/ 1069240 h 6667679"/>
              <a:gd name="connsiteX53" fmla="*/ 4948677 w 5425623"/>
              <a:gd name="connsiteY53" fmla="*/ 1053581 h 6667679"/>
              <a:gd name="connsiteX54" fmla="*/ 4960077 w 5425623"/>
              <a:gd name="connsiteY54" fmla="*/ 1040189 h 6667679"/>
              <a:gd name="connsiteX55" fmla="*/ 4965359 w 5425623"/>
              <a:gd name="connsiteY55" fmla="*/ 1033864 h 6667679"/>
              <a:gd name="connsiteX56" fmla="*/ 4970724 w 5425623"/>
              <a:gd name="connsiteY56" fmla="*/ 1028809 h 6667679"/>
              <a:gd name="connsiteX57" fmla="*/ 4975558 w 5425623"/>
              <a:gd name="connsiteY57" fmla="*/ 1024671 h 6667679"/>
              <a:gd name="connsiteX58" fmla="*/ 4980828 w 5425623"/>
              <a:gd name="connsiteY58" fmla="*/ 1021192 h 6667679"/>
              <a:gd name="connsiteX59" fmla="*/ 4985215 w 5425623"/>
              <a:gd name="connsiteY59" fmla="*/ 1019241 h 6667679"/>
              <a:gd name="connsiteX60" fmla="*/ 4989860 w 5425623"/>
              <a:gd name="connsiteY60" fmla="*/ 1018255 h 6667679"/>
              <a:gd name="connsiteX61" fmla="*/ 4994282 w 5425623"/>
              <a:gd name="connsiteY61" fmla="*/ 1018362 h 6667679"/>
              <a:gd name="connsiteX62" fmla="*/ 4998609 w 5425623"/>
              <a:gd name="connsiteY62" fmla="*/ 1020046 h 6667679"/>
              <a:gd name="connsiteX63" fmla="*/ 5255400 w 5425623"/>
              <a:gd name="connsiteY63" fmla="*/ 1168304 h 6667679"/>
              <a:gd name="connsiteX64" fmla="*/ 5275706 w 5425623"/>
              <a:gd name="connsiteY64" fmla="*/ 1180434 h 6667679"/>
              <a:gd name="connsiteX65" fmla="*/ 5294212 w 5425623"/>
              <a:gd name="connsiteY65" fmla="*/ 1193564 h 6667679"/>
              <a:gd name="connsiteX66" fmla="*/ 5311754 w 5425623"/>
              <a:gd name="connsiteY66" fmla="*/ 1206953 h 6667679"/>
              <a:gd name="connsiteX67" fmla="*/ 5327544 w 5425623"/>
              <a:gd name="connsiteY67" fmla="*/ 1220553 h 6667679"/>
              <a:gd name="connsiteX68" fmla="*/ 5342674 w 5425623"/>
              <a:gd name="connsiteY68" fmla="*/ 1234588 h 6667679"/>
              <a:gd name="connsiteX69" fmla="*/ 5355699 w 5425623"/>
              <a:gd name="connsiteY69" fmla="*/ 1249444 h 6667679"/>
              <a:gd name="connsiteX70" fmla="*/ 5368242 w 5425623"/>
              <a:gd name="connsiteY70" fmla="*/ 1264431 h 6667679"/>
              <a:gd name="connsiteX71" fmla="*/ 5379162 w 5425623"/>
              <a:gd name="connsiteY71" fmla="*/ 1280110 h 6667679"/>
              <a:gd name="connsiteX72" fmla="*/ 5388812 w 5425623"/>
              <a:gd name="connsiteY72" fmla="*/ 1295872 h 6667679"/>
              <a:gd name="connsiteX73" fmla="*/ 5397145 w 5425623"/>
              <a:gd name="connsiteY73" fmla="*/ 1312504 h 6667679"/>
              <a:gd name="connsiteX74" fmla="*/ 5404689 w 5425623"/>
              <a:gd name="connsiteY74" fmla="*/ 1329087 h 6667679"/>
              <a:gd name="connsiteX75" fmla="*/ 5410917 w 5425623"/>
              <a:gd name="connsiteY75" fmla="*/ 1346541 h 6667679"/>
              <a:gd name="connsiteX76" fmla="*/ 5416050 w 5425623"/>
              <a:gd name="connsiteY76" fmla="*/ 1363772 h 6667679"/>
              <a:gd name="connsiteX77" fmla="*/ 5419915 w 5425623"/>
              <a:gd name="connsiteY77" fmla="*/ 1381083 h 6667679"/>
              <a:gd name="connsiteX78" fmla="*/ 5422766 w 5425623"/>
              <a:gd name="connsiteY78" fmla="*/ 1399442 h 6667679"/>
              <a:gd name="connsiteX79" fmla="*/ 5424653 w 5425623"/>
              <a:gd name="connsiteY79" fmla="*/ 1418058 h 6667679"/>
              <a:gd name="connsiteX80" fmla="*/ 5425623 w 5425623"/>
              <a:gd name="connsiteY80" fmla="*/ 1436146 h 6667679"/>
              <a:gd name="connsiteX81" fmla="*/ 5425276 w 5425623"/>
              <a:gd name="connsiteY81" fmla="*/ 1455103 h 6667679"/>
              <a:gd name="connsiteX82" fmla="*/ 5424269 w 5425623"/>
              <a:gd name="connsiteY82" fmla="*/ 1474495 h 6667679"/>
              <a:gd name="connsiteX83" fmla="*/ 5421865 w 5425623"/>
              <a:gd name="connsiteY83" fmla="*/ 1493487 h 6667679"/>
              <a:gd name="connsiteX84" fmla="*/ 5418930 w 5425623"/>
              <a:gd name="connsiteY84" fmla="*/ 1513395 h 6667679"/>
              <a:gd name="connsiteX85" fmla="*/ 5414726 w 5425623"/>
              <a:gd name="connsiteY85" fmla="*/ 1533386 h 6667679"/>
              <a:gd name="connsiteX86" fmla="*/ 5410215 w 5425623"/>
              <a:gd name="connsiteY86" fmla="*/ 1553200 h 6667679"/>
              <a:gd name="connsiteX87" fmla="*/ 5404564 w 5425623"/>
              <a:gd name="connsiteY87" fmla="*/ 1573579 h 6667679"/>
              <a:gd name="connsiteX88" fmla="*/ 5397643 w 5425623"/>
              <a:gd name="connsiteY88" fmla="*/ 1594039 h 6667679"/>
              <a:gd name="connsiteX89" fmla="*/ 5390239 w 5425623"/>
              <a:gd name="connsiteY89" fmla="*/ 1614628 h 6667679"/>
              <a:gd name="connsiteX90" fmla="*/ 5382047 w 5425623"/>
              <a:gd name="connsiteY90" fmla="*/ 1635170 h 6667679"/>
              <a:gd name="connsiteX91" fmla="*/ 5373197 w 5425623"/>
              <a:gd name="connsiteY91" fmla="*/ 1656147 h 6667679"/>
              <a:gd name="connsiteX92" fmla="*/ 5363253 w 5425623"/>
              <a:gd name="connsiteY92" fmla="*/ 1676901 h 6667679"/>
              <a:gd name="connsiteX93" fmla="*/ 5352651 w 5425623"/>
              <a:gd name="connsiteY93" fmla="*/ 1698089 h 6667679"/>
              <a:gd name="connsiteX94" fmla="*/ 5341437 w 5425623"/>
              <a:gd name="connsiteY94" fmla="*/ 1718924 h 6667679"/>
              <a:gd name="connsiteX95" fmla="*/ 5329740 w 5425623"/>
              <a:gd name="connsiteY95" fmla="*/ 1739888 h 6667679"/>
              <a:gd name="connsiteX96" fmla="*/ 2613607 w 5425623"/>
              <a:gd name="connsiteY96" fmla="*/ 6444368 h 6667679"/>
              <a:gd name="connsiteX97" fmla="*/ 2601653 w 5425623"/>
              <a:gd name="connsiteY97" fmla="*/ 6464368 h 6667679"/>
              <a:gd name="connsiteX98" fmla="*/ 2589087 w 5425623"/>
              <a:gd name="connsiteY98" fmla="*/ 6484015 h 6667679"/>
              <a:gd name="connsiteX99" fmla="*/ 2575828 w 5425623"/>
              <a:gd name="connsiteY99" fmla="*/ 6502039 h 6667679"/>
              <a:gd name="connsiteX100" fmla="*/ 2562439 w 5425623"/>
              <a:gd name="connsiteY100" fmla="*/ 6519581 h 6667679"/>
              <a:gd name="connsiteX101" fmla="*/ 2548792 w 5425623"/>
              <a:gd name="connsiteY101" fmla="*/ 6536158 h 6667679"/>
              <a:gd name="connsiteX102" fmla="*/ 2534581 w 5425623"/>
              <a:gd name="connsiteY102" fmla="*/ 6551595 h 6667679"/>
              <a:gd name="connsiteX103" fmla="*/ 2519807 w 5425623"/>
              <a:gd name="connsiteY103" fmla="*/ 6565890 h 6667679"/>
              <a:gd name="connsiteX104" fmla="*/ 2504901 w 5425623"/>
              <a:gd name="connsiteY104" fmla="*/ 6579703 h 6667679"/>
              <a:gd name="connsiteX105" fmla="*/ 2489433 w 5425623"/>
              <a:gd name="connsiteY105" fmla="*/ 6592376 h 6667679"/>
              <a:gd name="connsiteX106" fmla="*/ 2474012 w 5425623"/>
              <a:gd name="connsiteY106" fmla="*/ 6604260 h 6667679"/>
              <a:gd name="connsiteX107" fmla="*/ 2457721 w 5425623"/>
              <a:gd name="connsiteY107" fmla="*/ 6614827 h 6667679"/>
              <a:gd name="connsiteX108" fmla="*/ 2441606 w 5425623"/>
              <a:gd name="connsiteY108" fmla="*/ 6625088 h 6667679"/>
              <a:gd name="connsiteX109" fmla="*/ 2424975 w 5425623"/>
              <a:gd name="connsiteY109" fmla="*/ 6633422 h 6667679"/>
              <a:gd name="connsiteX110" fmla="*/ 2408038 w 5425623"/>
              <a:gd name="connsiteY110" fmla="*/ 6641577 h 6667679"/>
              <a:gd name="connsiteX111" fmla="*/ 2390713 w 5425623"/>
              <a:gd name="connsiteY111" fmla="*/ 6648286 h 6667679"/>
              <a:gd name="connsiteX112" fmla="*/ 2372824 w 5425623"/>
              <a:gd name="connsiteY112" fmla="*/ 6653855 h 6667679"/>
              <a:gd name="connsiteX113" fmla="*/ 2355289 w 5425623"/>
              <a:gd name="connsiteY113" fmla="*/ 6658812 h 6667679"/>
              <a:gd name="connsiteX114" fmla="*/ 2337494 w 5425623"/>
              <a:gd name="connsiteY114" fmla="*/ 6662805 h 6667679"/>
              <a:gd name="connsiteX115" fmla="*/ 2319008 w 5425623"/>
              <a:gd name="connsiteY115" fmla="*/ 6665174 h 6667679"/>
              <a:gd name="connsiteX116" fmla="*/ 2300567 w 5425623"/>
              <a:gd name="connsiteY116" fmla="*/ 6666756 h 6667679"/>
              <a:gd name="connsiteX117" fmla="*/ 2281691 w 5425623"/>
              <a:gd name="connsiteY117" fmla="*/ 6667679 h 6667679"/>
              <a:gd name="connsiteX118" fmla="*/ 2262734 w 5425623"/>
              <a:gd name="connsiteY118" fmla="*/ 6667332 h 6667679"/>
              <a:gd name="connsiteX119" fmla="*/ 2243695 w 5425623"/>
              <a:gd name="connsiteY119" fmla="*/ 6665715 h 6667679"/>
              <a:gd name="connsiteX120" fmla="*/ 2224527 w 5425623"/>
              <a:gd name="connsiteY120" fmla="*/ 6663616 h 6667679"/>
              <a:gd name="connsiteX121" fmla="*/ 2204666 w 5425623"/>
              <a:gd name="connsiteY121" fmla="*/ 6659893 h 6667679"/>
              <a:gd name="connsiteX122" fmla="*/ 2185334 w 5425623"/>
              <a:gd name="connsiteY122" fmla="*/ 6655253 h 6667679"/>
              <a:gd name="connsiteX123" fmla="*/ 2165744 w 5425623"/>
              <a:gd name="connsiteY123" fmla="*/ 6649649 h 6667679"/>
              <a:gd name="connsiteX124" fmla="*/ 2145765 w 5425623"/>
              <a:gd name="connsiteY124" fmla="*/ 6642598 h 6667679"/>
              <a:gd name="connsiteX125" fmla="*/ 2125658 w 5425623"/>
              <a:gd name="connsiteY125" fmla="*/ 6635065 h 6667679"/>
              <a:gd name="connsiteX126" fmla="*/ 2105822 w 5425623"/>
              <a:gd name="connsiteY126" fmla="*/ 6625651 h 6667679"/>
              <a:gd name="connsiteX127" fmla="*/ 2085069 w 5425623"/>
              <a:gd name="connsiteY127" fmla="*/ 6615707 h 6667679"/>
              <a:gd name="connsiteX128" fmla="*/ 2065022 w 5425623"/>
              <a:gd name="connsiteY128" fmla="*/ 6604541 h 6667679"/>
              <a:gd name="connsiteX129" fmla="*/ 206953 w 5425623"/>
              <a:gd name="connsiteY129" fmla="*/ 5531784 h 6667679"/>
              <a:gd name="connsiteX130" fmla="*/ 187870 w 5425623"/>
              <a:gd name="connsiteY130" fmla="*/ 5520359 h 6667679"/>
              <a:gd name="connsiteX131" fmla="*/ 169800 w 5425623"/>
              <a:gd name="connsiteY131" fmla="*/ 5507888 h 6667679"/>
              <a:gd name="connsiteX132" fmla="*/ 152339 w 5425623"/>
              <a:gd name="connsiteY132" fmla="*/ 5495769 h 6667679"/>
              <a:gd name="connsiteX133" fmla="*/ 136197 w 5425623"/>
              <a:gd name="connsiteY133" fmla="*/ 5482781 h 6667679"/>
              <a:gd name="connsiteX134" fmla="*/ 120713 w 5425623"/>
              <a:gd name="connsiteY134" fmla="*/ 5469358 h 6667679"/>
              <a:gd name="connsiteX135" fmla="*/ 106066 w 5425623"/>
              <a:gd name="connsiteY135" fmla="*/ 5455194 h 6667679"/>
              <a:gd name="connsiteX136" fmla="*/ 92686 w 5425623"/>
              <a:gd name="connsiteY136" fmla="*/ 5440948 h 6667679"/>
              <a:gd name="connsiteX137" fmla="*/ 79662 w 5425623"/>
              <a:gd name="connsiteY137" fmla="*/ 5426091 h 6667679"/>
              <a:gd name="connsiteX138" fmla="*/ 67906 w 5425623"/>
              <a:gd name="connsiteY138" fmla="*/ 5411152 h 6667679"/>
              <a:gd name="connsiteX139" fmla="*/ 57468 w 5425623"/>
              <a:gd name="connsiteY139" fmla="*/ 5395343 h 6667679"/>
              <a:gd name="connsiteX140" fmla="*/ 47336 w 5425623"/>
              <a:gd name="connsiteY140" fmla="*/ 5379711 h 6667679"/>
              <a:gd name="connsiteX141" fmla="*/ 38344 w 5425623"/>
              <a:gd name="connsiteY141" fmla="*/ 5363515 h 6667679"/>
              <a:gd name="connsiteX142" fmla="*/ 30190 w 5425623"/>
              <a:gd name="connsiteY142" fmla="*/ 5346577 h 6667679"/>
              <a:gd name="connsiteX143" fmla="*/ 23127 w 5425623"/>
              <a:gd name="connsiteY143" fmla="*/ 5329865 h 6667679"/>
              <a:gd name="connsiteX144" fmla="*/ 17205 w 5425623"/>
              <a:gd name="connsiteY144" fmla="*/ 5312587 h 6667679"/>
              <a:gd name="connsiteX145" fmla="*/ 11942 w 5425623"/>
              <a:gd name="connsiteY145" fmla="*/ 5294875 h 6667679"/>
              <a:gd name="connsiteX146" fmla="*/ 7291 w 5425623"/>
              <a:gd name="connsiteY146" fmla="*/ 5277515 h 6667679"/>
              <a:gd name="connsiteX147" fmla="*/ 4133 w 5425623"/>
              <a:gd name="connsiteY147" fmla="*/ 5258981 h 6667679"/>
              <a:gd name="connsiteX148" fmla="*/ 1892 w 5425623"/>
              <a:gd name="connsiteY148" fmla="*/ 5240976 h 6667679"/>
              <a:gd name="connsiteX149" fmla="*/ 440 w 5425623"/>
              <a:gd name="connsiteY149" fmla="*/ 5223018 h 6667679"/>
              <a:gd name="connsiteX150" fmla="*/ 0 w 5425623"/>
              <a:gd name="connsiteY150" fmla="*/ 5204014 h 6667679"/>
              <a:gd name="connsiteX151" fmla="*/ 958 w 5425623"/>
              <a:gd name="connsiteY151" fmla="*/ 5185409 h 6667679"/>
              <a:gd name="connsiteX152" fmla="*/ 2576 w 5425623"/>
              <a:gd name="connsiteY152" fmla="*/ 5166370 h 6667679"/>
              <a:gd name="connsiteX153" fmla="*/ 4981 w 5425623"/>
              <a:gd name="connsiteY153" fmla="*/ 5147378 h 6667679"/>
              <a:gd name="connsiteX154" fmla="*/ 8656 w 5425623"/>
              <a:gd name="connsiteY154" fmla="*/ 5128305 h 6667679"/>
              <a:gd name="connsiteX155" fmla="*/ 13296 w 5425623"/>
              <a:gd name="connsiteY155" fmla="*/ 5108972 h 6667679"/>
              <a:gd name="connsiteX156" fmla="*/ 18723 w 5425623"/>
              <a:gd name="connsiteY156" fmla="*/ 5089688 h 6667679"/>
              <a:gd name="connsiteX157" fmla="*/ 25597 w 5425623"/>
              <a:gd name="connsiteY157" fmla="*/ 5070016 h 6667679"/>
              <a:gd name="connsiteX158" fmla="*/ 33083 w 5425623"/>
              <a:gd name="connsiteY158" fmla="*/ 5050696 h 6667679"/>
              <a:gd name="connsiteX159" fmla="*/ 42144 w 5425623"/>
              <a:gd name="connsiteY159" fmla="*/ 5031472 h 6667679"/>
              <a:gd name="connsiteX160" fmla="*/ 51558 w 5425623"/>
              <a:gd name="connsiteY160" fmla="*/ 5011636 h 6667679"/>
              <a:gd name="connsiteX161" fmla="*/ 62372 w 5425623"/>
              <a:gd name="connsiteY161" fmla="*/ 4992200 h 6667679"/>
              <a:gd name="connsiteX162" fmla="*/ 2800920 w 5425623"/>
              <a:gd name="connsiteY162" fmla="*/ 248895 h 6667679"/>
              <a:gd name="connsiteX163" fmla="*/ 2812698 w 5425623"/>
              <a:gd name="connsiteY163" fmla="*/ 229201 h 6667679"/>
              <a:gd name="connsiteX164" fmla="*/ 2824429 w 5425623"/>
              <a:gd name="connsiteY164" fmla="*/ 210295 h 6667679"/>
              <a:gd name="connsiteX165" fmla="*/ 2837077 w 5425623"/>
              <a:gd name="connsiteY165" fmla="*/ 191918 h 6667679"/>
              <a:gd name="connsiteX166" fmla="*/ 2849807 w 5425623"/>
              <a:gd name="connsiteY166" fmla="*/ 174811 h 6667679"/>
              <a:gd name="connsiteX167" fmla="*/ 2862537 w 5425623"/>
              <a:gd name="connsiteY167" fmla="*/ 157704 h 6667679"/>
              <a:gd name="connsiteX168" fmla="*/ 2876183 w 5425623"/>
              <a:gd name="connsiteY168" fmla="*/ 141127 h 6667679"/>
              <a:gd name="connsiteX169" fmla="*/ 2890218 w 5425623"/>
              <a:gd name="connsiteY169" fmla="*/ 125996 h 6667679"/>
              <a:gd name="connsiteX170" fmla="*/ 2904205 w 5425623"/>
              <a:gd name="connsiteY170" fmla="*/ 111653 h 6667679"/>
              <a:gd name="connsiteX171" fmla="*/ 2918804 w 5425623"/>
              <a:gd name="connsiteY171" fmla="*/ 97664 h 6667679"/>
              <a:gd name="connsiteX172" fmla="*/ 2933485 w 5425623"/>
              <a:gd name="connsiteY172" fmla="*/ 84944 h 6667679"/>
              <a:gd name="connsiteX173" fmla="*/ 2948471 w 5425623"/>
              <a:gd name="connsiteY173" fmla="*/ 72401 h 6667679"/>
              <a:gd name="connsiteX174" fmla="*/ 2963845 w 5425623"/>
              <a:gd name="connsiteY174" fmla="*/ 61305 h 6667679"/>
              <a:gd name="connsiteX175" fmla="*/ 2979348 w 5425623"/>
              <a:gd name="connsiteY175" fmla="*/ 50690 h 6667679"/>
              <a:gd name="connsiteX176" fmla="*/ 2995110 w 5425623"/>
              <a:gd name="connsiteY176" fmla="*/ 41040 h 6667679"/>
              <a:gd name="connsiteX177" fmla="*/ 3011259 w 5425623"/>
              <a:gd name="connsiteY177" fmla="*/ 32837 h 6667679"/>
              <a:gd name="connsiteX178" fmla="*/ 3027714 w 5425623"/>
              <a:gd name="connsiteY178" fmla="*/ 24810 h 6667679"/>
              <a:gd name="connsiteX179" fmla="*/ 3044556 w 5425623"/>
              <a:gd name="connsiteY179" fmla="*/ 18229 h 6667679"/>
              <a:gd name="connsiteX180" fmla="*/ 3061657 w 5425623"/>
              <a:gd name="connsiteY180" fmla="*/ 12613 h 6667679"/>
              <a:gd name="connsiteX181" fmla="*/ 3078228 w 5425623"/>
              <a:gd name="connsiteY181" fmla="*/ 7915 h 6667679"/>
              <a:gd name="connsiteX182" fmla="*/ 3095846 w 5425623"/>
              <a:gd name="connsiteY182" fmla="*/ 4228 h 6667679"/>
              <a:gd name="connsiteX183" fmla="*/ 3113546 w 5425623"/>
              <a:gd name="connsiteY183" fmla="*/ 1812 h 6667679"/>
              <a:gd name="connsiteX184" fmla="*/ 3131327 w 5425623"/>
              <a:gd name="connsiteY184" fmla="*/ 665 h 6667679"/>
              <a:gd name="connsiteX185" fmla="*/ 3149238 w 5425623"/>
              <a:gd name="connsiteY185" fmla="*/ 0 h 6667679"/>
              <a:gd name="connsiteX186" fmla="*/ 3167360 w 5425623"/>
              <a:gd name="connsiteY186" fmla="*/ 1088 h 6667679"/>
              <a:gd name="connsiteX187" fmla="*/ 3186093 w 5425623"/>
              <a:gd name="connsiteY187" fmla="*/ 2528 h 6667679"/>
              <a:gd name="connsiteX188" fmla="*/ 3204379 w 5425623"/>
              <a:gd name="connsiteY188" fmla="*/ 6156 h 6667679"/>
              <a:gd name="connsiteX189" fmla="*/ 3223581 w 5425623"/>
              <a:gd name="connsiteY189" fmla="*/ 10314 h 6667679"/>
              <a:gd name="connsiteX190" fmla="*/ 3241902 w 5425623"/>
              <a:gd name="connsiteY190" fmla="*/ 16000 h 6667679"/>
              <a:gd name="connsiteX191" fmla="*/ 3261445 w 5425623"/>
              <a:gd name="connsiteY191" fmla="*/ 22392 h 6667679"/>
              <a:gd name="connsiteX192" fmla="*/ 3280717 w 5425623"/>
              <a:gd name="connsiteY192" fmla="*/ 30665 h 6667679"/>
              <a:gd name="connsiteX193" fmla="*/ 3300247 w 5425623"/>
              <a:gd name="connsiteY193" fmla="*/ 39903 h 66676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</a:cxnLst>
            <a:rect l="l" t="t" r="r" b="b"/>
            <a:pathLst>
              <a:path w="5425623" h="6667679">
                <a:moveTo>
                  <a:pt x="3319683" y="50716"/>
                </a:moveTo>
                <a:lnTo>
                  <a:pt x="3576474" y="198976"/>
                </a:lnTo>
                <a:lnTo>
                  <a:pt x="3580096" y="201881"/>
                </a:lnTo>
                <a:lnTo>
                  <a:pt x="3582399" y="205656"/>
                </a:lnTo>
                <a:lnTo>
                  <a:pt x="3583868" y="210173"/>
                </a:lnTo>
                <a:lnTo>
                  <a:pt x="3584372" y="214948"/>
                </a:lnTo>
                <a:lnTo>
                  <a:pt x="3583994" y="221251"/>
                </a:lnTo>
                <a:lnTo>
                  <a:pt x="3582827" y="227507"/>
                </a:lnTo>
                <a:lnTo>
                  <a:pt x="3581132" y="234680"/>
                </a:lnTo>
                <a:lnTo>
                  <a:pt x="3578295" y="242417"/>
                </a:lnTo>
                <a:lnTo>
                  <a:pt x="3572398" y="258986"/>
                </a:lnTo>
                <a:lnTo>
                  <a:pt x="3565395" y="278175"/>
                </a:lnTo>
                <a:lnTo>
                  <a:pt x="3562110" y="288100"/>
                </a:lnTo>
                <a:lnTo>
                  <a:pt x="3558955" y="298507"/>
                </a:lnTo>
                <a:lnTo>
                  <a:pt x="3555317" y="309043"/>
                </a:lnTo>
                <a:lnTo>
                  <a:pt x="3552774" y="319801"/>
                </a:lnTo>
                <a:lnTo>
                  <a:pt x="3550184" y="331349"/>
                </a:lnTo>
                <a:lnTo>
                  <a:pt x="3548381" y="342944"/>
                </a:lnTo>
                <a:lnTo>
                  <a:pt x="3547060" y="354410"/>
                </a:lnTo>
                <a:lnTo>
                  <a:pt x="3546833" y="366100"/>
                </a:lnTo>
                <a:lnTo>
                  <a:pt x="3546605" y="377789"/>
                </a:lnTo>
                <a:lnTo>
                  <a:pt x="3547954" y="389573"/>
                </a:lnTo>
                <a:lnTo>
                  <a:pt x="3550878" y="401451"/>
                </a:lnTo>
                <a:lnTo>
                  <a:pt x="3554414" y="413683"/>
                </a:lnTo>
                <a:lnTo>
                  <a:pt x="3558785" y="425174"/>
                </a:lnTo>
                <a:lnTo>
                  <a:pt x="3565344" y="437112"/>
                </a:lnTo>
                <a:lnTo>
                  <a:pt x="3572866" y="448792"/>
                </a:lnTo>
                <a:lnTo>
                  <a:pt x="3582448" y="460438"/>
                </a:lnTo>
                <a:lnTo>
                  <a:pt x="3593474" y="471695"/>
                </a:lnTo>
                <a:lnTo>
                  <a:pt x="3606560" y="482919"/>
                </a:lnTo>
                <a:lnTo>
                  <a:pt x="3621091" y="493755"/>
                </a:lnTo>
                <a:lnTo>
                  <a:pt x="3638164" y="504426"/>
                </a:lnTo>
                <a:lnTo>
                  <a:pt x="4703237" y="1119346"/>
                </a:lnTo>
                <a:lnTo>
                  <a:pt x="4721014" y="1128795"/>
                </a:lnTo>
                <a:lnTo>
                  <a:pt x="4737664" y="1135962"/>
                </a:lnTo>
                <a:lnTo>
                  <a:pt x="4753927" y="1141683"/>
                </a:lnTo>
                <a:lnTo>
                  <a:pt x="4769190" y="1145604"/>
                </a:lnTo>
                <a:lnTo>
                  <a:pt x="4784066" y="1148078"/>
                </a:lnTo>
                <a:lnTo>
                  <a:pt x="4797942" y="1148754"/>
                </a:lnTo>
                <a:lnTo>
                  <a:pt x="4811559" y="1148464"/>
                </a:lnTo>
                <a:lnTo>
                  <a:pt x="4823696" y="1146504"/>
                </a:lnTo>
                <a:lnTo>
                  <a:pt x="4836058" y="1143450"/>
                </a:lnTo>
                <a:lnTo>
                  <a:pt x="4847807" y="1140043"/>
                </a:lnTo>
                <a:lnTo>
                  <a:pt x="4858686" y="1135319"/>
                </a:lnTo>
                <a:lnTo>
                  <a:pt x="4868696" y="1129278"/>
                </a:lnTo>
                <a:lnTo>
                  <a:pt x="4878706" y="1123236"/>
                </a:lnTo>
                <a:lnTo>
                  <a:pt x="4887975" y="1116359"/>
                </a:lnTo>
                <a:lnTo>
                  <a:pt x="4897115" y="1109001"/>
                </a:lnTo>
                <a:lnTo>
                  <a:pt x="4905820" y="1100983"/>
                </a:lnTo>
                <a:lnTo>
                  <a:pt x="4913866" y="1093401"/>
                </a:lnTo>
                <a:lnTo>
                  <a:pt x="4921172" y="1084983"/>
                </a:lnTo>
                <a:lnTo>
                  <a:pt x="4928607" y="1077047"/>
                </a:lnTo>
                <a:lnTo>
                  <a:pt x="4935560" y="1069240"/>
                </a:lnTo>
                <a:lnTo>
                  <a:pt x="4948677" y="1053581"/>
                </a:lnTo>
                <a:lnTo>
                  <a:pt x="4960077" y="1040189"/>
                </a:lnTo>
                <a:lnTo>
                  <a:pt x="4965359" y="1033864"/>
                </a:lnTo>
                <a:lnTo>
                  <a:pt x="4970724" y="1028809"/>
                </a:lnTo>
                <a:lnTo>
                  <a:pt x="4975558" y="1024671"/>
                </a:lnTo>
                <a:lnTo>
                  <a:pt x="4980828" y="1021192"/>
                </a:lnTo>
                <a:lnTo>
                  <a:pt x="4985215" y="1019241"/>
                </a:lnTo>
                <a:lnTo>
                  <a:pt x="4989860" y="1018255"/>
                </a:lnTo>
                <a:lnTo>
                  <a:pt x="4994282" y="1018362"/>
                </a:lnTo>
                <a:lnTo>
                  <a:pt x="4998609" y="1020046"/>
                </a:lnTo>
                <a:lnTo>
                  <a:pt x="5255400" y="1168304"/>
                </a:lnTo>
                <a:lnTo>
                  <a:pt x="5275706" y="1180434"/>
                </a:lnTo>
                <a:lnTo>
                  <a:pt x="5294212" y="1193564"/>
                </a:lnTo>
                <a:lnTo>
                  <a:pt x="5311754" y="1206953"/>
                </a:lnTo>
                <a:lnTo>
                  <a:pt x="5327544" y="1220553"/>
                </a:lnTo>
                <a:lnTo>
                  <a:pt x="5342674" y="1234588"/>
                </a:lnTo>
                <a:lnTo>
                  <a:pt x="5355699" y="1249444"/>
                </a:lnTo>
                <a:lnTo>
                  <a:pt x="5368242" y="1264431"/>
                </a:lnTo>
                <a:lnTo>
                  <a:pt x="5379162" y="1280110"/>
                </a:lnTo>
                <a:lnTo>
                  <a:pt x="5388812" y="1295872"/>
                </a:lnTo>
                <a:lnTo>
                  <a:pt x="5397145" y="1312504"/>
                </a:lnTo>
                <a:lnTo>
                  <a:pt x="5404689" y="1329087"/>
                </a:lnTo>
                <a:lnTo>
                  <a:pt x="5410917" y="1346541"/>
                </a:lnTo>
                <a:lnTo>
                  <a:pt x="5416050" y="1363772"/>
                </a:lnTo>
                <a:lnTo>
                  <a:pt x="5419915" y="1381083"/>
                </a:lnTo>
                <a:lnTo>
                  <a:pt x="5422766" y="1399442"/>
                </a:lnTo>
                <a:lnTo>
                  <a:pt x="5424653" y="1418058"/>
                </a:lnTo>
                <a:lnTo>
                  <a:pt x="5425623" y="1436146"/>
                </a:lnTo>
                <a:lnTo>
                  <a:pt x="5425276" y="1455103"/>
                </a:lnTo>
                <a:lnTo>
                  <a:pt x="5424269" y="1474495"/>
                </a:lnTo>
                <a:lnTo>
                  <a:pt x="5421865" y="1493487"/>
                </a:lnTo>
                <a:lnTo>
                  <a:pt x="5418930" y="1513395"/>
                </a:lnTo>
                <a:lnTo>
                  <a:pt x="5414726" y="1533386"/>
                </a:lnTo>
                <a:lnTo>
                  <a:pt x="5410215" y="1553200"/>
                </a:lnTo>
                <a:lnTo>
                  <a:pt x="5404564" y="1573579"/>
                </a:lnTo>
                <a:lnTo>
                  <a:pt x="5397643" y="1594039"/>
                </a:lnTo>
                <a:lnTo>
                  <a:pt x="5390239" y="1614628"/>
                </a:lnTo>
                <a:lnTo>
                  <a:pt x="5382047" y="1635170"/>
                </a:lnTo>
                <a:lnTo>
                  <a:pt x="5373197" y="1656147"/>
                </a:lnTo>
                <a:lnTo>
                  <a:pt x="5363253" y="1676901"/>
                </a:lnTo>
                <a:lnTo>
                  <a:pt x="5352651" y="1698089"/>
                </a:lnTo>
                <a:lnTo>
                  <a:pt x="5341437" y="1718924"/>
                </a:lnTo>
                <a:lnTo>
                  <a:pt x="5329740" y="1739888"/>
                </a:lnTo>
                <a:lnTo>
                  <a:pt x="2613607" y="6444368"/>
                </a:lnTo>
                <a:lnTo>
                  <a:pt x="2601653" y="6464368"/>
                </a:lnTo>
                <a:lnTo>
                  <a:pt x="2589087" y="6484015"/>
                </a:lnTo>
                <a:lnTo>
                  <a:pt x="2575828" y="6502039"/>
                </a:lnTo>
                <a:lnTo>
                  <a:pt x="2562439" y="6519581"/>
                </a:lnTo>
                <a:lnTo>
                  <a:pt x="2548792" y="6536158"/>
                </a:lnTo>
                <a:lnTo>
                  <a:pt x="2534581" y="6551595"/>
                </a:lnTo>
                <a:lnTo>
                  <a:pt x="2519807" y="6565890"/>
                </a:lnTo>
                <a:lnTo>
                  <a:pt x="2504901" y="6579703"/>
                </a:lnTo>
                <a:lnTo>
                  <a:pt x="2489433" y="6592376"/>
                </a:lnTo>
                <a:lnTo>
                  <a:pt x="2474012" y="6604260"/>
                </a:lnTo>
                <a:lnTo>
                  <a:pt x="2457721" y="6614827"/>
                </a:lnTo>
                <a:lnTo>
                  <a:pt x="2441606" y="6625088"/>
                </a:lnTo>
                <a:lnTo>
                  <a:pt x="2424975" y="6633422"/>
                </a:lnTo>
                <a:lnTo>
                  <a:pt x="2408038" y="6641577"/>
                </a:lnTo>
                <a:lnTo>
                  <a:pt x="2390713" y="6648286"/>
                </a:lnTo>
                <a:lnTo>
                  <a:pt x="2372824" y="6653855"/>
                </a:lnTo>
                <a:lnTo>
                  <a:pt x="2355289" y="6658812"/>
                </a:lnTo>
                <a:lnTo>
                  <a:pt x="2337494" y="6662805"/>
                </a:lnTo>
                <a:lnTo>
                  <a:pt x="2319008" y="6665174"/>
                </a:lnTo>
                <a:lnTo>
                  <a:pt x="2300567" y="6666756"/>
                </a:lnTo>
                <a:lnTo>
                  <a:pt x="2281691" y="6667679"/>
                </a:lnTo>
                <a:lnTo>
                  <a:pt x="2262734" y="6667332"/>
                </a:lnTo>
                <a:lnTo>
                  <a:pt x="2243695" y="6665715"/>
                </a:lnTo>
                <a:lnTo>
                  <a:pt x="2224527" y="6663616"/>
                </a:lnTo>
                <a:lnTo>
                  <a:pt x="2204666" y="6659893"/>
                </a:lnTo>
                <a:lnTo>
                  <a:pt x="2185334" y="6655253"/>
                </a:lnTo>
                <a:lnTo>
                  <a:pt x="2165744" y="6649649"/>
                </a:lnTo>
                <a:lnTo>
                  <a:pt x="2145765" y="6642598"/>
                </a:lnTo>
                <a:lnTo>
                  <a:pt x="2125658" y="6635065"/>
                </a:lnTo>
                <a:lnTo>
                  <a:pt x="2105822" y="6625651"/>
                </a:lnTo>
                <a:lnTo>
                  <a:pt x="2085069" y="6615707"/>
                </a:lnTo>
                <a:lnTo>
                  <a:pt x="2065022" y="6604541"/>
                </a:lnTo>
                <a:lnTo>
                  <a:pt x="206953" y="5531784"/>
                </a:lnTo>
                <a:lnTo>
                  <a:pt x="187870" y="5520359"/>
                </a:lnTo>
                <a:lnTo>
                  <a:pt x="169800" y="5507888"/>
                </a:lnTo>
                <a:lnTo>
                  <a:pt x="152339" y="5495769"/>
                </a:lnTo>
                <a:lnTo>
                  <a:pt x="136197" y="5482781"/>
                </a:lnTo>
                <a:lnTo>
                  <a:pt x="120713" y="5469358"/>
                </a:lnTo>
                <a:lnTo>
                  <a:pt x="106066" y="5455194"/>
                </a:lnTo>
                <a:lnTo>
                  <a:pt x="92686" y="5440948"/>
                </a:lnTo>
                <a:lnTo>
                  <a:pt x="79662" y="5426091"/>
                </a:lnTo>
                <a:lnTo>
                  <a:pt x="67906" y="5411152"/>
                </a:lnTo>
                <a:lnTo>
                  <a:pt x="57468" y="5395343"/>
                </a:lnTo>
                <a:lnTo>
                  <a:pt x="47336" y="5379711"/>
                </a:lnTo>
                <a:lnTo>
                  <a:pt x="38344" y="5363515"/>
                </a:lnTo>
                <a:lnTo>
                  <a:pt x="30190" y="5346577"/>
                </a:lnTo>
                <a:lnTo>
                  <a:pt x="23127" y="5329865"/>
                </a:lnTo>
                <a:lnTo>
                  <a:pt x="17205" y="5312587"/>
                </a:lnTo>
                <a:lnTo>
                  <a:pt x="11942" y="5294875"/>
                </a:lnTo>
                <a:lnTo>
                  <a:pt x="7291" y="5277515"/>
                </a:lnTo>
                <a:lnTo>
                  <a:pt x="4133" y="5258981"/>
                </a:lnTo>
                <a:lnTo>
                  <a:pt x="1892" y="5240976"/>
                </a:lnTo>
                <a:lnTo>
                  <a:pt x="440" y="5223018"/>
                </a:lnTo>
                <a:lnTo>
                  <a:pt x="0" y="5204014"/>
                </a:lnTo>
                <a:lnTo>
                  <a:pt x="958" y="5185409"/>
                </a:lnTo>
                <a:lnTo>
                  <a:pt x="2576" y="5166370"/>
                </a:lnTo>
                <a:lnTo>
                  <a:pt x="4981" y="5147378"/>
                </a:lnTo>
                <a:lnTo>
                  <a:pt x="8656" y="5128305"/>
                </a:lnTo>
                <a:lnTo>
                  <a:pt x="13296" y="5108972"/>
                </a:lnTo>
                <a:lnTo>
                  <a:pt x="18723" y="5089688"/>
                </a:lnTo>
                <a:lnTo>
                  <a:pt x="25597" y="5070016"/>
                </a:lnTo>
                <a:lnTo>
                  <a:pt x="33083" y="5050696"/>
                </a:lnTo>
                <a:lnTo>
                  <a:pt x="42144" y="5031472"/>
                </a:lnTo>
                <a:lnTo>
                  <a:pt x="51558" y="5011636"/>
                </a:lnTo>
                <a:lnTo>
                  <a:pt x="62372" y="4992200"/>
                </a:lnTo>
                <a:lnTo>
                  <a:pt x="2800920" y="248895"/>
                </a:lnTo>
                <a:lnTo>
                  <a:pt x="2812698" y="229201"/>
                </a:lnTo>
                <a:lnTo>
                  <a:pt x="2824429" y="210295"/>
                </a:lnTo>
                <a:lnTo>
                  <a:pt x="2837077" y="191918"/>
                </a:lnTo>
                <a:lnTo>
                  <a:pt x="2849807" y="174811"/>
                </a:lnTo>
                <a:lnTo>
                  <a:pt x="2862537" y="157704"/>
                </a:lnTo>
                <a:lnTo>
                  <a:pt x="2876183" y="141127"/>
                </a:lnTo>
                <a:lnTo>
                  <a:pt x="2890218" y="125996"/>
                </a:lnTo>
                <a:lnTo>
                  <a:pt x="2904205" y="111653"/>
                </a:lnTo>
                <a:lnTo>
                  <a:pt x="2918804" y="97664"/>
                </a:lnTo>
                <a:lnTo>
                  <a:pt x="2933485" y="84944"/>
                </a:lnTo>
                <a:lnTo>
                  <a:pt x="2948471" y="72401"/>
                </a:lnTo>
                <a:lnTo>
                  <a:pt x="2963845" y="61305"/>
                </a:lnTo>
                <a:lnTo>
                  <a:pt x="2979348" y="50690"/>
                </a:lnTo>
                <a:lnTo>
                  <a:pt x="2995110" y="41040"/>
                </a:lnTo>
                <a:lnTo>
                  <a:pt x="3011259" y="32837"/>
                </a:lnTo>
                <a:lnTo>
                  <a:pt x="3027714" y="24810"/>
                </a:lnTo>
                <a:lnTo>
                  <a:pt x="3044556" y="18229"/>
                </a:lnTo>
                <a:lnTo>
                  <a:pt x="3061657" y="12613"/>
                </a:lnTo>
                <a:lnTo>
                  <a:pt x="3078228" y="7915"/>
                </a:lnTo>
                <a:lnTo>
                  <a:pt x="3095846" y="4228"/>
                </a:lnTo>
                <a:lnTo>
                  <a:pt x="3113546" y="1812"/>
                </a:lnTo>
                <a:lnTo>
                  <a:pt x="3131327" y="665"/>
                </a:lnTo>
                <a:lnTo>
                  <a:pt x="3149238" y="0"/>
                </a:lnTo>
                <a:lnTo>
                  <a:pt x="3167360" y="1088"/>
                </a:lnTo>
                <a:lnTo>
                  <a:pt x="3186093" y="2528"/>
                </a:lnTo>
                <a:lnTo>
                  <a:pt x="3204379" y="6156"/>
                </a:lnTo>
                <a:lnTo>
                  <a:pt x="3223581" y="10314"/>
                </a:lnTo>
                <a:lnTo>
                  <a:pt x="3241902" y="16000"/>
                </a:lnTo>
                <a:lnTo>
                  <a:pt x="3261445" y="22392"/>
                </a:lnTo>
                <a:lnTo>
                  <a:pt x="3280717" y="30665"/>
                </a:lnTo>
                <a:lnTo>
                  <a:pt x="3300247" y="39903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1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4" name="Рисунок 3"/>
          <p:cNvSpPr>
            <a:spLocks noGrp="1"/>
          </p:cNvSpPr>
          <p:nvPr>
            <p:ph type="pic" sz="quarter" idx="21"/>
          </p:nvPr>
        </p:nvSpPr>
        <p:spPr>
          <a:xfrm>
            <a:off x="8219250" y="-1044642"/>
            <a:ext cx="3617082" cy="4444433"/>
          </a:xfrm>
          <a:custGeom>
            <a:avLst/>
            <a:gdLst>
              <a:gd name="connsiteX0" fmla="*/ 3149238 w 5425623"/>
              <a:gd name="connsiteY0" fmla="*/ 0 h 6667679"/>
              <a:gd name="connsiteX1" fmla="*/ 3167360 w 5425623"/>
              <a:gd name="connsiteY1" fmla="*/ 1088 h 6667679"/>
              <a:gd name="connsiteX2" fmla="*/ 3186093 w 5425623"/>
              <a:gd name="connsiteY2" fmla="*/ 2528 h 6667679"/>
              <a:gd name="connsiteX3" fmla="*/ 3204379 w 5425623"/>
              <a:gd name="connsiteY3" fmla="*/ 6156 h 6667679"/>
              <a:gd name="connsiteX4" fmla="*/ 3223581 w 5425623"/>
              <a:gd name="connsiteY4" fmla="*/ 10314 h 6667679"/>
              <a:gd name="connsiteX5" fmla="*/ 3241902 w 5425623"/>
              <a:gd name="connsiteY5" fmla="*/ 16000 h 6667679"/>
              <a:gd name="connsiteX6" fmla="*/ 3261445 w 5425623"/>
              <a:gd name="connsiteY6" fmla="*/ 22392 h 6667679"/>
              <a:gd name="connsiteX7" fmla="*/ 3280717 w 5425623"/>
              <a:gd name="connsiteY7" fmla="*/ 30665 h 6667679"/>
              <a:gd name="connsiteX8" fmla="*/ 3300247 w 5425623"/>
              <a:gd name="connsiteY8" fmla="*/ 39903 h 6667679"/>
              <a:gd name="connsiteX9" fmla="*/ 3319683 w 5425623"/>
              <a:gd name="connsiteY9" fmla="*/ 50716 h 6667679"/>
              <a:gd name="connsiteX10" fmla="*/ 3576474 w 5425623"/>
              <a:gd name="connsiteY10" fmla="*/ 198976 h 6667679"/>
              <a:gd name="connsiteX11" fmla="*/ 3580096 w 5425623"/>
              <a:gd name="connsiteY11" fmla="*/ 201881 h 6667679"/>
              <a:gd name="connsiteX12" fmla="*/ 3582399 w 5425623"/>
              <a:gd name="connsiteY12" fmla="*/ 205656 h 6667679"/>
              <a:gd name="connsiteX13" fmla="*/ 3583868 w 5425623"/>
              <a:gd name="connsiteY13" fmla="*/ 210173 h 6667679"/>
              <a:gd name="connsiteX14" fmla="*/ 3584372 w 5425623"/>
              <a:gd name="connsiteY14" fmla="*/ 214948 h 6667679"/>
              <a:gd name="connsiteX15" fmla="*/ 3583994 w 5425623"/>
              <a:gd name="connsiteY15" fmla="*/ 221251 h 6667679"/>
              <a:gd name="connsiteX16" fmla="*/ 3582827 w 5425623"/>
              <a:gd name="connsiteY16" fmla="*/ 227507 h 6667679"/>
              <a:gd name="connsiteX17" fmla="*/ 3581132 w 5425623"/>
              <a:gd name="connsiteY17" fmla="*/ 234680 h 6667679"/>
              <a:gd name="connsiteX18" fmla="*/ 3578295 w 5425623"/>
              <a:gd name="connsiteY18" fmla="*/ 242417 h 6667679"/>
              <a:gd name="connsiteX19" fmla="*/ 3572398 w 5425623"/>
              <a:gd name="connsiteY19" fmla="*/ 258986 h 6667679"/>
              <a:gd name="connsiteX20" fmla="*/ 3565395 w 5425623"/>
              <a:gd name="connsiteY20" fmla="*/ 278175 h 6667679"/>
              <a:gd name="connsiteX21" fmla="*/ 3562110 w 5425623"/>
              <a:gd name="connsiteY21" fmla="*/ 288100 h 6667679"/>
              <a:gd name="connsiteX22" fmla="*/ 3558955 w 5425623"/>
              <a:gd name="connsiteY22" fmla="*/ 298507 h 6667679"/>
              <a:gd name="connsiteX23" fmla="*/ 3555317 w 5425623"/>
              <a:gd name="connsiteY23" fmla="*/ 309043 h 6667679"/>
              <a:gd name="connsiteX24" fmla="*/ 3552774 w 5425623"/>
              <a:gd name="connsiteY24" fmla="*/ 319801 h 6667679"/>
              <a:gd name="connsiteX25" fmla="*/ 3550184 w 5425623"/>
              <a:gd name="connsiteY25" fmla="*/ 331349 h 6667679"/>
              <a:gd name="connsiteX26" fmla="*/ 3548381 w 5425623"/>
              <a:gd name="connsiteY26" fmla="*/ 342944 h 6667679"/>
              <a:gd name="connsiteX27" fmla="*/ 3547060 w 5425623"/>
              <a:gd name="connsiteY27" fmla="*/ 354410 h 6667679"/>
              <a:gd name="connsiteX28" fmla="*/ 3546833 w 5425623"/>
              <a:gd name="connsiteY28" fmla="*/ 366100 h 6667679"/>
              <a:gd name="connsiteX29" fmla="*/ 3546605 w 5425623"/>
              <a:gd name="connsiteY29" fmla="*/ 377789 h 6667679"/>
              <a:gd name="connsiteX30" fmla="*/ 3547954 w 5425623"/>
              <a:gd name="connsiteY30" fmla="*/ 389573 h 6667679"/>
              <a:gd name="connsiteX31" fmla="*/ 3550878 w 5425623"/>
              <a:gd name="connsiteY31" fmla="*/ 401451 h 6667679"/>
              <a:gd name="connsiteX32" fmla="*/ 3554414 w 5425623"/>
              <a:gd name="connsiteY32" fmla="*/ 413683 h 6667679"/>
              <a:gd name="connsiteX33" fmla="*/ 3558785 w 5425623"/>
              <a:gd name="connsiteY33" fmla="*/ 425174 h 6667679"/>
              <a:gd name="connsiteX34" fmla="*/ 3565344 w 5425623"/>
              <a:gd name="connsiteY34" fmla="*/ 437112 h 6667679"/>
              <a:gd name="connsiteX35" fmla="*/ 3572866 w 5425623"/>
              <a:gd name="connsiteY35" fmla="*/ 448792 h 6667679"/>
              <a:gd name="connsiteX36" fmla="*/ 3582448 w 5425623"/>
              <a:gd name="connsiteY36" fmla="*/ 460438 h 6667679"/>
              <a:gd name="connsiteX37" fmla="*/ 3593474 w 5425623"/>
              <a:gd name="connsiteY37" fmla="*/ 471695 h 6667679"/>
              <a:gd name="connsiteX38" fmla="*/ 3606560 w 5425623"/>
              <a:gd name="connsiteY38" fmla="*/ 482919 h 6667679"/>
              <a:gd name="connsiteX39" fmla="*/ 3621091 w 5425623"/>
              <a:gd name="connsiteY39" fmla="*/ 493755 h 6667679"/>
              <a:gd name="connsiteX40" fmla="*/ 3638164 w 5425623"/>
              <a:gd name="connsiteY40" fmla="*/ 504426 h 6667679"/>
              <a:gd name="connsiteX41" fmla="*/ 4703237 w 5425623"/>
              <a:gd name="connsiteY41" fmla="*/ 1119346 h 6667679"/>
              <a:gd name="connsiteX42" fmla="*/ 4721014 w 5425623"/>
              <a:gd name="connsiteY42" fmla="*/ 1128795 h 6667679"/>
              <a:gd name="connsiteX43" fmla="*/ 4737664 w 5425623"/>
              <a:gd name="connsiteY43" fmla="*/ 1135962 h 6667679"/>
              <a:gd name="connsiteX44" fmla="*/ 4753927 w 5425623"/>
              <a:gd name="connsiteY44" fmla="*/ 1141683 h 6667679"/>
              <a:gd name="connsiteX45" fmla="*/ 4769190 w 5425623"/>
              <a:gd name="connsiteY45" fmla="*/ 1145604 h 6667679"/>
              <a:gd name="connsiteX46" fmla="*/ 4784066 w 5425623"/>
              <a:gd name="connsiteY46" fmla="*/ 1148078 h 6667679"/>
              <a:gd name="connsiteX47" fmla="*/ 4797942 w 5425623"/>
              <a:gd name="connsiteY47" fmla="*/ 1148754 h 6667679"/>
              <a:gd name="connsiteX48" fmla="*/ 4811559 w 5425623"/>
              <a:gd name="connsiteY48" fmla="*/ 1148464 h 6667679"/>
              <a:gd name="connsiteX49" fmla="*/ 4823696 w 5425623"/>
              <a:gd name="connsiteY49" fmla="*/ 1146504 h 6667679"/>
              <a:gd name="connsiteX50" fmla="*/ 4836058 w 5425623"/>
              <a:gd name="connsiteY50" fmla="*/ 1143450 h 6667679"/>
              <a:gd name="connsiteX51" fmla="*/ 4847807 w 5425623"/>
              <a:gd name="connsiteY51" fmla="*/ 1140043 h 6667679"/>
              <a:gd name="connsiteX52" fmla="*/ 4858686 w 5425623"/>
              <a:gd name="connsiteY52" fmla="*/ 1135319 h 6667679"/>
              <a:gd name="connsiteX53" fmla="*/ 4868696 w 5425623"/>
              <a:gd name="connsiteY53" fmla="*/ 1129278 h 6667679"/>
              <a:gd name="connsiteX54" fmla="*/ 4878706 w 5425623"/>
              <a:gd name="connsiteY54" fmla="*/ 1123236 h 6667679"/>
              <a:gd name="connsiteX55" fmla="*/ 4887975 w 5425623"/>
              <a:gd name="connsiteY55" fmla="*/ 1116359 h 6667679"/>
              <a:gd name="connsiteX56" fmla="*/ 4897115 w 5425623"/>
              <a:gd name="connsiteY56" fmla="*/ 1109001 h 6667679"/>
              <a:gd name="connsiteX57" fmla="*/ 4905820 w 5425623"/>
              <a:gd name="connsiteY57" fmla="*/ 1100983 h 6667679"/>
              <a:gd name="connsiteX58" fmla="*/ 4913866 w 5425623"/>
              <a:gd name="connsiteY58" fmla="*/ 1093401 h 6667679"/>
              <a:gd name="connsiteX59" fmla="*/ 4921172 w 5425623"/>
              <a:gd name="connsiteY59" fmla="*/ 1084983 h 6667679"/>
              <a:gd name="connsiteX60" fmla="*/ 4928607 w 5425623"/>
              <a:gd name="connsiteY60" fmla="*/ 1077047 h 6667679"/>
              <a:gd name="connsiteX61" fmla="*/ 4935560 w 5425623"/>
              <a:gd name="connsiteY61" fmla="*/ 1069240 h 6667679"/>
              <a:gd name="connsiteX62" fmla="*/ 4948677 w 5425623"/>
              <a:gd name="connsiteY62" fmla="*/ 1053581 h 6667679"/>
              <a:gd name="connsiteX63" fmla="*/ 4960077 w 5425623"/>
              <a:gd name="connsiteY63" fmla="*/ 1040189 h 6667679"/>
              <a:gd name="connsiteX64" fmla="*/ 4965359 w 5425623"/>
              <a:gd name="connsiteY64" fmla="*/ 1033864 h 6667679"/>
              <a:gd name="connsiteX65" fmla="*/ 4970724 w 5425623"/>
              <a:gd name="connsiteY65" fmla="*/ 1028809 h 6667679"/>
              <a:gd name="connsiteX66" fmla="*/ 4975558 w 5425623"/>
              <a:gd name="connsiteY66" fmla="*/ 1024671 h 6667679"/>
              <a:gd name="connsiteX67" fmla="*/ 4980828 w 5425623"/>
              <a:gd name="connsiteY67" fmla="*/ 1021192 h 6667679"/>
              <a:gd name="connsiteX68" fmla="*/ 4985215 w 5425623"/>
              <a:gd name="connsiteY68" fmla="*/ 1019241 h 6667679"/>
              <a:gd name="connsiteX69" fmla="*/ 4989860 w 5425623"/>
              <a:gd name="connsiteY69" fmla="*/ 1018255 h 6667679"/>
              <a:gd name="connsiteX70" fmla="*/ 4994282 w 5425623"/>
              <a:gd name="connsiteY70" fmla="*/ 1018362 h 6667679"/>
              <a:gd name="connsiteX71" fmla="*/ 4998609 w 5425623"/>
              <a:gd name="connsiteY71" fmla="*/ 1020046 h 6667679"/>
              <a:gd name="connsiteX72" fmla="*/ 5255400 w 5425623"/>
              <a:gd name="connsiteY72" fmla="*/ 1168304 h 6667679"/>
              <a:gd name="connsiteX73" fmla="*/ 5275706 w 5425623"/>
              <a:gd name="connsiteY73" fmla="*/ 1180434 h 6667679"/>
              <a:gd name="connsiteX74" fmla="*/ 5294212 w 5425623"/>
              <a:gd name="connsiteY74" fmla="*/ 1193564 h 6667679"/>
              <a:gd name="connsiteX75" fmla="*/ 5311754 w 5425623"/>
              <a:gd name="connsiteY75" fmla="*/ 1206953 h 6667679"/>
              <a:gd name="connsiteX76" fmla="*/ 5327544 w 5425623"/>
              <a:gd name="connsiteY76" fmla="*/ 1220553 h 6667679"/>
              <a:gd name="connsiteX77" fmla="*/ 5342674 w 5425623"/>
              <a:gd name="connsiteY77" fmla="*/ 1234588 h 6667679"/>
              <a:gd name="connsiteX78" fmla="*/ 5355699 w 5425623"/>
              <a:gd name="connsiteY78" fmla="*/ 1249444 h 6667679"/>
              <a:gd name="connsiteX79" fmla="*/ 5368242 w 5425623"/>
              <a:gd name="connsiteY79" fmla="*/ 1264431 h 6667679"/>
              <a:gd name="connsiteX80" fmla="*/ 5379162 w 5425623"/>
              <a:gd name="connsiteY80" fmla="*/ 1280110 h 6667679"/>
              <a:gd name="connsiteX81" fmla="*/ 5388812 w 5425623"/>
              <a:gd name="connsiteY81" fmla="*/ 1295872 h 6667679"/>
              <a:gd name="connsiteX82" fmla="*/ 5397145 w 5425623"/>
              <a:gd name="connsiteY82" fmla="*/ 1312504 h 6667679"/>
              <a:gd name="connsiteX83" fmla="*/ 5404689 w 5425623"/>
              <a:gd name="connsiteY83" fmla="*/ 1329087 h 6667679"/>
              <a:gd name="connsiteX84" fmla="*/ 5410917 w 5425623"/>
              <a:gd name="connsiteY84" fmla="*/ 1346541 h 6667679"/>
              <a:gd name="connsiteX85" fmla="*/ 5416050 w 5425623"/>
              <a:gd name="connsiteY85" fmla="*/ 1363772 h 6667679"/>
              <a:gd name="connsiteX86" fmla="*/ 5419915 w 5425623"/>
              <a:gd name="connsiteY86" fmla="*/ 1381083 h 6667679"/>
              <a:gd name="connsiteX87" fmla="*/ 5422766 w 5425623"/>
              <a:gd name="connsiteY87" fmla="*/ 1399442 h 6667679"/>
              <a:gd name="connsiteX88" fmla="*/ 5424653 w 5425623"/>
              <a:gd name="connsiteY88" fmla="*/ 1418058 h 6667679"/>
              <a:gd name="connsiteX89" fmla="*/ 5425623 w 5425623"/>
              <a:gd name="connsiteY89" fmla="*/ 1436146 h 6667679"/>
              <a:gd name="connsiteX90" fmla="*/ 5425276 w 5425623"/>
              <a:gd name="connsiteY90" fmla="*/ 1455103 h 6667679"/>
              <a:gd name="connsiteX91" fmla="*/ 5424269 w 5425623"/>
              <a:gd name="connsiteY91" fmla="*/ 1474495 h 6667679"/>
              <a:gd name="connsiteX92" fmla="*/ 5421865 w 5425623"/>
              <a:gd name="connsiteY92" fmla="*/ 1493487 h 6667679"/>
              <a:gd name="connsiteX93" fmla="*/ 5418930 w 5425623"/>
              <a:gd name="connsiteY93" fmla="*/ 1513395 h 6667679"/>
              <a:gd name="connsiteX94" fmla="*/ 5414726 w 5425623"/>
              <a:gd name="connsiteY94" fmla="*/ 1533386 h 6667679"/>
              <a:gd name="connsiteX95" fmla="*/ 5410215 w 5425623"/>
              <a:gd name="connsiteY95" fmla="*/ 1553200 h 6667679"/>
              <a:gd name="connsiteX96" fmla="*/ 5404564 w 5425623"/>
              <a:gd name="connsiteY96" fmla="*/ 1573579 h 6667679"/>
              <a:gd name="connsiteX97" fmla="*/ 5397643 w 5425623"/>
              <a:gd name="connsiteY97" fmla="*/ 1594039 h 6667679"/>
              <a:gd name="connsiteX98" fmla="*/ 5390239 w 5425623"/>
              <a:gd name="connsiteY98" fmla="*/ 1614628 h 6667679"/>
              <a:gd name="connsiteX99" fmla="*/ 5382047 w 5425623"/>
              <a:gd name="connsiteY99" fmla="*/ 1635170 h 6667679"/>
              <a:gd name="connsiteX100" fmla="*/ 5373197 w 5425623"/>
              <a:gd name="connsiteY100" fmla="*/ 1656147 h 6667679"/>
              <a:gd name="connsiteX101" fmla="*/ 5363253 w 5425623"/>
              <a:gd name="connsiteY101" fmla="*/ 1676901 h 6667679"/>
              <a:gd name="connsiteX102" fmla="*/ 5352651 w 5425623"/>
              <a:gd name="connsiteY102" fmla="*/ 1698089 h 6667679"/>
              <a:gd name="connsiteX103" fmla="*/ 5341437 w 5425623"/>
              <a:gd name="connsiteY103" fmla="*/ 1718924 h 6667679"/>
              <a:gd name="connsiteX104" fmla="*/ 5329740 w 5425623"/>
              <a:gd name="connsiteY104" fmla="*/ 1739888 h 6667679"/>
              <a:gd name="connsiteX105" fmla="*/ 2613607 w 5425623"/>
              <a:gd name="connsiteY105" fmla="*/ 6444368 h 6667679"/>
              <a:gd name="connsiteX106" fmla="*/ 2601653 w 5425623"/>
              <a:gd name="connsiteY106" fmla="*/ 6464368 h 6667679"/>
              <a:gd name="connsiteX107" fmla="*/ 2589087 w 5425623"/>
              <a:gd name="connsiteY107" fmla="*/ 6484015 h 6667679"/>
              <a:gd name="connsiteX108" fmla="*/ 2575828 w 5425623"/>
              <a:gd name="connsiteY108" fmla="*/ 6502039 h 6667679"/>
              <a:gd name="connsiteX109" fmla="*/ 2562439 w 5425623"/>
              <a:gd name="connsiteY109" fmla="*/ 6519581 h 6667679"/>
              <a:gd name="connsiteX110" fmla="*/ 2548792 w 5425623"/>
              <a:gd name="connsiteY110" fmla="*/ 6536158 h 6667679"/>
              <a:gd name="connsiteX111" fmla="*/ 2534581 w 5425623"/>
              <a:gd name="connsiteY111" fmla="*/ 6551595 h 6667679"/>
              <a:gd name="connsiteX112" fmla="*/ 2519807 w 5425623"/>
              <a:gd name="connsiteY112" fmla="*/ 6565890 h 6667679"/>
              <a:gd name="connsiteX113" fmla="*/ 2504901 w 5425623"/>
              <a:gd name="connsiteY113" fmla="*/ 6579703 h 6667679"/>
              <a:gd name="connsiteX114" fmla="*/ 2489433 w 5425623"/>
              <a:gd name="connsiteY114" fmla="*/ 6592376 h 6667679"/>
              <a:gd name="connsiteX115" fmla="*/ 2474012 w 5425623"/>
              <a:gd name="connsiteY115" fmla="*/ 6604260 h 6667679"/>
              <a:gd name="connsiteX116" fmla="*/ 2457721 w 5425623"/>
              <a:gd name="connsiteY116" fmla="*/ 6614827 h 6667679"/>
              <a:gd name="connsiteX117" fmla="*/ 2441606 w 5425623"/>
              <a:gd name="connsiteY117" fmla="*/ 6625088 h 6667679"/>
              <a:gd name="connsiteX118" fmla="*/ 2424975 w 5425623"/>
              <a:gd name="connsiteY118" fmla="*/ 6633422 h 6667679"/>
              <a:gd name="connsiteX119" fmla="*/ 2408038 w 5425623"/>
              <a:gd name="connsiteY119" fmla="*/ 6641577 h 6667679"/>
              <a:gd name="connsiteX120" fmla="*/ 2390713 w 5425623"/>
              <a:gd name="connsiteY120" fmla="*/ 6648286 h 6667679"/>
              <a:gd name="connsiteX121" fmla="*/ 2372824 w 5425623"/>
              <a:gd name="connsiteY121" fmla="*/ 6653855 h 6667679"/>
              <a:gd name="connsiteX122" fmla="*/ 2355289 w 5425623"/>
              <a:gd name="connsiteY122" fmla="*/ 6658812 h 6667679"/>
              <a:gd name="connsiteX123" fmla="*/ 2337494 w 5425623"/>
              <a:gd name="connsiteY123" fmla="*/ 6662805 h 6667679"/>
              <a:gd name="connsiteX124" fmla="*/ 2319008 w 5425623"/>
              <a:gd name="connsiteY124" fmla="*/ 6665174 h 6667679"/>
              <a:gd name="connsiteX125" fmla="*/ 2300567 w 5425623"/>
              <a:gd name="connsiteY125" fmla="*/ 6666756 h 6667679"/>
              <a:gd name="connsiteX126" fmla="*/ 2281691 w 5425623"/>
              <a:gd name="connsiteY126" fmla="*/ 6667679 h 6667679"/>
              <a:gd name="connsiteX127" fmla="*/ 2262734 w 5425623"/>
              <a:gd name="connsiteY127" fmla="*/ 6667332 h 6667679"/>
              <a:gd name="connsiteX128" fmla="*/ 2243695 w 5425623"/>
              <a:gd name="connsiteY128" fmla="*/ 6665715 h 6667679"/>
              <a:gd name="connsiteX129" fmla="*/ 2224527 w 5425623"/>
              <a:gd name="connsiteY129" fmla="*/ 6663616 h 6667679"/>
              <a:gd name="connsiteX130" fmla="*/ 2204666 w 5425623"/>
              <a:gd name="connsiteY130" fmla="*/ 6659893 h 6667679"/>
              <a:gd name="connsiteX131" fmla="*/ 2185334 w 5425623"/>
              <a:gd name="connsiteY131" fmla="*/ 6655253 h 6667679"/>
              <a:gd name="connsiteX132" fmla="*/ 2165744 w 5425623"/>
              <a:gd name="connsiteY132" fmla="*/ 6649649 h 6667679"/>
              <a:gd name="connsiteX133" fmla="*/ 2145765 w 5425623"/>
              <a:gd name="connsiteY133" fmla="*/ 6642598 h 6667679"/>
              <a:gd name="connsiteX134" fmla="*/ 2125658 w 5425623"/>
              <a:gd name="connsiteY134" fmla="*/ 6635065 h 6667679"/>
              <a:gd name="connsiteX135" fmla="*/ 2105822 w 5425623"/>
              <a:gd name="connsiteY135" fmla="*/ 6625651 h 6667679"/>
              <a:gd name="connsiteX136" fmla="*/ 2085069 w 5425623"/>
              <a:gd name="connsiteY136" fmla="*/ 6615707 h 6667679"/>
              <a:gd name="connsiteX137" fmla="*/ 2065022 w 5425623"/>
              <a:gd name="connsiteY137" fmla="*/ 6604541 h 6667679"/>
              <a:gd name="connsiteX138" fmla="*/ 206953 w 5425623"/>
              <a:gd name="connsiteY138" fmla="*/ 5531784 h 6667679"/>
              <a:gd name="connsiteX139" fmla="*/ 187870 w 5425623"/>
              <a:gd name="connsiteY139" fmla="*/ 5520359 h 6667679"/>
              <a:gd name="connsiteX140" fmla="*/ 169800 w 5425623"/>
              <a:gd name="connsiteY140" fmla="*/ 5507888 h 6667679"/>
              <a:gd name="connsiteX141" fmla="*/ 152339 w 5425623"/>
              <a:gd name="connsiteY141" fmla="*/ 5495769 h 6667679"/>
              <a:gd name="connsiteX142" fmla="*/ 136197 w 5425623"/>
              <a:gd name="connsiteY142" fmla="*/ 5482781 h 6667679"/>
              <a:gd name="connsiteX143" fmla="*/ 120713 w 5425623"/>
              <a:gd name="connsiteY143" fmla="*/ 5469358 h 6667679"/>
              <a:gd name="connsiteX144" fmla="*/ 106066 w 5425623"/>
              <a:gd name="connsiteY144" fmla="*/ 5455194 h 6667679"/>
              <a:gd name="connsiteX145" fmla="*/ 92686 w 5425623"/>
              <a:gd name="connsiteY145" fmla="*/ 5440948 h 6667679"/>
              <a:gd name="connsiteX146" fmla="*/ 79662 w 5425623"/>
              <a:gd name="connsiteY146" fmla="*/ 5426091 h 6667679"/>
              <a:gd name="connsiteX147" fmla="*/ 67906 w 5425623"/>
              <a:gd name="connsiteY147" fmla="*/ 5411152 h 6667679"/>
              <a:gd name="connsiteX148" fmla="*/ 57468 w 5425623"/>
              <a:gd name="connsiteY148" fmla="*/ 5395343 h 6667679"/>
              <a:gd name="connsiteX149" fmla="*/ 47336 w 5425623"/>
              <a:gd name="connsiteY149" fmla="*/ 5379711 h 6667679"/>
              <a:gd name="connsiteX150" fmla="*/ 38344 w 5425623"/>
              <a:gd name="connsiteY150" fmla="*/ 5363515 h 6667679"/>
              <a:gd name="connsiteX151" fmla="*/ 30190 w 5425623"/>
              <a:gd name="connsiteY151" fmla="*/ 5346577 h 6667679"/>
              <a:gd name="connsiteX152" fmla="*/ 23127 w 5425623"/>
              <a:gd name="connsiteY152" fmla="*/ 5329865 h 6667679"/>
              <a:gd name="connsiteX153" fmla="*/ 17205 w 5425623"/>
              <a:gd name="connsiteY153" fmla="*/ 5312587 h 6667679"/>
              <a:gd name="connsiteX154" fmla="*/ 11942 w 5425623"/>
              <a:gd name="connsiteY154" fmla="*/ 5294875 h 6667679"/>
              <a:gd name="connsiteX155" fmla="*/ 7291 w 5425623"/>
              <a:gd name="connsiteY155" fmla="*/ 5277515 h 6667679"/>
              <a:gd name="connsiteX156" fmla="*/ 4133 w 5425623"/>
              <a:gd name="connsiteY156" fmla="*/ 5258981 h 6667679"/>
              <a:gd name="connsiteX157" fmla="*/ 1892 w 5425623"/>
              <a:gd name="connsiteY157" fmla="*/ 5240976 h 6667679"/>
              <a:gd name="connsiteX158" fmla="*/ 440 w 5425623"/>
              <a:gd name="connsiteY158" fmla="*/ 5223018 h 6667679"/>
              <a:gd name="connsiteX159" fmla="*/ 0 w 5425623"/>
              <a:gd name="connsiteY159" fmla="*/ 5204014 h 6667679"/>
              <a:gd name="connsiteX160" fmla="*/ 958 w 5425623"/>
              <a:gd name="connsiteY160" fmla="*/ 5185409 h 6667679"/>
              <a:gd name="connsiteX161" fmla="*/ 2576 w 5425623"/>
              <a:gd name="connsiteY161" fmla="*/ 5166370 h 6667679"/>
              <a:gd name="connsiteX162" fmla="*/ 4981 w 5425623"/>
              <a:gd name="connsiteY162" fmla="*/ 5147378 h 6667679"/>
              <a:gd name="connsiteX163" fmla="*/ 8656 w 5425623"/>
              <a:gd name="connsiteY163" fmla="*/ 5128305 h 6667679"/>
              <a:gd name="connsiteX164" fmla="*/ 13296 w 5425623"/>
              <a:gd name="connsiteY164" fmla="*/ 5108972 h 6667679"/>
              <a:gd name="connsiteX165" fmla="*/ 18723 w 5425623"/>
              <a:gd name="connsiteY165" fmla="*/ 5089688 h 6667679"/>
              <a:gd name="connsiteX166" fmla="*/ 25597 w 5425623"/>
              <a:gd name="connsiteY166" fmla="*/ 5070016 h 6667679"/>
              <a:gd name="connsiteX167" fmla="*/ 33083 w 5425623"/>
              <a:gd name="connsiteY167" fmla="*/ 5050696 h 6667679"/>
              <a:gd name="connsiteX168" fmla="*/ 42144 w 5425623"/>
              <a:gd name="connsiteY168" fmla="*/ 5031472 h 6667679"/>
              <a:gd name="connsiteX169" fmla="*/ 51558 w 5425623"/>
              <a:gd name="connsiteY169" fmla="*/ 5011636 h 6667679"/>
              <a:gd name="connsiteX170" fmla="*/ 62372 w 5425623"/>
              <a:gd name="connsiteY170" fmla="*/ 4992200 h 6667679"/>
              <a:gd name="connsiteX171" fmla="*/ 2800920 w 5425623"/>
              <a:gd name="connsiteY171" fmla="*/ 248895 h 6667679"/>
              <a:gd name="connsiteX172" fmla="*/ 2812698 w 5425623"/>
              <a:gd name="connsiteY172" fmla="*/ 229201 h 6667679"/>
              <a:gd name="connsiteX173" fmla="*/ 2824429 w 5425623"/>
              <a:gd name="connsiteY173" fmla="*/ 210295 h 6667679"/>
              <a:gd name="connsiteX174" fmla="*/ 2837077 w 5425623"/>
              <a:gd name="connsiteY174" fmla="*/ 191918 h 6667679"/>
              <a:gd name="connsiteX175" fmla="*/ 2849807 w 5425623"/>
              <a:gd name="connsiteY175" fmla="*/ 174811 h 6667679"/>
              <a:gd name="connsiteX176" fmla="*/ 2862537 w 5425623"/>
              <a:gd name="connsiteY176" fmla="*/ 157704 h 6667679"/>
              <a:gd name="connsiteX177" fmla="*/ 2876183 w 5425623"/>
              <a:gd name="connsiteY177" fmla="*/ 141127 h 6667679"/>
              <a:gd name="connsiteX178" fmla="*/ 2890218 w 5425623"/>
              <a:gd name="connsiteY178" fmla="*/ 125996 h 6667679"/>
              <a:gd name="connsiteX179" fmla="*/ 2904205 w 5425623"/>
              <a:gd name="connsiteY179" fmla="*/ 111653 h 6667679"/>
              <a:gd name="connsiteX180" fmla="*/ 2918804 w 5425623"/>
              <a:gd name="connsiteY180" fmla="*/ 97664 h 6667679"/>
              <a:gd name="connsiteX181" fmla="*/ 2933485 w 5425623"/>
              <a:gd name="connsiteY181" fmla="*/ 84944 h 6667679"/>
              <a:gd name="connsiteX182" fmla="*/ 2948471 w 5425623"/>
              <a:gd name="connsiteY182" fmla="*/ 72401 h 6667679"/>
              <a:gd name="connsiteX183" fmla="*/ 2963845 w 5425623"/>
              <a:gd name="connsiteY183" fmla="*/ 61305 h 6667679"/>
              <a:gd name="connsiteX184" fmla="*/ 2979348 w 5425623"/>
              <a:gd name="connsiteY184" fmla="*/ 50690 h 6667679"/>
              <a:gd name="connsiteX185" fmla="*/ 2995110 w 5425623"/>
              <a:gd name="connsiteY185" fmla="*/ 41040 h 6667679"/>
              <a:gd name="connsiteX186" fmla="*/ 3011259 w 5425623"/>
              <a:gd name="connsiteY186" fmla="*/ 32837 h 6667679"/>
              <a:gd name="connsiteX187" fmla="*/ 3027714 w 5425623"/>
              <a:gd name="connsiteY187" fmla="*/ 24810 h 6667679"/>
              <a:gd name="connsiteX188" fmla="*/ 3044556 w 5425623"/>
              <a:gd name="connsiteY188" fmla="*/ 18229 h 6667679"/>
              <a:gd name="connsiteX189" fmla="*/ 3061657 w 5425623"/>
              <a:gd name="connsiteY189" fmla="*/ 12613 h 6667679"/>
              <a:gd name="connsiteX190" fmla="*/ 3078228 w 5425623"/>
              <a:gd name="connsiteY190" fmla="*/ 7915 h 6667679"/>
              <a:gd name="connsiteX191" fmla="*/ 3095846 w 5425623"/>
              <a:gd name="connsiteY191" fmla="*/ 4228 h 6667679"/>
              <a:gd name="connsiteX192" fmla="*/ 3113546 w 5425623"/>
              <a:gd name="connsiteY192" fmla="*/ 1812 h 6667679"/>
              <a:gd name="connsiteX193" fmla="*/ 3131327 w 5425623"/>
              <a:gd name="connsiteY193" fmla="*/ 665 h 6667679"/>
              <a:gd name="connsiteX194" fmla="*/ 3149238 w 5425623"/>
              <a:gd name="connsiteY194" fmla="*/ 0 h 66676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5425623" h="6667679">
                <a:moveTo>
                  <a:pt x="3149238" y="0"/>
                </a:moveTo>
                <a:lnTo>
                  <a:pt x="3167360" y="1088"/>
                </a:lnTo>
                <a:lnTo>
                  <a:pt x="3186093" y="2528"/>
                </a:lnTo>
                <a:lnTo>
                  <a:pt x="3204379" y="6156"/>
                </a:lnTo>
                <a:lnTo>
                  <a:pt x="3223581" y="10314"/>
                </a:lnTo>
                <a:lnTo>
                  <a:pt x="3241902" y="16000"/>
                </a:lnTo>
                <a:lnTo>
                  <a:pt x="3261445" y="22392"/>
                </a:lnTo>
                <a:lnTo>
                  <a:pt x="3280717" y="30665"/>
                </a:lnTo>
                <a:lnTo>
                  <a:pt x="3300247" y="39903"/>
                </a:lnTo>
                <a:lnTo>
                  <a:pt x="3319683" y="50716"/>
                </a:lnTo>
                <a:lnTo>
                  <a:pt x="3576474" y="198976"/>
                </a:lnTo>
                <a:lnTo>
                  <a:pt x="3580096" y="201881"/>
                </a:lnTo>
                <a:lnTo>
                  <a:pt x="3582399" y="205656"/>
                </a:lnTo>
                <a:lnTo>
                  <a:pt x="3583868" y="210173"/>
                </a:lnTo>
                <a:lnTo>
                  <a:pt x="3584372" y="214948"/>
                </a:lnTo>
                <a:lnTo>
                  <a:pt x="3583994" y="221251"/>
                </a:lnTo>
                <a:lnTo>
                  <a:pt x="3582827" y="227507"/>
                </a:lnTo>
                <a:lnTo>
                  <a:pt x="3581132" y="234680"/>
                </a:lnTo>
                <a:lnTo>
                  <a:pt x="3578295" y="242417"/>
                </a:lnTo>
                <a:lnTo>
                  <a:pt x="3572398" y="258986"/>
                </a:lnTo>
                <a:lnTo>
                  <a:pt x="3565395" y="278175"/>
                </a:lnTo>
                <a:lnTo>
                  <a:pt x="3562110" y="288100"/>
                </a:lnTo>
                <a:lnTo>
                  <a:pt x="3558955" y="298507"/>
                </a:lnTo>
                <a:lnTo>
                  <a:pt x="3555317" y="309043"/>
                </a:lnTo>
                <a:lnTo>
                  <a:pt x="3552774" y="319801"/>
                </a:lnTo>
                <a:lnTo>
                  <a:pt x="3550184" y="331349"/>
                </a:lnTo>
                <a:lnTo>
                  <a:pt x="3548381" y="342944"/>
                </a:lnTo>
                <a:lnTo>
                  <a:pt x="3547060" y="354410"/>
                </a:lnTo>
                <a:lnTo>
                  <a:pt x="3546833" y="366100"/>
                </a:lnTo>
                <a:lnTo>
                  <a:pt x="3546605" y="377789"/>
                </a:lnTo>
                <a:lnTo>
                  <a:pt x="3547954" y="389573"/>
                </a:lnTo>
                <a:lnTo>
                  <a:pt x="3550878" y="401451"/>
                </a:lnTo>
                <a:lnTo>
                  <a:pt x="3554414" y="413683"/>
                </a:lnTo>
                <a:lnTo>
                  <a:pt x="3558785" y="425174"/>
                </a:lnTo>
                <a:lnTo>
                  <a:pt x="3565344" y="437112"/>
                </a:lnTo>
                <a:lnTo>
                  <a:pt x="3572866" y="448792"/>
                </a:lnTo>
                <a:lnTo>
                  <a:pt x="3582448" y="460438"/>
                </a:lnTo>
                <a:lnTo>
                  <a:pt x="3593474" y="471695"/>
                </a:lnTo>
                <a:lnTo>
                  <a:pt x="3606560" y="482919"/>
                </a:lnTo>
                <a:lnTo>
                  <a:pt x="3621091" y="493755"/>
                </a:lnTo>
                <a:lnTo>
                  <a:pt x="3638164" y="504426"/>
                </a:lnTo>
                <a:lnTo>
                  <a:pt x="4703237" y="1119346"/>
                </a:lnTo>
                <a:lnTo>
                  <a:pt x="4721014" y="1128795"/>
                </a:lnTo>
                <a:lnTo>
                  <a:pt x="4737664" y="1135962"/>
                </a:lnTo>
                <a:lnTo>
                  <a:pt x="4753927" y="1141683"/>
                </a:lnTo>
                <a:lnTo>
                  <a:pt x="4769190" y="1145604"/>
                </a:lnTo>
                <a:lnTo>
                  <a:pt x="4784066" y="1148078"/>
                </a:lnTo>
                <a:lnTo>
                  <a:pt x="4797942" y="1148754"/>
                </a:lnTo>
                <a:lnTo>
                  <a:pt x="4811559" y="1148464"/>
                </a:lnTo>
                <a:lnTo>
                  <a:pt x="4823696" y="1146504"/>
                </a:lnTo>
                <a:lnTo>
                  <a:pt x="4836058" y="1143450"/>
                </a:lnTo>
                <a:lnTo>
                  <a:pt x="4847807" y="1140043"/>
                </a:lnTo>
                <a:lnTo>
                  <a:pt x="4858686" y="1135319"/>
                </a:lnTo>
                <a:lnTo>
                  <a:pt x="4868696" y="1129278"/>
                </a:lnTo>
                <a:lnTo>
                  <a:pt x="4878706" y="1123236"/>
                </a:lnTo>
                <a:lnTo>
                  <a:pt x="4887975" y="1116359"/>
                </a:lnTo>
                <a:lnTo>
                  <a:pt x="4897115" y="1109001"/>
                </a:lnTo>
                <a:lnTo>
                  <a:pt x="4905820" y="1100983"/>
                </a:lnTo>
                <a:lnTo>
                  <a:pt x="4913866" y="1093401"/>
                </a:lnTo>
                <a:lnTo>
                  <a:pt x="4921172" y="1084983"/>
                </a:lnTo>
                <a:lnTo>
                  <a:pt x="4928607" y="1077047"/>
                </a:lnTo>
                <a:lnTo>
                  <a:pt x="4935560" y="1069240"/>
                </a:lnTo>
                <a:lnTo>
                  <a:pt x="4948677" y="1053581"/>
                </a:lnTo>
                <a:lnTo>
                  <a:pt x="4960077" y="1040189"/>
                </a:lnTo>
                <a:lnTo>
                  <a:pt x="4965359" y="1033864"/>
                </a:lnTo>
                <a:lnTo>
                  <a:pt x="4970724" y="1028809"/>
                </a:lnTo>
                <a:lnTo>
                  <a:pt x="4975558" y="1024671"/>
                </a:lnTo>
                <a:lnTo>
                  <a:pt x="4980828" y="1021192"/>
                </a:lnTo>
                <a:lnTo>
                  <a:pt x="4985215" y="1019241"/>
                </a:lnTo>
                <a:lnTo>
                  <a:pt x="4989860" y="1018255"/>
                </a:lnTo>
                <a:lnTo>
                  <a:pt x="4994282" y="1018362"/>
                </a:lnTo>
                <a:lnTo>
                  <a:pt x="4998609" y="1020046"/>
                </a:lnTo>
                <a:lnTo>
                  <a:pt x="5255400" y="1168304"/>
                </a:lnTo>
                <a:lnTo>
                  <a:pt x="5275706" y="1180434"/>
                </a:lnTo>
                <a:lnTo>
                  <a:pt x="5294212" y="1193564"/>
                </a:lnTo>
                <a:lnTo>
                  <a:pt x="5311754" y="1206953"/>
                </a:lnTo>
                <a:lnTo>
                  <a:pt x="5327544" y="1220553"/>
                </a:lnTo>
                <a:lnTo>
                  <a:pt x="5342674" y="1234588"/>
                </a:lnTo>
                <a:lnTo>
                  <a:pt x="5355699" y="1249444"/>
                </a:lnTo>
                <a:lnTo>
                  <a:pt x="5368242" y="1264431"/>
                </a:lnTo>
                <a:lnTo>
                  <a:pt x="5379162" y="1280110"/>
                </a:lnTo>
                <a:lnTo>
                  <a:pt x="5388812" y="1295872"/>
                </a:lnTo>
                <a:lnTo>
                  <a:pt x="5397145" y="1312504"/>
                </a:lnTo>
                <a:lnTo>
                  <a:pt x="5404689" y="1329087"/>
                </a:lnTo>
                <a:lnTo>
                  <a:pt x="5410917" y="1346541"/>
                </a:lnTo>
                <a:lnTo>
                  <a:pt x="5416050" y="1363772"/>
                </a:lnTo>
                <a:lnTo>
                  <a:pt x="5419915" y="1381083"/>
                </a:lnTo>
                <a:lnTo>
                  <a:pt x="5422766" y="1399442"/>
                </a:lnTo>
                <a:lnTo>
                  <a:pt x="5424653" y="1418058"/>
                </a:lnTo>
                <a:lnTo>
                  <a:pt x="5425623" y="1436146"/>
                </a:lnTo>
                <a:lnTo>
                  <a:pt x="5425276" y="1455103"/>
                </a:lnTo>
                <a:lnTo>
                  <a:pt x="5424269" y="1474495"/>
                </a:lnTo>
                <a:lnTo>
                  <a:pt x="5421865" y="1493487"/>
                </a:lnTo>
                <a:lnTo>
                  <a:pt x="5418930" y="1513395"/>
                </a:lnTo>
                <a:lnTo>
                  <a:pt x="5414726" y="1533386"/>
                </a:lnTo>
                <a:lnTo>
                  <a:pt x="5410215" y="1553200"/>
                </a:lnTo>
                <a:lnTo>
                  <a:pt x="5404564" y="1573579"/>
                </a:lnTo>
                <a:lnTo>
                  <a:pt x="5397643" y="1594039"/>
                </a:lnTo>
                <a:lnTo>
                  <a:pt x="5390239" y="1614628"/>
                </a:lnTo>
                <a:lnTo>
                  <a:pt x="5382047" y="1635170"/>
                </a:lnTo>
                <a:lnTo>
                  <a:pt x="5373197" y="1656147"/>
                </a:lnTo>
                <a:lnTo>
                  <a:pt x="5363253" y="1676901"/>
                </a:lnTo>
                <a:lnTo>
                  <a:pt x="5352651" y="1698089"/>
                </a:lnTo>
                <a:lnTo>
                  <a:pt x="5341437" y="1718924"/>
                </a:lnTo>
                <a:lnTo>
                  <a:pt x="5329740" y="1739888"/>
                </a:lnTo>
                <a:lnTo>
                  <a:pt x="2613607" y="6444368"/>
                </a:lnTo>
                <a:lnTo>
                  <a:pt x="2601653" y="6464368"/>
                </a:lnTo>
                <a:lnTo>
                  <a:pt x="2589087" y="6484015"/>
                </a:lnTo>
                <a:lnTo>
                  <a:pt x="2575828" y="6502039"/>
                </a:lnTo>
                <a:lnTo>
                  <a:pt x="2562439" y="6519581"/>
                </a:lnTo>
                <a:lnTo>
                  <a:pt x="2548792" y="6536158"/>
                </a:lnTo>
                <a:lnTo>
                  <a:pt x="2534581" y="6551595"/>
                </a:lnTo>
                <a:lnTo>
                  <a:pt x="2519807" y="6565890"/>
                </a:lnTo>
                <a:lnTo>
                  <a:pt x="2504901" y="6579703"/>
                </a:lnTo>
                <a:lnTo>
                  <a:pt x="2489433" y="6592376"/>
                </a:lnTo>
                <a:lnTo>
                  <a:pt x="2474012" y="6604260"/>
                </a:lnTo>
                <a:lnTo>
                  <a:pt x="2457721" y="6614827"/>
                </a:lnTo>
                <a:lnTo>
                  <a:pt x="2441606" y="6625088"/>
                </a:lnTo>
                <a:lnTo>
                  <a:pt x="2424975" y="6633422"/>
                </a:lnTo>
                <a:lnTo>
                  <a:pt x="2408038" y="6641577"/>
                </a:lnTo>
                <a:lnTo>
                  <a:pt x="2390713" y="6648286"/>
                </a:lnTo>
                <a:lnTo>
                  <a:pt x="2372824" y="6653855"/>
                </a:lnTo>
                <a:lnTo>
                  <a:pt x="2355289" y="6658812"/>
                </a:lnTo>
                <a:lnTo>
                  <a:pt x="2337494" y="6662805"/>
                </a:lnTo>
                <a:lnTo>
                  <a:pt x="2319008" y="6665174"/>
                </a:lnTo>
                <a:lnTo>
                  <a:pt x="2300567" y="6666756"/>
                </a:lnTo>
                <a:lnTo>
                  <a:pt x="2281691" y="6667679"/>
                </a:lnTo>
                <a:lnTo>
                  <a:pt x="2262734" y="6667332"/>
                </a:lnTo>
                <a:lnTo>
                  <a:pt x="2243695" y="6665715"/>
                </a:lnTo>
                <a:lnTo>
                  <a:pt x="2224527" y="6663616"/>
                </a:lnTo>
                <a:lnTo>
                  <a:pt x="2204666" y="6659893"/>
                </a:lnTo>
                <a:lnTo>
                  <a:pt x="2185334" y="6655253"/>
                </a:lnTo>
                <a:lnTo>
                  <a:pt x="2165744" y="6649649"/>
                </a:lnTo>
                <a:lnTo>
                  <a:pt x="2145765" y="6642598"/>
                </a:lnTo>
                <a:lnTo>
                  <a:pt x="2125658" y="6635065"/>
                </a:lnTo>
                <a:lnTo>
                  <a:pt x="2105822" y="6625651"/>
                </a:lnTo>
                <a:lnTo>
                  <a:pt x="2085069" y="6615707"/>
                </a:lnTo>
                <a:lnTo>
                  <a:pt x="2065022" y="6604541"/>
                </a:lnTo>
                <a:lnTo>
                  <a:pt x="206953" y="5531784"/>
                </a:lnTo>
                <a:lnTo>
                  <a:pt x="187870" y="5520359"/>
                </a:lnTo>
                <a:lnTo>
                  <a:pt x="169800" y="5507888"/>
                </a:lnTo>
                <a:lnTo>
                  <a:pt x="152339" y="5495769"/>
                </a:lnTo>
                <a:lnTo>
                  <a:pt x="136197" y="5482781"/>
                </a:lnTo>
                <a:lnTo>
                  <a:pt x="120713" y="5469358"/>
                </a:lnTo>
                <a:lnTo>
                  <a:pt x="106066" y="5455194"/>
                </a:lnTo>
                <a:lnTo>
                  <a:pt x="92686" y="5440948"/>
                </a:lnTo>
                <a:lnTo>
                  <a:pt x="79662" y="5426091"/>
                </a:lnTo>
                <a:lnTo>
                  <a:pt x="67906" y="5411152"/>
                </a:lnTo>
                <a:lnTo>
                  <a:pt x="57468" y="5395343"/>
                </a:lnTo>
                <a:lnTo>
                  <a:pt x="47336" y="5379711"/>
                </a:lnTo>
                <a:lnTo>
                  <a:pt x="38344" y="5363515"/>
                </a:lnTo>
                <a:lnTo>
                  <a:pt x="30190" y="5346577"/>
                </a:lnTo>
                <a:lnTo>
                  <a:pt x="23127" y="5329865"/>
                </a:lnTo>
                <a:lnTo>
                  <a:pt x="17205" y="5312587"/>
                </a:lnTo>
                <a:lnTo>
                  <a:pt x="11942" y="5294875"/>
                </a:lnTo>
                <a:lnTo>
                  <a:pt x="7291" y="5277515"/>
                </a:lnTo>
                <a:lnTo>
                  <a:pt x="4133" y="5258981"/>
                </a:lnTo>
                <a:lnTo>
                  <a:pt x="1892" y="5240976"/>
                </a:lnTo>
                <a:lnTo>
                  <a:pt x="440" y="5223018"/>
                </a:lnTo>
                <a:lnTo>
                  <a:pt x="0" y="5204014"/>
                </a:lnTo>
                <a:lnTo>
                  <a:pt x="958" y="5185409"/>
                </a:lnTo>
                <a:lnTo>
                  <a:pt x="2576" y="5166370"/>
                </a:lnTo>
                <a:lnTo>
                  <a:pt x="4981" y="5147378"/>
                </a:lnTo>
                <a:lnTo>
                  <a:pt x="8656" y="5128305"/>
                </a:lnTo>
                <a:lnTo>
                  <a:pt x="13296" y="5108972"/>
                </a:lnTo>
                <a:lnTo>
                  <a:pt x="18723" y="5089688"/>
                </a:lnTo>
                <a:lnTo>
                  <a:pt x="25597" y="5070016"/>
                </a:lnTo>
                <a:lnTo>
                  <a:pt x="33083" y="5050696"/>
                </a:lnTo>
                <a:lnTo>
                  <a:pt x="42144" y="5031472"/>
                </a:lnTo>
                <a:lnTo>
                  <a:pt x="51558" y="5011636"/>
                </a:lnTo>
                <a:lnTo>
                  <a:pt x="62372" y="4992200"/>
                </a:lnTo>
                <a:lnTo>
                  <a:pt x="2800920" y="248895"/>
                </a:lnTo>
                <a:lnTo>
                  <a:pt x="2812698" y="229201"/>
                </a:lnTo>
                <a:lnTo>
                  <a:pt x="2824429" y="210295"/>
                </a:lnTo>
                <a:lnTo>
                  <a:pt x="2837077" y="191918"/>
                </a:lnTo>
                <a:lnTo>
                  <a:pt x="2849807" y="174811"/>
                </a:lnTo>
                <a:lnTo>
                  <a:pt x="2862537" y="157704"/>
                </a:lnTo>
                <a:lnTo>
                  <a:pt x="2876183" y="141127"/>
                </a:lnTo>
                <a:lnTo>
                  <a:pt x="2890218" y="125996"/>
                </a:lnTo>
                <a:lnTo>
                  <a:pt x="2904205" y="111653"/>
                </a:lnTo>
                <a:lnTo>
                  <a:pt x="2918804" y="97664"/>
                </a:lnTo>
                <a:lnTo>
                  <a:pt x="2933485" y="84944"/>
                </a:lnTo>
                <a:lnTo>
                  <a:pt x="2948471" y="72401"/>
                </a:lnTo>
                <a:lnTo>
                  <a:pt x="2963845" y="61305"/>
                </a:lnTo>
                <a:lnTo>
                  <a:pt x="2979348" y="50690"/>
                </a:lnTo>
                <a:lnTo>
                  <a:pt x="2995110" y="41040"/>
                </a:lnTo>
                <a:lnTo>
                  <a:pt x="3011259" y="32837"/>
                </a:lnTo>
                <a:lnTo>
                  <a:pt x="3027714" y="24810"/>
                </a:lnTo>
                <a:lnTo>
                  <a:pt x="3044556" y="18229"/>
                </a:lnTo>
                <a:lnTo>
                  <a:pt x="3061657" y="12613"/>
                </a:lnTo>
                <a:lnTo>
                  <a:pt x="3078228" y="7915"/>
                </a:lnTo>
                <a:lnTo>
                  <a:pt x="3095846" y="4228"/>
                </a:lnTo>
                <a:lnTo>
                  <a:pt x="3113546" y="1812"/>
                </a:lnTo>
                <a:lnTo>
                  <a:pt x="3131327" y="665"/>
                </a:lnTo>
                <a:lnTo>
                  <a:pt x="3149238" y="0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5" name="Рисунок 3"/>
          <p:cNvSpPr>
            <a:spLocks noGrp="1"/>
          </p:cNvSpPr>
          <p:nvPr>
            <p:ph type="pic" sz="quarter" idx="22"/>
          </p:nvPr>
        </p:nvSpPr>
        <p:spPr>
          <a:xfrm>
            <a:off x="5899994" y="3043020"/>
            <a:ext cx="3617082" cy="4444433"/>
          </a:xfrm>
          <a:custGeom>
            <a:avLst/>
            <a:gdLst>
              <a:gd name="connsiteX0" fmla="*/ 3149238 w 5425623"/>
              <a:gd name="connsiteY0" fmla="*/ 0 h 6667679"/>
              <a:gd name="connsiteX1" fmla="*/ 3167360 w 5425623"/>
              <a:gd name="connsiteY1" fmla="*/ 1088 h 6667679"/>
              <a:gd name="connsiteX2" fmla="*/ 3186093 w 5425623"/>
              <a:gd name="connsiteY2" fmla="*/ 2528 h 6667679"/>
              <a:gd name="connsiteX3" fmla="*/ 3204379 w 5425623"/>
              <a:gd name="connsiteY3" fmla="*/ 6156 h 6667679"/>
              <a:gd name="connsiteX4" fmla="*/ 3223581 w 5425623"/>
              <a:gd name="connsiteY4" fmla="*/ 10314 h 6667679"/>
              <a:gd name="connsiteX5" fmla="*/ 3241902 w 5425623"/>
              <a:gd name="connsiteY5" fmla="*/ 16000 h 6667679"/>
              <a:gd name="connsiteX6" fmla="*/ 3261445 w 5425623"/>
              <a:gd name="connsiteY6" fmla="*/ 22392 h 6667679"/>
              <a:gd name="connsiteX7" fmla="*/ 3280717 w 5425623"/>
              <a:gd name="connsiteY7" fmla="*/ 30665 h 6667679"/>
              <a:gd name="connsiteX8" fmla="*/ 3300247 w 5425623"/>
              <a:gd name="connsiteY8" fmla="*/ 39903 h 6667679"/>
              <a:gd name="connsiteX9" fmla="*/ 3319683 w 5425623"/>
              <a:gd name="connsiteY9" fmla="*/ 50716 h 6667679"/>
              <a:gd name="connsiteX10" fmla="*/ 3576474 w 5425623"/>
              <a:gd name="connsiteY10" fmla="*/ 198976 h 6667679"/>
              <a:gd name="connsiteX11" fmla="*/ 3580096 w 5425623"/>
              <a:gd name="connsiteY11" fmla="*/ 201881 h 6667679"/>
              <a:gd name="connsiteX12" fmla="*/ 3582399 w 5425623"/>
              <a:gd name="connsiteY12" fmla="*/ 205656 h 6667679"/>
              <a:gd name="connsiteX13" fmla="*/ 3583868 w 5425623"/>
              <a:gd name="connsiteY13" fmla="*/ 210173 h 6667679"/>
              <a:gd name="connsiteX14" fmla="*/ 3584372 w 5425623"/>
              <a:gd name="connsiteY14" fmla="*/ 214948 h 6667679"/>
              <a:gd name="connsiteX15" fmla="*/ 3583994 w 5425623"/>
              <a:gd name="connsiteY15" fmla="*/ 221251 h 6667679"/>
              <a:gd name="connsiteX16" fmla="*/ 3582827 w 5425623"/>
              <a:gd name="connsiteY16" fmla="*/ 227507 h 6667679"/>
              <a:gd name="connsiteX17" fmla="*/ 3581132 w 5425623"/>
              <a:gd name="connsiteY17" fmla="*/ 234680 h 6667679"/>
              <a:gd name="connsiteX18" fmla="*/ 3578295 w 5425623"/>
              <a:gd name="connsiteY18" fmla="*/ 242417 h 6667679"/>
              <a:gd name="connsiteX19" fmla="*/ 3572398 w 5425623"/>
              <a:gd name="connsiteY19" fmla="*/ 258986 h 6667679"/>
              <a:gd name="connsiteX20" fmla="*/ 3565395 w 5425623"/>
              <a:gd name="connsiteY20" fmla="*/ 278175 h 6667679"/>
              <a:gd name="connsiteX21" fmla="*/ 3562110 w 5425623"/>
              <a:gd name="connsiteY21" fmla="*/ 288100 h 6667679"/>
              <a:gd name="connsiteX22" fmla="*/ 3558955 w 5425623"/>
              <a:gd name="connsiteY22" fmla="*/ 298507 h 6667679"/>
              <a:gd name="connsiteX23" fmla="*/ 3555317 w 5425623"/>
              <a:gd name="connsiteY23" fmla="*/ 309043 h 6667679"/>
              <a:gd name="connsiteX24" fmla="*/ 3552774 w 5425623"/>
              <a:gd name="connsiteY24" fmla="*/ 319801 h 6667679"/>
              <a:gd name="connsiteX25" fmla="*/ 3550184 w 5425623"/>
              <a:gd name="connsiteY25" fmla="*/ 331349 h 6667679"/>
              <a:gd name="connsiteX26" fmla="*/ 3548381 w 5425623"/>
              <a:gd name="connsiteY26" fmla="*/ 342944 h 6667679"/>
              <a:gd name="connsiteX27" fmla="*/ 3547060 w 5425623"/>
              <a:gd name="connsiteY27" fmla="*/ 354410 h 6667679"/>
              <a:gd name="connsiteX28" fmla="*/ 3546833 w 5425623"/>
              <a:gd name="connsiteY28" fmla="*/ 366100 h 6667679"/>
              <a:gd name="connsiteX29" fmla="*/ 3546605 w 5425623"/>
              <a:gd name="connsiteY29" fmla="*/ 377789 h 6667679"/>
              <a:gd name="connsiteX30" fmla="*/ 3547954 w 5425623"/>
              <a:gd name="connsiteY30" fmla="*/ 389573 h 6667679"/>
              <a:gd name="connsiteX31" fmla="*/ 3550878 w 5425623"/>
              <a:gd name="connsiteY31" fmla="*/ 401451 h 6667679"/>
              <a:gd name="connsiteX32" fmla="*/ 3554414 w 5425623"/>
              <a:gd name="connsiteY32" fmla="*/ 413683 h 6667679"/>
              <a:gd name="connsiteX33" fmla="*/ 3558785 w 5425623"/>
              <a:gd name="connsiteY33" fmla="*/ 425174 h 6667679"/>
              <a:gd name="connsiteX34" fmla="*/ 3565344 w 5425623"/>
              <a:gd name="connsiteY34" fmla="*/ 437112 h 6667679"/>
              <a:gd name="connsiteX35" fmla="*/ 3572866 w 5425623"/>
              <a:gd name="connsiteY35" fmla="*/ 448792 h 6667679"/>
              <a:gd name="connsiteX36" fmla="*/ 3582448 w 5425623"/>
              <a:gd name="connsiteY36" fmla="*/ 460438 h 6667679"/>
              <a:gd name="connsiteX37" fmla="*/ 3593474 w 5425623"/>
              <a:gd name="connsiteY37" fmla="*/ 471695 h 6667679"/>
              <a:gd name="connsiteX38" fmla="*/ 3606560 w 5425623"/>
              <a:gd name="connsiteY38" fmla="*/ 482919 h 6667679"/>
              <a:gd name="connsiteX39" fmla="*/ 3621091 w 5425623"/>
              <a:gd name="connsiteY39" fmla="*/ 493755 h 6667679"/>
              <a:gd name="connsiteX40" fmla="*/ 3638164 w 5425623"/>
              <a:gd name="connsiteY40" fmla="*/ 504426 h 6667679"/>
              <a:gd name="connsiteX41" fmla="*/ 4703237 w 5425623"/>
              <a:gd name="connsiteY41" fmla="*/ 1119346 h 6667679"/>
              <a:gd name="connsiteX42" fmla="*/ 4721014 w 5425623"/>
              <a:gd name="connsiteY42" fmla="*/ 1128795 h 6667679"/>
              <a:gd name="connsiteX43" fmla="*/ 4737664 w 5425623"/>
              <a:gd name="connsiteY43" fmla="*/ 1135962 h 6667679"/>
              <a:gd name="connsiteX44" fmla="*/ 4753927 w 5425623"/>
              <a:gd name="connsiteY44" fmla="*/ 1141683 h 6667679"/>
              <a:gd name="connsiteX45" fmla="*/ 4769190 w 5425623"/>
              <a:gd name="connsiteY45" fmla="*/ 1145604 h 6667679"/>
              <a:gd name="connsiteX46" fmla="*/ 4784066 w 5425623"/>
              <a:gd name="connsiteY46" fmla="*/ 1148078 h 6667679"/>
              <a:gd name="connsiteX47" fmla="*/ 4797942 w 5425623"/>
              <a:gd name="connsiteY47" fmla="*/ 1148754 h 6667679"/>
              <a:gd name="connsiteX48" fmla="*/ 4811559 w 5425623"/>
              <a:gd name="connsiteY48" fmla="*/ 1148464 h 6667679"/>
              <a:gd name="connsiteX49" fmla="*/ 4823696 w 5425623"/>
              <a:gd name="connsiteY49" fmla="*/ 1146504 h 6667679"/>
              <a:gd name="connsiteX50" fmla="*/ 4836058 w 5425623"/>
              <a:gd name="connsiteY50" fmla="*/ 1143450 h 6667679"/>
              <a:gd name="connsiteX51" fmla="*/ 4847807 w 5425623"/>
              <a:gd name="connsiteY51" fmla="*/ 1140043 h 6667679"/>
              <a:gd name="connsiteX52" fmla="*/ 4858686 w 5425623"/>
              <a:gd name="connsiteY52" fmla="*/ 1135319 h 6667679"/>
              <a:gd name="connsiteX53" fmla="*/ 4868696 w 5425623"/>
              <a:gd name="connsiteY53" fmla="*/ 1129278 h 6667679"/>
              <a:gd name="connsiteX54" fmla="*/ 4878706 w 5425623"/>
              <a:gd name="connsiteY54" fmla="*/ 1123236 h 6667679"/>
              <a:gd name="connsiteX55" fmla="*/ 4887975 w 5425623"/>
              <a:gd name="connsiteY55" fmla="*/ 1116359 h 6667679"/>
              <a:gd name="connsiteX56" fmla="*/ 4897115 w 5425623"/>
              <a:gd name="connsiteY56" fmla="*/ 1109001 h 6667679"/>
              <a:gd name="connsiteX57" fmla="*/ 4905820 w 5425623"/>
              <a:gd name="connsiteY57" fmla="*/ 1100983 h 6667679"/>
              <a:gd name="connsiteX58" fmla="*/ 4913866 w 5425623"/>
              <a:gd name="connsiteY58" fmla="*/ 1093401 h 6667679"/>
              <a:gd name="connsiteX59" fmla="*/ 4921172 w 5425623"/>
              <a:gd name="connsiteY59" fmla="*/ 1084983 h 6667679"/>
              <a:gd name="connsiteX60" fmla="*/ 4928607 w 5425623"/>
              <a:gd name="connsiteY60" fmla="*/ 1077047 h 6667679"/>
              <a:gd name="connsiteX61" fmla="*/ 4935560 w 5425623"/>
              <a:gd name="connsiteY61" fmla="*/ 1069240 h 6667679"/>
              <a:gd name="connsiteX62" fmla="*/ 4948677 w 5425623"/>
              <a:gd name="connsiteY62" fmla="*/ 1053581 h 6667679"/>
              <a:gd name="connsiteX63" fmla="*/ 4960077 w 5425623"/>
              <a:gd name="connsiteY63" fmla="*/ 1040189 h 6667679"/>
              <a:gd name="connsiteX64" fmla="*/ 4965359 w 5425623"/>
              <a:gd name="connsiteY64" fmla="*/ 1033864 h 6667679"/>
              <a:gd name="connsiteX65" fmla="*/ 4970724 w 5425623"/>
              <a:gd name="connsiteY65" fmla="*/ 1028809 h 6667679"/>
              <a:gd name="connsiteX66" fmla="*/ 4975558 w 5425623"/>
              <a:gd name="connsiteY66" fmla="*/ 1024671 h 6667679"/>
              <a:gd name="connsiteX67" fmla="*/ 4980828 w 5425623"/>
              <a:gd name="connsiteY67" fmla="*/ 1021192 h 6667679"/>
              <a:gd name="connsiteX68" fmla="*/ 4985215 w 5425623"/>
              <a:gd name="connsiteY68" fmla="*/ 1019241 h 6667679"/>
              <a:gd name="connsiteX69" fmla="*/ 4989860 w 5425623"/>
              <a:gd name="connsiteY69" fmla="*/ 1018255 h 6667679"/>
              <a:gd name="connsiteX70" fmla="*/ 4994282 w 5425623"/>
              <a:gd name="connsiteY70" fmla="*/ 1018362 h 6667679"/>
              <a:gd name="connsiteX71" fmla="*/ 4998609 w 5425623"/>
              <a:gd name="connsiteY71" fmla="*/ 1020046 h 6667679"/>
              <a:gd name="connsiteX72" fmla="*/ 5255400 w 5425623"/>
              <a:gd name="connsiteY72" fmla="*/ 1168304 h 6667679"/>
              <a:gd name="connsiteX73" fmla="*/ 5275706 w 5425623"/>
              <a:gd name="connsiteY73" fmla="*/ 1180434 h 6667679"/>
              <a:gd name="connsiteX74" fmla="*/ 5294212 w 5425623"/>
              <a:gd name="connsiteY74" fmla="*/ 1193564 h 6667679"/>
              <a:gd name="connsiteX75" fmla="*/ 5311754 w 5425623"/>
              <a:gd name="connsiteY75" fmla="*/ 1206953 h 6667679"/>
              <a:gd name="connsiteX76" fmla="*/ 5327544 w 5425623"/>
              <a:gd name="connsiteY76" fmla="*/ 1220553 h 6667679"/>
              <a:gd name="connsiteX77" fmla="*/ 5342674 w 5425623"/>
              <a:gd name="connsiteY77" fmla="*/ 1234588 h 6667679"/>
              <a:gd name="connsiteX78" fmla="*/ 5355699 w 5425623"/>
              <a:gd name="connsiteY78" fmla="*/ 1249444 h 6667679"/>
              <a:gd name="connsiteX79" fmla="*/ 5368242 w 5425623"/>
              <a:gd name="connsiteY79" fmla="*/ 1264431 h 6667679"/>
              <a:gd name="connsiteX80" fmla="*/ 5379162 w 5425623"/>
              <a:gd name="connsiteY80" fmla="*/ 1280110 h 6667679"/>
              <a:gd name="connsiteX81" fmla="*/ 5388812 w 5425623"/>
              <a:gd name="connsiteY81" fmla="*/ 1295872 h 6667679"/>
              <a:gd name="connsiteX82" fmla="*/ 5397145 w 5425623"/>
              <a:gd name="connsiteY82" fmla="*/ 1312504 h 6667679"/>
              <a:gd name="connsiteX83" fmla="*/ 5404689 w 5425623"/>
              <a:gd name="connsiteY83" fmla="*/ 1329087 h 6667679"/>
              <a:gd name="connsiteX84" fmla="*/ 5410917 w 5425623"/>
              <a:gd name="connsiteY84" fmla="*/ 1346541 h 6667679"/>
              <a:gd name="connsiteX85" fmla="*/ 5416050 w 5425623"/>
              <a:gd name="connsiteY85" fmla="*/ 1363772 h 6667679"/>
              <a:gd name="connsiteX86" fmla="*/ 5419915 w 5425623"/>
              <a:gd name="connsiteY86" fmla="*/ 1381083 h 6667679"/>
              <a:gd name="connsiteX87" fmla="*/ 5422766 w 5425623"/>
              <a:gd name="connsiteY87" fmla="*/ 1399442 h 6667679"/>
              <a:gd name="connsiteX88" fmla="*/ 5424653 w 5425623"/>
              <a:gd name="connsiteY88" fmla="*/ 1418058 h 6667679"/>
              <a:gd name="connsiteX89" fmla="*/ 5425623 w 5425623"/>
              <a:gd name="connsiteY89" fmla="*/ 1436146 h 6667679"/>
              <a:gd name="connsiteX90" fmla="*/ 5425276 w 5425623"/>
              <a:gd name="connsiteY90" fmla="*/ 1455103 h 6667679"/>
              <a:gd name="connsiteX91" fmla="*/ 5424269 w 5425623"/>
              <a:gd name="connsiteY91" fmla="*/ 1474495 h 6667679"/>
              <a:gd name="connsiteX92" fmla="*/ 5421865 w 5425623"/>
              <a:gd name="connsiteY92" fmla="*/ 1493487 h 6667679"/>
              <a:gd name="connsiteX93" fmla="*/ 5418930 w 5425623"/>
              <a:gd name="connsiteY93" fmla="*/ 1513395 h 6667679"/>
              <a:gd name="connsiteX94" fmla="*/ 5414726 w 5425623"/>
              <a:gd name="connsiteY94" fmla="*/ 1533386 h 6667679"/>
              <a:gd name="connsiteX95" fmla="*/ 5410215 w 5425623"/>
              <a:gd name="connsiteY95" fmla="*/ 1553200 h 6667679"/>
              <a:gd name="connsiteX96" fmla="*/ 5404564 w 5425623"/>
              <a:gd name="connsiteY96" fmla="*/ 1573579 h 6667679"/>
              <a:gd name="connsiteX97" fmla="*/ 5397643 w 5425623"/>
              <a:gd name="connsiteY97" fmla="*/ 1594039 h 6667679"/>
              <a:gd name="connsiteX98" fmla="*/ 5390239 w 5425623"/>
              <a:gd name="connsiteY98" fmla="*/ 1614628 h 6667679"/>
              <a:gd name="connsiteX99" fmla="*/ 5382047 w 5425623"/>
              <a:gd name="connsiteY99" fmla="*/ 1635170 h 6667679"/>
              <a:gd name="connsiteX100" fmla="*/ 5373197 w 5425623"/>
              <a:gd name="connsiteY100" fmla="*/ 1656147 h 6667679"/>
              <a:gd name="connsiteX101" fmla="*/ 5363253 w 5425623"/>
              <a:gd name="connsiteY101" fmla="*/ 1676901 h 6667679"/>
              <a:gd name="connsiteX102" fmla="*/ 5352651 w 5425623"/>
              <a:gd name="connsiteY102" fmla="*/ 1698089 h 6667679"/>
              <a:gd name="connsiteX103" fmla="*/ 5341437 w 5425623"/>
              <a:gd name="connsiteY103" fmla="*/ 1718924 h 6667679"/>
              <a:gd name="connsiteX104" fmla="*/ 5329740 w 5425623"/>
              <a:gd name="connsiteY104" fmla="*/ 1739888 h 6667679"/>
              <a:gd name="connsiteX105" fmla="*/ 2613607 w 5425623"/>
              <a:gd name="connsiteY105" fmla="*/ 6444368 h 6667679"/>
              <a:gd name="connsiteX106" fmla="*/ 2601653 w 5425623"/>
              <a:gd name="connsiteY106" fmla="*/ 6464368 h 6667679"/>
              <a:gd name="connsiteX107" fmla="*/ 2589087 w 5425623"/>
              <a:gd name="connsiteY107" fmla="*/ 6484015 h 6667679"/>
              <a:gd name="connsiteX108" fmla="*/ 2575828 w 5425623"/>
              <a:gd name="connsiteY108" fmla="*/ 6502039 h 6667679"/>
              <a:gd name="connsiteX109" fmla="*/ 2562439 w 5425623"/>
              <a:gd name="connsiteY109" fmla="*/ 6519581 h 6667679"/>
              <a:gd name="connsiteX110" fmla="*/ 2548792 w 5425623"/>
              <a:gd name="connsiteY110" fmla="*/ 6536158 h 6667679"/>
              <a:gd name="connsiteX111" fmla="*/ 2534581 w 5425623"/>
              <a:gd name="connsiteY111" fmla="*/ 6551595 h 6667679"/>
              <a:gd name="connsiteX112" fmla="*/ 2519807 w 5425623"/>
              <a:gd name="connsiteY112" fmla="*/ 6565890 h 6667679"/>
              <a:gd name="connsiteX113" fmla="*/ 2504901 w 5425623"/>
              <a:gd name="connsiteY113" fmla="*/ 6579703 h 6667679"/>
              <a:gd name="connsiteX114" fmla="*/ 2489433 w 5425623"/>
              <a:gd name="connsiteY114" fmla="*/ 6592376 h 6667679"/>
              <a:gd name="connsiteX115" fmla="*/ 2474012 w 5425623"/>
              <a:gd name="connsiteY115" fmla="*/ 6604260 h 6667679"/>
              <a:gd name="connsiteX116" fmla="*/ 2457721 w 5425623"/>
              <a:gd name="connsiteY116" fmla="*/ 6614827 h 6667679"/>
              <a:gd name="connsiteX117" fmla="*/ 2441606 w 5425623"/>
              <a:gd name="connsiteY117" fmla="*/ 6625088 h 6667679"/>
              <a:gd name="connsiteX118" fmla="*/ 2424975 w 5425623"/>
              <a:gd name="connsiteY118" fmla="*/ 6633422 h 6667679"/>
              <a:gd name="connsiteX119" fmla="*/ 2408038 w 5425623"/>
              <a:gd name="connsiteY119" fmla="*/ 6641577 h 6667679"/>
              <a:gd name="connsiteX120" fmla="*/ 2390713 w 5425623"/>
              <a:gd name="connsiteY120" fmla="*/ 6648286 h 6667679"/>
              <a:gd name="connsiteX121" fmla="*/ 2372824 w 5425623"/>
              <a:gd name="connsiteY121" fmla="*/ 6653855 h 6667679"/>
              <a:gd name="connsiteX122" fmla="*/ 2355289 w 5425623"/>
              <a:gd name="connsiteY122" fmla="*/ 6658812 h 6667679"/>
              <a:gd name="connsiteX123" fmla="*/ 2337494 w 5425623"/>
              <a:gd name="connsiteY123" fmla="*/ 6662805 h 6667679"/>
              <a:gd name="connsiteX124" fmla="*/ 2319008 w 5425623"/>
              <a:gd name="connsiteY124" fmla="*/ 6665174 h 6667679"/>
              <a:gd name="connsiteX125" fmla="*/ 2300567 w 5425623"/>
              <a:gd name="connsiteY125" fmla="*/ 6666756 h 6667679"/>
              <a:gd name="connsiteX126" fmla="*/ 2281691 w 5425623"/>
              <a:gd name="connsiteY126" fmla="*/ 6667679 h 6667679"/>
              <a:gd name="connsiteX127" fmla="*/ 2262734 w 5425623"/>
              <a:gd name="connsiteY127" fmla="*/ 6667332 h 6667679"/>
              <a:gd name="connsiteX128" fmla="*/ 2243695 w 5425623"/>
              <a:gd name="connsiteY128" fmla="*/ 6665715 h 6667679"/>
              <a:gd name="connsiteX129" fmla="*/ 2224527 w 5425623"/>
              <a:gd name="connsiteY129" fmla="*/ 6663616 h 6667679"/>
              <a:gd name="connsiteX130" fmla="*/ 2204666 w 5425623"/>
              <a:gd name="connsiteY130" fmla="*/ 6659893 h 6667679"/>
              <a:gd name="connsiteX131" fmla="*/ 2185334 w 5425623"/>
              <a:gd name="connsiteY131" fmla="*/ 6655253 h 6667679"/>
              <a:gd name="connsiteX132" fmla="*/ 2165744 w 5425623"/>
              <a:gd name="connsiteY132" fmla="*/ 6649649 h 6667679"/>
              <a:gd name="connsiteX133" fmla="*/ 2145765 w 5425623"/>
              <a:gd name="connsiteY133" fmla="*/ 6642598 h 6667679"/>
              <a:gd name="connsiteX134" fmla="*/ 2125658 w 5425623"/>
              <a:gd name="connsiteY134" fmla="*/ 6635065 h 6667679"/>
              <a:gd name="connsiteX135" fmla="*/ 2105822 w 5425623"/>
              <a:gd name="connsiteY135" fmla="*/ 6625651 h 6667679"/>
              <a:gd name="connsiteX136" fmla="*/ 2085069 w 5425623"/>
              <a:gd name="connsiteY136" fmla="*/ 6615707 h 6667679"/>
              <a:gd name="connsiteX137" fmla="*/ 2065022 w 5425623"/>
              <a:gd name="connsiteY137" fmla="*/ 6604541 h 6667679"/>
              <a:gd name="connsiteX138" fmla="*/ 206953 w 5425623"/>
              <a:gd name="connsiteY138" fmla="*/ 5531784 h 6667679"/>
              <a:gd name="connsiteX139" fmla="*/ 187870 w 5425623"/>
              <a:gd name="connsiteY139" fmla="*/ 5520359 h 6667679"/>
              <a:gd name="connsiteX140" fmla="*/ 169800 w 5425623"/>
              <a:gd name="connsiteY140" fmla="*/ 5507888 h 6667679"/>
              <a:gd name="connsiteX141" fmla="*/ 152339 w 5425623"/>
              <a:gd name="connsiteY141" fmla="*/ 5495769 h 6667679"/>
              <a:gd name="connsiteX142" fmla="*/ 136197 w 5425623"/>
              <a:gd name="connsiteY142" fmla="*/ 5482781 h 6667679"/>
              <a:gd name="connsiteX143" fmla="*/ 120713 w 5425623"/>
              <a:gd name="connsiteY143" fmla="*/ 5469358 h 6667679"/>
              <a:gd name="connsiteX144" fmla="*/ 106066 w 5425623"/>
              <a:gd name="connsiteY144" fmla="*/ 5455194 h 6667679"/>
              <a:gd name="connsiteX145" fmla="*/ 92686 w 5425623"/>
              <a:gd name="connsiteY145" fmla="*/ 5440948 h 6667679"/>
              <a:gd name="connsiteX146" fmla="*/ 79662 w 5425623"/>
              <a:gd name="connsiteY146" fmla="*/ 5426091 h 6667679"/>
              <a:gd name="connsiteX147" fmla="*/ 67906 w 5425623"/>
              <a:gd name="connsiteY147" fmla="*/ 5411152 h 6667679"/>
              <a:gd name="connsiteX148" fmla="*/ 57468 w 5425623"/>
              <a:gd name="connsiteY148" fmla="*/ 5395343 h 6667679"/>
              <a:gd name="connsiteX149" fmla="*/ 47336 w 5425623"/>
              <a:gd name="connsiteY149" fmla="*/ 5379711 h 6667679"/>
              <a:gd name="connsiteX150" fmla="*/ 38344 w 5425623"/>
              <a:gd name="connsiteY150" fmla="*/ 5363515 h 6667679"/>
              <a:gd name="connsiteX151" fmla="*/ 30190 w 5425623"/>
              <a:gd name="connsiteY151" fmla="*/ 5346577 h 6667679"/>
              <a:gd name="connsiteX152" fmla="*/ 23127 w 5425623"/>
              <a:gd name="connsiteY152" fmla="*/ 5329865 h 6667679"/>
              <a:gd name="connsiteX153" fmla="*/ 17205 w 5425623"/>
              <a:gd name="connsiteY153" fmla="*/ 5312587 h 6667679"/>
              <a:gd name="connsiteX154" fmla="*/ 11942 w 5425623"/>
              <a:gd name="connsiteY154" fmla="*/ 5294875 h 6667679"/>
              <a:gd name="connsiteX155" fmla="*/ 7291 w 5425623"/>
              <a:gd name="connsiteY155" fmla="*/ 5277515 h 6667679"/>
              <a:gd name="connsiteX156" fmla="*/ 4133 w 5425623"/>
              <a:gd name="connsiteY156" fmla="*/ 5258981 h 6667679"/>
              <a:gd name="connsiteX157" fmla="*/ 1892 w 5425623"/>
              <a:gd name="connsiteY157" fmla="*/ 5240976 h 6667679"/>
              <a:gd name="connsiteX158" fmla="*/ 440 w 5425623"/>
              <a:gd name="connsiteY158" fmla="*/ 5223018 h 6667679"/>
              <a:gd name="connsiteX159" fmla="*/ 0 w 5425623"/>
              <a:gd name="connsiteY159" fmla="*/ 5204014 h 6667679"/>
              <a:gd name="connsiteX160" fmla="*/ 958 w 5425623"/>
              <a:gd name="connsiteY160" fmla="*/ 5185409 h 6667679"/>
              <a:gd name="connsiteX161" fmla="*/ 2576 w 5425623"/>
              <a:gd name="connsiteY161" fmla="*/ 5166370 h 6667679"/>
              <a:gd name="connsiteX162" fmla="*/ 4981 w 5425623"/>
              <a:gd name="connsiteY162" fmla="*/ 5147378 h 6667679"/>
              <a:gd name="connsiteX163" fmla="*/ 8656 w 5425623"/>
              <a:gd name="connsiteY163" fmla="*/ 5128305 h 6667679"/>
              <a:gd name="connsiteX164" fmla="*/ 13296 w 5425623"/>
              <a:gd name="connsiteY164" fmla="*/ 5108972 h 6667679"/>
              <a:gd name="connsiteX165" fmla="*/ 18723 w 5425623"/>
              <a:gd name="connsiteY165" fmla="*/ 5089688 h 6667679"/>
              <a:gd name="connsiteX166" fmla="*/ 25597 w 5425623"/>
              <a:gd name="connsiteY166" fmla="*/ 5070016 h 6667679"/>
              <a:gd name="connsiteX167" fmla="*/ 33083 w 5425623"/>
              <a:gd name="connsiteY167" fmla="*/ 5050696 h 6667679"/>
              <a:gd name="connsiteX168" fmla="*/ 42144 w 5425623"/>
              <a:gd name="connsiteY168" fmla="*/ 5031472 h 6667679"/>
              <a:gd name="connsiteX169" fmla="*/ 51558 w 5425623"/>
              <a:gd name="connsiteY169" fmla="*/ 5011636 h 6667679"/>
              <a:gd name="connsiteX170" fmla="*/ 62372 w 5425623"/>
              <a:gd name="connsiteY170" fmla="*/ 4992200 h 6667679"/>
              <a:gd name="connsiteX171" fmla="*/ 2800920 w 5425623"/>
              <a:gd name="connsiteY171" fmla="*/ 248895 h 6667679"/>
              <a:gd name="connsiteX172" fmla="*/ 2812698 w 5425623"/>
              <a:gd name="connsiteY172" fmla="*/ 229201 h 6667679"/>
              <a:gd name="connsiteX173" fmla="*/ 2824429 w 5425623"/>
              <a:gd name="connsiteY173" fmla="*/ 210295 h 6667679"/>
              <a:gd name="connsiteX174" fmla="*/ 2837077 w 5425623"/>
              <a:gd name="connsiteY174" fmla="*/ 191918 h 6667679"/>
              <a:gd name="connsiteX175" fmla="*/ 2849807 w 5425623"/>
              <a:gd name="connsiteY175" fmla="*/ 174811 h 6667679"/>
              <a:gd name="connsiteX176" fmla="*/ 2862537 w 5425623"/>
              <a:gd name="connsiteY176" fmla="*/ 157704 h 6667679"/>
              <a:gd name="connsiteX177" fmla="*/ 2876183 w 5425623"/>
              <a:gd name="connsiteY177" fmla="*/ 141127 h 6667679"/>
              <a:gd name="connsiteX178" fmla="*/ 2890218 w 5425623"/>
              <a:gd name="connsiteY178" fmla="*/ 125996 h 6667679"/>
              <a:gd name="connsiteX179" fmla="*/ 2904205 w 5425623"/>
              <a:gd name="connsiteY179" fmla="*/ 111653 h 6667679"/>
              <a:gd name="connsiteX180" fmla="*/ 2918804 w 5425623"/>
              <a:gd name="connsiteY180" fmla="*/ 97664 h 6667679"/>
              <a:gd name="connsiteX181" fmla="*/ 2933485 w 5425623"/>
              <a:gd name="connsiteY181" fmla="*/ 84944 h 6667679"/>
              <a:gd name="connsiteX182" fmla="*/ 2948471 w 5425623"/>
              <a:gd name="connsiteY182" fmla="*/ 72401 h 6667679"/>
              <a:gd name="connsiteX183" fmla="*/ 2963845 w 5425623"/>
              <a:gd name="connsiteY183" fmla="*/ 61305 h 6667679"/>
              <a:gd name="connsiteX184" fmla="*/ 2979348 w 5425623"/>
              <a:gd name="connsiteY184" fmla="*/ 50690 h 6667679"/>
              <a:gd name="connsiteX185" fmla="*/ 2995110 w 5425623"/>
              <a:gd name="connsiteY185" fmla="*/ 41040 h 6667679"/>
              <a:gd name="connsiteX186" fmla="*/ 3011259 w 5425623"/>
              <a:gd name="connsiteY186" fmla="*/ 32837 h 6667679"/>
              <a:gd name="connsiteX187" fmla="*/ 3027714 w 5425623"/>
              <a:gd name="connsiteY187" fmla="*/ 24810 h 6667679"/>
              <a:gd name="connsiteX188" fmla="*/ 3044556 w 5425623"/>
              <a:gd name="connsiteY188" fmla="*/ 18229 h 6667679"/>
              <a:gd name="connsiteX189" fmla="*/ 3061657 w 5425623"/>
              <a:gd name="connsiteY189" fmla="*/ 12613 h 6667679"/>
              <a:gd name="connsiteX190" fmla="*/ 3078228 w 5425623"/>
              <a:gd name="connsiteY190" fmla="*/ 7915 h 6667679"/>
              <a:gd name="connsiteX191" fmla="*/ 3095846 w 5425623"/>
              <a:gd name="connsiteY191" fmla="*/ 4228 h 6667679"/>
              <a:gd name="connsiteX192" fmla="*/ 3113546 w 5425623"/>
              <a:gd name="connsiteY192" fmla="*/ 1812 h 6667679"/>
              <a:gd name="connsiteX193" fmla="*/ 3131327 w 5425623"/>
              <a:gd name="connsiteY193" fmla="*/ 665 h 6667679"/>
              <a:gd name="connsiteX194" fmla="*/ 3149238 w 5425623"/>
              <a:gd name="connsiteY194" fmla="*/ 0 h 66676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5425623" h="6667679">
                <a:moveTo>
                  <a:pt x="3149238" y="0"/>
                </a:moveTo>
                <a:lnTo>
                  <a:pt x="3167360" y="1088"/>
                </a:lnTo>
                <a:lnTo>
                  <a:pt x="3186093" y="2528"/>
                </a:lnTo>
                <a:lnTo>
                  <a:pt x="3204379" y="6156"/>
                </a:lnTo>
                <a:lnTo>
                  <a:pt x="3223581" y="10314"/>
                </a:lnTo>
                <a:lnTo>
                  <a:pt x="3241902" y="16000"/>
                </a:lnTo>
                <a:lnTo>
                  <a:pt x="3261445" y="22392"/>
                </a:lnTo>
                <a:lnTo>
                  <a:pt x="3280717" y="30665"/>
                </a:lnTo>
                <a:lnTo>
                  <a:pt x="3300247" y="39903"/>
                </a:lnTo>
                <a:lnTo>
                  <a:pt x="3319683" y="50716"/>
                </a:lnTo>
                <a:lnTo>
                  <a:pt x="3576474" y="198976"/>
                </a:lnTo>
                <a:lnTo>
                  <a:pt x="3580096" y="201881"/>
                </a:lnTo>
                <a:lnTo>
                  <a:pt x="3582399" y="205656"/>
                </a:lnTo>
                <a:lnTo>
                  <a:pt x="3583868" y="210173"/>
                </a:lnTo>
                <a:lnTo>
                  <a:pt x="3584372" y="214948"/>
                </a:lnTo>
                <a:lnTo>
                  <a:pt x="3583994" y="221251"/>
                </a:lnTo>
                <a:lnTo>
                  <a:pt x="3582827" y="227507"/>
                </a:lnTo>
                <a:lnTo>
                  <a:pt x="3581132" y="234680"/>
                </a:lnTo>
                <a:lnTo>
                  <a:pt x="3578295" y="242417"/>
                </a:lnTo>
                <a:lnTo>
                  <a:pt x="3572398" y="258986"/>
                </a:lnTo>
                <a:lnTo>
                  <a:pt x="3565395" y="278175"/>
                </a:lnTo>
                <a:lnTo>
                  <a:pt x="3562110" y="288100"/>
                </a:lnTo>
                <a:lnTo>
                  <a:pt x="3558955" y="298507"/>
                </a:lnTo>
                <a:lnTo>
                  <a:pt x="3555317" y="309043"/>
                </a:lnTo>
                <a:lnTo>
                  <a:pt x="3552774" y="319801"/>
                </a:lnTo>
                <a:lnTo>
                  <a:pt x="3550184" y="331349"/>
                </a:lnTo>
                <a:lnTo>
                  <a:pt x="3548381" y="342944"/>
                </a:lnTo>
                <a:lnTo>
                  <a:pt x="3547060" y="354410"/>
                </a:lnTo>
                <a:lnTo>
                  <a:pt x="3546833" y="366100"/>
                </a:lnTo>
                <a:lnTo>
                  <a:pt x="3546605" y="377789"/>
                </a:lnTo>
                <a:lnTo>
                  <a:pt x="3547954" y="389573"/>
                </a:lnTo>
                <a:lnTo>
                  <a:pt x="3550878" y="401451"/>
                </a:lnTo>
                <a:lnTo>
                  <a:pt x="3554414" y="413683"/>
                </a:lnTo>
                <a:lnTo>
                  <a:pt x="3558785" y="425174"/>
                </a:lnTo>
                <a:lnTo>
                  <a:pt x="3565344" y="437112"/>
                </a:lnTo>
                <a:lnTo>
                  <a:pt x="3572866" y="448792"/>
                </a:lnTo>
                <a:lnTo>
                  <a:pt x="3582448" y="460438"/>
                </a:lnTo>
                <a:lnTo>
                  <a:pt x="3593474" y="471695"/>
                </a:lnTo>
                <a:lnTo>
                  <a:pt x="3606560" y="482919"/>
                </a:lnTo>
                <a:lnTo>
                  <a:pt x="3621091" y="493755"/>
                </a:lnTo>
                <a:lnTo>
                  <a:pt x="3638164" y="504426"/>
                </a:lnTo>
                <a:lnTo>
                  <a:pt x="4703237" y="1119346"/>
                </a:lnTo>
                <a:lnTo>
                  <a:pt x="4721014" y="1128795"/>
                </a:lnTo>
                <a:lnTo>
                  <a:pt x="4737664" y="1135962"/>
                </a:lnTo>
                <a:lnTo>
                  <a:pt x="4753927" y="1141683"/>
                </a:lnTo>
                <a:lnTo>
                  <a:pt x="4769190" y="1145604"/>
                </a:lnTo>
                <a:lnTo>
                  <a:pt x="4784066" y="1148078"/>
                </a:lnTo>
                <a:lnTo>
                  <a:pt x="4797942" y="1148754"/>
                </a:lnTo>
                <a:lnTo>
                  <a:pt x="4811559" y="1148464"/>
                </a:lnTo>
                <a:lnTo>
                  <a:pt x="4823696" y="1146504"/>
                </a:lnTo>
                <a:lnTo>
                  <a:pt x="4836058" y="1143450"/>
                </a:lnTo>
                <a:lnTo>
                  <a:pt x="4847807" y="1140043"/>
                </a:lnTo>
                <a:lnTo>
                  <a:pt x="4858686" y="1135319"/>
                </a:lnTo>
                <a:lnTo>
                  <a:pt x="4868696" y="1129278"/>
                </a:lnTo>
                <a:lnTo>
                  <a:pt x="4878706" y="1123236"/>
                </a:lnTo>
                <a:lnTo>
                  <a:pt x="4887975" y="1116359"/>
                </a:lnTo>
                <a:lnTo>
                  <a:pt x="4897115" y="1109001"/>
                </a:lnTo>
                <a:lnTo>
                  <a:pt x="4905820" y="1100983"/>
                </a:lnTo>
                <a:lnTo>
                  <a:pt x="4913866" y="1093401"/>
                </a:lnTo>
                <a:lnTo>
                  <a:pt x="4921172" y="1084983"/>
                </a:lnTo>
                <a:lnTo>
                  <a:pt x="4928607" y="1077047"/>
                </a:lnTo>
                <a:lnTo>
                  <a:pt x="4935560" y="1069240"/>
                </a:lnTo>
                <a:lnTo>
                  <a:pt x="4948677" y="1053581"/>
                </a:lnTo>
                <a:lnTo>
                  <a:pt x="4960077" y="1040189"/>
                </a:lnTo>
                <a:lnTo>
                  <a:pt x="4965359" y="1033864"/>
                </a:lnTo>
                <a:lnTo>
                  <a:pt x="4970724" y="1028809"/>
                </a:lnTo>
                <a:lnTo>
                  <a:pt x="4975558" y="1024671"/>
                </a:lnTo>
                <a:lnTo>
                  <a:pt x="4980828" y="1021192"/>
                </a:lnTo>
                <a:lnTo>
                  <a:pt x="4985215" y="1019241"/>
                </a:lnTo>
                <a:lnTo>
                  <a:pt x="4989860" y="1018255"/>
                </a:lnTo>
                <a:lnTo>
                  <a:pt x="4994282" y="1018362"/>
                </a:lnTo>
                <a:lnTo>
                  <a:pt x="4998609" y="1020046"/>
                </a:lnTo>
                <a:lnTo>
                  <a:pt x="5255400" y="1168304"/>
                </a:lnTo>
                <a:lnTo>
                  <a:pt x="5275706" y="1180434"/>
                </a:lnTo>
                <a:lnTo>
                  <a:pt x="5294212" y="1193564"/>
                </a:lnTo>
                <a:lnTo>
                  <a:pt x="5311754" y="1206953"/>
                </a:lnTo>
                <a:lnTo>
                  <a:pt x="5327544" y="1220553"/>
                </a:lnTo>
                <a:lnTo>
                  <a:pt x="5342674" y="1234588"/>
                </a:lnTo>
                <a:lnTo>
                  <a:pt x="5355699" y="1249444"/>
                </a:lnTo>
                <a:lnTo>
                  <a:pt x="5368242" y="1264431"/>
                </a:lnTo>
                <a:lnTo>
                  <a:pt x="5379162" y="1280110"/>
                </a:lnTo>
                <a:lnTo>
                  <a:pt x="5388812" y="1295872"/>
                </a:lnTo>
                <a:lnTo>
                  <a:pt x="5397145" y="1312504"/>
                </a:lnTo>
                <a:lnTo>
                  <a:pt x="5404689" y="1329087"/>
                </a:lnTo>
                <a:lnTo>
                  <a:pt x="5410917" y="1346541"/>
                </a:lnTo>
                <a:lnTo>
                  <a:pt x="5416050" y="1363772"/>
                </a:lnTo>
                <a:lnTo>
                  <a:pt x="5419915" y="1381083"/>
                </a:lnTo>
                <a:lnTo>
                  <a:pt x="5422766" y="1399442"/>
                </a:lnTo>
                <a:lnTo>
                  <a:pt x="5424653" y="1418058"/>
                </a:lnTo>
                <a:lnTo>
                  <a:pt x="5425623" y="1436146"/>
                </a:lnTo>
                <a:lnTo>
                  <a:pt x="5425276" y="1455103"/>
                </a:lnTo>
                <a:lnTo>
                  <a:pt x="5424269" y="1474495"/>
                </a:lnTo>
                <a:lnTo>
                  <a:pt x="5421865" y="1493487"/>
                </a:lnTo>
                <a:lnTo>
                  <a:pt x="5418930" y="1513395"/>
                </a:lnTo>
                <a:lnTo>
                  <a:pt x="5414726" y="1533386"/>
                </a:lnTo>
                <a:lnTo>
                  <a:pt x="5410215" y="1553200"/>
                </a:lnTo>
                <a:lnTo>
                  <a:pt x="5404564" y="1573579"/>
                </a:lnTo>
                <a:lnTo>
                  <a:pt x="5397643" y="1594039"/>
                </a:lnTo>
                <a:lnTo>
                  <a:pt x="5390239" y="1614628"/>
                </a:lnTo>
                <a:lnTo>
                  <a:pt x="5382047" y="1635170"/>
                </a:lnTo>
                <a:lnTo>
                  <a:pt x="5373197" y="1656147"/>
                </a:lnTo>
                <a:lnTo>
                  <a:pt x="5363253" y="1676901"/>
                </a:lnTo>
                <a:lnTo>
                  <a:pt x="5352651" y="1698089"/>
                </a:lnTo>
                <a:lnTo>
                  <a:pt x="5341437" y="1718924"/>
                </a:lnTo>
                <a:lnTo>
                  <a:pt x="5329740" y="1739888"/>
                </a:lnTo>
                <a:lnTo>
                  <a:pt x="2613607" y="6444368"/>
                </a:lnTo>
                <a:lnTo>
                  <a:pt x="2601653" y="6464368"/>
                </a:lnTo>
                <a:lnTo>
                  <a:pt x="2589087" y="6484015"/>
                </a:lnTo>
                <a:lnTo>
                  <a:pt x="2575828" y="6502039"/>
                </a:lnTo>
                <a:lnTo>
                  <a:pt x="2562439" y="6519581"/>
                </a:lnTo>
                <a:lnTo>
                  <a:pt x="2548792" y="6536158"/>
                </a:lnTo>
                <a:lnTo>
                  <a:pt x="2534581" y="6551595"/>
                </a:lnTo>
                <a:lnTo>
                  <a:pt x="2519807" y="6565890"/>
                </a:lnTo>
                <a:lnTo>
                  <a:pt x="2504901" y="6579703"/>
                </a:lnTo>
                <a:lnTo>
                  <a:pt x="2489433" y="6592376"/>
                </a:lnTo>
                <a:lnTo>
                  <a:pt x="2474012" y="6604260"/>
                </a:lnTo>
                <a:lnTo>
                  <a:pt x="2457721" y="6614827"/>
                </a:lnTo>
                <a:lnTo>
                  <a:pt x="2441606" y="6625088"/>
                </a:lnTo>
                <a:lnTo>
                  <a:pt x="2424975" y="6633422"/>
                </a:lnTo>
                <a:lnTo>
                  <a:pt x="2408038" y="6641577"/>
                </a:lnTo>
                <a:lnTo>
                  <a:pt x="2390713" y="6648286"/>
                </a:lnTo>
                <a:lnTo>
                  <a:pt x="2372824" y="6653855"/>
                </a:lnTo>
                <a:lnTo>
                  <a:pt x="2355289" y="6658812"/>
                </a:lnTo>
                <a:lnTo>
                  <a:pt x="2337494" y="6662805"/>
                </a:lnTo>
                <a:lnTo>
                  <a:pt x="2319008" y="6665174"/>
                </a:lnTo>
                <a:lnTo>
                  <a:pt x="2300567" y="6666756"/>
                </a:lnTo>
                <a:lnTo>
                  <a:pt x="2281691" y="6667679"/>
                </a:lnTo>
                <a:lnTo>
                  <a:pt x="2262734" y="6667332"/>
                </a:lnTo>
                <a:lnTo>
                  <a:pt x="2243695" y="6665715"/>
                </a:lnTo>
                <a:lnTo>
                  <a:pt x="2224527" y="6663616"/>
                </a:lnTo>
                <a:lnTo>
                  <a:pt x="2204666" y="6659893"/>
                </a:lnTo>
                <a:lnTo>
                  <a:pt x="2185334" y="6655253"/>
                </a:lnTo>
                <a:lnTo>
                  <a:pt x="2165744" y="6649649"/>
                </a:lnTo>
                <a:lnTo>
                  <a:pt x="2145765" y="6642598"/>
                </a:lnTo>
                <a:lnTo>
                  <a:pt x="2125658" y="6635065"/>
                </a:lnTo>
                <a:lnTo>
                  <a:pt x="2105822" y="6625651"/>
                </a:lnTo>
                <a:lnTo>
                  <a:pt x="2085069" y="6615707"/>
                </a:lnTo>
                <a:lnTo>
                  <a:pt x="2065022" y="6604541"/>
                </a:lnTo>
                <a:lnTo>
                  <a:pt x="206953" y="5531784"/>
                </a:lnTo>
                <a:lnTo>
                  <a:pt x="187870" y="5520359"/>
                </a:lnTo>
                <a:lnTo>
                  <a:pt x="169800" y="5507888"/>
                </a:lnTo>
                <a:lnTo>
                  <a:pt x="152339" y="5495769"/>
                </a:lnTo>
                <a:lnTo>
                  <a:pt x="136197" y="5482781"/>
                </a:lnTo>
                <a:lnTo>
                  <a:pt x="120713" y="5469358"/>
                </a:lnTo>
                <a:lnTo>
                  <a:pt x="106066" y="5455194"/>
                </a:lnTo>
                <a:lnTo>
                  <a:pt x="92686" y="5440948"/>
                </a:lnTo>
                <a:lnTo>
                  <a:pt x="79662" y="5426091"/>
                </a:lnTo>
                <a:lnTo>
                  <a:pt x="67906" y="5411152"/>
                </a:lnTo>
                <a:lnTo>
                  <a:pt x="57468" y="5395343"/>
                </a:lnTo>
                <a:lnTo>
                  <a:pt x="47336" y="5379711"/>
                </a:lnTo>
                <a:lnTo>
                  <a:pt x="38344" y="5363515"/>
                </a:lnTo>
                <a:lnTo>
                  <a:pt x="30190" y="5346577"/>
                </a:lnTo>
                <a:lnTo>
                  <a:pt x="23127" y="5329865"/>
                </a:lnTo>
                <a:lnTo>
                  <a:pt x="17205" y="5312587"/>
                </a:lnTo>
                <a:lnTo>
                  <a:pt x="11942" y="5294875"/>
                </a:lnTo>
                <a:lnTo>
                  <a:pt x="7291" y="5277515"/>
                </a:lnTo>
                <a:lnTo>
                  <a:pt x="4133" y="5258981"/>
                </a:lnTo>
                <a:lnTo>
                  <a:pt x="1892" y="5240976"/>
                </a:lnTo>
                <a:lnTo>
                  <a:pt x="440" y="5223018"/>
                </a:lnTo>
                <a:lnTo>
                  <a:pt x="0" y="5204014"/>
                </a:lnTo>
                <a:lnTo>
                  <a:pt x="958" y="5185409"/>
                </a:lnTo>
                <a:lnTo>
                  <a:pt x="2576" y="5166370"/>
                </a:lnTo>
                <a:lnTo>
                  <a:pt x="4981" y="5147378"/>
                </a:lnTo>
                <a:lnTo>
                  <a:pt x="8656" y="5128305"/>
                </a:lnTo>
                <a:lnTo>
                  <a:pt x="13296" y="5108972"/>
                </a:lnTo>
                <a:lnTo>
                  <a:pt x="18723" y="5089688"/>
                </a:lnTo>
                <a:lnTo>
                  <a:pt x="25597" y="5070016"/>
                </a:lnTo>
                <a:lnTo>
                  <a:pt x="33083" y="5050696"/>
                </a:lnTo>
                <a:lnTo>
                  <a:pt x="42144" y="5031472"/>
                </a:lnTo>
                <a:lnTo>
                  <a:pt x="51558" y="5011636"/>
                </a:lnTo>
                <a:lnTo>
                  <a:pt x="62372" y="4992200"/>
                </a:lnTo>
                <a:lnTo>
                  <a:pt x="2800920" y="248895"/>
                </a:lnTo>
                <a:lnTo>
                  <a:pt x="2812698" y="229201"/>
                </a:lnTo>
                <a:lnTo>
                  <a:pt x="2824429" y="210295"/>
                </a:lnTo>
                <a:lnTo>
                  <a:pt x="2837077" y="191918"/>
                </a:lnTo>
                <a:lnTo>
                  <a:pt x="2849807" y="174811"/>
                </a:lnTo>
                <a:lnTo>
                  <a:pt x="2862537" y="157704"/>
                </a:lnTo>
                <a:lnTo>
                  <a:pt x="2876183" y="141127"/>
                </a:lnTo>
                <a:lnTo>
                  <a:pt x="2890218" y="125996"/>
                </a:lnTo>
                <a:lnTo>
                  <a:pt x="2904205" y="111653"/>
                </a:lnTo>
                <a:lnTo>
                  <a:pt x="2918804" y="97664"/>
                </a:lnTo>
                <a:lnTo>
                  <a:pt x="2933485" y="84944"/>
                </a:lnTo>
                <a:lnTo>
                  <a:pt x="2948471" y="72401"/>
                </a:lnTo>
                <a:lnTo>
                  <a:pt x="2963845" y="61305"/>
                </a:lnTo>
                <a:lnTo>
                  <a:pt x="2979348" y="50690"/>
                </a:lnTo>
                <a:lnTo>
                  <a:pt x="2995110" y="41040"/>
                </a:lnTo>
                <a:lnTo>
                  <a:pt x="3011259" y="32837"/>
                </a:lnTo>
                <a:lnTo>
                  <a:pt x="3027714" y="24810"/>
                </a:lnTo>
                <a:lnTo>
                  <a:pt x="3044556" y="18229"/>
                </a:lnTo>
                <a:lnTo>
                  <a:pt x="3061657" y="12613"/>
                </a:lnTo>
                <a:lnTo>
                  <a:pt x="3078228" y="7915"/>
                </a:lnTo>
                <a:lnTo>
                  <a:pt x="3095846" y="4228"/>
                </a:lnTo>
                <a:lnTo>
                  <a:pt x="3113546" y="1812"/>
                </a:lnTo>
                <a:lnTo>
                  <a:pt x="3131327" y="665"/>
                </a:lnTo>
                <a:lnTo>
                  <a:pt x="3149238" y="0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9" name="Рисунок 3"/>
          <p:cNvSpPr>
            <a:spLocks noGrp="1"/>
          </p:cNvSpPr>
          <p:nvPr>
            <p:ph type="pic" sz="quarter" idx="23"/>
          </p:nvPr>
        </p:nvSpPr>
        <p:spPr>
          <a:xfrm>
            <a:off x="9395972" y="1886673"/>
            <a:ext cx="3617082" cy="4444433"/>
          </a:xfrm>
          <a:custGeom>
            <a:avLst/>
            <a:gdLst>
              <a:gd name="connsiteX0" fmla="*/ 3149238 w 5425623"/>
              <a:gd name="connsiteY0" fmla="*/ 0 h 6667679"/>
              <a:gd name="connsiteX1" fmla="*/ 3167360 w 5425623"/>
              <a:gd name="connsiteY1" fmla="*/ 1088 h 6667679"/>
              <a:gd name="connsiteX2" fmla="*/ 3186093 w 5425623"/>
              <a:gd name="connsiteY2" fmla="*/ 2528 h 6667679"/>
              <a:gd name="connsiteX3" fmla="*/ 3204379 w 5425623"/>
              <a:gd name="connsiteY3" fmla="*/ 6156 h 6667679"/>
              <a:gd name="connsiteX4" fmla="*/ 3223581 w 5425623"/>
              <a:gd name="connsiteY4" fmla="*/ 10314 h 6667679"/>
              <a:gd name="connsiteX5" fmla="*/ 3241902 w 5425623"/>
              <a:gd name="connsiteY5" fmla="*/ 16000 h 6667679"/>
              <a:gd name="connsiteX6" fmla="*/ 3261445 w 5425623"/>
              <a:gd name="connsiteY6" fmla="*/ 22392 h 6667679"/>
              <a:gd name="connsiteX7" fmla="*/ 3280717 w 5425623"/>
              <a:gd name="connsiteY7" fmla="*/ 30665 h 6667679"/>
              <a:gd name="connsiteX8" fmla="*/ 3300247 w 5425623"/>
              <a:gd name="connsiteY8" fmla="*/ 39903 h 6667679"/>
              <a:gd name="connsiteX9" fmla="*/ 3319683 w 5425623"/>
              <a:gd name="connsiteY9" fmla="*/ 50716 h 6667679"/>
              <a:gd name="connsiteX10" fmla="*/ 3576474 w 5425623"/>
              <a:gd name="connsiteY10" fmla="*/ 198976 h 6667679"/>
              <a:gd name="connsiteX11" fmla="*/ 3580096 w 5425623"/>
              <a:gd name="connsiteY11" fmla="*/ 201881 h 6667679"/>
              <a:gd name="connsiteX12" fmla="*/ 3582399 w 5425623"/>
              <a:gd name="connsiteY12" fmla="*/ 205656 h 6667679"/>
              <a:gd name="connsiteX13" fmla="*/ 3583868 w 5425623"/>
              <a:gd name="connsiteY13" fmla="*/ 210173 h 6667679"/>
              <a:gd name="connsiteX14" fmla="*/ 3584372 w 5425623"/>
              <a:gd name="connsiteY14" fmla="*/ 214948 h 6667679"/>
              <a:gd name="connsiteX15" fmla="*/ 3583994 w 5425623"/>
              <a:gd name="connsiteY15" fmla="*/ 221251 h 6667679"/>
              <a:gd name="connsiteX16" fmla="*/ 3582827 w 5425623"/>
              <a:gd name="connsiteY16" fmla="*/ 227507 h 6667679"/>
              <a:gd name="connsiteX17" fmla="*/ 3581132 w 5425623"/>
              <a:gd name="connsiteY17" fmla="*/ 234680 h 6667679"/>
              <a:gd name="connsiteX18" fmla="*/ 3578295 w 5425623"/>
              <a:gd name="connsiteY18" fmla="*/ 242417 h 6667679"/>
              <a:gd name="connsiteX19" fmla="*/ 3572398 w 5425623"/>
              <a:gd name="connsiteY19" fmla="*/ 258986 h 6667679"/>
              <a:gd name="connsiteX20" fmla="*/ 3565395 w 5425623"/>
              <a:gd name="connsiteY20" fmla="*/ 278175 h 6667679"/>
              <a:gd name="connsiteX21" fmla="*/ 3562110 w 5425623"/>
              <a:gd name="connsiteY21" fmla="*/ 288100 h 6667679"/>
              <a:gd name="connsiteX22" fmla="*/ 3558955 w 5425623"/>
              <a:gd name="connsiteY22" fmla="*/ 298507 h 6667679"/>
              <a:gd name="connsiteX23" fmla="*/ 3555317 w 5425623"/>
              <a:gd name="connsiteY23" fmla="*/ 309043 h 6667679"/>
              <a:gd name="connsiteX24" fmla="*/ 3552774 w 5425623"/>
              <a:gd name="connsiteY24" fmla="*/ 319801 h 6667679"/>
              <a:gd name="connsiteX25" fmla="*/ 3550184 w 5425623"/>
              <a:gd name="connsiteY25" fmla="*/ 331349 h 6667679"/>
              <a:gd name="connsiteX26" fmla="*/ 3548381 w 5425623"/>
              <a:gd name="connsiteY26" fmla="*/ 342944 h 6667679"/>
              <a:gd name="connsiteX27" fmla="*/ 3547060 w 5425623"/>
              <a:gd name="connsiteY27" fmla="*/ 354410 h 6667679"/>
              <a:gd name="connsiteX28" fmla="*/ 3546833 w 5425623"/>
              <a:gd name="connsiteY28" fmla="*/ 366100 h 6667679"/>
              <a:gd name="connsiteX29" fmla="*/ 3546605 w 5425623"/>
              <a:gd name="connsiteY29" fmla="*/ 377789 h 6667679"/>
              <a:gd name="connsiteX30" fmla="*/ 3547954 w 5425623"/>
              <a:gd name="connsiteY30" fmla="*/ 389573 h 6667679"/>
              <a:gd name="connsiteX31" fmla="*/ 3550878 w 5425623"/>
              <a:gd name="connsiteY31" fmla="*/ 401451 h 6667679"/>
              <a:gd name="connsiteX32" fmla="*/ 3554414 w 5425623"/>
              <a:gd name="connsiteY32" fmla="*/ 413683 h 6667679"/>
              <a:gd name="connsiteX33" fmla="*/ 3558785 w 5425623"/>
              <a:gd name="connsiteY33" fmla="*/ 425174 h 6667679"/>
              <a:gd name="connsiteX34" fmla="*/ 3565344 w 5425623"/>
              <a:gd name="connsiteY34" fmla="*/ 437112 h 6667679"/>
              <a:gd name="connsiteX35" fmla="*/ 3572866 w 5425623"/>
              <a:gd name="connsiteY35" fmla="*/ 448792 h 6667679"/>
              <a:gd name="connsiteX36" fmla="*/ 3582448 w 5425623"/>
              <a:gd name="connsiteY36" fmla="*/ 460438 h 6667679"/>
              <a:gd name="connsiteX37" fmla="*/ 3593474 w 5425623"/>
              <a:gd name="connsiteY37" fmla="*/ 471695 h 6667679"/>
              <a:gd name="connsiteX38" fmla="*/ 3606560 w 5425623"/>
              <a:gd name="connsiteY38" fmla="*/ 482919 h 6667679"/>
              <a:gd name="connsiteX39" fmla="*/ 3621091 w 5425623"/>
              <a:gd name="connsiteY39" fmla="*/ 493755 h 6667679"/>
              <a:gd name="connsiteX40" fmla="*/ 3638164 w 5425623"/>
              <a:gd name="connsiteY40" fmla="*/ 504426 h 6667679"/>
              <a:gd name="connsiteX41" fmla="*/ 4703237 w 5425623"/>
              <a:gd name="connsiteY41" fmla="*/ 1119346 h 6667679"/>
              <a:gd name="connsiteX42" fmla="*/ 4721014 w 5425623"/>
              <a:gd name="connsiteY42" fmla="*/ 1128795 h 6667679"/>
              <a:gd name="connsiteX43" fmla="*/ 4737664 w 5425623"/>
              <a:gd name="connsiteY43" fmla="*/ 1135962 h 6667679"/>
              <a:gd name="connsiteX44" fmla="*/ 4753927 w 5425623"/>
              <a:gd name="connsiteY44" fmla="*/ 1141683 h 6667679"/>
              <a:gd name="connsiteX45" fmla="*/ 4769190 w 5425623"/>
              <a:gd name="connsiteY45" fmla="*/ 1145604 h 6667679"/>
              <a:gd name="connsiteX46" fmla="*/ 4784066 w 5425623"/>
              <a:gd name="connsiteY46" fmla="*/ 1148078 h 6667679"/>
              <a:gd name="connsiteX47" fmla="*/ 4797942 w 5425623"/>
              <a:gd name="connsiteY47" fmla="*/ 1148754 h 6667679"/>
              <a:gd name="connsiteX48" fmla="*/ 4811559 w 5425623"/>
              <a:gd name="connsiteY48" fmla="*/ 1148464 h 6667679"/>
              <a:gd name="connsiteX49" fmla="*/ 4823696 w 5425623"/>
              <a:gd name="connsiteY49" fmla="*/ 1146504 h 6667679"/>
              <a:gd name="connsiteX50" fmla="*/ 4836058 w 5425623"/>
              <a:gd name="connsiteY50" fmla="*/ 1143450 h 6667679"/>
              <a:gd name="connsiteX51" fmla="*/ 4847807 w 5425623"/>
              <a:gd name="connsiteY51" fmla="*/ 1140043 h 6667679"/>
              <a:gd name="connsiteX52" fmla="*/ 4858686 w 5425623"/>
              <a:gd name="connsiteY52" fmla="*/ 1135319 h 6667679"/>
              <a:gd name="connsiteX53" fmla="*/ 4868696 w 5425623"/>
              <a:gd name="connsiteY53" fmla="*/ 1129278 h 6667679"/>
              <a:gd name="connsiteX54" fmla="*/ 4878706 w 5425623"/>
              <a:gd name="connsiteY54" fmla="*/ 1123236 h 6667679"/>
              <a:gd name="connsiteX55" fmla="*/ 4887975 w 5425623"/>
              <a:gd name="connsiteY55" fmla="*/ 1116359 h 6667679"/>
              <a:gd name="connsiteX56" fmla="*/ 4897115 w 5425623"/>
              <a:gd name="connsiteY56" fmla="*/ 1109001 h 6667679"/>
              <a:gd name="connsiteX57" fmla="*/ 4905820 w 5425623"/>
              <a:gd name="connsiteY57" fmla="*/ 1100983 h 6667679"/>
              <a:gd name="connsiteX58" fmla="*/ 4913866 w 5425623"/>
              <a:gd name="connsiteY58" fmla="*/ 1093401 h 6667679"/>
              <a:gd name="connsiteX59" fmla="*/ 4921172 w 5425623"/>
              <a:gd name="connsiteY59" fmla="*/ 1084983 h 6667679"/>
              <a:gd name="connsiteX60" fmla="*/ 4928607 w 5425623"/>
              <a:gd name="connsiteY60" fmla="*/ 1077047 h 6667679"/>
              <a:gd name="connsiteX61" fmla="*/ 4935560 w 5425623"/>
              <a:gd name="connsiteY61" fmla="*/ 1069240 h 6667679"/>
              <a:gd name="connsiteX62" fmla="*/ 4948677 w 5425623"/>
              <a:gd name="connsiteY62" fmla="*/ 1053581 h 6667679"/>
              <a:gd name="connsiteX63" fmla="*/ 4960077 w 5425623"/>
              <a:gd name="connsiteY63" fmla="*/ 1040189 h 6667679"/>
              <a:gd name="connsiteX64" fmla="*/ 4965359 w 5425623"/>
              <a:gd name="connsiteY64" fmla="*/ 1033864 h 6667679"/>
              <a:gd name="connsiteX65" fmla="*/ 4970724 w 5425623"/>
              <a:gd name="connsiteY65" fmla="*/ 1028809 h 6667679"/>
              <a:gd name="connsiteX66" fmla="*/ 4975558 w 5425623"/>
              <a:gd name="connsiteY66" fmla="*/ 1024671 h 6667679"/>
              <a:gd name="connsiteX67" fmla="*/ 4980828 w 5425623"/>
              <a:gd name="connsiteY67" fmla="*/ 1021192 h 6667679"/>
              <a:gd name="connsiteX68" fmla="*/ 4985215 w 5425623"/>
              <a:gd name="connsiteY68" fmla="*/ 1019241 h 6667679"/>
              <a:gd name="connsiteX69" fmla="*/ 4989860 w 5425623"/>
              <a:gd name="connsiteY69" fmla="*/ 1018255 h 6667679"/>
              <a:gd name="connsiteX70" fmla="*/ 4994282 w 5425623"/>
              <a:gd name="connsiteY70" fmla="*/ 1018362 h 6667679"/>
              <a:gd name="connsiteX71" fmla="*/ 4998609 w 5425623"/>
              <a:gd name="connsiteY71" fmla="*/ 1020046 h 6667679"/>
              <a:gd name="connsiteX72" fmla="*/ 5255400 w 5425623"/>
              <a:gd name="connsiteY72" fmla="*/ 1168304 h 6667679"/>
              <a:gd name="connsiteX73" fmla="*/ 5275706 w 5425623"/>
              <a:gd name="connsiteY73" fmla="*/ 1180434 h 6667679"/>
              <a:gd name="connsiteX74" fmla="*/ 5294212 w 5425623"/>
              <a:gd name="connsiteY74" fmla="*/ 1193564 h 6667679"/>
              <a:gd name="connsiteX75" fmla="*/ 5311754 w 5425623"/>
              <a:gd name="connsiteY75" fmla="*/ 1206953 h 6667679"/>
              <a:gd name="connsiteX76" fmla="*/ 5327544 w 5425623"/>
              <a:gd name="connsiteY76" fmla="*/ 1220553 h 6667679"/>
              <a:gd name="connsiteX77" fmla="*/ 5342674 w 5425623"/>
              <a:gd name="connsiteY77" fmla="*/ 1234588 h 6667679"/>
              <a:gd name="connsiteX78" fmla="*/ 5355699 w 5425623"/>
              <a:gd name="connsiteY78" fmla="*/ 1249444 h 6667679"/>
              <a:gd name="connsiteX79" fmla="*/ 5368242 w 5425623"/>
              <a:gd name="connsiteY79" fmla="*/ 1264431 h 6667679"/>
              <a:gd name="connsiteX80" fmla="*/ 5379162 w 5425623"/>
              <a:gd name="connsiteY80" fmla="*/ 1280110 h 6667679"/>
              <a:gd name="connsiteX81" fmla="*/ 5388812 w 5425623"/>
              <a:gd name="connsiteY81" fmla="*/ 1295872 h 6667679"/>
              <a:gd name="connsiteX82" fmla="*/ 5397145 w 5425623"/>
              <a:gd name="connsiteY82" fmla="*/ 1312504 h 6667679"/>
              <a:gd name="connsiteX83" fmla="*/ 5404689 w 5425623"/>
              <a:gd name="connsiteY83" fmla="*/ 1329087 h 6667679"/>
              <a:gd name="connsiteX84" fmla="*/ 5410917 w 5425623"/>
              <a:gd name="connsiteY84" fmla="*/ 1346541 h 6667679"/>
              <a:gd name="connsiteX85" fmla="*/ 5416050 w 5425623"/>
              <a:gd name="connsiteY85" fmla="*/ 1363772 h 6667679"/>
              <a:gd name="connsiteX86" fmla="*/ 5419915 w 5425623"/>
              <a:gd name="connsiteY86" fmla="*/ 1381083 h 6667679"/>
              <a:gd name="connsiteX87" fmla="*/ 5422766 w 5425623"/>
              <a:gd name="connsiteY87" fmla="*/ 1399442 h 6667679"/>
              <a:gd name="connsiteX88" fmla="*/ 5424653 w 5425623"/>
              <a:gd name="connsiteY88" fmla="*/ 1418058 h 6667679"/>
              <a:gd name="connsiteX89" fmla="*/ 5425623 w 5425623"/>
              <a:gd name="connsiteY89" fmla="*/ 1436146 h 6667679"/>
              <a:gd name="connsiteX90" fmla="*/ 5425276 w 5425623"/>
              <a:gd name="connsiteY90" fmla="*/ 1455103 h 6667679"/>
              <a:gd name="connsiteX91" fmla="*/ 5424269 w 5425623"/>
              <a:gd name="connsiteY91" fmla="*/ 1474495 h 6667679"/>
              <a:gd name="connsiteX92" fmla="*/ 5421865 w 5425623"/>
              <a:gd name="connsiteY92" fmla="*/ 1493487 h 6667679"/>
              <a:gd name="connsiteX93" fmla="*/ 5418930 w 5425623"/>
              <a:gd name="connsiteY93" fmla="*/ 1513395 h 6667679"/>
              <a:gd name="connsiteX94" fmla="*/ 5414726 w 5425623"/>
              <a:gd name="connsiteY94" fmla="*/ 1533386 h 6667679"/>
              <a:gd name="connsiteX95" fmla="*/ 5410215 w 5425623"/>
              <a:gd name="connsiteY95" fmla="*/ 1553200 h 6667679"/>
              <a:gd name="connsiteX96" fmla="*/ 5404564 w 5425623"/>
              <a:gd name="connsiteY96" fmla="*/ 1573579 h 6667679"/>
              <a:gd name="connsiteX97" fmla="*/ 5397643 w 5425623"/>
              <a:gd name="connsiteY97" fmla="*/ 1594039 h 6667679"/>
              <a:gd name="connsiteX98" fmla="*/ 5390239 w 5425623"/>
              <a:gd name="connsiteY98" fmla="*/ 1614628 h 6667679"/>
              <a:gd name="connsiteX99" fmla="*/ 5382047 w 5425623"/>
              <a:gd name="connsiteY99" fmla="*/ 1635170 h 6667679"/>
              <a:gd name="connsiteX100" fmla="*/ 5373197 w 5425623"/>
              <a:gd name="connsiteY100" fmla="*/ 1656147 h 6667679"/>
              <a:gd name="connsiteX101" fmla="*/ 5363253 w 5425623"/>
              <a:gd name="connsiteY101" fmla="*/ 1676901 h 6667679"/>
              <a:gd name="connsiteX102" fmla="*/ 5352651 w 5425623"/>
              <a:gd name="connsiteY102" fmla="*/ 1698089 h 6667679"/>
              <a:gd name="connsiteX103" fmla="*/ 5341437 w 5425623"/>
              <a:gd name="connsiteY103" fmla="*/ 1718924 h 6667679"/>
              <a:gd name="connsiteX104" fmla="*/ 5329740 w 5425623"/>
              <a:gd name="connsiteY104" fmla="*/ 1739888 h 6667679"/>
              <a:gd name="connsiteX105" fmla="*/ 2613607 w 5425623"/>
              <a:gd name="connsiteY105" fmla="*/ 6444368 h 6667679"/>
              <a:gd name="connsiteX106" fmla="*/ 2601653 w 5425623"/>
              <a:gd name="connsiteY106" fmla="*/ 6464368 h 6667679"/>
              <a:gd name="connsiteX107" fmla="*/ 2589087 w 5425623"/>
              <a:gd name="connsiteY107" fmla="*/ 6484015 h 6667679"/>
              <a:gd name="connsiteX108" fmla="*/ 2575828 w 5425623"/>
              <a:gd name="connsiteY108" fmla="*/ 6502039 h 6667679"/>
              <a:gd name="connsiteX109" fmla="*/ 2562439 w 5425623"/>
              <a:gd name="connsiteY109" fmla="*/ 6519581 h 6667679"/>
              <a:gd name="connsiteX110" fmla="*/ 2548792 w 5425623"/>
              <a:gd name="connsiteY110" fmla="*/ 6536158 h 6667679"/>
              <a:gd name="connsiteX111" fmla="*/ 2534581 w 5425623"/>
              <a:gd name="connsiteY111" fmla="*/ 6551595 h 6667679"/>
              <a:gd name="connsiteX112" fmla="*/ 2519807 w 5425623"/>
              <a:gd name="connsiteY112" fmla="*/ 6565890 h 6667679"/>
              <a:gd name="connsiteX113" fmla="*/ 2504901 w 5425623"/>
              <a:gd name="connsiteY113" fmla="*/ 6579703 h 6667679"/>
              <a:gd name="connsiteX114" fmla="*/ 2489433 w 5425623"/>
              <a:gd name="connsiteY114" fmla="*/ 6592376 h 6667679"/>
              <a:gd name="connsiteX115" fmla="*/ 2474012 w 5425623"/>
              <a:gd name="connsiteY115" fmla="*/ 6604260 h 6667679"/>
              <a:gd name="connsiteX116" fmla="*/ 2457721 w 5425623"/>
              <a:gd name="connsiteY116" fmla="*/ 6614827 h 6667679"/>
              <a:gd name="connsiteX117" fmla="*/ 2441606 w 5425623"/>
              <a:gd name="connsiteY117" fmla="*/ 6625088 h 6667679"/>
              <a:gd name="connsiteX118" fmla="*/ 2424975 w 5425623"/>
              <a:gd name="connsiteY118" fmla="*/ 6633422 h 6667679"/>
              <a:gd name="connsiteX119" fmla="*/ 2408038 w 5425623"/>
              <a:gd name="connsiteY119" fmla="*/ 6641577 h 6667679"/>
              <a:gd name="connsiteX120" fmla="*/ 2390713 w 5425623"/>
              <a:gd name="connsiteY120" fmla="*/ 6648286 h 6667679"/>
              <a:gd name="connsiteX121" fmla="*/ 2372824 w 5425623"/>
              <a:gd name="connsiteY121" fmla="*/ 6653855 h 6667679"/>
              <a:gd name="connsiteX122" fmla="*/ 2355289 w 5425623"/>
              <a:gd name="connsiteY122" fmla="*/ 6658812 h 6667679"/>
              <a:gd name="connsiteX123" fmla="*/ 2337494 w 5425623"/>
              <a:gd name="connsiteY123" fmla="*/ 6662805 h 6667679"/>
              <a:gd name="connsiteX124" fmla="*/ 2319008 w 5425623"/>
              <a:gd name="connsiteY124" fmla="*/ 6665174 h 6667679"/>
              <a:gd name="connsiteX125" fmla="*/ 2300567 w 5425623"/>
              <a:gd name="connsiteY125" fmla="*/ 6666756 h 6667679"/>
              <a:gd name="connsiteX126" fmla="*/ 2281691 w 5425623"/>
              <a:gd name="connsiteY126" fmla="*/ 6667679 h 6667679"/>
              <a:gd name="connsiteX127" fmla="*/ 2262734 w 5425623"/>
              <a:gd name="connsiteY127" fmla="*/ 6667332 h 6667679"/>
              <a:gd name="connsiteX128" fmla="*/ 2243695 w 5425623"/>
              <a:gd name="connsiteY128" fmla="*/ 6665715 h 6667679"/>
              <a:gd name="connsiteX129" fmla="*/ 2224527 w 5425623"/>
              <a:gd name="connsiteY129" fmla="*/ 6663616 h 6667679"/>
              <a:gd name="connsiteX130" fmla="*/ 2204666 w 5425623"/>
              <a:gd name="connsiteY130" fmla="*/ 6659893 h 6667679"/>
              <a:gd name="connsiteX131" fmla="*/ 2185334 w 5425623"/>
              <a:gd name="connsiteY131" fmla="*/ 6655253 h 6667679"/>
              <a:gd name="connsiteX132" fmla="*/ 2165744 w 5425623"/>
              <a:gd name="connsiteY132" fmla="*/ 6649649 h 6667679"/>
              <a:gd name="connsiteX133" fmla="*/ 2145765 w 5425623"/>
              <a:gd name="connsiteY133" fmla="*/ 6642598 h 6667679"/>
              <a:gd name="connsiteX134" fmla="*/ 2125658 w 5425623"/>
              <a:gd name="connsiteY134" fmla="*/ 6635065 h 6667679"/>
              <a:gd name="connsiteX135" fmla="*/ 2105822 w 5425623"/>
              <a:gd name="connsiteY135" fmla="*/ 6625651 h 6667679"/>
              <a:gd name="connsiteX136" fmla="*/ 2085069 w 5425623"/>
              <a:gd name="connsiteY136" fmla="*/ 6615707 h 6667679"/>
              <a:gd name="connsiteX137" fmla="*/ 2065022 w 5425623"/>
              <a:gd name="connsiteY137" fmla="*/ 6604541 h 6667679"/>
              <a:gd name="connsiteX138" fmla="*/ 206953 w 5425623"/>
              <a:gd name="connsiteY138" fmla="*/ 5531784 h 6667679"/>
              <a:gd name="connsiteX139" fmla="*/ 187870 w 5425623"/>
              <a:gd name="connsiteY139" fmla="*/ 5520359 h 6667679"/>
              <a:gd name="connsiteX140" fmla="*/ 169800 w 5425623"/>
              <a:gd name="connsiteY140" fmla="*/ 5507888 h 6667679"/>
              <a:gd name="connsiteX141" fmla="*/ 152339 w 5425623"/>
              <a:gd name="connsiteY141" fmla="*/ 5495769 h 6667679"/>
              <a:gd name="connsiteX142" fmla="*/ 136197 w 5425623"/>
              <a:gd name="connsiteY142" fmla="*/ 5482781 h 6667679"/>
              <a:gd name="connsiteX143" fmla="*/ 120713 w 5425623"/>
              <a:gd name="connsiteY143" fmla="*/ 5469358 h 6667679"/>
              <a:gd name="connsiteX144" fmla="*/ 106066 w 5425623"/>
              <a:gd name="connsiteY144" fmla="*/ 5455194 h 6667679"/>
              <a:gd name="connsiteX145" fmla="*/ 92686 w 5425623"/>
              <a:gd name="connsiteY145" fmla="*/ 5440948 h 6667679"/>
              <a:gd name="connsiteX146" fmla="*/ 79662 w 5425623"/>
              <a:gd name="connsiteY146" fmla="*/ 5426091 h 6667679"/>
              <a:gd name="connsiteX147" fmla="*/ 67906 w 5425623"/>
              <a:gd name="connsiteY147" fmla="*/ 5411152 h 6667679"/>
              <a:gd name="connsiteX148" fmla="*/ 57468 w 5425623"/>
              <a:gd name="connsiteY148" fmla="*/ 5395343 h 6667679"/>
              <a:gd name="connsiteX149" fmla="*/ 47336 w 5425623"/>
              <a:gd name="connsiteY149" fmla="*/ 5379711 h 6667679"/>
              <a:gd name="connsiteX150" fmla="*/ 38344 w 5425623"/>
              <a:gd name="connsiteY150" fmla="*/ 5363515 h 6667679"/>
              <a:gd name="connsiteX151" fmla="*/ 30190 w 5425623"/>
              <a:gd name="connsiteY151" fmla="*/ 5346577 h 6667679"/>
              <a:gd name="connsiteX152" fmla="*/ 23127 w 5425623"/>
              <a:gd name="connsiteY152" fmla="*/ 5329865 h 6667679"/>
              <a:gd name="connsiteX153" fmla="*/ 17205 w 5425623"/>
              <a:gd name="connsiteY153" fmla="*/ 5312587 h 6667679"/>
              <a:gd name="connsiteX154" fmla="*/ 11942 w 5425623"/>
              <a:gd name="connsiteY154" fmla="*/ 5294875 h 6667679"/>
              <a:gd name="connsiteX155" fmla="*/ 7291 w 5425623"/>
              <a:gd name="connsiteY155" fmla="*/ 5277515 h 6667679"/>
              <a:gd name="connsiteX156" fmla="*/ 4133 w 5425623"/>
              <a:gd name="connsiteY156" fmla="*/ 5258981 h 6667679"/>
              <a:gd name="connsiteX157" fmla="*/ 1892 w 5425623"/>
              <a:gd name="connsiteY157" fmla="*/ 5240976 h 6667679"/>
              <a:gd name="connsiteX158" fmla="*/ 440 w 5425623"/>
              <a:gd name="connsiteY158" fmla="*/ 5223018 h 6667679"/>
              <a:gd name="connsiteX159" fmla="*/ 0 w 5425623"/>
              <a:gd name="connsiteY159" fmla="*/ 5204014 h 6667679"/>
              <a:gd name="connsiteX160" fmla="*/ 958 w 5425623"/>
              <a:gd name="connsiteY160" fmla="*/ 5185409 h 6667679"/>
              <a:gd name="connsiteX161" fmla="*/ 2576 w 5425623"/>
              <a:gd name="connsiteY161" fmla="*/ 5166370 h 6667679"/>
              <a:gd name="connsiteX162" fmla="*/ 4981 w 5425623"/>
              <a:gd name="connsiteY162" fmla="*/ 5147378 h 6667679"/>
              <a:gd name="connsiteX163" fmla="*/ 8656 w 5425623"/>
              <a:gd name="connsiteY163" fmla="*/ 5128305 h 6667679"/>
              <a:gd name="connsiteX164" fmla="*/ 13296 w 5425623"/>
              <a:gd name="connsiteY164" fmla="*/ 5108972 h 6667679"/>
              <a:gd name="connsiteX165" fmla="*/ 18723 w 5425623"/>
              <a:gd name="connsiteY165" fmla="*/ 5089688 h 6667679"/>
              <a:gd name="connsiteX166" fmla="*/ 25597 w 5425623"/>
              <a:gd name="connsiteY166" fmla="*/ 5070016 h 6667679"/>
              <a:gd name="connsiteX167" fmla="*/ 33083 w 5425623"/>
              <a:gd name="connsiteY167" fmla="*/ 5050696 h 6667679"/>
              <a:gd name="connsiteX168" fmla="*/ 42144 w 5425623"/>
              <a:gd name="connsiteY168" fmla="*/ 5031472 h 6667679"/>
              <a:gd name="connsiteX169" fmla="*/ 51558 w 5425623"/>
              <a:gd name="connsiteY169" fmla="*/ 5011636 h 6667679"/>
              <a:gd name="connsiteX170" fmla="*/ 62372 w 5425623"/>
              <a:gd name="connsiteY170" fmla="*/ 4992200 h 6667679"/>
              <a:gd name="connsiteX171" fmla="*/ 2800920 w 5425623"/>
              <a:gd name="connsiteY171" fmla="*/ 248895 h 6667679"/>
              <a:gd name="connsiteX172" fmla="*/ 2812698 w 5425623"/>
              <a:gd name="connsiteY172" fmla="*/ 229201 h 6667679"/>
              <a:gd name="connsiteX173" fmla="*/ 2824429 w 5425623"/>
              <a:gd name="connsiteY173" fmla="*/ 210295 h 6667679"/>
              <a:gd name="connsiteX174" fmla="*/ 2837077 w 5425623"/>
              <a:gd name="connsiteY174" fmla="*/ 191918 h 6667679"/>
              <a:gd name="connsiteX175" fmla="*/ 2849807 w 5425623"/>
              <a:gd name="connsiteY175" fmla="*/ 174811 h 6667679"/>
              <a:gd name="connsiteX176" fmla="*/ 2862537 w 5425623"/>
              <a:gd name="connsiteY176" fmla="*/ 157704 h 6667679"/>
              <a:gd name="connsiteX177" fmla="*/ 2876183 w 5425623"/>
              <a:gd name="connsiteY177" fmla="*/ 141127 h 6667679"/>
              <a:gd name="connsiteX178" fmla="*/ 2890218 w 5425623"/>
              <a:gd name="connsiteY178" fmla="*/ 125996 h 6667679"/>
              <a:gd name="connsiteX179" fmla="*/ 2904205 w 5425623"/>
              <a:gd name="connsiteY179" fmla="*/ 111653 h 6667679"/>
              <a:gd name="connsiteX180" fmla="*/ 2918804 w 5425623"/>
              <a:gd name="connsiteY180" fmla="*/ 97664 h 6667679"/>
              <a:gd name="connsiteX181" fmla="*/ 2933485 w 5425623"/>
              <a:gd name="connsiteY181" fmla="*/ 84944 h 6667679"/>
              <a:gd name="connsiteX182" fmla="*/ 2948471 w 5425623"/>
              <a:gd name="connsiteY182" fmla="*/ 72401 h 6667679"/>
              <a:gd name="connsiteX183" fmla="*/ 2963845 w 5425623"/>
              <a:gd name="connsiteY183" fmla="*/ 61305 h 6667679"/>
              <a:gd name="connsiteX184" fmla="*/ 2979348 w 5425623"/>
              <a:gd name="connsiteY184" fmla="*/ 50690 h 6667679"/>
              <a:gd name="connsiteX185" fmla="*/ 2995110 w 5425623"/>
              <a:gd name="connsiteY185" fmla="*/ 41040 h 6667679"/>
              <a:gd name="connsiteX186" fmla="*/ 3011259 w 5425623"/>
              <a:gd name="connsiteY186" fmla="*/ 32837 h 6667679"/>
              <a:gd name="connsiteX187" fmla="*/ 3027714 w 5425623"/>
              <a:gd name="connsiteY187" fmla="*/ 24810 h 6667679"/>
              <a:gd name="connsiteX188" fmla="*/ 3044556 w 5425623"/>
              <a:gd name="connsiteY188" fmla="*/ 18229 h 6667679"/>
              <a:gd name="connsiteX189" fmla="*/ 3061657 w 5425623"/>
              <a:gd name="connsiteY189" fmla="*/ 12613 h 6667679"/>
              <a:gd name="connsiteX190" fmla="*/ 3078228 w 5425623"/>
              <a:gd name="connsiteY190" fmla="*/ 7915 h 6667679"/>
              <a:gd name="connsiteX191" fmla="*/ 3095846 w 5425623"/>
              <a:gd name="connsiteY191" fmla="*/ 4228 h 6667679"/>
              <a:gd name="connsiteX192" fmla="*/ 3113546 w 5425623"/>
              <a:gd name="connsiteY192" fmla="*/ 1812 h 6667679"/>
              <a:gd name="connsiteX193" fmla="*/ 3131327 w 5425623"/>
              <a:gd name="connsiteY193" fmla="*/ 665 h 6667679"/>
              <a:gd name="connsiteX194" fmla="*/ 3149238 w 5425623"/>
              <a:gd name="connsiteY194" fmla="*/ 0 h 66676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5425623" h="6667679">
                <a:moveTo>
                  <a:pt x="3149238" y="0"/>
                </a:moveTo>
                <a:lnTo>
                  <a:pt x="3167360" y="1088"/>
                </a:lnTo>
                <a:lnTo>
                  <a:pt x="3186093" y="2528"/>
                </a:lnTo>
                <a:lnTo>
                  <a:pt x="3204379" y="6156"/>
                </a:lnTo>
                <a:lnTo>
                  <a:pt x="3223581" y="10314"/>
                </a:lnTo>
                <a:lnTo>
                  <a:pt x="3241902" y="16000"/>
                </a:lnTo>
                <a:lnTo>
                  <a:pt x="3261445" y="22392"/>
                </a:lnTo>
                <a:lnTo>
                  <a:pt x="3280717" y="30665"/>
                </a:lnTo>
                <a:lnTo>
                  <a:pt x="3300247" y="39903"/>
                </a:lnTo>
                <a:lnTo>
                  <a:pt x="3319683" y="50716"/>
                </a:lnTo>
                <a:lnTo>
                  <a:pt x="3576474" y="198976"/>
                </a:lnTo>
                <a:lnTo>
                  <a:pt x="3580096" y="201881"/>
                </a:lnTo>
                <a:lnTo>
                  <a:pt x="3582399" y="205656"/>
                </a:lnTo>
                <a:lnTo>
                  <a:pt x="3583868" y="210173"/>
                </a:lnTo>
                <a:lnTo>
                  <a:pt x="3584372" y="214948"/>
                </a:lnTo>
                <a:lnTo>
                  <a:pt x="3583994" y="221251"/>
                </a:lnTo>
                <a:lnTo>
                  <a:pt x="3582827" y="227507"/>
                </a:lnTo>
                <a:lnTo>
                  <a:pt x="3581132" y="234680"/>
                </a:lnTo>
                <a:lnTo>
                  <a:pt x="3578295" y="242417"/>
                </a:lnTo>
                <a:lnTo>
                  <a:pt x="3572398" y="258986"/>
                </a:lnTo>
                <a:lnTo>
                  <a:pt x="3565395" y="278175"/>
                </a:lnTo>
                <a:lnTo>
                  <a:pt x="3562110" y="288100"/>
                </a:lnTo>
                <a:lnTo>
                  <a:pt x="3558955" y="298507"/>
                </a:lnTo>
                <a:lnTo>
                  <a:pt x="3555317" y="309043"/>
                </a:lnTo>
                <a:lnTo>
                  <a:pt x="3552774" y="319801"/>
                </a:lnTo>
                <a:lnTo>
                  <a:pt x="3550184" y="331349"/>
                </a:lnTo>
                <a:lnTo>
                  <a:pt x="3548381" y="342944"/>
                </a:lnTo>
                <a:lnTo>
                  <a:pt x="3547060" y="354410"/>
                </a:lnTo>
                <a:lnTo>
                  <a:pt x="3546833" y="366100"/>
                </a:lnTo>
                <a:lnTo>
                  <a:pt x="3546605" y="377789"/>
                </a:lnTo>
                <a:lnTo>
                  <a:pt x="3547954" y="389573"/>
                </a:lnTo>
                <a:lnTo>
                  <a:pt x="3550878" y="401451"/>
                </a:lnTo>
                <a:lnTo>
                  <a:pt x="3554414" y="413683"/>
                </a:lnTo>
                <a:lnTo>
                  <a:pt x="3558785" y="425174"/>
                </a:lnTo>
                <a:lnTo>
                  <a:pt x="3565344" y="437112"/>
                </a:lnTo>
                <a:lnTo>
                  <a:pt x="3572866" y="448792"/>
                </a:lnTo>
                <a:lnTo>
                  <a:pt x="3582448" y="460438"/>
                </a:lnTo>
                <a:lnTo>
                  <a:pt x="3593474" y="471695"/>
                </a:lnTo>
                <a:lnTo>
                  <a:pt x="3606560" y="482919"/>
                </a:lnTo>
                <a:lnTo>
                  <a:pt x="3621091" y="493755"/>
                </a:lnTo>
                <a:lnTo>
                  <a:pt x="3638164" y="504426"/>
                </a:lnTo>
                <a:lnTo>
                  <a:pt x="4703237" y="1119346"/>
                </a:lnTo>
                <a:lnTo>
                  <a:pt x="4721014" y="1128795"/>
                </a:lnTo>
                <a:lnTo>
                  <a:pt x="4737664" y="1135962"/>
                </a:lnTo>
                <a:lnTo>
                  <a:pt x="4753927" y="1141683"/>
                </a:lnTo>
                <a:lnTo>
                  <a:pt x="4769190" y="1145604"/>
                </a:lnTo>
                <a:lnTo>
                  <a:pt x="4784066" y="1148078"/>
                </a:lnTo>
                <a:lnTo>
                  <a:pt x="4797942" y="1148754"/>
                </a:lnTo>
                <a:lnTo>
                  <a:pt x="4811559" y="1148464"/>
                </a:lnTo>
                <a:lnTo>
                  <a:pt x="4823696" y="1146504"/>
                </a:lnTo>
                <a:lnTo>
                  <a:pt x="4836058" y="1143450"/>
                </a:lnTo>
                <a:lnTo>
                  <a:pt x="4847807" y="1140043"/>
                </a:lnTo>
                <a:lnTo>
                  <a:pt x="4858686" y="1135319"/>
                </a:lnTo>
                <a:lnTo>
                  <a:pt x="4868696" y="1129278"/>
                </a:lnTo>
                <a:lnTo>
                  <a:pt x="4878706" y="1123236"/>
                </a:lnTo>
                <a:lnTo>
                  <a:pt x="4887975" y="1116359"/>
                </a:lnTo>
                <a:lnTo>
                  <a:pt x="4897115" y="1109001"/>
                </a:lnTo>
                <a:lnTo>
                  <a:pt x="4905820" y="1100983"/>
                </a:lnTo>
                <a:lnTo>
                  <a:pt x="4913866" y="1093401"/>
                </a:lnTo>
                <a:lnTo>
                  <a:pt x="4921172" y="1084983"/>
                </a:lnTo>
                <a:lnTo>
                  <a:pt x="4928607" y="1077047"/>
                </a:lnTo>
                <a:lnTo>
                  <a:pt x="4935560" y="1069240"/>
                </a:lnTo>
                <a:lnTo>
                  <a:pt x="4948677" y="1053581"/>
                </a:lnTo>
                <a:lnTo>
                  <a:pt x="4960077" y="1040189"/>
                </a:lnTo>
                <a:lnTo>
                  <a:pt x="4965359" y="1033864"/>
                </a:lnTo>
                <a:lnTo>
                  <a:pt x="4970724" y="1028809"/>
                </a:lnTo>
                <a:lnTo>
                  <a:pt x="4975558" y="1024671"/>
                </a:lnTo>
                <a:lnTo>
                  <a:pt x="4980828" y="1021192"/>
                </a:lnTo>
                <a:lnTo>
                  <a:pt x="4985215" y="1019241"/>
                </a:lnTo>
                <a:lnTo>
                  <a:pt x="4989860" y="1018255"/>
                </a:lnTo>
                <a:lnTo>
                  <a:pt x="4994282" y="1018362"/>
                </a:lnTo>
                <a:lnTo>
                  <a:pt x="4998609" y="1020046"/>
                </a:lnTo>
                <a:lnTo>
                  <a:pt x="5255400" y="1168304"/>
                </a:lnTo>
                <a:lnTo>
                  <a:pt x="5275706" y="1180434"/>
                </a:lnTo>
                <a:lnTo>
                  <a:pt x="5294212" y="1193564"/>
                </a:lnTo>
                <a:lnTo>
                  <a:pt x="5311754" y="1206953"/>
                </a:lnTo>
                <a:lnTo>
                  <a:pt x="5327544" y="1220553"/>
                </a:lnTo>
                <a:lnTo>
                  <a:pt x="5342674" y="1234588"/>
                </a:lnTo>
                <a:lnTo>
                  <a:pt x="5355699" y="1249444"/>
                </a:lnTo>
                <a:lnTo>
                  <a:pt x="5368242" y="1264431"/>
                </a:lnTo>
                <a:lnTo>
                  <a:pt x="5379162" y="1280110"/>
                </a:lnTo>
                <a:lnTo>
                  <a:pt x="5388812" y="1295872"/>
                </a:lnTo>
                <a:lnTo>
                  <a:pt x="5397145" y="1312504"/>
                </a:lnTo>
                <a:lnTo>
                  <a:pt x="5404689" y="1329087"/>
                </a:lnTo>
                <a:lnTo>
                  <a:pt x="5410917" y="1346541"/>
                </a:lnTo>
                <a:lnTo>
                  <a:pt x="5416050" y="1363772"/>
                </a:lnTo>
                <a:lnTo>
                  <a:pt x="5419915" y="1381083"/>
                </a:lnTo>
                <a:lnTo>
                  <a:pt x="5422766" y="1399442"/>
                </a:lnTo>
                <a:lnTo>
                  <a:pt x="5424653" y="1418058"/>
                </a:lnTo>
                <a:lnTo>
                  <a:pt x="5425623" y="1436146"/>
                </a:lnTo>
                <a:lnTo>
                  <a:pt x="5425276" y="1455103"/>
                </a:lnTo>
                <a:lnTo>
                  <a:pt x="5424269" y="1474495"/>
                </a:lnTo>
                <a:lnTo>
                  <a:pt x="5421865" y="1493487"/>
                </a:lnTo>
                <a:lnTo>
                  <a:pt x="5418930" y="1513395"/>
                </a:lnTo>
                <a:lnTo>
                  <a:pt x="5414726" y="1533386"/>
                </a:lnTo>
                <a:lnTo>
                  <a:pt x="5410215" y="1553200"/>
                </a:lnTo>
                <a:lnTo>
                  <a:pt x="5404564" y="1573579"/>
                </a:lnTo>
                <a:lnTo>
                  <a:pt x="5397643" y="1594039"/>
                </a:lnTo>
                <a:lnTo>
                  <a:pt x="5390239" y="1614628"/>
                </a:lnTo>
                <a:lnTo>
                  <a:pt x="5382047" y="1635170"/>
                </a:lnTo>
                <a:lnTo>
                  <a:pt x="5373197" y="1656147"/>
                </a:lnTo>
                <a:lnTo>
                  <a:pt x="5363253" y="1676901"/>
                </a:lnTo>
                <a:lnTo>
                  <a:pt x="5352651" y="1698089"/>
                </a:lnTo>
                <a:lnTo>
                  <a:pt x="5341437" y="1718924"/>
                </a:lnTo>
                <a:lnTo>
                  <a:pt x="5329740" y="1739888"/>
                </a:lnTo>
                <a:lnTo>
                  <a:pt x="2613607" y="6444368"/>
                </a:lnTo>
                <a:lnTo>
                  <a:pt x="2601653" y="6464368"/>
                </a:lnTo>
                <a:lnTo>
                  <a:pt x="2589087" y="6484015"/>
                </a:lnTo>
                <a:lnTo>
                  <a:pt x="2575828" y="6502039"/>
                </a:lnTo>
                <a:lnTo>
                  <a:pt x="2562439" y="6519581"/>
                </a:lnTo>
                <a:lnTo>
                  <a:pt x="2548792" y="6536158"/>
                </a:lnTo>
                <a:lnTo>
                  <a:pt x="2534581" y="6551595"/>
                </a:lnTo>
                <a:lnTo>
                  <a:pt x="2519807" y="6565890"/>
                </a:lnTo>
                <a:lnTo>
                  <a:pt x="2504901" y="6579703"/>
                </a:lnTo>
                <a:lnTo>
                  <a:pt x="2489433" y="6592376"/>
                </a:lnTo>
                <a:lnTo>
                  <a:pt x="2474012" y="6604260"/>
                </a:lnTo>
                <a:lnTo>
                  <a:pt x="2457721" y="6614827"/>
                </a:lnTo>
                <a:lnTo>
                  <a:pt x="2441606" y="6625088"/>
                </a:lnTo>
                <a:lnTo>
                  <a:pt x="2424975" y="6633422"/>
                </a:lnTo>
                <a:lnTo>
                  <a:pt x="2408038" y="6641577"/>
                </a:lnTo>
                <a:lnTo>
                  <a:pt x="2390713" y="6648286"/>
                </a:lnTo>
                <a:lnTo>
                  <a:pt x="2372824" y="6653855"/>
                </a:lnTo>
                <a:lnTo>
                  <a:pt x="2355289" y="6658812"/>
                </a:lnTo>
                <a:lnTo>
                  <a:pt x="2337494" y="6662805"/>
                </a:lnTo>
                <a:lnTo>
                  <a:pt x="2319008" y="6665174"/>
                </a:lnTo>
                <a:lnTo>
                  <a:pt x="2300567" y="6666756"/>
                </a:lnTo>
                <a:lnTo>
                  <a:pt x="2281691" y="6667679"/>
                </a:lnTo>
                <a:lnTo>
                  <a:pt x="2262734" y="6667332"/>
                </a:lnTo>
                <a:lnTo>
                  <a:pt x="2243695" y="6665715"/>
                </a:lnTo>
                <a:lnTo>
                  <a:pt x="2224527" y="6663616"/>
                </a:lnTo>
                <a:lnTo>
                  <a:pt x="2204666" y="6659893"/>
                </a:lnTo>
                <a:lnTo>
                  <a:pt x="2185334" y="6655253"/>
                </a:lnTo>
                <a:lnTo>
                  <a:pt x="2165744" y="6649649"/>
                </a:lnTo>
                <a:lnTo>
                  <a:pt x="2145765" y="6642598"/>
                </a:lnTo>
                <a:lnTo>
                  <a:pt x="2125658" y="6635065"/>
                </a:lnTo>
                <a:lnTo>
                  <a:pt x="2105822" y="6625651"/>
                </a:lnTo>
                <a:lnTo>
                  <a:pt x="2085069" y="6615707"/>
                </a:lnTo>
                <a:lnTo>
                  <a:pt x="2065022" y="6604541"/>
                </a:lnTo>
                <a:lnTo>
                  <a:pt x="206953" y="5531784"/>
                </a:lnTo>
                <a:lnTo>
                  <a:pt x="187870" y="5520359"/>
                </a:lnTo>
                <a:lnTo>
                  <a:pt x="169800" y="5507888"/>
                </a:lnTo>
                <a:lnTo>
                  <a:pt x="152339" y="5495769"/>
                </a:lnTo>
                <a:lnTo>
                  <a:pt x="136197" y="5482781"/>
                </a:lnTo>
                <a:lnTo>
                  <a:pt x="120713" y="5469358"/>
                </a:lnTo>
                <a:lnTo>
                  <a:pt x="106066" y="5455194"/>
                </a:lnTo>
                <a:lnTo>
                  <a:pt x="92686" y="5440948"/>
                </a:lnTo>
                <a:lnTo>
                  <a:pt x="79662" y="5426091"/>
                </a:lnTo>
                <a:lnTo>
                  <a:pt x="67906" y="5411152"/>
                </a:lnTo>
                <a:lnTo>
                  <a:pt x="57468" y="5395343"/>
                </a:lnTo>
                <a:lnTo>
                  <a:pt x="47336" y="5379711"/>
                </a:lnTo>
                <a:lnTo>
                  <a:pt x="38344" y="5363515"/>
                </a:lnTo>
                <a:lnTo>
                  <a:pt x="30190" y="5346577"/>
                </a:lnTo>
                <a:lnTo>
                  <a:pt x="23127" y="5329865"/>
                </a:lnTo>
                <a:lnTo>
                  <a:pt x="17205" y="5312587"/>
                </a:lnTo>
                <a:lnTo>
                  <a:pt x="11942" y="5294875"/>
                </a:lnTo>
                <a:lnTo>
                  <a:pt x="7291" y="5277515"/>
                </a:lnTo>
                <a:lnTo>
                  <a:pt x="4133" y="5258981"/>
                </a:lnTo>
                <a:lnTo>
                  <a:pt x="1892" y="5240976"/>
                </a:lnTo>
                <a:lnTo>
                  <a:pt x="440" y="5223018"/>
                </a:lnTo>
                <a:lnTo>
                  <a:pt x="0" y="5204014"/>
                </a:lnTo>
                <a:lnTo>
                  <a:pt x="958" y="5185409"/>
                </a:lnTo>
                <a:lnTo>
                  <a:pt x="2576" y="5166370"/>
                </a:lnTo>
                <a:lnTo>
                  <a:pt x="4981" y="5147378"/>
                </a:lnTo>
                <a:lnTo>
                  <a:pt x="8656" y="5128305"/>
                </a:lnTo>
                <a:lnTo>
                  <a:pt x="13296" y="5108972"/>
                </a:lnTo>
                <a:lnTo>
                  <a:pt x="18723" y="5089688"/>
                </a:lnTo>
                <a:lnTo>
                  <a:pt x="25597" y="5070016"/>
                </a:lnTo>
                <a:lnTo>
                  <a:pt x="33083" y="5050696"/>
                </a:lnTo>
                <a:lnTo>
                  <a:pt x="42144" y="5031472"/>
                </a:lnTo>
                <a:lnTo>
                  <a:pt x="51558" y="5011636"/>
                </a:lnTo>
                <a:lnTo>
                  <a:pt x="62372" y="4992200"/>
                </a:lnTo>
                <a:lnTo>
                  <a:pt x="2800920" y="248895"/>
                </a:lnTo>
                <a:lnTo>
                  <a:pt x="2812698" y="229201"/>
                </a:lnTo>
                <a:lnTo>
                  <a:pt x="2824429" y="210295"/>
                </a:lnTo>
                <a:lnTo>
                  <a:pt x="2837077" y="191918"/>
                </a:lnTo>
                <a:lnTo>
                  <a:pt x="2849807" y="174811"/>
                </a:lnTo>
                <a:lnTo>
                  <a:pt x="2862537" y="157704"/>
                </a:lnTo>
                <a:lnTo>
                  <a:pt x="2876183" y="141127"/>
                </a:lnTo>
                <a:lnTo>
                  <a:pt x="2890218" y="125996"/>
                </a:lnTo>
                <a:lnTo>
                  <a:pt x="2904205" y="111653"/>
                </a:lnTo>
                <a:lnTo>
                  <a:pt x="2918804" y="97664"/>
                </a:lnTo>
                <a:lnTo>
                  <a:pt x="2933485" y="84944"/>
                </a:lnTo>
                <a:lnTo>
                  <a:pt x="2948471" y="72401"/>
                </a:lnTo>
                <a:lnTo>
                  <a:pt x="2963845" y="61305"/>
                </a:lnTo>
                <a:lnTo>
                  <a:pt x="2979348" y="50690"/>
                </a:lnTo>
                <a:lnTo>
                  <a:pt x="2995110" y="41040"/>
                </a:lnTo>
                <a:lnTo>
                  <a:pt x="3011259" y="32837"/>
                </a:lnTo>
                <a:lnTo>
                  <a:pt x="3027714" y="24810"/>
                </a:lnTo>
                <a:lnTo>
                  <a:pt x="3044556" y="18229"/>
                </a:lnTo>
                <a:lnTo>
                  <a:pt x="3061657" y="12613"/>
                </a:lnTo>
                <a:lnTo>
                  <a:pt x="3078228" y="7915"/>
                </a:lnTo>
                <a:lnTo>
                  <a:pt x="3095846" y="4228"/>
                </a:lnTo>
                <a:lnTo>
                  <a:pt x="3113546" y="1812"/>
                </a:lnTo>
                <a:lnTo>
                  <a:pt x="3131327" y="665"/>
                </a:lnTo>
                <a:lnTo>
                  <a:pt x="3149238" y="0"/>
                </a:lnTo>
                <a:close/>
              </a:path>
            </a:pathLst>
          </a:custGeom>
          <a:solidFill>
            <a:schemeClr val="bg1">
              <a:lumMod val="85000"/>
              <a:alpha val="12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en-US" sz="1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47649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 MockUp (29-04-22)-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2">
            <a:extLst>
              <a:ext uri="{FF2B5EF4-FFF2-40B4-BE49-F238E27FC236}">
                <a16:creationId xmlns:a16="http://schemas.microsoft.com/office/drawing/2014/main" id="{41B1FDD0-27C9-4B62-9B62-E3167519C34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593112" y="1097027"/>
            <a:ext cx="2168853" cy="4663943"/>
          </a:xfrm>
          <a:custGeom>
            <a:avLst/>
            <a:gdLst>
              <a:gd name="connsiteX0" fmla="*/ 453489 w 3801621"/>
              <a:gd name="connsiteY0" fmla="*/ 0 h 8176339"/>
              <a:gd name="connsiteX1" fmla="*/ 837491 w 3801621"/>
              <a:gd name="connsiteY1" fmla="*/ 0 h 8176339"/>
              <a:gd name="connsiteX2" fmla="*/ 843433 w 3801621"/>
              <a:gd name="connsiteY2" fmla="*/ 916 h 8176339"/>
              <a:gd name="connsiteX3" fmla="*/ 848462 w 3801621"/>
              <a:gd name="connsiteY3" fmla="*/ 3664 h 8176339"/>
              <a:gd name="connsiteX4" fmla="*/ 853034 w 3801621"/>
              <a:gd name="connsiteY4" fmla="*/ 7785 h 8176339"/>
              <a:gd name="connsiteX5" fmla="*/ 856691 w 3801621"/>
              <a:gd name="connsiteY5" fmla="*/ 12821 h 8176339"/>
              <a:gd name="connsiteX6" fmla="*/ 860348 w 3801621"/>
              <a:gd name="connsiteY6" fmla="*/ 20148 h 8176339"/>
              <a:gd name="connsiteX7" fmla="*/ 863091 w 3801621"/>
              <a:gd name="connsiteY7" fmla="*/ 27932 h 8176339"/>
              <a:gd name="connsiteX8" fmla="*/ 865833 w 3801621"/>
              <a:gd name="connsiteY8" fmla="*/ 37090 h 8176339"/>
              <a:gd name="connsiteX9" fmla="*/ 867662 w 3801621"/>
              <a:gd name="connsiteY9" fmla="*/ 47622 h 8176339"/>
              <a:gd name="connsiteX10" fmla="*/ 871777 w 3801621"/>
              <a:gd name="connsiteY10" fmla="*/ 70059 h 8176339"/>
              <a:gd name="connsiteX11" fmla="*/ 876347 w 3801621"/>
              <a:gd name="connsiteY11" fmla="*/ 96160 h 8176339"/>
              <a:gd name="connsiteX12" fmla="*/ 879091 w 3801621"/>
              <a:gd name="connsiteY12" fmla="*/ 109440 h 8176339"/>
              <a:gd name="connsiteX13" fmla="*/ 882291 w 3801621"/>
              <a:gd name="connsiteY13" fmla="*/ 123176 h 8176339"/>
              <a:gd name="connsiteX14" fmla="*/ 885034 w 3801621"/>
              <a:gd name="connsiteY14" fmla="*/ 137371 h 8176339"/>
              <a:gd name="connsiteX15" fmla="*/ 889148 w 3801621"/>
              <a:gd name="connsiteY15" fmla="*/ 151108 h 8176339"/>
              <a:gd name="connsiteX16" fmla="*/ 893720 w 3801621"/>
              <a:gd name="connsiteY16" fmla="*/ 165761 h 8176339"/>
              <a:gd name="connsiteX17" fmla="*/ 899205 w 3801621"/>
              <a:gd name="connsiteY17" fmla="*/ 179957 h 8176339"/>
              <a:gd name="connsiteX18" fmla="*/ 905149 w 3801621"/>
              <a:gd name="connsiteY18" fmla="*/ 193694 h 8176339"/>
              <a:gd name="connsiteX19" fmla="*/ 912463 w 3801621"/>
              <a:gd name="connsiteY19" fmla="*/ 206973 h 8176339"/>
              <a:gd name="connsiteX20" fmla="*/ 919777 w 3801621"/>
              <a:gd name="connsiteY20" fmla="*/ 220252 h 8176339"/>
              <a:gd name="connsiteX21" fmla="*/ 928920 w 3801621"/>
              <a:gd name="connsiteY21" fmla="*/ 232616 h 8176339"/>
              <a:gd name="connsiteX22" fmla="*/ 939891 w 3801621"/>
              <a:gd name="connsiteY22" fmla="*/ 244063 h 8176339"/>
              <a:gd name="connsiteX23" fmla="*/ 951777 w 3801621"/>
              <a:gd name="connsiteY23" fmla="*/ 255510 h 8176339"/>
              <a:gd name="connsiteX24" fmla="*/ 964119 w 3801621"/>
              <a:gd name="connsiteY24" fmla="*/ 265585 h 8176339"/>
              <a:gd name="connsiteX25" fmla="*/ 979205 w 3801621"/>
              <a:gd name="connsiteY25" fmla="*/ 274743 h 8176339"/>
              <a:gd name="connsiteX26" fmla="*/ 995206 w 3801621"/>
              <a:gd name="connsiteY26" fmla="*/ 282985 h 8176339"/>
              <a:gd name="connsiteX27" fmla="*/ 1013491 w 3801621"/>
              <a:gd name="connsiteY27" fmla="*/ 289853 h 8176339"/>
              <a:gd name="connsiteX28" fmla="*/ 1033149 w 3801621"/>
              <a:gd name="connsiteY28" fmla="*/ 295348 h 8176339"/>
              <a:gd name="connsiteX29" fmla="*/ 1055092 w 3801621"/>
              <a:gd name="connsiteY29" fmla="*/ 299469 h 8176339"/>
              <a:gd name="connsiteX30" fmla="*/ 1078406 w 3801621"/>
              <a:gd name="connsiteY30" fmla="*/ 302217 h 8176339"/>
              <a:gd name="connsiteX31" fmla="*/ 1104463 w 3801621"/>
              <a:gd name="connsiteY31" fmla="*/ 303132 h 8176339"/>
              <a:gd name="connsiteX32" fmla="*/ 2697158 w 3801621"/>
              <a:gd name="connsiteY32" fmla="*/ 303132 h 8176339"/>
              <a:gd name="connsiteX33" fmla="*/ 2723215 w 3801621"/>
              <a:gd name="connsiteY33" fmla="*/ 302217 h 8176339"/>
              <a:gd name="connsiteX34" fmla="*/ 2746529 w 3801621"/>
              <a:gd name="connsiteY34" fmla="*/ 299469 h 8176339"/>
              <a:gd name="connsiteX35" fmla="*/ 2768472 w 3801621"/>
              <a:gd name="connsiteY35" fmla="*/ 295348 h 8176339"/>
              <a:gd name="connsiteX36" fmla="*/ 2788130 w 3801621"/>
              <a:gd name="connsiteY36" fmla="*/ 289853 h 8176339"/>
              <a:gd name="connsiteX37" fmla="*/ 2806415 w 3801621"/>
              <a:gd name="connsiteY37" fmla="*/ 282985 h 8176339"/>
              <a:gd name="connsiteX38" fmla="*/ 2822416 w 3801621"/>
              <a:gd name="connsiteY38" fmla="*/ 274743 h 8176339"/>
              <a:gd name="connsiteX39" fmla="*/ 2837501 w 3801621"/>
              <a:gd name="connsiteY39" fmla="*/ 265585 h 8176339"/>
              <a:gd name="connsiteX40" fmla="*/ 2849844 w 3801621"/>
              <a:gd name="connsiteY40" fmla="*/ 255510 h 8176339"/>
              <a:gd name="connsiteX41" fmla="*/ 2861730 w 3801621"/>
              <a:gd name="connsiteY41" fmla="*/ 244063 h 8176339"/>
              <a:gd name="connsiteX42" fmla="*/ 2872702 w 3801621"/>
              <a:gd name="connsiteY42" fmla="*/ 232616 h 8176339"/>
              <a:gd name="connsiteX43" fmla="*/ 2881845 w 3801621"/>
              <a:gd name="connsiteY43" fmla="*/ 220252 h 8176339"/>
              <a:gd name="connsiteX44" fmla="*/ 2889159 w 3801621"/>
              <a:gd name="connsiteY44" fmla="*/ 206973 h 8176339"/>
              <a:gd name="connsiteX45" fmla="*/ 2896474 w 3801621"/>
              <a:gd name="connsiteY45" fmla="*/ 193694 h 8176339"/>
              <a:gd name="connsiteX46" fmla="*/ 2902416 w 3801621"/>
              <a:gd name="connsiteY46" fmla="*/ 179957 h 8176339"/>
              <a:gd name="connsiteX47" fmla="*/ 2907901 w 3801621"/>
              <a:gd name="connsiteY47" fmla="*/ 165761 h 8176339"/>
              <a:gd name="connsiteX48" fmla="*/ 2912473 w 3801621"/>
              <a:gd name="connsiteY48" fmla="*/ 151108 h 8176339"/>
              <a:gd name="connsiteX49" fmla="*/ 2916587 w 3801621"/>
              <a:gd name="connsiteY49" fmla="*/ 137371 h 8176339"/>
              <a:gd name="connsiteX50" fmla="*/ 2919330 w 3801621"/>
              <a:gd name="connsiteY50" fmla="*/ 123176 h 8176339"/>
              <a:gd name="connsiteX51" fmla="*/ 2922530 w 3801621"/>
              <a:gd name="connsiteY51" fmla="*/ 109440 h 8176339"/>
              <a:gd name="connsiteX52" fmla="*/ 2925273 w 3801621"/>
              <a:gd name="connsiteY52" fmla="*/ 96160 h 8176339"/>
              <a:gd name="connsiteX53" fmla="*/ 2929844 w 3801621"/>
              <a:gd name="connsiteY53" fmla="*/ 70059 h 8176339"/>
              <a:gd name="connsiteX54" fmla="*/ 2933959 w 3801621"/>
              <a:gd name="connsiteY54" fmla="*/ 47622 h 8176339"/>
              <a:gd name="connsiteX55" fmla="*/ 2935788 w 3801621"/>
              <a:gd name="connsiteY55" fmla="*/ 37090 h 8176339"/>
              <a:gd name="connsiteX56" fmla="*/ 2938531 w 3801621"/>
              <a:gd name="connsiteY56" fmla="*/ 27932 h 8176339"/>
              <a:gd name="connsiteX57" fmla="*/ 2941273 w 3801621"/>
              <a:gd name="connsiteY57" fmla="*/ 20148 h 8176339"/>
              <a:gd name="connsiteX58" fmla="*/ 2944930 w 3801621"/>
              <a:gd name="connsiteY58" fmla="*/ 12821 h 8176339"/>
              <a:gd name="connsiteX59" fmla="*/ 2948587 w 3801621"/>
              <a:gd name="connsiteY59" fmla="*/ 7785 h 8176339"/>
              <a:gd name="connsiteX60" fmla="*/ 2953159 w 3801621"/>
              <a:gd name="connsiteY60" fmla="*/ 3664 h 8176339"/>
              <a:gd name="connsiteX61" fmla="*/ 2958188 w 3801621"/>
              <a:gd name="connsiteY61" fmla="*/ 916 h 8176339"/>
              <a:gd name="connsiteX62" fmla="*/ 2964131 w 3801621"/>
              <a:gd name="connsiteY62" fmla="*/ 0 h 8176339"/>
              <a:gd name="connsiteX63" fmla="*/ 3348132 w 3801621"/>
              <a:gd name="connsiteY63" fmla="*/ 0 h 8176339"/>
              <a:gd name="connsiteX64" fmla="*/ 3378761 w 3801621"/>
              <a:gd name="connsiteY64" fmla="*/ 457 h 8176339"/>
              <a:gd name="connsiteX65" fmla="*/ 3408019 w 3801621"/>
              <a:gd name="connsiteY65" fmla="*/ 3205 h 8176339"/>
              <a:gd name="connsiteX66" fmla="*/ 3436363 w 3801621"/>
              <a:gd name="connsiteY66" fmla="*/ 6869 h 8176339"/>
              <a:gd name="connsiteX67" fmla="*/ 3462876 w 3801621"/>
              <a:gd name="connsiteY67" fmla="*/ 11906 h 8176339"/>
              <a:gd name="connsiteX68" fmla="*/ 3488933 w 3801621"/>
              <a:gd name="connsiteY68" fmla="*/ 17858 h 8176339"/>
              <a:gd name="connsiteX69" fmla="*/ 3513161 w 3801621"/>
              <a:gd name="connsiteY69" fmla="*/ 26100 h 8176339"/>
              <a:gd name="connsiteX70" fmla="*/ 3536934 w 3801621"/>
              <a:gd name="connsiteY70" fmla="*/ 34801 h 8176339"/>
              <a:gd name="connsiteX71" fmla="*/ 3559334 w 3801621"/>
              <a:gd name="connsiteY71" fmla="*/ 45332 h 8176339"/>
              <a:gd name="connsiteX72" fmla="*/ 3580362 w 3801621"/>
              <a:gd name="connsiteY72" fmla="*/ 56780 h 8176339"/>
              <a:gd name="connsiteX73" fmla="*/ 3600477 w 3801621"/>
              <a:gd name="connsiteY73" fmla="*/ 70059 h 8176339"/>
              <a:gd name="connsiteX74" fmla="*/ 3619677 w 3801621"/>
              <a:gd name="connsiteY74" fmla="*/ 83797 h 8176339"/>
              <a:gd name="connsiteX75" fmla="*/ 3637963 w 3801621"/>
              <a:gd name="connsiteY75" fmla="*/ 99365 h 8176339"/>
              <a:gd name="connsiteX76" fmla="*/ 3654877 w 3801621"/>
              <a:gd name="connsiteY76" fmla="*/ 115391 h 8176339"/>
              <a:gd name="connsiteX77" fmla="*/ 3670421 w 3801621"/>
              <a:gd name="connsiteY77" fmla="*/ 132334 h 8176339"/>
              <a:gd name="connsiteX78" fmla="*/ 3685505 w 3801621"/>
              <a:gd name="connsiteY78" fmla="*/ 151108 h 8176339"/>
              <a:gd name="connsiteX79" fmla="*/ 3699678 w 3801621"/>
              <a:gd name="connsiteY79" fmla="*/ 170799 h 8176339"/>
              <a:gd name="connsiteX80" fmla="*/ 3712477 w 3801621"/>
              <a:gd name="connsiteY80" fmla="*/ 190489 h 8176339"/>
              <a:gd name="connsiteX81" fmla="*/ 3724363 w 3801621"/>
              <a:gd name="connsiteY81" fmla="*/ 212010 h 8176339"/>
              <a:gd name="connsiteX82" fmla="*/ 3735792 w 3801621"/>
              <a:gd name="connsiteY82" fmla="*/ 234446 h 8176339"/>
              <a:gd name="connsiteX83" fmla="*/ 3745392 w 3801621"/>
              <a:gd name="connsiteY83" fmla="*/ 257342 h 8176339"/>
              <a:gd name="connsiteX84" fmla="*/ 3754993 w 3801621"/>
              <a:gd name="connsiteY84" fmla="*/ 281611 h 8176339"/>
              <a:gd name="connsiteX85" fmla="*/ 3763221 w 3801621"/>
              <a:gd name="connsiteY85" fmla="*/ 306796 h 8176339"/>
              <a:gd name="connsiteX86" fmla="*/ 3770992 w 3801621"/>
              <a:gd name="connsiteY86" fmla="*/ 331981 h 8176339"/>
              <a:gd name="connsiteX87" fmla="*/ 3777850 w 3801621"/>
              <a:gd name="connsiteY87" fmla="*/ 358538 h 8176339"/>
              <a:gd name="connsiteX88" fmla="*/ 3783335 w 3801621"/>
              <a:gd name="connsiteY88" fmla="*/ 386013 h 8176339"/>
              <a:gd name="connsiteX89" fmla="*/ 3788364 w 3801621"/>
              <a:gd name="connsiteY89" fmla="*/ 413945 h 8176339"/>
              <a:gd name="connsiteX90" fmla="*/ 3792479 w 3801621"/>
              <a:gd name="connsiteY90" fmla="*/ 442335 h 8176339"/>
              <a:gd name="connsiteX91" fmla="*/ 3796135 w 3801621"/>
              <a:gd name="connsiteY91" fmla="*/ 471642 h 8176339"/>
              <a:gd name="connsiteX92" fmla="*/ 3798421 w 3801621"/>
              <a:gd name="connsiteY92" fmla="*/ 501406 h 8176339"/>
              <a:gd name="connsiteX93" fmla="*/ 3800249 w 3801621"/>
              <a:gd name="connsiteY93" fmla="*/ 532084 h 8176339"/>
              <a:gd name="connsiteX94" fmla="*/ 3801164 w 3801621"/>
              <a:gd name="connsiteY94" fmla="*/ 562764 h 8176339"/>
              <a:gd name="connsiteX95" fmla="*/ 3801621 w 3801621"/>
              <a:gd name="connsiteY95" fmla="*/ 593902 h 8176339"/>
              <a:gd name="connsiteX96" fmla="*/ 3801621 w 3801621"/>
              <a:gd name="connsiteY96" fmla="*/ 7640591 h 8176339"/>
              <a:gd name="connsiteX97" fmla="*/ 3801164 w 3801621"/>
              <a:gd name="connsiteY97" fmla="*/ 7670813 h 8176339"/>
              <a:gd name="connsiteX98" fmla="*/ 3799793 w 3801621"/>
              <a:gd name="connsiteY98" fmla="*/ 7701035 h 8176339"/>
              <a:gd name="connsiteX99" fmla="*/ 3796592 w 3801621"/>
              <a:gd name="connsiteY99" fmla="*/ 7729883 h 8176339"/>
              <a:gd name="connsiteX100" fmla="*/ 3792935 w 3801621"/>
              <a:gd name="connsiteY100" fmla="*/ 7758273 h 8176339"/>
              <a:gd name="connsiteX101" fmla="*/ 3788364 w 3801621"/>
              <a:gd name="connsiteY101" fmla="*/ 7785747 h 8176339"/>
              <a:gd name="connsiteX102" fmla="*/ 3782421 w 3801621"/>
              <a:gd name="connsiteY102" fmla="*/ 7812305 h 8176339"/>
              <a:gd name="connsiteX103" fmla="*/ 3775106 w 3801621"/>
              <a:gd name="connsiteY103" fmla="*/ 7837949 h 8176339"/>
              <a:gd name="connsiteX104" fmla="*/ 3767335 w 3801621"/>
              <a:gd name="connsiteY104" fmla="*/ 7863133 h 8176339"/>
              <a:gd name="connsiteX105" fmla="*/ 3758193 w 3801621"/>
              <a:gd name="connsiteY105" fmla="*/ 7887401 h 8176339"/>
              <a:gd name="connsiteX106" fmla="*/ 3748593 w 3801621"/>
              <a:gd name="connsiteY106" fmla="*/ 7910755 h 8176339"/>
              <a:gd name="connsiteX107" fmla="*/ 3737164 w 3801621"/>
              <a:gd name="connsiteY107" fmla="*/ 7933192 h 8176339"/>
              <a:gd name="connsiteX108" fmla="*/ 3725735 w 3801621"/>
              <a:gd name="connsiteY108" fmla="*/ 7955171 h 8176339"/>
              <a:gd name="connsiteX109" fmla="*/ 3712477 w 3801621"/>
              <a:gd name="connsiteY109" fmla="*/ 7975319 h 8176339"/>
              <a:gd name="connsiteX110" fmla="*/ 3698763 w 3801621"/>
              <a:gd name="connsiteY110" fmla="*/ 7995467 h 8176339"/>
              <a:gd name="connsiteX111" fmla="*/ 3683677 w 3801621"/>
              <a:gd name="connsiteY111" fmla="*/ 8014241 h 8176339"/>
              <a:gd name="connsiteX112" fmla="*/ 3667221 w 3801621"/>
              <a:gd name="connsiteY112" fmla="*/ 8032099 h 8176339"/>
              <a:gd name="connsiteX113" fmla="*/ 3650763 w 3801621"/>
              <a:gd name="connsiteY113" fmla="*/ 8049042 h 8176339"/>
              <a:gd name="connsiteX114" fmla="*/ 3633392 w 3801621"/>
              <a:gd name="connsiteY114" fmla="*/ 8065069 h 8176339"/>
              <a:gd name="connsiteX115" fmla="*/ 3614191 w 3801621"/>
              <a:gd name="connsiteY115" fmla="*/ 8079722 h 8176339"/>
              <a:gd name="connsiteX116" fmla="*/ 3594534 w 3801621"/>
              <a:gd name="connsiteY116" fmla="*/ 8093458 h 8176339"/>
              <a:gd name="connsiteX117" fmla="*/ 3573963 w 3801621"/>
              <a:gd name="connsiteY117" fmla="*/ 8106739 h 8176339"/>
              <a:gd name="connsiteX118" fmla="*/ 3552477 w 3801621"/>
              <a:gd name="connsiteY118" fmla="*/ 8118644 h 8176339"/>
              <a:gd name="connsiteX119" fmla="*/ 3530077 w 3801621"/>
              <a:gd name="connsiteY119" fmla="*/ 8129175 h 8176339"/>
              <a:gd name="connsiteX120" fmla="*/ 3507219 w 3801621"/>
              <a:gd name="connsiteY120" fmla="*/ 8139249 h 8176339"/>
              <a:gd name="connsiteX121" fmla="*/ 3482534 w 3801621"/>
              <a:gd name="connsiteY121" fmla="*/ 8147949 h 8176339"/>
              <a:gd name="connsiteX122" fmla="*/ 3457847 w 3801621"/>
              <a:gd name="connsiteY122" fmla="*/ 8155275 h 8176339"/>
              <a:gd name="connsiteX123" fmla="*/ 3432248 w 3801621"/>
              <a:gd name="connsiteY123" fmla="*/ 8161687 h 8176339"/>
              <a:gd name="connsiteX124" fmla="*/ 3405276 w 3801621"/>
              <a:gd name="connsiteY124" fmla="*/ 8166724 h 8176339"/>
              <a:gd name="connsiteX125" fmla="*/ 3377847 w 3801621"/>
              <a:gd name="connsiteY125" fmla="*/ 8171302 h 8176339"/>
              <a:gd name="connsiteX126" fmla="*/ 3349504 w 3801621"/>
              <a:gd name="connsiteY126" fmla="*/ 8173593 h 8176339"/>
              <a:gd name="connsiteX127" fmla="*/ 3319789 w 3801621"/>
              <a:gd name="connsiteY127" fmla="*/ 8175881 h 8176339"/>
              <a:gd name="connsiteX128" fmla="*/ 3290075 w 3801621"/>
              <a:gd name="connsiteY128" fmla="*/ 8176339 h 8176339"/>
              <a:gd name="connsiteX129" fmla="*/ 511546 w 3801621"/>
              <a:gd name="connsiteY129" fmla="*/ 8176339 h 8176339"/>
              <a:gd name="connsiteX130" fmla="*/ 482746 w 3801621"/>
              <a:gd name="connsiteY130" fmla="*/ 8175881 h 8176339"/>
              <a:gd name="connsiteX131" fmla="*/ 454402 w 3801621"/>
              <a:gd name="connsiteY131" fmla="*/ 8173593 h 8176339"/>
              <a:gd name="connsiteX132" fmla="*/ 426974 w 3801621"/>
              <a:gd name="connsiteY132" fmla="*/ 8171302 h 8176339"/>
              <a:gd name="connsiteX133" fmla="*/ 400459 w 3801621"/>
              <a:gd name="connsiteY133" fmla="*/ 8167181 h 8176339"/>
              <a:gd name="connsiteX134" fmla="*/ 374402 w 3801621"/>
              <a:gd name="connsiteY134" fmla="*/ 8162144 h 8176339"/>
              <a:gd name="connsiteX135" fmla="*/ 348802 w 3801621"/>
              <a:gd name="connsiteY135" fmla="*/ 8155734 h 8176339"/>
              <a:gd name="connsiteX136" fmla="*/ 324573 w 3801621"/>
              <a:gd name="connsiteY136" fmla="*/ 8148407 h 8176339"/>
              <a:gd name="connsiteX137" fmla="*/ 300344 w 3801621"/>
              <a:gd name="connsiteY137" fmla="*/ 8140165 h 8176339"/>
              <a:gd name="connsiteX138" fmla="*/ 277486 w 3801621"/>
              <a:gd name="connsiteY138" fmla="*/ 8131007 h 8176339"/>
              <a:gd name="connsiteX139" fmla="*/ 255543 w 3801621"/>
              <a:gd name="connsiteY139" fmla="*/ 8120017 h 8176339"/>
              <a:gd name="connsiteX140" fmla="*/ 234058 w 3801621"/>
              <a:gd name="connsiteY140" fmla="*/ 8109027 h 8176339"/>
              <a:gd name="connsiteX141" fmla="*/ 213487 w 3801621"/>
              <a:gd name="connsiteY141" fmla="*/ 8096665 h 8176339"/>
              <a:gd name="connsiteX142" fmla="*/ 193372 w 3801621"/>
              <a:gd name="connsiteY142" fmla="*/ 8082927 h 8176339"/>
              <a:gd name="connsiteX143" fmla="*/ 174629 w 3801621"/>
              <a:gd name="connsiteY143" fmla="*/ 8068733 h 8176339"/>
              <a:gd name="connsiteX144" fmla="*/ 156800 w 3801621"/>
              <a:gd name="connsiteY144" fmla="*/ 8053163 h 8176339"/>
              <a:gd name="connsiteX145" fmla="*/ 139429 w 3801621"/>
              <a:gd name="connsiteY145" fmla="*/ 8036679 h 8176339"/>
              <a:gd name="connsiteX146" fmla="*/ 122972 w 3801621"/>
              <a:gd name="connsiteY146" fmla="*/ 8020194 h 8176339"/>
              <a:gd name="connsiteX147" fmla="*/ 107429 w 3801621"/>
              <a:gd name="connsiteY147" fmla="*/ 8001419 h 8176339"/>
              <a:gd name="connsiteX148" fmla="*/ 93258 w 3801621"/>
              <a:gd name="connsiteY148" fmla="*/ 7982647 h 8176339"/>
              <a:gd name="connsiteX149" fmla="*/ 80000 w 3801621"/>
              <a:gd name="connsiteY149" fmla="*/ 7963413 h 8176339"/>
              <a:gd name="connsiteX150" fmla="*/ 67201 w 3801621"/>
              <a:gd name="connsiteY150" fmla="*/ 7942350 h 8176339"/>
              <a:gd name="connsiteX151" fmla="*/ 56229 w 3801621"/>
              <a:gd name="connsiteY151" fmla="*/ 7920829 h 8176339"/>
              <a:gd name="connsiteX152" fmla="*/ 45715 w 3801621"/>
              <a:gd name="connsiteY152" fmla="*/ 7898391 h 8176339"/>
              <a:gd name="connsiteX153" fmla="*/ 36114 w 3801621"/>
              <a:gd name="connsiteY153" fmla="*/ 7875496 h 8176339"/>
              <a:gd name="connsiteX154" fmla="*/ 27885 w 3801621"/>
              <a:gd name="connsiteY154" fmla="*/ 7851686 h 8176339"/>
              <a:gd name="connsiteX155" fmla="*/ 20571 w 3801621"/>
              <a:gd name="connsiteY155" fmla="*/ 7826959 h 8176339"/>
              <a:gd name="connsiteX156" fmla="*/ 14171 w 3801621"/>
              <a:gd name="connsiteY156" fmla="*/ 7801774 h 8176339"/>
              <a:gd name="connsiteX157" fmla="*/ 9143 w 3801621"/>
              <a:gd name="connsiteY157" fmla="*/ 7775215 h 8176339"/>
              <a:gd name="connsiteX158" fmla="*/ 5029 w 3801621"/>
              <a:gd name="connsiteY158" fmla="*/ 7748656 h 8176339"/>
              <a:gd name="connsiteX159" fmla="*/ 2742 w 3801621"/>
              <a:gd name="connsiteY159" fmla="*/ 7721183 h 8176339"/>
              <a:gd name="connsiteX160" fmla="*/ 457 w 3801621"/>
              <a:gd name="connsiteY160" fmla="*/ 7692793 h 8176339"/>
              <a:gd name="connsiteX161" fmla="*/ 0 w 3801621"/>
              <a:gd name="connsiteY161" fmla="*/ 7663945 h 8176339"/>
              <a:gd name="connsiteX162" fmla="*/ 0 w 3801621"/>
              <a:gd name="connsiteY162" fmla="*/ 559101 h 8176339"/>
              <a:gd name="connsiteX163" fmla="*/ 457 w 3801621"/>
              <a:gd name="connsiteY163" fmla="*/ 529337 h 8176339"/>
              <a:gd name="connsiteX164" fmla="*/ 1372 w 3801621"/>
              <a:gd name="connsiteY164" fmla="*/ 500488 h 8176339"/>
              <a:gd name="connsiteX165" fmla="*/ 3657 w 3801621"/>
              <a:gd name="connsiteY165" fmla="*/ 471642 h 8176339"/>
              <a:gd name="connsiteX166" fmla="*/ 6857 w 3801621"/>
              <a:gd name="connsiteY166" fmla="*/ 444167 h 8176339"/>
              <a:gd name="connsiteX167" fmla="*/ 10057 w 3801621"/>
              <a:gd name="connsiteY167" fmla="*/ 416693 h 8176339"/>
              <a:gd name="connsiteX168" fmla="*/ 14628 w 3801621"/>
              <a:gd name="connsiteY168" fmla="*/ 389218 h 8176339"/>
              <a:gd name="connsiteX169" fmla="*/ 20571 w 3801621"/>
              <a:gd name="connsiteY169" fmla="*/ 363118 h 8176339"/>
              <a:gd name="connsiteX170" fmla="*/ 26972 w 3801621"/>
              <a:gd name="connsiteY170" fmla="*/ 337933 h 8176339"/>
              <a:gd name="connsiteX171" fmla="*/ 34286 w 3801621"/>
              <a:gd name="connsiteY171" fmla="*/ 312749 h 8176339"/>
              <a:gd name="connsiteX172" fmla="*/ 42514 w 3801621"/>
              <a:gd name="connsiteY172" fmla="*/ 288937 h 8176339"/>
              <a:gd name="connsiteX173" fmla="*/ 51200 w 3801621"/>
              <a:gd name="connsiteY173" fmla="*/ 265126 h 8176339"/>
              <a:gd name="connsiteX174" fmla="*/ 61257 w 3801621"/>
              <a:gd name="connsiteY174" fmla="*/ 242690 h 8176339"/>
              <a:gd name="connsiteX175" fmla="*/ 71771 w 3801621"/>
              <a:gd name="connsiteY175" fmla="*/ 220710 h 8176339"/>
              <a:gd name="connsiteX176" fmla="*/ 83200 w 3801621"/>
              <a:gd name="connsiteY176" fmla="*/ 199647 h 8176339"/>
              <a:gd name="connsiteX177" fmla="*/ 96000 w 3801621"/>
              <a:gd name="connsiteY177" fmla="*/ 179957 h 8176339"/>
              <a:gd name="connsiteX178" fmla="*/ 109257 w 3801621"/>
              <a:gd name="connsiteY178" fmla="*/ 160266 h 8176339"/>
              <a:gd name="connsiteX179" fmla="*/ 123886 w 3801621"/>
              <a:gd name="connsiteY179" fmla="*/ 141950 h 8176339"/>
              <a:gd name="connsiteX180" fmla="*/ 139429 w 3801621"/>
              <a:gd name="connsiteY180" fmla="*/ 124550 h 8176339"/>
              <a:gd name="connsiteX181" fmla="*/ 154972 w 3801621"/>
              <a:gd name="connsiteY181" fmla="*/ 108524 h 8176339"/>
              <a:gd name="connsiteX182" fmla="*/ 172343 w 3801621"/>
              <a:gd name="connsiteY182" fmla="*/ 92954 h 8176339"/>
              <a:gd name="connsiteX183" fmla="*/ 190629 w 3801621"/>
              <a:gd name="connsiteY183" fmla="*/ 78760 h 8176339"/>
              <a:gd name="connsiteX184" fmla="*/ 209830 w 3801621"/>
              <a:gd name="connsiteY184" fmla="*/ 65938 h 8176339"/>
              <a:gd name="connsiteX185" fmla="*/ 229487 w 3801621"/>
              <a:gd name="connsiteY185" fmla="*/ 53575 h 8176339"/>
              <a:gd name="connsiteX186" fmla="*/ 250516 w 3801621"/>
              <a:gd name="connsiteY186" fmla="*/ 43043 h 8176339"/>
              <a:gd name="connsiteX187" fmla="*/ 272459 w 3801621"/>
              <a:gd name="connsiteY187" fmla="*/ 32510 h 8176339"/>
              <a:gd name="connsiteX188" fmla="*/ 295316 w 3801621"/>
              <a:gd name="connsiteY188" fmla="*/ 24727 h 8176339"/>
              <a:gd name="connsiteX189" fmla="*/ 319544 w 3801621"/>
              <a:gd name="connsiteY189" fmla="*/ 16942 h 8176339"/>
              <a:gd name="connsiteX190" fmla="*/ 343773 w 3801621"/>
              <a:gd name="connsiteY190" fmla="*/ 11448 h 8176339"/>
              <a:gd name="connsiteX191" fmla="*/ 369830 w 3801621"/>
              <a:gd name="connsiteY191" fmla="*/ 5953 h 8176339"/>
              <a:gd name="connsiteX192" fmla="*/ 396802 w 3801621"/>
              <a:gd name="connsiteY192" fmla="*/ 2748 h 8176339"/>
              <a:gd name="connsiteX193" fmla="*/ 424687 w 3801621"/>
              <a:gd name="connsiteY193" fmla="*/ 457 h 8176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</a:cxnLst>
            <a:rect l="l" t="t" r="r" b="b"/>
            <a:pathLst>
              <a:path w="3801621" h="8176339">
                <a:moveTo>
                  <a:pt x="453489" y="0"/>
                </a:moveTo>
                <a:lnTo>
                  <a:pt x="837491" y="0"/>
                </a:lnTo>
                <a:lnTo>
                  <a:pt x="843433" y="916"/>
                </a:lnTo>
                <a:lnTo>
                  <a:pt x="848462" y="3664"/>
                </a:lnTo>
                <a:lnTo>
                  <a:pt x="853034" y="7785"/>
                </a:lnTo>
                <a:lnTo>
                  <a:pt x="856691" y="12821"/>
                </a:lnTo>
                <a:lnTo>
                  <a:pt x="860348" y="20148"/>
                </a:lnTo>
                <a:lnTo>
                  <a:pt x="863091" y="27932"/>
                </a:lnTo>
                <a:lnTo>
                  <a:pt x="865833" y="37090"/>
                </a:lnTo>
                <a:lnTo>
                  <a:pt x="867662" y="47622"/>
                </a:lnTo>
                <a:lnTo>
                  <a:pt x="871777" y="70059"/>
                </a:lnTo>
                <a:lnTo>
                  <a:pt x="876347" y="96160"/>
                </a:lnTo>
                <a:lnTo>
                  <a:pt x="879091" y="109440"/>
                </a:lnTo>
                <a:lnTo>
                  <a:pt x="882291" y="123176"/>
                </a:lnTo>
                <a:lnTo>
                  <a:pt x="885034" y="137371"/>
                </a:lnTo>
                <a:lnTo>
                  <a:pt x="889148" y="151108"/>
                </a:lnTo>
                <a:lnTo>
                  <a:pt x="893720" y="165761"/>
                </a:lnTo>
                <a:lnTo>
                  <a:pt x="899205" y="179957"/>
                </a:lnTo>
                <a:lnTo>
                  <a:pt x="905149" y="193694"/>
                </a:lnTo>
                <a:lnTo>
                  <a:pt x="912463" y="206973"/>
                </a:lnTo>
                <a:lnTo>
                  <a:pt x="919777" y="220252"/>
                </a:lnTo>
                <a:lnTo>
                  <a:pt x="928920" y="232616"/>
                </a:lnTo>
                <a:lnTo>
                  <a:pt x="939891" y="244063"/>
                </a:lnTo>
                <a:lnTo>
                  <a:pt x="951777" y="255510"/>
                </a:lnTo>
                <a:lnTo>
                  <a:pt x="964119" y="265585"/>
                </a:lnTo>
                <a:lnTo>
                  <a:pt x="979205" y="274743"/>
                </a:lnTo>
                <a:lnTo>
                  <a:pt x="995206" y="282985"/>
                </a:lnTo>
                <a:lnTo>
                  <a:pt x="1013491" y="289853"/>
                </a:lnTo>
                <a:lnTo>
                  <a:pt x="1033149" y="295348"/>
                </a:lnTo>
                <a:lnTo>
                  <a:pt x="1055092" y="299469"/>
                </a:lnTo>
                <a:lnTo>
                  <a:pt x="1078406" y="302217"/>
                </a:lnTo>
                <a:lnTo>
                  <a:pt x="1104463" y="303132"/>
                </a:lnTo>
                <a:lnTo>
                  <a:pt x="2697158" y="303132"/>
                </a:lnTo>
                <a:lnTo>
                  <a:pt x="2723215" y="302217"/>
                </a:lnTo>
                <a:lnTo>
                  <a:pt x="2746529" y="299469"/>
                </a:lnTo>
                <a:lnTo>
                  <a:pt x="2768472" y="295348"/>
                </a:lnTo>
                <a:lnTo>
                  <a:pt x="2788130" y="289853"/>
                </a:lnTo>
                <a:lnTo>
                  <a:pt x="2806415" y="282985"/>
                </a:lnTo>
                <a:lnTo>
                  <a:pt x="2822416" y="274743"/>
                </a:lnTo>
                <a:lnTo>
                  <a:pt x="2837501" y="265585"/>
                </a:lnTo>
                <a:lnTo>
                  <a:pt x="2849844" y="255510"/>
                </a:lnTo>
                <a:lnTo>
                  <a:pt x="2861730" y="244063"/>
                </a:lnTo>
                <a:lnTo>
                  <a:pt x="2872702" y="232616"/>
                </a:lnTo>
                <a:lnTo>
                  <a:pt x="2881845" y="220252"/>
                </a:lnTo>
                <a:lnTo>
                  <a:pt x="2889159" y="206973"/>
                </a:lnTo>
                <a:lnTo>
                  <a:pt x="2896474" y="193694"/>
                </a:lnTo>
                <a:lnTo>
                  <a:pt x="2902416" y="179957"/>
                </a:lnTo>
                <a:lnTo>
                  <a:pt x="2907901" y="165761"/>
                </a:lnTo>
                <a:lnTo>
                  <a:pt x="2912473" y="151108"/>
                </a:lnTo>
                <a:lnTo>
                  <a:pt x="2916587" y="137371"/>
                </a:lnTo>
                <a:lnTo>
                  <a:pt x="2919330" y="123176"/>
                </a:lnTo>
                <a:lnTo>
                  <a:pt x="2922530" y="109440"/>
                </a:lnTo>
                <a:lnTo>
                  <a:pt x="2925273" y="96160"/>
                </a:lnTo>
                <a:lnTo>
                  <a:pt x="2929844" y="70059"/>
                </a:lnTo>
                <a:lnTo>
                  <a:pt x="2933959" y="47622"/>
                </a:lnTo>
                <a:lnTo>
                  <a:pt x="2935788" y="37090"/>
                </a:lnTo>
                <a:lnTo>
                  <a:pt x="2938531" y="27932"/>
                </a:lnTo>
                <a:lnTo>
                  <a:pt x="2941273" y="20148"/>
                </a:lnTo>
                <a:lnTo>
                  <a:pt x="2944930" y="12821"/>
                </a:lnTo>
                <a:lnTo>
                  <a:pt x="2948587" y="7785"/>
                </a:lnTo>
                <a:lnTo>
                  <a:pt x="2953159" y="3664"/>
                </a:lnTo>
                <a:lnTo>
                  <a:pt x="2958188" y="916"/>
                </a:lnTo>
                <a:lnTo>
                  <a:pt x="2964131" y="0"/>
                </a:lnTo>
                <a:lnTo>
                  <a:pt x="3348132" y="0"/>
                </a:lnTo>
                <a:lnTo>
                  <a:pt x="3378761" y="457"/>
                </a:lnTo>
                <a:lnTo>
                  <a:pt x="3408019" y="3205"/>
                </a:lnTo>
                <a:lnTo>
                  <a:pt x="3436363" y="6869"/>
                </a:lnTo>
                <a:lnTo>
                  <a:pt x="3462876" y="11906"/>
                </a:lnTo>
                <a:lnTo>
                  <a:pt x="3488933" y="17858"/>
                </a:lnTo>
                <a:lnTo>
                  <a:pt x="3513161" y="26100"/>
                </a:lnTo>
                <a:lnTo>
                  <a:pt x="3536934" y="34801"/>
                </a:lnTo>
                <a:lnTo>
                  <a:pt x="3559334" y="45332"/>
                </a:lnTo>
                <a:lnTo>
                  <a:pt x="3580362" y="56780"/>
                </a:lnTo>
                <a:lnTo>
                  <a:pt x="3600477" y="70059"/>
                </a:lnTo>
                <a:lnTo>
                  <a:pt x="3619677" y="83797"/>
                </a:lnTo>
                <a:lnTo>
                  <a:pt x="3637963" y="99365"/>
                </a:lnTo>
                <a:lnTo>
                  <a:pt x="3654877" y="115391"/>
                </a:lnTo>
                <a:lnTo>
                  <a:pt x="3670421" y="132334"/>
                </a:lnTo>
                <a:lnTo>
                  <a:pt x="3685505" y="151108"/>
                </a:lnTo>
                <a:lnTo>
                  <a:pt x="3699678" y="170799"/>
                </a:lnTo>
                <a:lnTo>
                  <a:pt x="3712477" y="190489"/>
                </a:lnTo>
                <a:lnTo>
                  <a:pt x="3724363" y="212010"/>
                </a:lnTo>
                <a:lnTo>
                  <a:pt x="3735792" y="234446"/>
                </a:lnTo>
                <a:lnTo>
                  <a:pt x="3745392" y="257342"/>
                </a:lnTo>
                <a:lnTo>
                  <a:pt x="3754993" y="281611"/>
                </a:lnTo>
                <a:lnTo>
                  <a:pt x="3763221" y="306796"/>
                </a:lnTo>
                <a:lnTo>
                  <a:pt x="3770992" y="331981"/>
                </a:lnTo>
                <a:lnTo>
                  <a:pt x="3777850" y="358538"/>
                </a:lnTo>
                <a:lnTo>
                  <a:pt x="3783335" y="386013"/>
                </a:lnTo>
                <a:lnTo>
                  <a:pt x="3788364" y="413945"/>
                </a:lnTo>
                <a:lnTo>
                  <a:pt x="3792479" y="442335"/>
                </a:lnTo>
                <a:lnTo>
                  <a:pt x="3796135" y="471642"/>
                </a:lnTo>
                <a:lnTo>
                  <a:pt x="3798421" y="501406"/>
                </a:lnTo>
                <a:lnTo>
                  <a:pt x="3800249" y="532084"/>
                </a:lnTo>
                <a:lnTo>
                  <a:pt x="3801164" y="562764"/>
                </a:lnTo>
                <a:lnTo>
                  <a:pt x="3801621" y="593902"/>
                </a:lnTo>
                <a:lnTo>
                  <a:pt x="3801621" y="7640591"/>
                </a:lnTo>
                <a:lnTo>
                  <a:pt x="3801164" y="7670813"/>
                </a:lnTo>
                <a:lnTo>
                  <a:pt x="3799793" y="7701035"/>
                </a:lnTo>
                <a:lnTo>
                  <a:pt x="3796592" y="7729883"/>
                </a:lnTo>
                <a:lnTo>
                  <a:pt x="3792935" y="7758273"/>
                </a:lnTo>
                <a:lnTo>
                  <a:pt x="3788364" y="7785747"/>
                </a:lnTo>
                <a:lnTo>
                  <a:pt x="3782421" y="7812305"/>
                </a:lnTo>
                <a:lnTo>
                  <a:pt x="3775106" y="7837949"/>
                </a:lnTo>
                <a:lnTo>
                  <a:pt x="3767335" y="7863133"/>
                </a:lnTo>
                <a:lnTo>
                  <a:pt x="3758193" y="7887401"/>
                </a:lnTo>
                <a:lnTo>
                  <a:pt x="3748593" y="7910755"/>
                </a:lnTo>
                <a:lnTo>
                  <a:pt x="3737164" y="7933192"/>
                </a:lnTo>
                <a:lnTo>
                  <a:pt x="3725735" y="7955171"/>
                </a:lnTo>
                <a:lnTo>
                  <a:pt x="3712477" y="7975319"/>
                </a:lnTo>
                <a:lnTo>
                  <a:pt x="3698763" y="7995467"/>
                </a:lnTo>
                <a:lnTo>
                  <a:pt x="3683677" y="8014241"/>
                </a:lnTo>
                <a:lnTo>
                  <a:pt x="3667221" y="8032099"/>
                </a:lnTo>
                <a:lnTo>
                  <a:pt x="3650763" y="8049042"/>
                </a:lnTo>
                <a:lnTo>
                  <a:pt x="3633392" y="8065069"/>
                </a:lnTo>
                <a:lnTo>
                  <a:pt x="3614191" y="8079722"/>
                </a:lnTo>
                <a:lnTo>
                  <a:pt x="3594534" y="8093458"/>
                </a:lnTo>
                <a:lnTo>
                  <a:pt x="3573963" y="8106739"/>
                </a:lnTo>
                <a:lnTo>
                  <a:pt x="3552477" y="8118644"/>
                </a:lnTo>
                <a:lnTo>
                  <a:pt x="3530077" y="8129175"/>
                </a:lnTo>
                <a:lnTo>
                  <a:pt x="3507219" y="8139249"/>
                </a:lnTo>
                <a:lnTo>
                  <a:pt x="3482534" y="8147949"/>
                </a:lnTo>
                <a:lnTo>
                  <a:pt x="3457847" y="8155275"/>
                </a:lnTo>
                <a:lnTo>
                  <a:pt x="3432248" y="8161687"/>
                </a:lnTo>
                <a:lnTo>
                  <a:pt x="3405276" y="8166724"/>
                </a:lnTo>
                <a:lnTo>
                  <a:pt x="3377847" y="8171302"/>
                </a:lnTo>
                <a:lnTo>
                  <a:pt x="3349504" y="8173593"/>
                </a:lnTo>
                <a:lnTo>
                  <a:pt x="3319789" y="8175881"/>
                </a:lnTo>
                <a:lnTo>
                  <a:pt x="3290075" y="8176339"/>
                </a:lnTo>
                <a:lnTo>
                  <a:pt x="511546" y="8176339"/>
                </a:lnTo>
                <a:lnTo>
                  <a:pt x="482746" y="8175881"/>
                </a:lnTo>
                <a:lnTo>
                  <a:pt x="454402" y="8173593"/>
                </a:lnTo>
                <a:lnTo>
                  <a:pt x="426974" y="8171302"/>
                </a:lnTo>
                <a:lnTo>
                  <a:pt x="400459" y="8167181"/>
                </a:lnTo>
                <a:lnTo>
                  <a:pt x="374402" y="8162144"/>
                </a:lnTo>
                <a:lnTo>
                  <a:pt x="348802" y="8155734"/>
                </a:lnTo>
                <a:lnTo>
                  <a:pt x="324573" y="8148407"/>
                </a:lnTo>
                <a:lnTo>
                  <a:pt x="300344" y="8140165"/>
                </a:lnTo>
                <a:lnTo>
                  <a:pt x="277486" y="8131007"/>
                </a:lnTo>
                <a:lnTo>
                  <a:pt x="255543" y="8120017"/>
                </a:lnTo>
                <a:lnTo>
                  <a:pt x="234058" y="8109027"/>
                </a:lnTo>
                <a:lnTo>
                  <a:pt x="213487" y="8096665"/>
                </a:lnTo>
                <a:lnTo>
                  <a:pt x="193372" y="8082927"/>
                </a:lnTo>
                <a:lnTo>
                  <a:pt x="174629" y="8068733"/>
                </a:lnTo>
                <a:lnTo>
                  <a:pt x="156800" y="8053163"/>
                </a:lnTo>
                <a:lnTo>
                  <a:pt x="139429" y="8036679"/>
                </a:lnTo>
                <a:lnTo>
                  <a:pt x="122972" y="8020194"/>
                </a:lnTo>
                <a:lnTo>
                  <a:pt x="107429" y="8001419"/>
                </a:lnTo>
                <a:lnTo>
                  <a:pt x="93258" y="7982647"/>
                </a:lnTo>
                <a:lnTo>
                  <a:pt x="80000" y="7963413"/>
                </a:lnTo>
                <a:lnTo>
                  <a:pt x="67201" y="7942350"/>
                </a:lnTo>
                <a:lnTo>
                  <a:pt x="56229" y="7920829"/>
                </a:lnTo>
                <a:lnTo>
                  <a:pt x="45715" y="7898391"/>
                </a:lnTo>
                <a:lnTo>
                  <a:pt x="36114" y="7875496"/>
                </a:lnTo>
                <a:lnTo>
                  <a:pt x="27885" y="7851686"/>
                </a:lnTo>
                <a:lnTo>
                  <a:pt x="20571" y="7826959"/>
                </a:lnTo>
                <a:lnTo>
                  <a:pt x="14171" y="7801774"/>
                </a:lnTo>
                <a:lnTo>
                  <a:pt x="9143" y="7775215"/>
                </a:lnTo>
                <a:lnTo>
                  <a:pt x="5029" y="7748656"/>
                </a:lnTo>
                <a:lnTo>
                  <a:pt x="2742" y="7721183"/>
                </a:lnTo>
                <a:lnTo>
                  <a:pt x="457" y="7692793"/>
                </a:lnTo>
                <a:lnTo>
                  <a:pt x="0" y="7663945"/>
                </a:lnTo>
                <a:lnTo>
                  <a:pt x="0" y="559101"/>
                </a:lnTo>
                <a:lnTo>
                  <a:pt x="457" y="529337"/>
                </a:lnTo>
                <a:lnTo>
                  <a:pt x="1372" y="500488"/>
                </a:lnTo>
                <a:lnTo>
                  <a:pt x="3657" y="471642"/>
                </a:lnTo>
                <a:lnTo>
                  <a:pt x="6857" y="444167"/>
                </a:lnTo>
                <a:lnTo>
                  <a:pt x="10057" y="416693"/>
                </a:lnTo>
                <a:lnTo>
                  <a:pt x="14628" y="389218"/>
                </a:lnTo>
                <a:lnTo>
                  <a:pt x="20571" y="363118"/>
                </a:lnTo>
                <a:lnTo>
                  <a:pt x="26972" y="337933"/>
                </a:lnTo>
                <a:lnTo>
                  <a:pt x="34286" y="312749"/>
                </a:lnTo>
                <a:lnTo>
                  <a:pt x="42514" y="288937"/>
                </a:lnTo>
                <a:lnTo>
                  <a:pt x="51200" y="265126"/>
                </a:lnTo>
                <a:lnTo>
                  <a:pt x="61257" y="242690"/>
                </a:lnTo>
                <a:lnTo>
                  <a:pt x="71771" y="220710"/>
                </a:lnTo>
                <a:lnTo>
                  <a:pt x="83200" y="199647"/>
                </a:lnTo>
                <a:lnTo>
                  <a:pt x="96000" y="179957"/>
                </a:lnTo>
                <a:lnTo>
                  <a:pt x="109257" y="160266"/>
                </a:lnTo>
                <a:lnTo>
                  <a:pt x="123886" y="141950"/>
                </a:lnTo>
                <a:lnTo>
                  <a:pt x="139429" y="124550"/>
                </a:lnTo>
                <a:lnTo>
                  <a:pt x="154972" y="108524"/>
                </a:lnTo>
                <a:lnTo>
                  <a:pt x="172343" y="92954"/>
                </a:lnTo>
                <a:lnTo>
                  <a:pt x="190629" y="78760"/>
                </a:lnTo>
                <a:lnTo>
                  <a:pt x="209830" y="65938"/>
                </a:lnTo>
                <a:lnTo>
                  <a:pt x="229487" y="53575"/>
                </a:lnTo>
                <a:lnTo>
                  <a:pt x="250516" y="43043"/>
                </a:lnTo>
                <a:lnTo>
                  <a:pt x="272459" y="32510"/>
                </a:lnTo>
                <a:lnTo>
                  <a:pt x="295316" y="24727"/>
                </a:lnTo>
                <a:lnTo>
                  <a:pt x="319544" y="16942"/>
                </a:lnTo>
                <a:lnTo>
                  <a:pt x="343773" y="11448"/>
                </a:lnTo>
                <a:lnTo>
                  <a:pt x="369830" y="5953"/>
                </a:lnTo>
                <a:lnTo>
                  <a:pt x="396802" y="2748"/>
                </a:lnTo>
                <a:lnTo>
                  <a:pt x="424687" y="45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100">
                <a:solidFill>
                  <a:schemeClr val="tx1"/>
                </a:solidFill>
              </a:defRPr>
            </a:lvl1pPr>
          </a:lstStyle>
          <a:p>
            <a:pPr lvl="0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66006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 MockUp (19-04-22)-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2">
            <a:extLst>
              <a:ext uri="{FF2B5EF4-FFF2-40B4-BE49-F238E27FC236}">
                <a16:creationId xmlns:a16="http://schemas.microsoft.com/office/drawing/2014/main" id="{B525F548-CC55-4B1C-B930-D6E8E27401A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 rot="1142268">
            <a:off x="1909597" y="959976"/>
            <a:ext cx="2321843" cy="5041666"/>
          </a:xfrm>
          <a:custGeom>
            <a:avLst/>
            <a:gdLst>
              <a:gd name="connsiteX0" fmla="*/ 311534 w 3063570"/>
              <a:gd name="connsiteY0" fmla="*/ 0 h 6637020"/>
              <a:gd name="connsiteX1" fmla="*/ 2752036 w 3063570"/>
              <a:gd name="connsiteY1" fmla="*/ 0 h 6637020"/>
              <a:gd name="connsiteX2" fmla="*/ 3063570 w 3063570"/>
              <a:gd name="connsiteY2" fmla="*/ 316144 h 6637020"/>
              <a:gd name="connsiteX3" fmla="*/ 3063570 w 3063570"/>
              <a:gd name="connsiteY3" fmla="*/ 6320876 h 6637020"/>
              <a:gd name="connsiteX4" fmla="*/ 2752036 w 3063570"/>
              <a:gd name="connsiteY4" fmla="*/ 6637020 h 6637020"/>
              <a:gd name="connsiteX5" fmla="*/ 311534 w 3063570"/>
              <a:gd name="connsiteY5" fmla="*/ 6637020 h 6637020"/>
              <a:gd name="connsiteX6" fmla="*/ 0 w 3063570"/>
              <a:gd name="connsiteY6" fmla="*/ 6320876 h 6637020"/>
              <a:gd name="connsiteX7" fmla="*/ 0 w 3063570"/>
              <a:gd name="connsiteY7" fmla="*/ 316144 h 6637020"/>
              <a:gd name="connsiteX8" fmla="*/ 311534 w 3063570"/>
              <a:gd name="connsiteY8" fmla="*/ 0 h 6637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63570" h="6637020">
                <a:moveTo>
                  <a:pt x="311534" y="0"/>
                </a:moveTo>
                <a:lnTo>
                  <a:pt x="2752036" y="0"/>
                </a:lnTo>
                <a:cubicBezTo>
                  <a:pt x="2924091" y="0"/>
                  <a:pt x="3063570" y="141543"/>
                  <a:pt x="3063570" y="316144"/>
                </a:cubicBezTo>
                <a:lnTo>
                  <a:pt x="3063570" y="6320876"/>
                </a:lnTo>
                <a:cubicBezTo>
                  <a:pt x="3063570" y="6495477"/>
                  <a:pt x="2924091" y="6637020"/>
                  <a:pt x="2752036" y="6637020"/>
                </a:cubicBezTo>
                <a:lnTo>
                  <a:pt x="311534" y="6637020"/>
                </a:lnTo>
                <a:cubicBezTo>
                  <a:pt x="139479" y="6637020"/>
                  <a:pt x="0" y="6495477"/>
                  <a:pt x="0" y="6320876"/>
                </a:cubicBezTo>
                <a:lnTo>
                  <a:pt x="0" y="316144"/>
                </a:lnTo>
                <a:cubicBezTo>
                  <a:pt x="0" y="141543"/>
                  <a:pt x="139479" y="0"/>
                  <a:pt x="31153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ru-RU" sz="100">
                <a:solidFill>
                  <a:schemeClr val="tx1"/>
                </a:solidFill>
              </a:defRPr>
            </a:lvl1pPr>
          </a:lstStyle>
          <a:p>
            <a:pPr lvl="0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16154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4443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61" r:id="rId3"/>
    <p:sldLayoutId id="2147483657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  <p:sldLayoutId id="2147483672" r:id="rId14"/>
    <p:sldLayoutId id="2147483673" r:id="rId15"/>
    <p:sldLayoutId id="2147483674" r:id="rId16"/>
    <p:sldLayoutId id="2147483675" r:id="rId17"/>
    <p:sldLayoutId id="2147483676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360" userDrawn="1">
          <p15:clr>
            <a:srgbClr val="F26B43"/>
          </p15:clr>
        </p15:guide>
        <p15:guide id="4" pos="1752" userDrawn="1">
          <p15:clr>
            <a:srgbClr val="F26B43"/>
          </p15:clr>
        </p15:guide>
        <p15:guide id="5" pos="3144" userDrawn="1">
          <p15:clr>
            <a:srgbClr val="F26B43"/>
          </p15:clr>
        </p15:guide>
        <p15:guide id="6" pos="4536" userDrawn="1">
          <p15:clr>
            <a:srgbClr val="F26B43"/>
          </p15:clr>
        </p15:guide>
        <p15:guide id="7" pos="5928" userDrawn="1">
          <p15:clr>
            <a:srgbClr val="F26B43"/>
          </p15:clr>
        </p15:guide>
        <p15:guide id="8" pos="7320" userDrawn="1">
          <p15:clr>
            <a:srgbClr val="F26B43"/>
          </p15:clr>
        </p15:guide>
        <p15:guide id="9" orient="horz" userDrawn="1">
          <p15:clr>
            <a:srgbClr val="F26B43"/>
          </p15:clr>
        </p15:guide>
        <p15:guide id="10" orient="horz" pos="4320" userDrawn="1">
          <p15:clr>
            <a:srgbClr val="F26B43"/>
          </p15:clr>
        </p15:guide>
        <p15:guide id="11" orient="horz" pos="360" userDrawn="1">
          <p15:clr>
            <a:srgbClr val="F26B43"/>
          </p15:clr>
        </p15:guide>
        <p15:guide id="12" orient="horz" pos="1080" userDrawn="1">
          <p15:clr>
            <a:srgbClr val="F26B43"/>
          </p15:clr>
        </p15:guide>
        <p15:guide id="13" orient="horz" pos="1800" userDrawn="1">
          <p15:clr>
            <a:srgbClr val="F26B43"/>
          </p15:clr>
        </p15:guide>
        <p15:guide id="14" orient="horz" pos="2520" userDrawn="1">
          <p15:clr>
            <a:srgbClr val="F26B43"/>
          </p15:clr>
        </p15:guide>
        <p15:guide id="15" orient="horz" pos="3240" userDrawn="1">
          <p15:clr>
            <a:srgbClr val="F26B43"/>
          </p15:clr>
        </p15:guide>
        <p15:guide id="16" orient="horz" pos="39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50" Type="http://schemas.openxmlformats.org/officeDocument/2006/relationships/tags" Target="../tags/tag52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notesSlide" Target="../notesSlides/notesSlide1.xml"/><Relationship Id="rId5" Type="http://schemas.openxmlformats.org/officeDocument/2006/relationships/tags" Target="../tags/tag7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slideLayout" Target="../slideLayouts/slideLayout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tags" Target="../tags/tag67.xml"/><Relationship Id="rId18" Type="http://schemas.openxmlformats.org/officeDocument/2006/relationships/tags" Target="../tags/tag72.xml"/><Relationship Id="rId26" Type="http://schemas.openxmlformats.org/officeDocument/2006/relationships/tags" Target="../tags/tag80.xml"/><Relationship Id="rId39" Type="http://schemas.openxmlformats.org/officeDocument/2006/relationships/tags" Target="../tags/tag93.xml"/><Relationship Id="rId21" Type="http://schemas.openxmlformats.org/officeDocument/2006/relationships/tags" Target="../tags/tag75.xml"/><Relationship Id="rId34" Type="http://schemas.openxmlformats.org/officeDocument/2006/relationships/tags" Target="../tags/tag88.xml"/><Relationship Id="rId42" Type="http://schemas.openxmlformats.org/officeDocument/2006/relationships/tags" Target="../tags/tag96.xml"/><Relationship Id="rId47" Type="http://schemas.openxmlformats.org/officeDocument/2006/relationships/tags" Target="../tags/tag101.xml"/><Relationship Id="rId50" Type="http://schemas.openxmlformats.org/officeDocument/2006/relationships/tags" Target="../tags/tag104.xml"/><Relationship Id="rId55" Type="http://schemas.openxmlformats.org/officeDocument/2006/relationships/tags" Target="../tags/tag109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6" Type="http://schemas.openxmlformats.org/officeDocument/2006/relationships/tags" Target="../tags/tag70.xml"/><Relationship Id="rId29" Type="http://schemas.openxmlformats.org/officeDocument/2006/relationships/tags" Target="../tags/tag83.xml"/><Relationship Id="rId11" Type="http://schemas.openxmlformats.org/officeDocument/2006/relationships/tags" Target="../tags/tag65.xml"/><Relationship Id="rId24" Type="http://schemas.openxmlformats.org/officeDocument/2006/relationships/tags" Target="../tags/tag78.xml"/><Relationship Id="rId32" Type="http://schemas.openxmlformats.org/officeDocument/2006/relationships/tags" Target="../tags/tag86.xml"/><Relationship Id="rId37" Type="http://schemas.openxmlformats.org/officeDocument/2006/relationships/tags" Target="../tags/tag91.xml"/><Relationship Id="rId40" Type="http://schemas.openxmlformats.org/officeDocument/2006/relationships/tags" Target="../tags/tag94.xml"/><Relationship Id="rId45" Type="http://schemas.openxmlformats.org/officeDocument/2006/relationships/tags" Target="../tags/tag99.xml"/><Relationship Id="rId53" Type="http://schemas.openxmlformats.org/officeDocument/2006/relationships/tags" Target="../tags/tag107.xml"/><Relationship Id="rId58" Type="http://schemas.openxmlformats.org/officeDocument/2006/relationships/notesSlide" Target="../notesSlides/notesSlide2.xml"/><Relationship Id="rId5" Type="http://schemas.openxmlformats.org/officeDocument/2006/relationships/tags" Target="../tags/tag59.xml"/><Relationship Id="rId19" Type="http://schemas.openxmlformats.org/officeDocument/2006/relationships/tags" Target="../tags/tag73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tags" Target="../tags/tag68.xml"/><Relationship Id="rId22" Type="http://schemas.openxmlformats.org/officeDocument/2006/relationships/tags" Target="../tags/tag76.xml"/><Relationship Id="rId27" Type="http://schemas.openxmlformats.org/officeDocument/2006/relationships/tags" Target="../tags/tag81.xml"/><Relationship Id="rId30" Type="http://schemas.openxmlformats.org/officeDocument/2006/relationships/tags" Target="../tags/tag84.xml"/><Relationship Id="rId35" Type="http://schemas.openxmlformats.org/officeDocument/2006/relationships/tags" Target="../tags/tag89.xml"/><Relationship Id="rId43" Type="http://schemas.openxmlformats.org/officeDocument/2006/relationships/tags" Target="../tags/tag97.xml"/><Relationship Id="rId48" Type="http://schemas.openxmlformats.org/officeDocument/2006/relationships/tags" Target="../tags/tag102.xml"/><Relationship Id="rId56" Type="http://schemas.openxmlformats.org/officeDocument/2006/relationships/tags" Target="../tags/tag110.xml"/><Relationship Id="rId8" Type="http://schemas.openxmlformats.org/officeDocument/2006/relationships/tags" Target="../tags/tag62.xml"/><Relationship Id="rId51" Type="http://schemas.openxmlformats.org/officeDocument/2006/relationships/tags" Target="../tags/tag105.xml"/><Relationship Id="rId3" Type="http://schemas.openxmlformats.org/officeDocument/2006/relationships/tags" Target="../tags/tag57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25" Type="http://schemas.openxmlformats.org/officeDocument/2006/relationships/tags" Target="../tags/tag79.xml"/><Relationship Id="rId33" Type="http://schemas.openxmlformats.org/officeDocument/2006/relationships/tags" Target="../tags/tag87.xml"/><Relationship Id="rId38" Type="http://schemas.openxmlformats.org/officeDocument/2006/relationships/tags" Target="../tags/tag92.xml"/><Relationship Id="rId46" Type="http://schemas.openxmlformats.org/officeDocument/2006/relationships/tags" Target="../tags/tag100.xml"/><Relationship Id="rId20" Type="http://schemas.openxmlformats.org/officeDocument/2006/relationships/tags" Target="../tags/tag74.xml"/><Relationship Id="rId41" Type="http://schemas.openxmlformats.org/officeDocument/2006/relationships/tags" Target="../tags/tag95.xml"/><Relationship Id="rId54" Type="http://schemas.openxmlformats.org/officeDocument/2006/relationships/tags" Target="../tags/tag108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5" Type="http://schemas.openxmlformats.org/officeDocument/2006/relationships/tags" Target="../tags/tag69.xml"/><Relationship Id="rId23" Type="http://schemas.openxmlformats.org/officeDocument/2006/relationships/tags" Target="../tags/tag77.xml"/><Relationship Id="rId28" Type="http://schemas.openxmlformats.org/officeDocument/2006/relationships/tags" Target="../tags/tag82.xml"/><Relationship Id="rId36" Type="http://schemas.openxmlformats.org/officeDocument/2006/relationships/tags" Target="../tags/tag90.xml"/><Relationship Id="rId49" Type="http://schemas.openxmlformats.org/officeDocument/2006/relationships/tags" Target="../tags/tag103.xml"/><Relationship Id="rId57" Type="http://schemas.openxmlformats.org/officeDocument/2006/relationships/slideLayout" Target="../slideLayouts/slideLayout2.xml"/><Relationship Id="rId10" Type="http://schemas.openxmlformats.org/officeDocument/2006/relationships/tags" Target="../tags/tag64.xml"/><Relationship Id="rId31" Type="http://schemas.openxmlformats.org/officeDocument/2006/relationships/tags" Target="../tags/tag85.xml"/><Relationship Id="rId44" Type="http://schemas.openxmlformats.org/officeDocument/2006/relationships/tags" Target="../tags/tag98.xml"/><Relationship Id="rId52" Type="http://schemas.openxmlformats.org/officeDocument/2006/relationships/tags" Target="../tags/tag106.xml"/></Relationships>
</file>

<file path=ppt/slides/_rels/slide24.xml.rels><?xml version="1.0" encoding="UTF-8" standalone="yes"?>
<Relationships xmlns="http://schemas.openxmlformats.org/package/2006/relationships"><Relationship Id="rId26" Type="http://schemas.openxmlformats.org/officeDocument/2006/relationships/tags" Target="../tags/tag137.xml"/><Relationship Id="rId21" Type="http://schemas.openxmlformats.org/officeDocument/2006/relationships/tags" Target="../tags/tag132.xml"/><Relationship Id="rId42" Type="http://schemas.openxmlformats.org/officeDocument/2006/relationships/tags" Target="../tags/tag153.xml"/><Relationship Id="rId47" Type="http://schemas.openxmlformats.org/officeDocument/2006/relationships/tags" Target="../tags/tag158.xml"/><Relationship Id="rId63" Type="http://schemas.openxmlformats.org/officeDocument/2006/relationships/tags" Target="../tags/tag174.xml"/><Relationship Id="rId68" Type="http://schemas.openxmlformats.org/officeDocument/2006/relationships/tags" Target="../tags/tag179.xml"/><Relationship Id="rId7" Type="http://schemas.openxmlformats.org/officeDocument/2006/relationships/tags" Target="../tags/tag118.xml"/><Relationship Id="rId71" Type="http://schemas.openxmlformats.org/officeDocument/2006/relationships/notesSlide" Target="../notesSlides/notesSlide3.xml"/><Relationship Id="rId2" Type="http://schemas.openxmlformats.org/officeDocument/2006/relationships/tags" Target="../tags/tag113.xml"/><Relationship Id="rId16" Type="http://schemas.openxmlformats.org/officeDocument/2006/relationships/tags" Target="../tags/tag127.xml"/><Relationship Id="rId29" Type="http://schemas.openxmlformats.org/officeDocument/2006/relationships/tags" Target="../tags/tag140.xml"/><Relationship Id="rId11" Type="http://schemas.openxmlformats.org/officeDocument/2006/relationships/tags" Target="../tags/tag122.xml"/><Relationship Id="rId24" Type="http://schemas.openxmlformats.org/officeDocument/2006/relationships/tags" Target="../tags/tag135.xml"/><Relationship Id="rId32" Type="http://schemas.openxmlformats.org/officeDocument/2006/relationships/tags" Target="../tags/tag143.xml"/><Relationship Id="rId37" Type="http://schemas.openxmlformats.org/officeDocument/2006/relationships/tags" Target="../tags/tag148.xml"/><Relationship Id="rId40" Type="http://schemas.openxmlformats.org/officeDocument/2006/relationships/tags" Target="../tags/tag151.xml"/><Relationship Id="rId45" Type="http://schemas.openxmlformats.org/officeDocument/2006/relationships/tags" Target="../tags/tag156.xml"/><Relationship Id="rId53" Type="http://schemas.openxmlformats.org/officeDocument/2006/relationships/tags" Target="../tags/tag164.xml"/><Relationship Id="rId58" Type="http://schemas.openxmlformats.org/officeDocument/2006/relationships/tags" Target="../tags/tag169.xml"/><Relationship Id="rId66" Type="http://schemas.openxmlformats.org/officeDocument/2006/relationships/tags" Target="../tags/tag177.xml"/><Relationship Id="rId5" Type="http://schemas.openxmlformats.org/officeDocument/2006/relationships/tags" Target="../tags/tag116.xml"/><Relationship Id="rId61" Type="http://schemas.openxmlformats.org/officeDocument/2006/relationships/tags" Target="../tags/tag172.xml"/><Relationship Id="rId19" Type="http://schemas.openxmlformats.org/officeDocument/2006/relationships/tags" Target="../tags/tag130.xml"/><Relationship Id="rId14" Type="http://schemas.openxmlformats.org/officeDocument/2006/relationships/tags" Target="../tags/tag125.xml"/><Relationship Id="rId22" Type="http://schemas.openxmlformats.org/officeDocument/2006/relationships/tags" Target="../tags/tag133.xml"/><Relationship Id="rId27" Type="http://schemas.openxmlformats.org/officeDocument/2006/relationships/tags" Target="../tags/tag138.xml"/><Relationship Id="rId30" Type="http://schemas.openxmlformats.org/officeDocument/2006/relationships/tags" Target="../tags/tag141.xml"/><Relationship Id="rId35" Type="http://schemas.openxmlformats.org/officeDocument/2006/relationships/tags" Target="../tags/tag146.xml"/><Relationship Id="rId43" Type="http://schemas.openxmlformats.org/officeDocument/2006/relationships/tags" Target="../tags/tag154.xml"/><Relationship Id="rId48" Type="http://schemas.openxmlformats.org/officeDocument/2006/relationships/tags" Target="../tags/tag159.xml"/><Relationship Id="rId56" Type="http://schemas.openxmlformats.org/officeDocument/2006/relationships/tags" Target="../tags/tag167.xml"/><Relationship Id="rId64" Type="http://schemas.openxmlformats.org/officeDocument/2006/relationships/tags" Target="../tags/tag175.xml"/><Relationship Id="rId69" Type="http://schemas.openxmlformats.org/officeDocument/2006/relationships/tags" Target="../tags/tag180.xml"/><Relationship Id="rId8" Type="http://schemas.openxmlformats.org/officeDocument/2006/relationships/tags" Target="../tags/tag119.xml"/><Relationship Id="rId51" Type="http://schemas.openxmlformats.org/officeDocument/2006/relationships/tags" Target="../tags/tag162.xml"/><Relationship Id="rId3" Type="http://schemas.openxmlformats.org/officeDocument/2006/relationships/tags" Target="../tags/tag114.xml"/><Relationship Id="rId12" Type="http://schemas.openxmlformats.org/officeDocument/2006/relationships/tags" Target="../tags/tag123.xml"/><Relationship Id="rId17" Type="http://schemas.openxmlformats.org/officeDocument/2006/relationships/tags" Target="../tags/tag128.xml"/><Relationship Id="rId25" Type="http://schemas.openxmlformats.org/officeDocument/2006/relationships/tags" Target="../tags/tag136.xml"/><Relationship Id="rId33" Type="http://schemas.openxmlformats.org/officeDocument/2006/relationships/tags" Target="../tags/tag144.xml"/><Relationship Id="rId38" Type="http://schemas.openxmlformats.org/officeDocument/2006/relationships/tags" Target="../tags/tag149.xml"/><Relationship Id="rId46" Type="http://schemas.openxmlformats.org/officeDocument/2006/relationships/tags" Target="../tags/tag157.xml"/><Relationship Id="rId59" Type="http://schemas.openxmlformats.org/officeDocument/2006/relationships/tags" Target="../tags/tag170.xml"/><Relationship Id="rId67" Type="http://schemas.openxmlformats.org/officeDocument/2006/relationships/tags" Target="../tags/tag178.xml"/><Relationship Id="rId20" Type="http://schemas.openxmlformats.org/officeDocument/2006/relationships/tags" Target="../tags/tag131.xml"/><Relationship Id="rId41" Type="http://schemas.openxmlformats.org/officeDocument/2006/relationships/tags" Target="../tags/tag152.xml"/><Relationship Id="rId54" Type="http://schemas.openxmlformats.org/officeDocument/2006/relationships/tags" Target="../tags/tag165.xml"/><Relationship Id="rId62" Type="http://schemas.openxmlformats.org/officeDocument/2006/relationships/tags" Target="../tags/tag173.xml"/><Relationship Id="rId70" Type="http://schemas.openxmlformats.org/officeDocument/2006/relationships/slideLayout" Target="../slideLayouts/slideLayout2.xml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15" Type="http://schemas.openxmlformats.org/officeDocument/2006/relationships/tags" Target="../tags/tag126.xml"/><Relationship Id="rId23" Type="http://schemas.openxmlformats.org/officeDocument/2006/relationships/tags" Target="../tags/tag134.xml"/><Relationship Id="rId28" Type="http://schemas.openxmlformats.org/officeDocument/2006/relationships/tags" Target="../tags/tag139.xml"/><Relationship Id="rId36" Type="http://schemas.openxmlformats.org/officeDocument/2006/relationships/tags" Target="../tags/tag147.xml"/><Relationship Id="rId49" Type="http://schemas.openxmlformats.org/officeDocument/2006/relationships/tags" Target="../tags/tag160.xml"/><Relationship Id="rId57" Type="http://schemas.openxmlformats.org/officeDocument/2006/relationships/tags" Target="../tags/tag168.xml"/><Relationship Id="rId10" Type="http://schemas.openxmlformats.org/officeDocument/2006/relationships/tags" Target="../tags/tag121.xml"/><Relationship Id="rId31" Type="http://schemas.openxmlformats.org/officeDocument/2006/relationships/tags" Target="../tags/tag142.xml"/><Relationship Id="rId44" Type="http://schemas.openxmlformats.org/officeDocument/2006/relationships/tags" Target="../tags/tag155.xml"/><Relationship Id="rId52" Type="http://schemas.openxmlformats.org/officeDocument/2006/relationships/tags" Target="../tags/tag163.xml"/><Relationship Id="rId60" Type="http://schemas.openxmlformats.org/officeDocument/2006/relationships/tags" Target="../tags/tag171.xml"/><Relationship Id="rId65" Type="http://schemas.openxmlformats.org/officeDocument/2006/relationships/tags" Target="../tags/tag176.xml"/><Relationship Id="rId4" Type="http://schemas.openxmlformats.org/officeDocument/2006/relationships/tags" Target="../tags/tag115.xml"/><Relationship Id="rId9" Type="http://schemas.openxmlformats.org/officeDocument/2006/relationships/tags" Target="../tags/tag120.xml"/><Relationship Id="rId13" Type="http://schemas.openxmlformats.org/officeDocument/2006/relationships/tags" Target="../tags/tag124.xml"/><Relationship Id="rId18" Type="http://schemas.openxmlformats.org/officeDocument/2006/relationships/tags" Target="../tags/tag129.xml"/><Relationship Id="rId39" Type="http://schemas.openxmlformats.org/officeDocument/2006/relationships/tags" Target="../tags/tag150.xml"/><Relationship Id="rId34" Type="http://schemas.openxmlformats.org/officeDocument/2006/relationships/tags" Target="../tags/tag145.xml"/><Relationship Id="rId50" Type="http://schemas.openxmlformats.org/officeDocument/2006/relationships/tags" Target="../tags/tag161.xml"/><Relationship Id="rId55" Type="http://schemas.openxmlformats.org/officeDocument/2006/relationships/tags" Target="../tags/tag166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13" Type="http://schemas.openxmlformats.org/officeDocument/2006/relationships/tags" Target="../tags/tag194.xml"/><Relationship Id="rId18" Type="http://schemas.openxmlformats.org/officeDocument/2006/relationships/tags" Target="../tags/tag199.xml"/><Relationship Id="rId26" Type="http://schemas.openxmlformats.org/officeDocument/2006/relationships/tags" Target="../tags/tag207.xml"/><Relationship Id="rId3" Type="http://schemas.openxmlformats.org/officeDocument/2006/relationships/tags" Target="../tags/tag184.xml"/><Relationship Id="rId21" Type="http://schemas.openxmlformats.org/officeDocument/2006/relationships/tags" Target="../tags/tag202.xml"/><Relationship Id="rId7" Type="http://schemas.openxmlformats.org/officeDocument/2006/relationships/tags" Target="../tags/tag188.xml"/><Relationship Id="rId12" Type="http://schemas.openxmlformats.org/officeDocument/2006/relationships/tags" Target="../tags/tag193.xml"/><Relationship Id="rId17" Type="http://schemas.openxmlformats.org/officeDocument/2006/relationships/tags" Target="../tags/tag198.xml"/><Relationship Id="rId25" Type="http://schemas.openxmlformats.org/officeDocument/2006/relationships/tags" Target="../tags/tag206.xml"/><Relationship Id="rId2" Type="http://schemas.openxmlformats.org/officeDocument/2006/relationships/tags" Target="../tags/tag183.xml"/><Relationship Id="rId16" Type="http://schemas.openxmlformats.org/officeDocument/2006/relationships/tags" Target="../tags/tag197.xml"/><Relationship Id="rId20" Type="http://schemas.openxmlformats.org/officeDocument/2006/relationships/tags" Target="../tags/tag201.xml"/><Relationship Id="rId29" Type="http://schemas.openxmlformats.org/officeDocument/2006/relationships/slideLayout" Target="../slideLayouts/slideLayout2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11" Type="http://schemas.openxmlformats.org/officeDocument/2006/relationships/tags" Target="../tags/tag192.xml"/><Relationship Id="rId24" Type="http://schemas.openxmlformats.org/officeDocument/2006/relationships/tags" Target="../tags/tag205.xml"/><Relationship Id="rId5" Type="http://schemas.openxmlformats.org/officeDocument/2006/relationships/tags" Target="../tags/tag186.xml"/><Relationship Id="rId15" Type="http://schemas.openxmlformats.org/officeDocument/2006/relationships/tags" Target="../tags/tag196.xml"/><Relationship Id="rId23" Type="http://schemas.openxmlformats.org/officeDocument/2006/relationships/tags" Target="../tags/tag204.xml"/><Relationship Id="rId28" Type="http://schemas.openxmlformats.org/officeDocument/2006/relationships/tags" Target="../tags/tag209.xml"/><Relationship Id="rId10" Type="http://schemas.openxmlformats.org/officeDocument/2006/relationships/tags" Target="../tags/tag191.xml"/><Relationship Id="rId19" Type="http://schemas.openxmlformats.org/officeDocument/2006/relationships/tags" Target="../tags/tag200.xml"/><Relationship Id="rId4" Type="http://schemas.openxmlformats.org/officeDocument/2006/relationships/tags" Target="../tags/tag185.xml"/><Relationship Id="rId9" Type="http://schemas.openxmlformats.org/officeDocument/2006/relationships/tags" Target="../tags/tag190.xml"/><Relationship Id="rId14" Type="http://schemas.openxmlformats.org/officeDocument/2006/relationships/tags" Target="../tags/tag195.xml"/><Relationship Id="rId22" Type="http://schemas.openxmlformats.org/officeDocument/2006/relationships/tags" Target="../tags/tag203.xml"/><Relationship Id="rId27" Type="http://schemas.openxmlformats.org/officeDocument/2006/relationships/tags" Target="../tags/tag208.xml"/><Relationship Id="rId30" Type="http://schemas.openxmlformats.org/officeDocument/2006/relationships/notesSlide" Target="../notesSlides/notesSlide4.xml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tags" Target="../tags/tag223.xml"/><Relationship Id="rId18" Type="http://schemas.openxmlformats.org/officeDocument/2006/relationships/tags" Target="../tags/tag228.xml"/><Relationship Id="rId26" Type="http://schemas.openxmlformats.org/officeDocument/2006/relationships/tags" Target="../tags/tag236.xml"/><Relationship Id="rId39" Type="http://schemas.openxmlformats.org/officeDocument/2006/relationships/tags" Target="../tags/tag249.xml"/><Relationship Id="rId21" Type="http://schemas.openxmlformats.org/officeDocument/2006/relationships/tags" Target="../tags/tag231.xml"/><Relationship Id="rId34" Type="http://schemas.openxmlformats.org/officeDocument/2006/relationships/tags" Target="../tags/tag244.xml"/><Relationship Id="rId42" Type="http://schemas.openxmlformats.org/officeDocument/2006/relationships/tags" Target="../tags/tag252.xml"/><Relationship Id="rId47" Type="http://schemas.openxmlformats.org/officeDocument/2006/relationships/tags" Target="../tags/tag257.xml"/><Relationship Id="rId50" Type="http://schemas.openxmlformats.org/officeDocument/2006/relationships/tags" Target="../tags/tag260.xml"/><Relationship Id="rId7" Type="http://schemas.openxmlformats.org/officeDocument/2006/relationships/tags" Target="../tags/tag217.xml"/><Relationship Id="rId2" Type="http://schemas.openxmlformats.org/officeDocument/2006/relationships/tags" Target="../tags/tag212.xml"/><Relationship Id="rId16" Type="http://schemas.openxmlformats.org/officeDocument/2006/relationships/tags" Target="../tags/tag226.xml"/><Relationship Id="rId29" Type="http://schemas.openxmlformats.org/officeDocument/2006/relationships/tags" Target="../tags/tag239.xml"/><Relationship Id="rId11" Type="http://schemas.openxmlformats.org/officeDocument/2006/relationships/tags" Target="../tags/tag221.xml"/><Relationship Id="rId24" Type="http://schemas.openxmlformats.org/officeDocument/2006/relationships/tags" Target="../tags/tag234.xml"/><Relationship Id="rId32" Type="http://schemas.openxmlformats.org/officeDocument/2006/relationships/tags" Target="../tags/tag242.xml"/><Relationship Id="rId37" Type="http://schemas.openxmlformats.org/officeDocument/2006/relationships/tags" Target="../tags/tag247.xml"/><Relationship Id="rId40" Type="http://schemas.openxmlformats.org/officeDocument/2006/relationships/tags" Target="../tags/tag250.xml"/><Relationship Id="rId45" Type="http://schemas.openxmlformats.org/officeDocument/2006/relationships/tags" Target="../tags/tag255.xml"/><Relationship Id="rId53" Type="http://schemas.openxmlformats.org/officeDocument/2006/relationships/slideLayout" Target="../slideLayouts/slideLayout2.xml"/><Relationship Id="rId5" Type="http://schemas.openxmlformats.org/officeDocument/2006/relationships/tags" Target="../tags/tag215.xml"/><Relationship Id="rId10" Type="http://schemas.openxmlformats.org/officeDocument/2006/relationships/tags" Target="../tags/tag220.xml"/><Relationship Id="rId19" Type="http://schemas.openxmlformats.org/officeDocument/2006/relationships/tags" Target="../tags/tag229.xml"/><Relationship Id="rId31" Type="http://schemas.openxmlformats.org/officeDocument/2006/relationships/tags" Target="../tags/tag241.xml"/><Relationship Id="rId44" Type="http://schemas.openxmlformats.org/officeDocument/2006/relationships/tags" Target="../tags/tag254.xml"/><Relationship Id="rId52" Type="http://schemas.openxmlformats.org/officeDocument/2006/relationships/tags" Target="../tags/tag262.xml"/><Relationship Id="rId4" Type="http://schemas.openxmlformats.org/officeDocument/2006/relationships/tags" Target="../tags/tag214.xml"/><Relationship Id="rId9" Type="http://schemas.openxmlformats.org/officeDocument/2006/relationships/tags" Target="../tags/tag219.xml"/><Relationship Id="rId14" Type="http://schemas.openxmlformats.org/officeDocument/2006/relationships/tags" Target="../tags/tag224.xml"/><Relationship Id="rId22" Type="http://schemas.openxmlformats.org/officeDocument/2006/relationships/tags" Target="../tags/tag232.xml"/><Relationship Id="rId27" Type="http://schemas.openxmlformats.org/officeDocument/2006/relationships/tags" Target="../tags/tag237.xml"/><Relationship Id="rId30" Type="http://schemas.openxmlformats.org/officeDocument/2006/relationships/tags" Target="../tags/tag240.xml"/><Relationship Id="rId35" Type="http://schemas.openxmlformats.org/officeDocument/2006/relationships/tags" Target="../tags/tag245.xml"/><Relationship Id="rId43" Type="http://schemas.openxmlformats.org/officeDocument/2006/relationships/tags" Target="../tags/tag253.xml"/><Relationship Id="rId48" Type="http://schemas.openxmlformats.org/officeDocument/2006/relationships/tags" Target="../tags/tag258.xml"/><Relationship Id="rId8" Type="http://schemas.openxmlformats.org/officeDocument/2006/relationships/tags" Target="../tags/tag218.xml"/><Relationship Id="rId51" Type="http://schemas.openxmlformats.org/officeDocument/2006/relationships/tags" Target="../tags/tag261.xml"/><Relationship Id="rId3" Type="http://schemas.openxmlformats.org/officeDocument/2006/relationships/tags" Target="../tags/tag213.xml"/><Relationship Id="rId12" Type="http://schemas.openxmlformats.org/officeDocument/2006/relationships/tags" Target="../tags/tag222.xml"/><Relationship Id="rId17" Type="http://schemas.openxmlformats.org/officeDocument/2006/relationships/tags" Target="../tags/tag227.xml"/><Relationship Id="rId25" Type="http://schemas.openxmlformats.org/officeDocument/2006/relationships/tags" Target="../tags/tag235.xml"/><Relationship Id="rId33" Type="http://schemas.openxmlformats.org/officeDocument/2006/relationships/tags" Target="../tags/tag243.xml"/><Relationship Id="rId38" Type="http://schemas.openxmlformats.org/officeDocument/2006/relationships/tags" Target="../tags/tag248.xml"/><Relationship Id="rId46" Type="http://schemas.openxmlformats.org/officeDocument/2006/relationships/tags" Target="../tags/tag256.xml"/><Relationship Id="rId20" Type="http://schemas.openxmlformats.org/officeDocument/2006/relationships/tags" Target="../tags/tag230.xml"/><Relationship Id="rId41" Type="http://schemas.openxmlformats.org/officeDocument/2006/relationships/tags" Target="../tags/tag251.xml"/><Relationship Id="rId54" Type="http://schemas.openxmlformats.org/officeDocument/2006/relationships/notesSlide" Target="../notesSlides/notesSlide5.xml"/><Relationship Id="rId1" Type="http://schemas.openxmlformats.org/officeDocument/2006/relationships/tags" Target="../tags/tag211.xml"/><Relationship Id="rId6" Type="http://schemas.openxmlformats.org/officeDocument/2006/relationships/tags" Target="../tags/tag216.xml"/><Relationship Id="rId15" Type="http://schemas.openxmlformats.org/officeDocument/2006/relationships/tags" Target="../tags/tag225.xml"/><Relationship Id="rId23" Type="http://schemas.openxmlformats.org/officeDocument/2006/relationships/tags" Target="../tags/tag233.xml"/><Relationship Id="rId28" Type="http://schemas.openxmlformats.org/officeDocument/2006/relationships/tags" Target="../tags/tag238.xml"/><Relationship Id="rId36" Type="http://schemas.openxmlformats.org/officeDocument/2006/relationships/tags" Target="../tags/tag246.xml"/><Relationship Id="rId49" Type="http://schemas.openxmlformats.org/officeDocument/2006/relationships/tags" Target="../tags/tag25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svg"/><Relationship Id="rId18" Type="http://schemas.openxmlformats.org/officeDocument/2006/relationships/image" Target="../media/image44.png"/><Relationship Id="rId26" Type="http://schemas.openxmlformats.org/officeDocument/2006/relationships/image" Target="../media/image52.png"/><Relationship Id="rId3" Type="http://schemas.openxmlformats.org/officeDocument/2006/relationships/image" Target="../media/image29.svg"/><Relationship Id="rId21" Type="http://schemas.openxmlformats.org/officeDocument/2006/relationships/image" Target="../media/image47.svg"/><Relationship Id="rId7" Type="http://schemas.openxmlformats.org/officeDocument/2006/relationships/image" Target="../media/image33.svg"/><Relationship Id="rId12" Type="http://schemas.openxmlformats.org/officeDocument/2006/relationships/image" Target="../media/image38.png"/><Relationship Id="rId17" Type="http://schemas.openxmlformats.org/officeDocument/2006/relationships/image" Target="../media/image43.svg"/><Relationship Id="rId25" Type="http://schemas.openxmlformats.org/officeDocument/2006/relationships/image" Target="../media/image51.svg"/><Relationship Id="rId2" Type="http://schemas.openxmlformats.org/officeDocument/2006/relationships/image" Target="../media/image28.png"/><Relationship Id="rId16" Type="http://schemas.openxmlformats.org/officeDocument/2006/relationships/image" Target="../media/image42.png"/><Relationship Id="rId20" Type="http://schemas.openxmlformats.org/officeDocument/2006/relationships/image" Target="../media/image46.png"/><Relationship Id="rId29" Type="http://schemas.openxmlformats.org/officeDocument/2006/relationships/image" Target="../media/image55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11" Type="http://schemas.openxmlformats.org/officeDocument/2006/relationships/image" Target="../media/image37.svg"/><Relationship Id="rId24" Type="http://schemas.openxmlformats.org/officeDocument/2006/relationships/image" Target="../media/image50.png"/><Relationship Id="rId5" Type="http://schemas.openxmlformats.org/officeDocument/2006/relationships/image" Target="../media/image31.svg"/><Relationship Id="rId15" Type="http://schemas.openxmlformats.org/officeDocument/2006/relationships/image" Target="../media/image41.svg"/><Relationship Id="rId23" Type="http://schemas.openxmlformats.org/officeDocument/2006/relationships/image" Target="../media/image49.svg"/><Relationship Id="rId28" Type="http://schemas.openxmlformats.org/officeDocument/2006/relationships/image" Target="../media/image54.png"/><Relationship Id="rId10" Type="http://schemas.openxmlformats.org/officeDocument/2006/relationships/image" Target="../media/image36.png"/><Relationship Id="rId19" Type="http://schemas.openxmlformats.org/officeDocument/2006/relationships/image" Target="../media/image45.svg"/><Relationship Id="rId4" Type="http://schemas.openxmlformats.org/officeDocument/2006/relationships/image" Target="../media/image30.png"/><Relationship Id="rId9" Type="http://schemas.openxmlformats.org/officeDocument/2006/relationships/image" Target="../media/image35.svg"/><Relationship Id="rId14" Type="http://schemas.openxmlformats.org/officeDocument/2006/relationships/image" Target="../media/image40.png"/><Relationship Id="rId22" Type="http://schemas.openxmlformats.org/officeDocument/2006/relationships/image" Target="../media/image48.png"/><Relationship Id="rId27" Type="http://schemas.openxmlformats.org/officeDocument/2006/relationships/image" Target="../media/image53.sv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72.svg"/><Relationship Id="rId7" Type="http://schemas.openxmlformats.org/officeDocument/2006/relationships/image" Target="../media/image76.sv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5.png"/><Relationship Id="rId5" Type="http://schemas.openxmlformats.org/officeDocument/2006/relationships/image" Target="../media/image74.svg"/><Relationship Id="rId4" Type="http://schemas.openxmlformats.org/officeDocument/2006/relationships/image" Target="../media/image73.png"/><Relationship Id="rId9" Type="http://schemas.openxmlformats.org/officeDocument/2006/relationships/image" Target="../media/image78.sv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svg"/><Relationship Id="rId7" Type="http://schemas.openxmlformats.org/officeDocument/2006/relationships/image" Target="../media/image84.sv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3.png"/><Relationship Id="rId5" Type="http://schemas.openxmlformats.org/officeDocument/2006/relationships/image" Target="../media/image82.svg"/><Relationship Id="rId4" Type="http://schemas.openxmlformats.org/officeDocument/2006/relationships/image" Target="../media/image81.pn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13" Type="http://schemas.openxmlformats.org/officeDocument/2006/relationships/image" Target="../media/image84.svg"/><Relationship Id="rId3" Type="http://schemas.openxmlformats.org/officeDocument/2006/relationships/image" Target="../media/image86.svg"/><Relationship Id="rId7" Type="http://schemas.openxmlformats.org/officeDocument/2006/relationships/image" Target="../media/image90.svg"/><Relationship Id="rId12" Type="http://schemas.openxmlformats.org/officeDocument/2006/relationships/image" Target="../media/image83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9.png"/><Relationship Id="rId11" Type="http://schemas.openxmlformats.org/officeDocument/2006/relationships/image" Target="../media/image82.svg"/><Relationship Id="rId5" Type="http://schemas.openxmlformats.org/officeDocument/2006/relationships/image" Target="../media/image88.svg"/><Relationship Id="rId10" Type="http://schemas.openxmlformats.org/officeDocument/2006/relationships/image" Target="../media/image81.png"/><Relationship Id="rId4" Type="http://schemas.openxmlformats.org/officeDocument/2006/relationships/image" Target="../media/image87.png"/><Relationship Id="rId9" Type="http://schemas.openxmlformats.org/officeDocument/2006/relationships/image" Target="../media/image80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svg"/><Relationship Id="rId18" Type="http://schemas.openxmlformats.org/officeDocument/2006/relationships/image" Target="../media/image23.png"/><Relationship Id="rId3" Type="http://schemas.openxmlformats.org/officeDocument/2006/relationships/image" Target="../media/image8.svg"/><Relationship Id="rId21" Type="http://schemas.openxmlformats.org/officeDocument/2006/relationships/image" Target="../media/image26.svg"/><Relationship Id="rId7" Type="http://schemas.openxmlformats.org/officeDocument/2006/relationships/image" Target="../media/image12.svg"/><Relationship Id="rId12" Type="http://schemas.openxmlformats.org/officeDocument/2006/relationships/image" Target="../media/image17.png"/><Relationship Id="rId17" Type="http://schemas.openxmlformats.org/officeDocument/2006/relationships/image" Target="../media/image22.svg"/><Relationship Id="rId2" Type="http://schemas.openxmlformats.org/officeDocument/2006/relationships/image" Target="../media/image7.png"/><Relationship Id="rId16" Type="http://schemas.openxmlformats.org/officeDocument/2006/relationships/image" Target="../media/image21.png"/><Relationship Id="rId20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11" Type="http://schemas.openxmlformats.org/officeDocument/2006/relationships/image" Target="../media/image16.svg"/><Relationship Id="rId5" Type="http://schemas.openxmlformats.org/officeDocument/2006/relationships/image" Target="../media/image10.svg"/><Relationship Id="rId15" Type="http://schemas.openxmlformats.org/officeDocument/2006/relationships/image" Target="../media/image20.svg"/><Relationship Id="rId10" Type="http://schemas.openxmlformats.org/officeDocument/2006/relationships/image" Target="../media/image15.png"/><Relationship Id="rId19" Type="http://schemas.openxmlformats.org/officeDocument/2006/relationships/image" Target="../media/image24.svg"/><Relationship Id="rId4" Type="http://schemas.openxmlformats.org/officeDocument/2006/relationships/image" Target="../media/image9.png"/><Relationship Id="rId9" Type="http://schemas.openxmlformats.org/officeDocument/2006/relationships/image" Target="../media/image14.svg"/><Relationship Id="rId1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EAF32D7-C0F0-FB16-636F-BA2359D299C5}"/>
              </a:ext>
            </a:extLst>
          </p:cNvPr>
          <p:cNvSpPr txBox="1"/>
          <p:nvPr/>
        </p:nvSpPr>
        <p:spPr>
          <a:xfrm>
            <a:off x="5961100" y="1713547"/>
            <a:ext cx="5655394" cy="135421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CA" sz="4400" dirty="0">
                <a:solidFill>
                  <a:schemeClr val="bg1"/>
                </a:solidFill>
                <a:latin typeface="Sora Light" pitchFamily="2" charset="0"/>
                <a:cs typeface="Sora Light" pitchFamily="2" charset="0"/>
              </a:rPr>
              <a:t>Presentation Assets</a:t>
            </a:r>
          </a:p>
          <a:p>
            <a:r>
              <a:rPr lang="en-CA" sz="4400" dirty="0">
                <a:solidFill>
                  <a:srgbClr val="92E3A9"/>
                </a:solidFill>
                <a:latin typeface="Sora ExtraBold" pitchFamily="2" charset="0"/>
                <a:cs typeface="Sora ExtraBold" pitchFamily="2" charset="0"/>
              </a:rPr>
              <a:t>Toolkit 2024</a:t>
            </a:r>
          </a:p>
        </p:txBody>
      </p:sp>
      <p:sp>
        <p:nvSpPr>
          <p:cNvPr id="8" name="Shape 175">
            <a:extLst>
              <a:ext uri="{FF2B5EF4-FFF2-40B4-BE49-F238E27FC236}">
                <a16:creationId xmlns:a16="http://schemas.microsoft.com/office/drawing/2014/main" id="{9821DA95-30E6-15A9-1ED5-50D302C2E6A4}"/>
              </a:ext>
            </a:extLst>
          </p:cNvPr>
          <p:cNvSpPr>
            <a:spLocks noChangeAspect="1"/>
          </p:cNvSpPr>
          <p:nvPr/>
        </p:nvSpPr>
        <p:spPr>
          <a:xfrm>
            <a:off x="5961100" y="3831564"/>
            <a:ext cx="316271" cy="3162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9" y="15430"/>
                </a:moveTo>
                <a:cubicBezTo>
                  <a:pt x="12400" y="15483"/>
                  <a:pt x="13460" y="15706"/>
                  <a:pt x="14450" y="16075"/>
                </a:cubicBezTo>
                <a:cubicBezTo>
                  <a:pt x="14590" y="16128"/>
                  <a:pt x="14729" y="16183"/>
                  <a:pt x="14865" y="16240"/>
                </a:cubicBezTo>
                <a:cubicBezTo>
                  <a:pt x="15397" y="14825"/>
                  <a:pt x="15727" y="13132"/>
                  <a:pt x="15778" y="11299"/>
                </a:cubicBezTo>
                <a:lnTo>
                  <a:pt x="11299" y="11299"/>
                </a:lnTo>
                <a:cubicBezTo>
                  <a:pt x="11299" y="11299"/>
                  <a:pt x="11299" y="15430"/>
                  <a:pt x="11299" y="15430"/>
                </a:cubicBezTo>
                <a:close/>
                <a:moveTo>
                  <a:pt x="10301" y="15430"/>
                </a:moveTo>
                <a:lnTo>
                  <a:pt x="10301" y="11299"/>
                </a:lnTo>
                <a:lnTo>
                  <a:pt x="5822" y="11299"/>
                </a:lnTo>
                <a:cubicBezTo>
                  <a:pt x="5873" y="13132"/>
                  <a:pt x="6204" y="14825"/>
                  <a:pt x="6735" y="16240"/>
                </a:cubicBezTo>
                <a:cubicBezTo>
                  <a:pt x="6873" y="16183"/>
                  <a:pt x="7010" y="16128"/>
                  <a:pt x="7150" y="16075"/>
                </a:cubicBezTo>
                <a:cubicBezTo>
                  <a:pt x="8140" y="15706"/>
                  <a:pt x="9200" y="15483"/>
                  <a:pt x="10301" y="15430"/>
                </a:cubicBezTo>
                <a:cubicBezTo>
                  <a:pt x="10301" y="15430"/>
                  <a:pt x="10301" y="15430"/>
                  <a:pt x="10301" y="15430"/>
                </a:cubicBezTo>
                <a:close/>
                <a:moveTo>
                  <a:pt x="10301" y="6170"/>
                </a:moveTo>
                <a:cubicBezTo>
                  <a:pt x="9201" y="6118"/>
                  <a:pt x="8141" y="5895"/>
                  <a:pt x="7150" y="5526"/>
                </a:cubicBezTo>
                <a:cubicBezTo>
                  <a:pt x="7010" y="5474"/>
                  <a:pt x="6871" y="5417"/>
                  <a:pt x="6735" y="5361"/>
                </a:cubicBezTo>
                <a:cubicBezTo>
                  <a:pt x="6203" y="6776"/>
                  <a:pt x="5873" y="8470"/>
                  <a:pt x="5822" y="10301"/>
                </a:cubicBezTo>
                <a:lnTo>
                  <a:pt x="10301" y="10301"/>
                </a:lnTo>
                <a:lnTo>
                  <a:pt x="10301" y="6170"/>
                </a:lnTo>
                <a:cubicBezTo>
                  <a:pt x="10301" y="6170"/>
                  <a:pt x="10301" y="6170"/>
                  <a:pt x="10301" y="6170"/>
                </a:cubicBezTo>
                <a:close/>
                <a:moveTo>
                  <a:pt x="14866" y="5361"/>
                </a:moveTo>
                <a:cubicBezTo>
                  <a:pt x="14729" y="5417"/>
                  <a:pt x="14590" y="5474"/>
                  <a:pt x="14452" y="5526"/>
                </a:cubicBezTo>
                <a:cubicBezTo>
                  <a:pt x="13459" y="5895"/>
                  <a:pt x="12400" y="6118"/>
                  <a:pt x="11299" y="6170"/>
                </a:cubicBezTo>
                <a:lnTo>
                  <a:pt x="11299" y="10301"/>
                </a:lnTo>
                <a:lnTo>
                  <a:pt x="15778" y="10301"/>
                </a:lnTo>
                <a:cubicBezTo>
                  <a:pt x="15727" y="8470"/>
                  <a:pt x="15397" y="6776"/>
                  <a:pt x="14866" y="5361"/>
                </a:cubicBezTo>
                <a:cubicBezTo>
                  <a:pt x="14866" y="5361"/>
                  <a:pt x="14866" y="5361"/>
                  <a:pt x="14866" y="5361"/>
                </a:cubicBezTo>
                <a:close/>
                <a:moveTo>
                  <a:pt x="17035" y="17481"/>
                </a:moveTo>
                <a:lnTo>
                  <a:pt x="17262" y="17262"/>
                </a:lnTo>
                <a:cubicBezTo>
                  <a:pt x="18805" y="15718"/>
                  <a:pt x="19800" y="13623"/>
                  <a:pt x="19925" y="11299"/>
                </a:cubicBezTo>
                <a:lnTo>
                  <a:pt x="16776" y="11299"/>
                </a:lnTo>
                <a:cubicBezTo>
                  <a:pt x="16723" y="13285"/>
                  <a:pt x="16357" y="15129"/>
                  <a:pt x="15766" y="16673"/>
                </a:cubicBezTo>
                <a:cubicBezTo>
                  <a:pt x="16210" y="16912"/>
                  <a:pt x="16634" y="17182"/>
                  <a:pt x="17035" y="17481"/>
                </a:cubicBezTo>
                <a:cubicBezTo>
                  <a:pt x="17035" y="17481"/>
                  <a:pt x="17035" y="17481"/>
                  <a:pt x="17035" y="17481"/>
                </a:cubicBezTo>
                <a:close/>
                <a:moveTo>
                  <a:pt x="14389" y="19206"/>
                </a:moveTo>
                <a:cubicBezTo>
                  <a:pt x="15053" y="18923"/>
                  <a:pt x="15678" y="18563"/>
                  <a:pt x="16249" y="18137"/>
                </a:cubicBezTo>
                <a:cubicBezTo>
                  <a:pt x="15967" y="17938"/>
                  <a:pt x="15674" y="17754"/>
                  <a:pt x="15372" y="17587"/>
                </a:cubicBezTo>
                <a:cubicBezTo>
                  <a:pt x="15288" y="17759"/>
                  <a:pt x="15201" y="17926"/>
                  <a:pt x="15113" y="18089"/>
                </a:cubicBezTo>
                <a:cubicBezTo>
                  <a:pt x="14890" y="18495"/>
                  <a:pt x="14647" y="18868"/>
                  <a:pt x="14389" y="19206"/>
                </a:cubicBezTo>
                <a:cubicBezTo>
                  <a:pt x="14389" y="19206"/>
                  <a:pt x="14389" y="19206"/>
                  <a:pt x="14389" y="19206"/>
                </a:cubicBezTo>
                <a:close/>
                <a:moveTo>
                  <a:pt x="11299" y="19925"/>
                </a:moveTo>
                <a:cubicBezTo>
                  <a:pt x="11641" y="19907"/>
                  <a:pt x="11977" y="19870"/>
                  <a:pt x="12308" y="19815"/>
                </a:cubicBezTo>
                <a:cubicBezTo>
                  <a:pt x="13036" y="19365"/>
                  <a:pt x="13696" y="18602"/>
                  <a:pt x="14241" y="17610"/>
                </a:cubicBezTo>
                <a:cubicBezTo>
                  <a:pt x="14322" y="17462"/>
                  <a:pt x="14400" y="17310"/>
                  <a:pt x="14476" y="17153"/>
                </a:cubicBezTo>
                <a:cubicBezTo>
                  <a:pt x="14353" y="17102"/>
                  <a:pt x="14229" y="17053"/>
                  <a:pt x="14103" y="17006"/>
                </a:cubicBezTo>
                <a:cubicBezTo>
                  <a:pt x="13227" y="16679"/>
                  <a:pt x="12283" y="16479"/>
                  <a:pt x="11299" y="16429"/>
                </a:cubicBezTo>
                <a:lnTo>
                  <a:pt x="11299" y="19925"/>
                </a:lnTo>
                <a:cubicBezTo>
                  <a:pt x="11299" y="19925"/>
                  <a:pt x="11299" y="19925"/>
                  <a:pt x="11299" y="19925"/>
                </a:cubicBezTo>
                <a:close/>
                <a:moveTo>
                  <a:pt x="5351" y="18137"/>
                </a:moveTo>
                <a:cubicBezTo>
                  <a:pt x="5923" y="18563"/>
                  <a:pt x="6547" y="18923"/>
                  <a:pt x="7211" y="19206"/>
                </a:cubicBezTo>
                <a:cubicBezTo>
                  <a:pt x="6953" y="18868"/>
                  <a:pt x="6711" y="18495"/>
                  <a:pt x="6487" y="18089"/>
                </a:cubicBezTo>
                <a:cubicBezTo>
                  <a:pt x="6399" y="17926"/>
                  <a:pt x="6312" y="17759"/>
                  <a:pt x="6229" y="17587"/>
                </a:cubicBezTo>
                <a:cubicBezTo>
                  <a:pt x="5926" y="17754"/>
                  <a:pt x="5634" y="17939"/>
                  <a:pt x="5351" y="18137"/>
                </a:cubicBezTo>
                <a:cubicBezTo>
                  <a:pt x="5351" y="18137"/>
                  <a:pt x="5351" y="18137"/>
                  <a:pt x="5351" y="18137"/>
                </a:cubicBezTo>
                <a:close/>
                <a:moveTo>
                  <a:pt x="1675" y="11299"/>
                </a:moveTo>
                <a:cubicBezTo>
                  <a:pt x="1800" y="13623"/>
                  <a:pt x="2795" y="15718"/>
                  <a:pt x="4339" y="17262"/>
                </a:cubicBezTo>
                <a:lnTo>
                  <a:pt x="4565" y="17481"/>
                </a:lnTo>
                <a:cubicBezTo>
                  <a:pt x="4966" y="17182"/>
                  <a:pt x="5391" y="16912"/>
                  <a:pt x="5835" y="16673"/>
                </a:cubicBezTo>
                <a:cubicBezTo>
                  <a:pt x="5243" y="15129"/>
                  <a:pt x="4878" y="13285"/>
                  <a:pt x="4826" y="11299"/>
                </a:cubicBezTo>
                <a:lnTo>
                  <a:pt x="1675" y="11299"/>
                </a:lnTo>
                <a:cubicBezTo>
                  <a:pt x="1675" y="11299"/>
                  <a:pt x="1675" y="11299"/>
                  <a:pt x="1675" y="11299"/>
                </a:cubicBezTo>
                <a:close/>
                <a:moveTo>
                  <a:pt x="4565" y="4120"/>
                </a:moveTo>
                <a:cubicBezTo>
                  <a:pt x="4488" y="4191"/>
                  <a:pt x="4412" y="4265"/>
                  <a:pt x="4339" y="4339"/>
                </a:cubicBezTo>
                <a:cubicBezTo>
                  <a:pt x="2795" y="5882"/>
                  <a:pt x="1800" y="7977"/>
                  <a:pt x="1675" y="10301"/>
                </a:cubicBezTo>
                <a:lnTo>
                  <a:pt x="4826" y="10301"/>
                </a:lnTo>
                <a:cubicBezTo>
                  <a:pt x="4878" y="8315"/>
                  <a:pt x="5243" y="6472"/>
                  <a:pt x="5834" y="4930"/>
                </a:cubicBezTo>
                <a:cubicBezTo>
                  <a:pt x="5391" y="4690"/>
                  <a:pt x="4966" y="4419"/>
                  <a:pt x="4565" y="4120"/>
                </a:cubicBezTo>
                <a:cubicBezTo>
                  <a:pt x="4565" y="4120"/>
                  <a:pt x="4565" y="4120"/>
                  <a:pt x="4565" y="4120"/>
                </a:cubicBezTo>
                <a:close/>
                <a:moveTo>
                  <a:pt x="7213" y="2394"/>
                </a:moveTo>
                <a:cubicBezTo>
                  <a:pt x="6547" y="2677"/>
                  <a:pt x="5923" y="3037"/>
                  <a:pt x="5351" y="3463"/>
                </a:cubicBezTo>
                <a:cubicBezTo>
                  <a:pt x="5634" y="3662"/>
                  <a:pt x="5926" y="3846"/>
                  <a:pt x="6229" y="4013"/>
                </a:cubicBezTo>
                <a:cubicBezTo>
                  <a:pt x="6312" y="3841"/>
                  <a:pt x="6399" y="3674"/>
                  <a:pt x="6487" y="3512"/>
                </a:cubicBezTo>
                <a:cubicBezTo>
                  <a:pt x="6711" y="3106"/>
                  <a:pt x="6954" y="2732"/>
                  <a:pt x="7213" y="2394"/>
                </a:cubicBezTo>
                <a:cubicBezTo>
                  <a:pt x="7213" y="2394"/>
                  <a:pt x="7213" y="2394"/>
                  <a:pt x="7213" y="2394"/>
                </a:cubicBezTo>
                <a:close/>
                <a:moveTo>
                  <a:pt x="10301" y="1675"/>
                </a:moveTo>
                <a:cubicBezTo>
                  <a:pt x="9959" y="1693"/>
                  <a:pt x="9623" y="1731"/>
                  <a:pt x="9292" y="1786"/>
                </a:cubicBezTo>
                <a:cubicBezTo>
                  <a:pt x="8565" y="2236"/>
                  <a:pt x="7904" y="2998"/>
                  <a:pt x="7359" y="3991"/>
                </a:cubicBezTo>
                <a:cubicBezTo>
                  <a:pt x="7278" y="4138"/>
                  <a:pt x="7200" y="4290"/>
                  <a:pt x="7124" y="4448"/>
                </a:cubicBezTo>
                <a:cubicBezTo>
                  <a:pt x="7247" y="4499"/>
                  <a:pt x="7371" y="4549"/>
                  <a:pt x="7497" y="4595"/>
                </a:cubicBezTo>
                <a:cubicBezTo>
                  <a:pt x="8373" y="4922"/>
                  <a:pt x="9317" y="5122"/>
                  <a:pt x="10301" y="5172"/>
                </a:cubicBezTo>
                <a:lnTo>
                  <a:pt x="10301" y="1675"/>
                </a:lnTo>
                <a:cubicBezTo>
                  <a:pt x="10301" y="1675"/>
                  <a:pt x="10301" y="1675"/>
                  <a:pt x="10301" y="1675"/>
                </a:cubicBezTo>
                <a:close/>
                <a:moveTo>
                  <a:pt x="12308" y="1786"/>
                </a:moveTo>
                <a:cubicBezTo>
                  <a:pt x="11977" y="1731"/>
                  <a:pt x="11640" y="1693"/>
                  <a:pt x="11299" y="1675"/>
                </a:cubicBezTo>
                <a:lnTo>
                  <a:pt x="11299" y="5172"/>
                </a:lnTo>
                <a:cubicBezTo>
                  <a:pt x="12283" y="5122"/>
                  <a:pt x="13227" y="4922"/>
                  <a:pt x="14105" y="4595"/>
                </a:cubicBezTo>
                <a:cubicBezTo>
                  <a:pt x="14229" y="4549"/>
                  <a:pt x="14353" y="4499"/>
                  <a:pt x="14477" y="4448"/>
                </a:cubicBezTo>
                <a:cubicBezTo>
                  <a:pt x="14400" y="4290"/>
                  <a:pt x="14322" y="4138"/>
                  <a:pt x="14241" y="3991"/>
                </a:cubicBezTo>
                <a:cubicBezTo>
                  <a:pt x="13696" y="2998"/>
                  <a:pt x="13036" y="2236"/>
                  <a:pt x="12308" y="1786"/>
                </a:cubicBezTo>
                <a:cubicBezTo>
                  <a:pt x="12308" y="1786"/>
                  <a:pt x="12308" y="1786"/>
                  <a:pt x="12308" y="1786"/>
                </a:cubicBezTo>
                <a:close/>
                <a:moveTo>
                  <a:pt x="16249" y="3463"/>
                </a:moveTo>
                <a:cubicBezTo>
                  <a:pt x="15677" y="3037"/>
                  <a:pt x="15053" y="2677"/>
                  <a:pt x="14387" y="2394"/>
                </a:cubicBezTo>
                <a:cubicBezTo>
                  <a:pt x="14647" y="2732"/>
                  <a:pt x="14890" y="3106"/>
                  <a:pt x="15113" y="3512"/>
                </a:cubicBezTo>
                <a:cubicBezTo>
                  <a:pt x="15201" y="3674"/>
                  <a:pt x="15288" y="3841"/>
                  <a:pt x="15372" y="4013"/>
                </a:cubicBezTo>
                <a:cubicBezTo>
                  <a:pt x="15674" y="3846"/>
                  <a:pt x="15967" y="3662"/>
                  <a:pt x="16249" y="3463"/>
                </a:cubicBezTo>
                <a:cubicBezTo>
                  <a:pt x="16249" y="3463"/>
                  <a:pt x="16249" y="3463"/>
                  <a:pt x="16249" y="3463"/>
                </a:cubicBezTo>
                <a:close/>
                <a:moveTo>
                  <a:pt x="17262" y="4339"/>
                </a:moveTo>
                <a:cubicBezTo>
                  <a:pt x="17188" y="4265"/>
                  <a:pt x="17112" y="4191"/>
                  <a:pt x="17035" y="4120"/>
                </a:cubicBezTo>
                <a:cubicBezTo>
                  <a:pt x="16635" y="4419"/>
                  <a:pt x="16210" y="4690"/>
                  <a:pt x="15766" y="4930"/>
                </a:cubicBezTo>
                <a:cubicBezTo>
                  <a:pt x="16357" y="6472"/>
                  <a:pt x="16723" y="8315"/>
                  <a:pt x="16776" y="10301"/>
                </a:cubicBezTo>
                <a:lnTo>
                  <a:pt x="19925" y="10301"/>
                </a:lnTo>
                <a:cubicBezTo>
                  <a:pt x="19800" y="7977"/>
                  <a:pt x="18805" y="5882"/>
                  <a:pt x="17262" y="4339"/>
                </a:cubicBezTo>
                <a:cubicBezTo>
                  <a:pt x="17262" y="4339"/>
                  <a:pt x="17262" y="4339"/>
                  <a:pt x="17262" y="4339"/>
                </a:cubicBezTo>
                <a:close/>
                <a:moveTo>
                  <a:pt x="10301" y="19925"/>
                </a:moveTo>
                <a:lnTo>
                  <a:pt x="10301" y="16429"/>
                </a:lnTo>
                <a:cubicBezTo>
                  <a:pt x="9317" y="16479"/>
                  <a:pt x="8375" y="16679"/>
                  <a:pt x="7497" y="17006"/>
                </a:cubicBezTo>
                <a:cubicBezTo>
                  <a:pt x="7372" y="17053"/>
                  <a:pt x="7248" y="17102"/>
                  <a:pt x="7124" y="17153"/>
                </a:cubicBezTo>
                <a:cubicBezTo>
                  <a:pt x="7200" y="17310"/>
                  <a:pt x="7278" y="17462"/>
                  <a:pt x="7359" y="17610"/>
                </a:cubicBezTo>
                <a:cubicBezTo>
                  <a:pt x="7904" y="18602"/>
                  <a:pt x="8565" y="19365"/>
                  <a:pt x="9292" y="19815"/>
                </a:cubicBezTo>
                <a:cubicBezTo>
                  <a:pt x="9623" y="19870"/>
                  <a:pt x="9959" y="19907"/>
                  <a:pt x="10301" y="19925"/>
                </a:cubicBezTo>
                <a:cubicBezTo>
                  <a:pt x="10301" y="19925"/>
                  <a:pt x="10301" y="19925"/>
                  <a:pt x="10301" y="19925"/>
                </a:cubicBezTo>
                <a:close/>
                <a:moveTo>
                  <a:pt x="10801" y="0"/>
                </a:moveTo>
                <a:cubicBezTo>
                  <a:pt x="13782" y="0"/>
                  <a:pt x="16482" y="1209"/>
                  <a:pt x="18437" y="3163"/>
                </a:cubicBezTo>
                <a:cubicBezTo>
                  <a:pt x="20391" y="5118"/>
                  <a:pt x="21600" y="7818"/>
                  <a:pt x="21600" y="10801"/>
                </a:cubicBezTo>
                <a:cubicBezTo>
                  <a:pt x="21600" y="13782"/>
                  <a:pt x="20391" y="16482"/>
                  <a:pt x="18437" y="18437"/>
                </a:cubicBezTo>
                <a:cubicBezTo>
                  <a:pt x="16482" y="20391"/>
                  <a:pt x="13782" y="21600"/>
                  <a:pt x="10801" y="21600"/>
                </a:cubicBezTo>
                <a:cubicBezTo>
                  <a:pt x="7818" y="21600"/>
                  <a:pt x="5118" y="20391"/>
                  <a:pt x="3163" y="18437"/>
                </a:cubicBezTo>
                <a:cubicBezTo>
                  <a:pt x="1210" y="16482"/>
                  <a:pt x="0" y="13782"/>
                  <a:pt x="0" y="10801"/>
                </a:cubicBezTo>
                <a:cubicBezTo>
                  <a:pt x="0" y="7818"/>
                  <a:pt x="1210" y="5118"/>
                  <a:pt x="3163" y="3163"/>
                </a:cubicBezTo>
                <a:cubicBezTo>
                  <a:pt x="5118" y="1209"/>
                  <a:pt x="7818" y="0"/>
                  <a:pt x="10801" y="0"/>
                </a:cubicBezTo>
                <a:cubicBezTo>
                  <a:pt x="10801" y="0"/>
                  <a:pt x="10801" y="0"/>
                  <a:pt x="10801" y="0"/>
                </a:cubicBezTo>
                <a:close/>
              </a:path>
            </a:pathLst>
          </a:custGeom>
          <a:solidFill>
            <a:srgbClr val="92E3A9"/>
          </a:solidFill>
          <a:ln w="12700" cap="flat">
            <a:noFill/>
            <a:miter lim="400000"/>
          </a:ln>
          <a:effectLst/>
        </p:spPr>
        <p:txBody>
          <a:bodyPr wrap="square" lIns="38100" tIns="38100" rIns="38100" bIns="38100" numCol="1" anchor="ctr">
            <a:noAutofit/>
          </a:bodyPr>
          <a:lstStyle/>
          <a:p>
            <a:pPr algn="ctr" defTabSz="321201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+mn-lt"/>
                <a:ea typeface="+mn-ea"/>
                <a:cs typeface="+mn-cs"/>
                <a:sym typeface="Gill Sans"/>
              </a:defRPr>
            </a:pPr>
            <a:endParaRPr sz="3000" b="1" dirty="0">
              <a:solidFill>
                <a:srgbClr val="2A3856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+mj-lt"/>
              <a:ea typeface="+mj-ea"/>
              <a:cs typeface="+mj-cs"/>
              <a:sym typeface="Gill Sans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DE7E3D0E-E604-3289-26BD-B41E0EFF22CC}"/>
              </a:ext>
            </a:extLst>
          </p:cNvPr>
          <p:cNvPicPr>
            <a:picLocks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61100" y="4566703"/>
            <a:ext cx="362508" cy="362508"/>
          </a:xfrm>
          <a:prstGeom prst="rect">
            <a:avLst/>
          </a:prstGeom>
          <a:effectLst/>
        </p:spPr>
      </p:pic>
      <p:sp>
        <p:nvSpPr>
          <p:cNvPr id="10" name="Freeform 10">
            <a:extLst>
              <a:ext uri="{FF2B5EF4-FFF2-40B4-BE49-F238E27FC236}">
                <a16:creationId xmlns:a16="http://schemas.microsoft.com/office/drawing/2014/main" id="{CAED825F-8E4E-750E-C869-946049392681}"/>
              </a:ext>
            </a:extLst>
          </p:cNvPr>
          <p:cNvSpPr>
            <a:spLocks noEditPoints="1"/>
          </p:cNvSpPr>
          <p:nvPr/>
        </p:nvSpPr>
        <p:spPr bwMode="auto">
          <a:xfrm>
            <a:off x="5961100" y="5348079"/>
            <a:ext cx="329539" cy="329854"/>
          </a:xfrm>
          <a:custGeom>
            <a:avLst/>
            <a:gdLst>
              <a:gd name="T0" fmla="*/ 228 w 323"/>
              <a:gd name="T1" fmla="*/ 125 h 323"/>
              <a:gd name="T2" fmla="*/ 228 w 323"/>
              <a:gd name="T3" fmla="*/ 194 h 323"/>
              <a:gd name="T4" fmla="*/ 245 w 323"/>
              <a:gd name="T5" fmla="*/ 189 h 323"/>
              <a:gd name="T6" fmla="*/ 245 w 323"/>
              <a:gd name="T7" fmla="*/ 148 h 323"/>
              <a:gd name="T8" fmla="*/ 232 w 323"/>
              <a:gd name="T9" fmla="*/ 186 h 323"/>
              <a:gd name="T10" fmla="*/ 232 w 323"/>
              <a:gd name="T11" fmla="*/ 150 h 323"/>
              <a:gd name="T12" fmla="*/ 86 w 323"/>
              <a:gd name="T13" fmla="*/ 157 h 323"/>
              <a:gd name="T14" fmla="*/ 77 w 323"/>
              <a:gd name="T15" fmla="*/ 179 h 323"/>
              <a:gd name="T16" fmla="*/ 86 w 323"/>
              <a:gd name="T17" fmla="*/ 157 h 323"/>
              <a:gd name="T18" fmla="*/ 210 w 323"/>
              <a:gd name="T19" fmla="*/ 194 h 323"/>
              <a:gd name="T20" fmla="*/ 190 w 323"/>
              <a:gd name="T21" fmla="*/ 195 h 323"/>
              <a:gd name="T22" fmla="*/ 184 w 323"/>
              <a:gd name="T23" fmla="*/ 142 h 323"/>
              <a:gd name="T24" fmla="*/ 193 w 323"/>
              <a:gd name="T25" fmla="*/ 184 h 323"/>
              <a:gd name="T26" fmla="*/ 201 w 323"/>
              <a:gd name="T27" fmla="*/ 142 h 323"/>
              <a:gd name="T28" fmla="*/ 182 w 323"/>
              <a:gd name="T29" fmla="*/ 135 h 323"/>
              <a:gd name="T30" fmla="*/ 161 w 323"/>
              <a:gd name="T31" fmla="*/ 194 h 323"/>
              <a:gd name="T32" fmla="*/ 150 w 323"/>
              <a:gd name="T33" fmla="*/ 125 h 323"/>
              <a:gd name="T34" fmla="*/ 253 w 323"/>
              <a:gd name="T35" fmla="*/ 159 h 323"/>
              <a:gd name="T36" fmla="*/ 267 w 323"/>
              <a:gd name="T37" fmla="*/ 195 h 323"/>
              <a:gd name="T38" fmla="*/ 281 w 323"/>
              <a:gd name="T39" fmla="*/ 177 h 323"/>
              <a:gd name="T40" fmla="*/ 271 w 323"/>
              <a:gd name="T41" fmla="*/ 182 h 323"/>
              <a:gd name="T42" fmla="*/ 262 w 323"/>
              <a:gd name="T43" fmla="*/ 170 h 323"/>
              <a:gd name="T44" fmla="*/ 278 w 323"/>
              <a:gd name="T45" fmla="*/ 147 h 323"/>
              <a:gd name="T46" fmla="*/ 262 w 323"/>
              <a:gd name="T47" fmla="*/ 162 h 323"/>
              <a:gd name="T48" fmla="*/ 272 w 323"/>
              <a:gd name="T49" fmla="*/ 157 h 323"/>
              <a:gd name="T50" fmla="*/ 0 w 323"/>
              <a:gd name="T51" fmla="*/ 161 h 323"/>
              <a:gd name="T52" fmla="*/ 162 w 323"/>
              <a:gd name="T53" fmla="*/ 0 h 323"/>
              <a:gd name="T54" fmla="*/ 44 w 323"/>
              <a:gd name="T55" fmla="*/ 194 h 323"/>
              <a:gd name="T56" fmla="*/ 31 w 323"/>
              <a:gd name="T57" fmla="*/ 124 h 323"/>
              <a:gd name="T58" fmla="*/ 57 w 323"/>
              <a:gd name="T59" fmla="*/ 124 h 323"/>
              <a:gd name="T60" fmla="*/ 95 w 323"/>
              <a:gd name="T61" fmla="*/ 177 h 323"/>
              <a:gd name="T62" fmla="*/ 70 w 323"/>
              <a:gd name="T63" fmla="*/ 189 h 323"/>
              <a:gd name="T64" fmla="*/ 70 w 323"/>
              <a:gd name="T65" fmla="*/ 147 h 323"/>
              <a:gd name="T66" fmla="*/ 95 w 323"/>
              <a:gd name="T67" fmla="*/ 159 h 323"/>
              <a:gd name="T68" fmla="*/ 121 w 323"/>
              <a:gd name="T69" fmla="*/ 194 h 323"/>
              <a:gd name="T70" fmla="*/ 104 w 323"/>
              <a:gd name="T71" fmla="*/ 191 h 323"/>
              <a:gd name="T72" fmla="*/ 112 w 323"/>
              <a:gd name="T73" fmla="*/ 142 h 323"/>
              <a:gd name="T74" fmla="*/ 115 w 323"/>
              <a:gd name="T75" fmla="*/ 186 h 323"/>
              <a:gd name="T76" fmla="*/ 130 w 323"/>
              <a:gd name="T77" fmla="*/ 142 h 323"/>
              <a:gd name="T78" fmla="*/ 215 w 323"/>
              <a:gd name="T79" fmla="*/ 214 h 323"/>
              <a:gd name="T80" fmla="*/ 138 w 323"/>
              <a:gd name="T81" fmla="*/ 161 h 323"/>
              <a:gd name="T82" fmla="*/ 215 w 323"/>
              <a:gd name="T83" fmla="*/ 107 h 323"/>
              <a:gd name="T84" fmla="*/ 292 w 323"/>
              <a:gd name="T85" fmla="*/ 161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23" h="323">
                <a:moveTo>
                  <a:pt x="237" y="142"/>
                </a:moveTo>
                <a:cubicBezTo>
                  <a:pt x="234" y="142"/>
                  <a:pt x="231" y="144"/>
                  <a:pt x="228" y="147"/>
                </a:cubicBezTo>
                <a:cubicBezTo>
                  <a:pt x="228" y="125"/>
                  <a:pt x="228" y="125"/>
                  <a:pt x="228" y="125"/>
                </a:cubicBezTo>
                <a:cubicBezTo>
                  <a:pt x="218" y="125"/>
                  <a:pt x="218" y="125"/>
                  <a:pt x="218" y="125"/>
                </a:cubicBezTo>
                <a:cubicBezTo>
                  <a:pt x="218" y="194"/>
                  <a:pt x="218" y="194"/>
                  <a:pt x="218" y="194"/>
                </a:cubicBezTo>
                <a:cubicBezTo>
                  <a:pt x="228" y="194"/>
                  <a:pt x="228" y="194"/>
                  <a:pt x="228" y="194"/>
                </a:cubicBezTo>
                <a:cubicBezTo>
                  <a:pt x="228" y="189"/>
                  <a:pt x="228" y="189"/>
                  <a:pt x="228" y="189"/>
                </a:cubicBezTo>
                <a:cubicBezTo>
                  <a:pt x="231" y="193"/>
                  <a:pt x="234" y="195"/>
                  <a:pt x="237" y="195"/>
                </a:cubicBezTo>
                <a:cubicBezTo>
                  <a:pt x="241" y="195"/>
                  <a:pt x="244" y="193"/>
                  <a:pt x="245" y="189"/>
                </a:cubicBezTo>
                <a:cubicBezTo>
                  <a:pt x="245" y="187"/>
                  <a:pt x="246" y="183"/>
                  <a:pt x="246" y="178"/>
                </a:cubicBezTo>
                <a:cubicBezTo>
                  <a:pt x="246" y="158"/>
                  <a:pt x="246" y="158"/>
                  <a:pt x="246" y="158"/>
                </a:cubicBezTo>
                <a:cubicBezTo>
                  <a:pt x="246" y="153"/>
                  <a:pt x="245" y="150"/>
                  <a:pt x="245" y="148"/>
                </a:cubicBezTo>
                <a:cubicBezTo>
                  <a:pt x="244" y="144"/>
                  <a:pt x="241" y="142"/>
                  <a:pt x="237" y="142"/>
                </a:cubicBezTo>
                <a:close/>
                <a:moveTo>
                  <a:pt x="236" y="179"/>
                </a:moveTo>
                <a:cubicBezTo>
                  <a:pt x="236" y="184"/>
                  <a:pt x="235" y="186"/>
                  <a:pt x="232" y="186"/>
                </a:cubicBezTo>
                <a:cubicBezTo>
                  <a:pt x="231" y="186"/>
                  <a:pt x="229" y="185"/>
                  <a:pt x="228" y="184"/>
                </a:cubicBezTo>
                <a:cubicBezTo>
                  <a:pt x="228" y="152"/>
                  <a:pt x="228" y="152"/>
                  <a:pt x="228" y="152"/>
                </a:cubicBezTo>
                <a:cubicBezTo>
                  <a:pt x="229" y="151"/>
                  <a:pt x="231" y="150"/>
                  <a:pt x="232" y="150"/>
                </a:cubicBezTo>
                <a:cubicBezTo>
                  <a:pt x="235" y="150"/>
                  <a:pt x="236" y="153"/>
                  <a:pt x="236" y="157"/>
                </a:cubicBezTo>
                <a:lnTo>
                  <a:pt x="236" y="179"/>
                </a:lnTo>
                <a:close/>
                <a:moveTo>
                  <a:pt x="86" y="157"/>
                </a:moveTo>
                <a:cubicBezTo>
                  <a:pt x="86" y="179"/>
                  <a:pt x="86" y="179"/>
                  <a:pt x="86" y="179"/>
                </a:cubicBezTo>
                <a:cubicBezTo>
                  <a:pt x="86" y="184"/>
                  <a:pt x="84" y="186"/>
                  <a:pt x="81" y="186"/>
                </a:cubicBezTo>
                <a:cubicBezTo>
                  <a:pt x="78" y="186"/>
                  <a:pt x="77" y="184"/>
                  <a:pt x="77" y="179"/>
                </a:cubicBezTo>
                <a:cubicBezTo>
                  <a:pt x="77" y="157"/>
                  <a:pt x="77" y="157"/>
                  <a:pt x="77" y="157"/>
                </a:cubicBezTo>
                <a:cubicBezTo>
                  <a:pt x="77" y="152"/>
                  <a:pt x="78" y="150"/>
                  <a:pt x="81" y="150"/>
                </a:cubicBezTo>
                <a:cubicBezTo>
                  <a:pt x="84" y="150"/>
                  <a:pt x="86" y="152"/>
                  <a:pt x="86" y="157"/>
                </a:cubicBezTo>
                <a:close/>
                <a:moveTo>
                  <a:pt x="201" y="142"/>
                </a:moveTo>
                <a:cubicBezTo>
                  <a:pt x="210" y="142"/>
                  <a:pt x="210" y="142"/>
                  <a:pt x="210" y="142"/>
                </a:cubicBezTo>
                <a:cubicBezTo>
                  <a:pt x="210" y="194"/>
                  <a:pt x="210" y="194"/>
                  <a:pt x="210" y="194"/>
                </a:cubicBezTo>
                <a:cubicBezTo>
                  <a:pt x="201" y="194"/>
                  <a:pt x="201" y="194"/>
                  <a:pt x="201" y="194"/>
                </a:cubicBezTo>
                <a:cubicBezTo>
                  <a:pt x="201" y="188"/>
                  <a:pt x="201" y="188"/>
                  <a:pt x="201" y="188"/>
                </a:cubicBezTo>
                <a:cubicBezTo>
                  <a:pt x="197" y="193"/>
                  <a:pt x="194" y="195"/>
                  <a:pt x="190" y="195"/>
                </a:cubicBezTo>
                <a:cubicBezTo>
                  <a:pt x="187" y="195"/>
                  <a:pt x="185" y="193"/>
                  <a:pt x="184" y="191"/>
                </a:cubicBezTo>
                <a:cubicBezTo>
                  <a:pt x="184" y="189"/>
                  <a:pt x="184" y="187"/>
                  <a:pt x="184" y="183"/>
                </a:cubicBezTo>
                <a:cubicBezTo>
                  <a:pt x="184" y="142"/>
                  <a:pt x="184" y="142"/>
                  <a:pt x="184" y="142"/>
                </a:cubicBezTo>
                <a:cubicBezTo>
                  <a:pt x="193" y="142"/>
                  <a:pt x="193" y="142"/>
                  <a:pt x="193" y="142"/>
                </a:cubicBezTo>
                <a:cubicBezTo>
                  <a:pt x="193" y="180"/>
                  <a:pt x="193" y="180"/>
                  <a:pt x="193" y="180"/>
                </a:cubicBezTo>
                <a:cubicBezTo>
                  <a:pt x="193" y="183"/>
                  <a:pt x="193" y="184"/>
                  <a:pt x="193" y="184"/>
                </a:cubicBezTo>
                <a:cubicBezTo>
                  <a:pt x="193" y="185"/>
                  <a:pt x="194" y="186"/>
                  <a:pt x="195" y="186"/>
                </a:cubicBezTo>
                <a:cubicBezTo>
                  <a:pt x="197" y="186"/>
                  <a:pt x="199" y="185"/>
                  <a:pt x="201" y="182"/>
                </a:cubicBezTo>
                <a:lnTo>
                  <a:pt x="201" y="142"/>
                </a:lnTo>
                <a:close/>
                <a:moveTo>
                  <a:pt x="150" y="125"/>
                </a:moveTo>
                <a:cubicBezTo>
                  <a:pt x="182" y="125"/>
                  <a:pt x="182" y="125"/>
                  <a:pt x="182" y="125"/>
                </a:cubicBezTo>
                <a:cubicBezTo>
                  <a:pt x="182" y="135"/>
                  <a:pt x="182" y="135"/>
                  <a:pt x="182" y="135"/>
                </a:cubicBezTo>
                <a:cubicBezTo>
                  <a:pt x="171" y="135"/>
                  <a:pt x="171" y="135"/>
                  <a:pt x="171" y="135"/>
                </a:cubicBezTo>
                <a:cubicBezTo>
                  <a:pt x="171" y="194"/>
                  <a:pt x="171" y="194"/>
                  <a:pt x="171" y="194"/>
                </a:cubicBezTo>
                <a:cubicBezTo>
                  <a:pt x="161" y="194"/>
                  <a:pt x="161" y="194"/>
                  <a:pt x="161" y="194"/>
                </a:cubicBezTo>
                <a:cubicBezTo>
                  <a:pt x="161" y="135"/>
                  <a:pt x="161" y="135"/>
                  <a:pt x="161" y="135"/>
                </a:cubicBezTo>
                <a:cubicBezTo>
                  <a:pt x="150" y="135"/>
                  <a:pt x="150" y="135"/>
                  <a:pt x="150" y="135"/>
                </a:cubicBezTo>
                <a:lnTo>
                  <a:pt x="150" y="125"/>
                </a:lnTo>
                <a:close/>
                <a:moveTo>
                  <a:pt x="267" y="142"/>
                </a:moveTo>
                <a:cubicBezTo>
                  <a:pt x="262" y="142"/>
                  <a:pt x="259" y="144"/>
                  <a:pt x="256" y="147"/>
                </a:cubicBezTo>
                <a:cubicBezTo>
                  <a:pt x="254" y="150"/>
                  <a:pt x="253" y="154"/>
                  <a:pt x="253" y="159"/>
                </a:cubicBezTo>
                <a:cubicBezTo>
                  <a:pt x="253" y="177"/>
                  <a:pt x="253" y="177"/>
                  <a:pt x="253" y="177"/>
                </a:cubicBezTo>
                <a:cubicBezTo>
                  <a:pt x="253" y="183"/>
                  <a:pt x="254" y="187"/>
                  <a:pt x="256" y="189"/>
                </a:cubicBezTo>
                <a:cubicBezTo>
                  <a:pt x="259" y="193"/>
                  <a:pt x="262" y="195"/>
                  <a:pt x="267" y="195"/>
                </a:cubicBezTo>
                <a:cubicBezTo>
                  <a:pt x="272" y="195"/>
                  <a:pt x="276" y="193"/>
                  <a:pt x="279" y="189"/>
                </a:cubicBezTo>
                <a:cubicBezTo>
                  <a:pt x="280" y="187"/>
                  <a:pt x="280" y="186"/>
                  <a:pt x="281" y="183"/>
                </a:cubicBezTo>
                <a:cubicBezTo>
                  <a:pt x="281" y="183"/>
                  <a:pt x="281" y="180"/>
                  <a:pt x="281" y="177"/>
                </a:cubicBezTo>
                <a:cubicBezTo>
                  <a:pt x="281" y="176"/>
                  <a:pt x="281" y="176"/>
                  <a:pt x="281" y="176"/>
                </a:cubicBezTo>
                <a:cubicBezTo>
                  <a:pt x="271" y="176"/>
                  <a:pt x="271" y="176"/>
                  <a:pt x="271" y="176"/>
                </a:cubicBezTo>
                <a:cubicBezTo>
                  <a:pt x="271" y="180"/>
                  <a:pt x="271" y="182"/>
                  <a:pt x="271" y="182"/>
                </a:cubicBezTo>
                <a:cubicBezTo>
                  <a:pt x="271" y="185"/>
                  <a:pt x="269" y="186"/>
                  <a:pt x="267" y="186"/>
                </a:cubicBezTo>
                <a:cubicBezTo>
                  <a:pt x="264" y="186"/>
                  <a:pt x="262" y="184"/>
                  <a:pt x="262" y="179"/>
                </a:cubicBezTo>
                <a:cubicBezTo>
                  <a:pt x="262" y="170"/>
                  <a:pt x="262" y="170"/>
                  <a:pt x="262" y="170"/>
                </a:cubicBezTo>
                <a:cubicBezTo>
                  <a:pt x="281" y="170"/>
                  <a:pt x="281" y="170"/>
                  <a:pt x="281" y="170"/>
                </a:cubicBezTo>
                <a:cubicBezTo>
                  <a:pt x="281" y="159"/>
                  <a:pt x="281" y="159"/>
                  <a:pt x="281" y="159"/>
                </a:cubicBezTo>
                <a:cubicBezTo>
                  <a:pt x="281" y="154"/>
                  <a:pt x="280" y="150"/>
                  <a:pt x="278" y="147"/>
                </a:cubicBezTo>
                <a:cubicBezTo>
                  <a:pt x="275" y="144"/>
                  <a:pt x="272" y="142"/>
                  <a:pt x="267" y="142"/>
                </a:cubicBezTo>
                <a:close/>
                <a:moveTo>
                  <a:pt x="272" y="162"/>
                </a:moveTo>
                <a:cubicBezTo>
                  <a:pt x="262" y="162"/>
                  <a:pt x="262" y="162"/>
                  <a:pt x="262" y="162"/>
                </a:cubicBezTo>
                <a:cubicBezTo>
                  <a:pt x="262" y="157"/>
                  <a:pt x="262" y="157"/>
                  <a:pt x="262" y="157"/>
                </a:cubicBezTo>
                <a:cubicBezTo>
                  <a:pt x="262" y="153"/>
                  <a:pt x="264" y="150"/>
                  <a:pt x="267" y="150"/>
                </a:cubicBezTo>
                <a:cubicBezTo>
                  <a:pt x="270" y="150"/>
                  <a:pt x="272" y="153"/>
                  <a:pt x="272" y="157"/>
                </a:cubicBezTo>
                <a:lnTo>
                  <a:pt x="272" y="162"/>
                </a:lnTo>
                <a:close/>
                <a:moveTo>
                  <a:pt x="162" y="0"/>
                </a:moveTo>
                <a:cubicBezTo>
                  <a:pt x="73" y="0"/>
                  <a:pt x="0" y="72"/>
                  <a:pt x="0" y="161"/>
                </a:cubicBezTo>
                <a:cubicBezTo>
                  <a:pt x="0" y="250"/>
                  <a:pt x="73" y="323"/>
                  <a:pt x="162" y="323"/>
                </a:cubicBezTo>
                <a:cubicBezTo>
                  <a:pt x="251" y="323"/>
                  <a:pt x="323" y="250"/>
                  <a:pt x="323" y="161"/>
                </a:cubicBezTo>
                <a:cubicBezTo>
                  <a:pt x="323" y="72"/>
                  <a:pt x="251" y="0"/>
                  <a:pt x="162" y="0"/>
                </a:cubicBezTo>
                <a:close/>
                <a:moveTo>
                  <a:pt x="55" y="166"/>
                </a:moveTo>
                <a:cubicBezTo>
                  <a:pt x="55" y="194"/>
                  <a:pt x="55" y="194"/>
                  <a:pt x="55" y="194"/>
                </a:cubicBezTo>
                <a:cubicBezTo>
                  <a:pt x="44" y="194"/>
                  <a:pt x="44" y="194"/>
                  <a:pt x="44" y="194"/>
                </a:cubicBezTo>
                <a:cubicBezTo>
                  <a:pt x="44" y="166"/>
                  <a:pt x="44" y="166"/>
                  <a:pt x="44" y="166"/>
                </a:cubicBezTo>
                <a:cubicBezTo>
                  <a:pt x="43" y="161"/>
                  <a:pt x="41" y="153"/>
                  <a:pt x="38" y="144"/>
                </a:cubicBezTo>
                <a:cubicBezTo>
                  <a:pt x="36" y="137"/>
                  <a:pt x="33" y="131"/>
                  <a:pt x="31" y="124"/>
                </a:cubicBezTo>
                <a:cubicBezTo>
                  <a:pt x="42" y="124"/>
                  <a:pt x="42" y="124"/>
                  <a:pt x="42" y="124"/>
                </a:cubicBezTo>
                <a:cubicBezTo>
                  <a:pt x="50" y="152"/>
                  <a:pt x="50" y="152"/>
                  <a:pt x="50" y="152"/>
                </a:cubicBezTo>
                <a:cubicBezTo>
                  <a:pt x="57" y="124"/>
                  <a:pt x="57" y="124"/>
                  <a:pt x="57" y="124"/>
                </a:cubicBezTo>
                <a:cubicBezTo>
                  <a:pt x="67" y="124"/>
                  <a:pt x="67" y="124"/>
                  <a:pt x="67" y="124"/>
                </a:cubicBezTo>
                <a:lnTo>
                  <a:pt x="55" y="166"/>
                </a:lnTo>
                <a:close/>
                <a:moveTo>
                  <a:pt x="95" y="177"/>
                </a:moveTo>
                <a:cubicBezTo>
                  <a:pt x="95" y="183"/>
                  <a:pt x="94" y="187"/>
                  <a:pt x="92" y="189"/>
                </a:cubicBezTo>
                <a:cubicBezTo>
                  <a:pt x="90" y="193"/>
                  <a:pt x="86" y="195"/>
                  <a:pt x="81" y="195"/>
                </a:cubicBezTo>
                <a:cubicBezTo>
                  <a:pt x="77" y="195"/>
                  <a:pt x="73" y="193"/>
                  <a:pt x="70" y="189"/>
                </a:cubicBezTo>
                <a:cubicBezTo>
                  <a:pt x="68" y="187"/>
                  <a:pt x="67" y="183"/>
                  <a:pt x="67" y="177"/>
                </a:cubicBezTo>
                <a:cubicBezTo>
                  <a:pt x="67" y="159"/>
                  <a:pt x="67" y="159"/>
                  <a:pt x="67" y="159"/>
                </a:cubicBezTo>
                <a:cubicBezTo>
                  <a:pt x="67" y="153"/>
                  <a:pt x="68" y="149"/>
                  <a:pt x="70" y="147"/>
                </a:cubicBezTo>
                <a:cubicBezTo>
                  <a:pt x="73" y="143"/>
                  <a:pt x="77" y="141"/>
                  <a:pt x="81" y="141"/>
                </a:cubicBezTo>
                <a:cubicBezTo>
                  <a:pt x="86" y="141"/>
                  <a:pt x="90" y="143"/>
                  <a:pt x="92" y="147"/>
                </a:cubicBezTo>
                <a:cubicBezTo>
                  <a:pt x="94" y="149"/>
                  <a:pt x="95" y="153"/>
                  <a:pt x="95" y="159"/>
                </a:cubicBezTo>
                <a:lnTo>
                  <a:pt x="95" y="177"/>
                </a:lnTo>
                <a:close/>
                <a:moveTo>
                  <a:pt x="130" y="194"/>
                </a:moveTo>
                <a:cubicBezTo>
                  <a:pt x="121" y="194"/>
                  <a:pt x="121" y="194"/>
                  <a:pt x="121" y="194"/>
                </a:cubicBezTo>
                <a:cubicBezTo>
                  <a:pt x="121" y="188"/>
                  <a:pt x="121" y="188"/>
                  <a:pt x="121" y="188"/>
                </a:cubicBezTo>
                <a:cubicBezTo>
                  <a:pt x="117" y="193"/>
                  <a:pt x="113" y="195"/>
                  <a:pt x="110" y="195"/>
                </a:cubicBezTo>
                <a:cubicBezTo>
                  <a:pt x="107" y="195"/>
                  <a:pt x="105" y="193"/>
                  <a:pt x="104" y="191"/>
                </a:cubicBezTo>
                <a:cubicBezTo>
                  <a:pt x="103" y="189"/>
                  <a:pt x="103" y="187"/>
                  <a:pt x="103" y="183"/>
                </a:cubicBezTo>
                <a:cubicBezTo>
                  <a:pt x="103" y="142"/>
                  <a:pt x="103" y="142"/>
                  <a:pt x="103" y="142"/>
                </a:cubicBezTo>
                <a:cubicBezTo>
                  <a:pt x="112" y="142"/>
                  <a:pt x="112" y="142"/>
                  <a:pt x="112" y="142"/>
                </a:cubicBezTo>
                <a:cubicBezTo>
                  <a:pt x="112" y="180"/>
                  <a:pt x="112" y="180"/>
                  <a:pt x="112" y="180"/>
                </a:cubicBezTo>
                <a:cubicBezTo>
                  <a:pt x="112" y="182"/>
                  <a:pt x="112" y="184"/>
                  <a:pt x="112" y="184"/>
                </a:cubicBezTo>
                <a:cubicBezTo>
                  <a:pt x="113" y="185"/>
                  <a:pt x="113" y="186"/>
                  <a:pt x="115" y="186"/>
                </a:cubicBezTo>
                <a:cubicBezTo>
                  <a:pt x="116" y="186"/>
                  <a:pt x="118" y="185"/>
                  <a:pt x="121" y="182"/>
                </a:cubicBezTo>
                <a:cubicBezTo>
                  <a:pt x="121" y="142"/>
                  <a:pt x="121" y="142"/>
                  <a:pt x="121" y="142"/>
                </a:cubicBezTo>
                <a:cubicBezTo>
                  <a:pt x="130" y="142"/>
                  <a:pt x="130" y="142"/>
                  <a:pt x="130" y="142"/>
                </a:cubicBezTo>
                <a:lnTo>
                  <a:pt x="130" y="194"/>
                </a:lnTo>
                <a:close/>
                <a:moveTo>
                  <a:pt x="273" y="212"/>
                </a:moveTo>
                <a:cubicBezTo>
                  <a:pt x="254" y="214"/>
                  <a:pt x="235" y="214"/>
                  <a:pt x="215" y="214"/>
                </a:cubicBezTo>
                <a:cubicBezTo>
                  <a:pt x="196" y="214"/>
                  <a:pt x="177" y="214"/>
                  <a:pt x="158" y="212"/>
                </a:cubicBezTo>
                <a:cubicBezTo>
                  <a:pt x="149" y="211"/>
                  <a:pt x="143" y="205"/>
                  <a:pt x="141" y="197"/>
                </a:cubicBezTo>
                <a:cubicBezTo>
                  <a:pt x="138" y="185"/>
                  <a:pt x="138" y="173"/>
                  <a:pt x="138" y="161"/>
                </a:cubicBezTo>
                <a:cubicBezTo>
                  <a:pt x="138" y="149"/>
                  <a:pt x="138" y="136"/>
                  <a:pt x="141" y="124"/>
                </a:cubicBezTo>
                <a:cubicBezTo>
                  <a:pt x="143" y="116"/>
                  <a:pt x="150" y="110"/>
                  <a:pt x="158" y="109"/>
                </a:cubicBezTo>
                <a:cubicBezTo>
                  <a:pt x="177" y="107"/>
                  <a:pt x="196" y="107"/>
                  <a:pt x="215" y="107"/>
                </a:cubicBezTo>
                <a:cubicBezTo>
                  <a:pt x="235" y="107"/>
                  <a:pt x="254" y="107"/>
                  <a:pt x="273" y="109"/>
                </a:cubicBezTo>
                <a:cubicBezTo>
                  <a:pt x="281" y="110"/>
                  <a:pt x="288" y="116"/>
                  <a:pt x="290" y="124"/>
                </a:cubicBezTo>
                <a:cubicBezTo>
                  <a:pt x="292" y="136"/>
                  <a:pt x="292" y="149"/>
                  <a:pt x="292" y="161"/>
                </a:cubicBezTo>
                <a:cubicBezTo>
                  <a:pt x="292" y="173"/>
                  <a:pt x="292" y="185"/>
                  <a:pt x="290" y="197"/>
                </a:cubicBezTo>
                <a:cubicBezTo>
                  <a:pt x="288" y="205"/>
                  <a:pt x="281" y="211"/>
                  <a:pt x="273" y="212"/>
                </a:cubicBezTo>
                <a:close/>
              </a:path>
            </a:pathLst>
          </a:custGeom>
          <a:solidFill>
            <a:srgbClr val="92E3A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grpSp>
        <p:nvGrpSpPr>
          <p:cNvPr id="3" name="Graphic 13">
            <a:extLst>
              <a:ext uri="{FF2B5EF4-FFF2-40B4-BE49-F238E27FC236}">
                <a16:creationId xmlns:a16="http://schemas.microsoft.com/office/drawing/2014/main" id="{E645D743-60F5-2AB3-0C0F-4EA140DC794C}"/>
              </a:ext>
            </a:extLst>
          </p:cNvPr>
          <p:cNvGrpSpPr/>
          <p:nvPr/>
        </p:nvGrpSpPr>
        <p:grpSpPr>
          <a:xfrm>
            <a:off x="515573" y="1759778"/>
            <a:ext cx="2510578" cy="3354965"/>
            <a:chOff x="515573" y="1759778"/>
            <a:chExt cx="2510578" cy="3354965"/>
          </a:xfrm>
          <a:noFill/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A1711EEF-CC08-F8F4-FF9F-61B030846CA9}"/>
                </a:ext>
              </a:extLst>
            </p:cNvPr>
            <p:cNvSpPr/>
            <p:nvPr/>
          </p:nvSpPr>
          <p:spPr>
            <a:xfrm>
              <a:off x="515573" y="3365572"/>
              <a:ext cx="1259390" cy="1749170"/>
            </a:xfrm>
            <a:custGeom>
              <a:avLst/>
              <a:gdLst>
                <a:gd name="connsiteX0" fmla="*/ 291333 w 1259390"/>
                <a:gd name="connsiteY0" fmla="*/ 0 h 1749170"/>
                <a:gd name="connsiteX1" fmla="*/ 233599 w 1259390"/>
                <a:gd name="connsiteY1" fmla="*/ 0 h 1749170"/>
                <a:gd name="connsiteX2" fmla="*/ 0 w 1259390"/>
                <a:gd name="connsiteY2" fmla="*/ 233173 h 1749170"/>
                <a:gd name="connsiteX3" fmla="*/ 0 w 1259390"/>
                <a:gd name="connsiteY3" fmla="*/ 1515572 h 1749170"/>
                <a:gd name="connsiteX4" fmla="*/ 233599 w 1259390"/>
                <a:gd name="connsiteY4" fmla="*/ 1749171 h 1749170"/>
                <a:gd name="connsiteX5" fmla="*/ 1025685 w 1259390"/>
                <a:gd name="connsiteY5" fmla="*/ 1749171 h 1749170"/>
                <a:gd name="connsiteX6" fmla="*/ 1259390 w 1259390"/>
                <a:gd name="connsiteY6" fmla="*/ 1515678 h 1749170"/>
                <a:gd name="connsiteX7" fmla="*/ 1259390 w 1259390"/>
                <a:gd name="connsiteY7" fmla="*/ 1515572 h 1749170"/>
                <a:gd name="connsiteX8" fmla="*/ 1259390 w 1259390"/>
                <a:gd name="connsiteY8" fmla="*/ 1515572 h 1749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9390" h="1749170">
                  <a:moveTo>
                    <a:pt x="291333" y="0"/>
                  </a:moveTo>
                  <a:lnTo>
                    <a:pt x="233599" y="0"/>
                  </a:lnTo>
                  <a:cubicBezTo>
                    <a:pt x="104752" y="0"/>
                    <a:pt x="235" y="104326"/>
                    <a:pt x="0" y="233173"/>
                  </a:cubicBezTo>
                  <a:lnTo>
                    <a:pt x="0" y="1515572"/>
                  </a:lnTo>
                  <a:cubicBezTo>
                    <a:pt x="0" y="1644589"/>
                    <a:pt x="104586" y="1749171"/>
                    <a:pt x="233599" y="1749171"/>
                  </a:cubicBezTo>
                  <a:lnTo>
                    <a:pt x="1025685" y="1749171"/>
                  </a:lnTo>
                  <a:cubicBezTo>
                    <a:pt x="1154702" y="1749235"/>
                    <a:pt x="1259326" y="1644695"/>
                    <a:pt x="1259390" y="1515678"/>
                  </a:cubicBezTo>
                  <a:cubicBezTo>
                    <a:pt x="1259390" y="1515646"/>
                    <a:pt x="1259390" y="1515604"/>
                    <a:pt x="1259390" y="1515572"/>
                  </a:cubicBezTo>
                  <a:lnTo>
                    <a:pt x="1259390" y="1515572"/>
                  </a:lnTo>
                </a:path>
              </a:pathLst>
            </a:custGeom>
            <a:noFill/>
            <a:ln w="11697" cap="rnd">
              <a:solidFill>
                <a:srgbClr val="263238"/>
              </a:solidFill>
              <a:custDash>
                <a:ds d="330750" sp="330750"/>
              </a:custDash>
              <a:round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6F4487A5-5BDC-87D2-8605-51F47D6A20D6}"/>
                </a:ext>
              </a:extLst>
            </p:cNvPr>
            <p:cNvSpPr/>
            <p:nvPr/>
          </p:nvSpPr>
          <p:spPr>
            <a:xfrm>
              <a:off x="1709986" y="1759778"/>
              <a:ext cx="1316165" cy="396255"/>
            </a:xfrm>
            <a:custGeom>
              <a:avLst/>
              <a:gdLst>
                <a:gd name="connsiteX0" fmla="*/ 0 w 1316165"/>
                <a:gd name="connsiteY0" fmla="*/ 396256 h 396255"/>
                <a:gd name="connsiteX1" fmla="*/ 0 w 1316165"/>
                <a:gd name="connsiteY1" fmla="*/ 143057 h 396255"/>
                <a:gd name="connsiteX2" fmla="*/ 143057 w 1316165"/>
                <a:gd name="connsiteY2" fmla="*/ 0 h 396255"/>
                <a:gd name="connsiteX3" fmla="*/ 1173109 w 1316165"/>
                <a:gd name="connsiteY3" fmla="*/ 0 h 396255"/>
                <a:gd name="connsiteX4" fmla="*/ 1316166 w 1316165"/>
                <a:gd name="connsiteY4" fmla="*/ 143057 h 396255"/>
                <a:gd name="connsiteX5" fmla="*/ 1316166 w 1316165"/>
                <a:gd name="connsiteY5" fmla="*/ 143057 h 396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6165" h="396255">
                  <a:moveTo>
                    <a:pt x="0" y="396256"/>
                  </a:moveTo>
                  <a:lnTo>
                    <a:pt x="0" y="143057"/>
                  </a:lnTo>
                  <a:cubicBezTo>
                    <a:pt x="0" y="64049"/>
                    <a:pt x="64051" y="0"/>
                    <a:pt x="143057" y="0"/>
                  </a:cubicBezTo>
                  <a:lnTo>
                    <a:pt x="1173109" y="0"/>
                  </a:lnTo>
                  <a:cubicBezTo>
                    <a:pt x="1252115" y="0"/>
                    <a:pt x="1316166" y="64049"/>
                    <a:pt x="1316166" y="143057"/>
                  </a:cubicBezTo>
                  <a:lnTo>
                    <a:pt x="1316166" y="143057"/>
                  </a:lnTo>
                </a:path>
              </a:pathLst>
            </a:custGeom>
            <a:noFill/>
            <a:ln w="11697" cap="rnd">
              <a:solidFill>
                <a:srgbClr val="263238"/>
              </a:solidFill>
              <a:custDash>
                <a:ds d="330750" sp="330750"/>
              </a:custDash>
              <a:round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7" name="Graphic 13">
            <a:extLst>
              <a:ext uri="{FF2B5EF4-FFF2-40B4-BE49-F238E27FC236}">
                <a16:creationId xmlns:a16="http://schemas.microsoft.com/office/drawing/2014/main" id="{40CE192F-B11F-391B-6D8C-9D9631DFA55C}"/>
              </a:ext>
            </a:extLst>
          </p:cNvPr>
          <p:cNvGrpSpPr/>
          <p:nvPr/>
        </p:nvGrpSpPr>
        <p:grpSpPr>
          <a:xfrm>
            <a:off x="1144363" y="856379"/>
            <a:ext cx="3846237" cy="2390849"/>
            <a:chOff x="1144363" y="856379"/>
            <a:chExt cx="3846237" cy="2390849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96BAAB1-910C-F9D6-04DB-368BCB4CEA56}"/>
                </a:ext>
              </a:extLst>
            </p:cNvPr>
            <p:cNvSpPr/>
            <p:nvPr/>
          </p:nvSpPr>
          <p:spPr>
            <a:xfrm>
              <a:off x="1144363" y="856379"/>
              <a:ext cx="3846237" cy="2390849"/>
            </a:xfrm>
            <a:custGeom>
              <a:avLst/>
              <a:gdLst>
                <a:gd name="connsiteX0" fmla="*/ 3846237 w 3846237"/>
                <a:gd name="connsiteY0" fmla="*/ 236582 h 2390849"/>
                <a:gd name="connsiteX1" fmla="*/ 3846237 w 3846237"/>
                <a:gd name="connsiteY1" fmla="*/ 2154587 h 2390849"/>
                <a:gd name="connsiteX2" fmla="*/ 3609868 w 3846237"/>
                <a:gd name="connsiteY2" fmla="*/ 2390849 h 2390849"/>
                <a:gd name="connsiteX3" fmla="*/ 236369 w 3846237"/>
                <a:gd name="connsiteY3" fmla="*/ 2390849 h 2390849"/>
                <a:gd name="connsiteX4" fmla="*/ 0 w 3846237"/>
                <a:gd name="connsiteY4" fmla="*/ 2154481 h 2390849"/>
                <a:gd name="connsiteX5" fmla="*/ 0 w 3846237"/>
                <a:gd name="connsiteY5" fmla="*/ 236582 h 2390849"/>
                <a:gd name="connsiteX6" fmla="*/ 746 w 3846237"/>
                <a:gd name="connsiteY6" fmla="*/ 219858 h 2390849"/>
                <a:gd name="connsiteX7" fmla="*/ 236369 w 3846237"/>
                <a:gd name="connsiteY7" fmla="*/ 0 h 2390849"/>
                <a:gd name="connsiteX8" fmla="*/ 3609868 w 3846237"/>
                <a:gd name="connsiteY8" fmla="*/ 0 h 2390849"/>
                <a:gd name="connsiteX9" fmla="*/ 3845491 w 3846237"/>
                <a:gd name="connsiteY9" fmla="*/ 219858 h 2390849"/>
                <a:gd name="connsiteX10" fmla="*/ 3846237 w 3846237"/>
                <a:gd name="connsiteY10" fmla="*/ 236582 h 2390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46237" h="2390849">
                  <a:moveTo>
                    <a:pt x="3846237" y="236582"/>
                  </a:moveTo>
                  <a:lnTo>
                    <a:pt x="3846237" y="2154587"/>
                  </a:lnTo>
                  <a:cubicBezTo>
                    <a:pt x="3846120" y="2285064"/>
                    <a:pt x="3740345" y="2390785"/>
                    <a:pt x="3609868" y="2390849"/>
                  </a:cubicBezTo>
                  <a:lnTo>
                    <a:pt x="236369" y="2390849"/>
                  </a:lnTo>
                  <a:cubicBezTo>
                    <a:pt x="105850" y="2390785"/>
                    <a:pt x="59" y="2285000"/>
                    <a:pt x="0" y="2154481"/>
                  </a:cubicBezTo>
                  <a:lnTo>
                    <a:pt x="0" y="236582"/>
                  </a:lnTo>
                  <a:cubicBezTo>
                    <a:pt x="0" y="230936"/>
                    <a:pt x="0" y="225397"/>
                    <a:pt x="746" y="219858"/>
                  </a:cubicBezTo>
                  <a:cubicBezTo>
                    <a:pt x="9362" y="96066"/>
                    <a:pt x="112278" y="36"/>
                    <a:pt x="236369" y="0"/>
                  </a:cubicBezTo>
                  <a:lnTo>
                    <a:pt x="3609868" y="0"/>
                  </a:lnTo>
                  <a:cubicBezTo>
                    <a:pt x="3733965" y="36"/>
                    <a:pt x="3836874" y="96066"/>
                    <a:pt x="3845491" y="219858"/>
                  </a:cubicBezTo>
                  <a:cubicBezTo>
                    <a:pt x="3846024" y="225397"/>
                    <a:pt x="3846237" y="230936"/>
                    <a:pt x="3846237" y="236582"/>
                  </a:cubicBezTo>
                  <a:close/>
                </a:path>
              </a:pathLst>
            </a:custGeom>
            <a:solidFill>
              <a:srgbClr val="FFFFFF"/>
            </a:solidFill>
            <a:ln w="1169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D4F810A-60AE-C5B7-7A5D-485945EDF9EA}"/>
                </a:ext>
              </a:extLst>
            </p:cNvPr>
            <p:cNvSpPr/>
            <p:nvPr/>
          </p:nvSpPr>
          <p:spPr>
            <a:xfrm>
              <a:off x="1259405" y="1164862"/>
              <a:ext cx="3628296" cy="1993315"/>
            </a:xfrm>
            <a:custGeom>
              <a:avLst/>
              <a:gdLst>
                <a:gd name="connsiteX0" fmla="*/ 0 w 3628296"/>
                <a:gd name="connsiteY0" fmla="*/ 0 h 1993315"/>
                <a:gd name="connsiteX1" fmla="*/ 3628297 w 3628296"/>
                <a:gd name="connsiteY1" fmla="*/ 0 h 1993315"/>
                <a:gd name="connsiteX2" fmla="*/ 3628297 w 3628296"/>
                <a:gd name="connsiteY2" fmla="*/ 0 h 1993315"/>
                <a:gd name="connsiteX3" fmla="*/ 3628297 w 3628296"/>
                <a:gd name="connsiteY3" fmla="*/ 1771753 h 1993315"/>
                <a:gd name="connsiteX4" fmla="*/ 3406734 w 3628296"/>
                <a:gd name="connsiteY4" fmla="*/ 1993315 h 1993315"/>
                <a:gd name="connsiteX5" fmla="*/ 221775 w 3628296"/>
                <a:gd name="connsiteY5" fmla="*/ 1993315 h 1993315"/>
                <a:gd name="connsiteX6" fmla="*/ 213 w 3628296"/>
                <a:gd name="connsiteY6" fmla="*/ 1771753 h 1993315"/>
                <a:gd name="connsiteX7" fmla="*/ 213 w 3628296"/>
                <a:gd name="connsiteY7" fmla="*/ 0 h 1993315"/>
                <a:gd name="connsiteX8" fmla="*/ 213 w 3628296"/>
                <a:gd name="connsiteY8" fmla="*/ 0 h 1993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28296" h="1993315">
                  <a:moveTo>
                    <a:pt x="0" y="0"/>
                  </a:moveTo>
                  <a:lnTo>
                    <a:pt x="3628297" y="0"/>
                  </a:lnTo>
                  <a:lnTo>
                    <a:pt x="3628297" y="0"/>
                  </a:lnTo>
                  <a:lnTo>
                    <a:pt x="3628297" y="1771753"/>
                  </a:lnTo>
                  <a:cubicBezTo>
                    <a:pt x="3628297" y="1894124"/>
                    <a:pt x="3529105" y="1993315"/>
                    <a:pt x="3406734" y="1993315"/>
                  </a:cubicBezTo>
                  <a:lnTo>
                    <a:pt x="221775" y="1993315"/>
                  </a:lnTo>
                  <a:cubicBezTo>
                    <a:pt x="99410" y="1993315"/>
                    <a:pt x="213" y="1894124"/>
                    <a:pt x="213" y="1771753"/>
                  </a:cubicBezTo>
                  <a:lnTo>
                    <a:pt x="213" y="0"/>
                  </a:lnTo>
                  <a:lnTo>
                    <a:pt x="213" y="0"/>
                  </a:ln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D12B57C-501F-99B0-C77C-AA6E418595C1}"/>
                </a:ext>
              </a:extLst>
            </p:cNvPr>
            <p:cNvSpPr/>
            <p:nvPr/>
          </p:nvSpPr>
          <p:spPr>
            <a:xfrm>
              <a:off x="1259935" y="1164862"/>
              <a:ext cx="3627769" cy="1993315"/>
            </a:xfrm>
            <a:custGeom>
              <a:avLst/>
              <a:gdLst>
                <a:gd name="connsiteX0" fmla="*/ 3627767 w 3627769"/>
                <a:gd name="connsiteY0" fmla="*/ 0 h 1993315"/>
                <a:gd name="connsiteX1" fmla="*/ 3627767 w 3627769"/>
                <a:gd name="connsiteY1" fmla="*/ 1771860 h 1993315"/>
                <a:gd name="connsiteX2" fmla="*/ 3408654 w 3627769"/>
                <a:gd name="connsiteY2" fmla="*/ 1993315 h 1993315"/>
                <a:gd name="connsiteX3" fmla="*/ 219115 w 3627769"/>
                <a:gd name="connsiteY3" fmla="*/ 1993315 h 1993315"/>
                <a:gd name="connsiteX4" fmla="*/ 3 w 3627769"/>
                <a:gd name="connsiteY4" fmla="*/ 1771860 h 1993315"/>
                <a:gd name="connsiteX5" fmla="*/ 3 w 3627769"/>
                <a:gd name="connsiteY5" fmla="*/ 0 h 1993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27769" h="1993315">
                  <a:moveTo>
                    <a:pt x="3627767" y="0"/>
                  </a:moveTo>
                  <a:lnTo>
                    <a:pt x="3627767" y="1771860"/>
                  </a:lnTo>
                  <a:cubicBezTo>
                    <a:pt x="3628352" y="1893495"/>
                    <a:pt x="3530290" y="1992612"/>
                    <a:pt x="3408654" y="1993315"/>
                  </a:cubicBezTo>
                  <a:lnTo>
                    <a:pt x="219115" y="1993315"/>
                  </a:lnTo>
                  <a:cubicBezTo>
                    <a:pt x="97479" y="1992612"/>
                    <a:pt x="-587" y="1893495"/>
                    <a:pt x="3" y="177186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FFFF">
                <a:alpha val="20000"/>
              </a:srgbClr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D46285A-D0AE-9DCD-F874-2FACBBF37C2C}"/>
                </a:ext>
              </a:extLst>
            </p:cNvPr>
            <p:cNvSpPr/>
            <p:nvPr/>
          </p:nvSpPr>
          <p:spPr>
            <a:xfrm>
              <a:off x="1145108" y="856379"/>
              <a:ext cx="3844745" cy="219858"/>
            </a:xfrm>
            <a:custGeom>
              <a:avLst/>
              <a:gdLst>
                <a:gd name="connsiteX0" fmla="*/ 3844746 w 3844745"/>
                <a:gd name="connsiteY0" fmla="*/ 219858 h 219858"/>
                <a:gd name="connsiteX1" fmla="*/ 0 w 3844745"/>
                <a:gd name="connsiteY1" fmla="*/ 219858 h 219858"/>
                <a:gd name="connsiteX2" fmla="*/ 235623 w 3844745"/>
                <a:gd name="connsiteY2" fmla="*/ 0 h 219858"/>
                <a:gd name="connsiteX3" fmla="*/ 3609123 w 3844745"/>
                <a:gd name="connsiteY3" fmla="*/ 0 h 219858"/>
                <a:gd name="connsiteX4" fmla="*/ 3844746 w 3844745"/>
                <a:gd name="connsiteY4" fmla="*/ 219858 h 219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44745" h="219858">
                  <a:moveTo>
                    <a:pt x="3844746" y="219858"/>
                  </a:moveTo>
                  <a:lnTo>
                    <a:pt x="0" y="219858"/>
                  </a:lnTo>
                  <a:cubicBezTo>
                    <a:pt x="8616" y="96066"/>
                    <a:pt x="111532" y="36"/>
                    <a:pt x="235623" y="0"/>
                  </a:cubicBezTo>
                  <a:lnTo>
                    <a:pt x="3609123" y="0"/>
                  </a:lnTo>
                  <a:cubicBezTo>
                    <a:pt x="3733219" y="36"/>
                    <a:pt x="3836128" y="96066"/>
                    <a:pt x="3844746" y="219858"/>
                  </a:cubicBezTo>
                  <a:close/>
                </a:path>
              </a:pathLst>
            </a:custGeom>
            <a:solidFill>
              <a:srgbClr val="92E3A9"/>
            </a:solidFill>
            <a:ln w="11697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50E66F6-4042-F8EA-553B-334343EC2006}"/>
                </a:ext>
              </a:extLst>
            </p:cNvPr>
            <p:cNvSpPr/>
            <p:nvPr/>
          </p:nvSpPr>
          <p:spPr>
            <a:xfrm>
              <a:off x="1533801" y="924446"/>
              <a:ext cx="83725" cy="83724"/>
            </a:xfrm>
            <a:custGeom>
              <a:avLst/>
              <a:gdLst>
                <a:gd name="connsiteX0" fmla="*/ 83725 w 83725"/>
                <a:gd name="connsiteY0" fmla="*/ 41862 h 83724"/>
                <a:gd name="connsiteX1" fmla="*/ 41863 w 83725"/>
                <a:gd name="connsiteY1" fmla="*/ 83725 h 83724"/>
                <a:gd name="connsiteX2" fmla="*/ 0 w 83725"/>
                <a:gd name="connsiteY2" fmla="*/ 41862 h 83724"/>
                <a:gd name="connsiteX3" fmla="*/ 41863 w 83725"/>
                <a:gd name="connsiteY3" fmla="*/ 0 h 83724"/>
                <a:gd name="connsiteX4" fmla="*/ 83725 w 83725"/>
                <a:gd name="connsiteY4" fmla="*/ 41862 h 83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725" h="83724">
                  <a:moveTo>
                    <a:pt x="83725" y="41862"/>
                  </a:moveTo>
                  <a:cubicBezTo>
                    <a:pt x="83725" y="64983"/>
                    <a:pt x="64977" y="83725"/>
                    <a:pt x="41863" y="83725"/>
                  </a:cubicBezTo>
                  <a:cubicBezTo>
                    <a:pt x="18742" y="83725"/>
                    <a:pt x="0" y="64983"/>
                    <a:pt x="0" y="41862"/>
                  </a:cubicBezTo>
                  <a:cubicBezTo>
                    <a:pt x="0" y="18742"/>
                    <a:pt x="18742" y="0"/>
                    <a:pt x="41863" y="0"/>
                  </a:cubicBezTo>
                  <a:cubicBezTo>
                    <a:pt x="64977" y="0"/>
                    <a:pt x="83725" y="18742"/>
                    <a:pt x="83725" y="41862"/>
                  </a:cubicBez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EA46392-4647-180E-B407-576C12C727E9}"/>
                </a:ext>
              </a:extLst>
            </p:cNvPr>
            <p:cNvSpPr/>
            <p:nvPr/>
          </p:nvSpPr>
          <p:spPr>
            <a:xfrm>
              <a:off x="1710838" y="924446"/>
              <a:ext cx="83725" cy="83724"/>
            </a:xfrm>
            <a:custGeom>
              <a:avLst/>
              <a:gdLst>
                <a:gd name="connsiteX0" fmla="*/ 83725 w 83725"/>
                <a:gd name="connsiteY0" fmla="*/ 41862 h 83724"/>
                <a:gd name="connsiteX1" fmla="*/ 41863 w 83725"/>
                <a:gd name="connsiteY1" fmla="*/ 83725 h 83724"/>
                <a:gd name="connsiteX2" fmla="*/ 0 w 83725"/>
                <a:gd name="connsiteY2" fmla="*/ 41862 h 83724"/>
                <a:gd name="connsiteX3" fmla="*/ 41863 w 83725"/>
                <a:gd name="connsiteY3" fmla="*/ 0 h 83724"/>
                <a:gd name="connsiteX4" fmla="*/ 83725 w 83725"/>
                <a:gd name="connsiteY4" fmla="*/ 41862 h 83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725" h="83724">
                  <a:moveTo>
                    <a:pt x="83725" y="41862"/>
                  </a:moveTo>
                  <a:cubicBezTo>
                    <a:pt x="83725" y="64983"/>
                    <a:pt x="64977" y="83725"/>
                    <a:pt x="41863" y="83725"/>
                  </a:cubicBezTo>
                  <a:cubicBezTo>
                    <a:pt x="18748" y="83725"/>
                    <a:pt x="0" y="64983"/>
                    <a:pt x="0" y="41862"/>
                  </a:cubicBezTo>
                  <a:cubicBezTo>
                    <a:pt x="0" y="18742"/>
                    <a:pt x="18748" y="0"/>
                    <a:pt x="41863" y="0"/>
                  </a:cubicBezTo>
                  <a:cubicBezTo>
                    <a:pt x="64977" y="0"/>
                    <a:pt x="83725" y="18742"/>
                    <a:pt x="83725" y="41862"/>
                  </a:cubicBez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EEE478E-2E12-2E59-A96E-9231DD6A2567}"/>
                </a:ext>
              </a:extLst>
            </p:cNvPr>
            <p:cNvSpPr/>
            <p:nvPr/>
          </p:nvSpPr>
          <p:spPr>
            <a:xfrm>
              <a:off x="1887875" y="924446"/>
              <a:ext cx="83725" cy="83724"/>
            </a:xfrm>
            <a:custGeom>
              <a:avLst/>
              <a:gdLst>
                <a:gd name="connsiteX0" fmla="*/ 83725 w 83725"/>
                <a:gd name="connsiteY0" fmla="*/ 41862 h 83724"/>
                <a:gd name="connsiteX1" fmla="*/ 41863 w 83725"/>
                <a:gd name="connsiteY1" fmla="*/ 83725 h 83724"/>
                <a:gd name="connsiteX2" fmla="*/ 0 w 83725"/>
                <a:gd name="connsiteY2" fmla="*/ 41862 h 83724"/>
                <a:gd name="connsiteX3" fmla="*/ 41863 w 83725"/>
                <a:gd name="connsiteY3" fmla="*/ 0 h 83724"/>
                <a:gd name="connsiteX4" fmla="*/ 83725 w 83725"/>
                <a:gd name="connsiteY4" fmla="*/ 41862 h 83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725" h="83724">
                  <a:moveTo>
                    <a:pt x="83725" y="41862"/>
                  </a:moveTo>
                  <a:cubicBezTo>
                    <a:pt x="83725" y="64983"/>
                    <a:pt x="64983" y="83725"/>
                    <a:pt x="41863" y="83725"/>
                  </a:cubicBezTo>
                  <a:cubicBezTo>
                    <a:pt x="18743" y="83725"/>
                    <a:pt x="0" y="64983"/>
                    <a:pt x="0" y="41862"/>
                  </a:cubicBezTo>
                  <a:cubicBezTo>
                    <a:pt x="0" y="18742"/>
                    <a:pt x="18743" y="0"/>
                    <a:pt x="41863" y="0"/>
                  </a:cubicBezTo>
                  <a:cubicBezTo>
                    <a:pt x="64983" y="0"/>
                    <a:pt x="83725" y="18742"/>
                    <a:pt x="83725" y="41862"/>
                  </a:cubicBez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01D1924-4162-ABEB-D7C2-A0E2B9C7701E}"/>
                </a:ext>
              </a:extLst>
            </p:cNvPr>
            <p:cNvSpPr/>
            <p:nvPr/>
          </p:nvSpPr>
          <p:spPr>
            <a:xfrm>
              <a:off x="1259831" y="1164862"/>
              <a:ext cx="3627870" cy="1993421"/>
            </a:xfrm>
            <a:custGeom>
              <a:avLst/>
              <a:gdLst>
                <a:gd name="connsiteX0" fmla="*/ 3627871 w 3627870"/>
                <a:gd name="connsiteY0" fmla="*/ 0 h 1993421"/>
                <a:gd name="connsiteX1" fmla="*/ 3627871 w 3627870"/>
                <a:gd name="connsiteY1" fmla="*/ 1771753 h 1993421"/>
                <a:gd name="connsiteX2" fmla="*/ 3406308 w 3627870"/>
                <a:gd name="connsiteY2" fmla="*/ 1993422 h 1993421"/>
                <a:gd name="connsiteX3" fmla="*/ 221350 w 3627870"/>
                <a:gd name="connsiteY3" fmla="*/ 1993422 h 1993421"/>
                <a:gd name="connsiteX4" fmla="*/ 4048 w 3627870"/>
                <a:gd name="connsiteY4" fmla="*/ 1814787 h 1993421"/>
                <a:gd name="connsiteX5" fmla="*/ 4048 w 3627870"/>
                <a:gd name="connsiteY5" fmla="*/ 1814787 h 1993421"/>
                <a:gd name="connsiteX6" fmla="*/ 4048 w 3627870"/>
                <a:gd name="connsiteY6" fmla="*/ 1814255 h 1993421"/>
                <a:gd name="connsiteX7" fmla="*/ 0 w 3627870"/>
                <a:gd name="connsiteY7" fmla="*/ 1771647 h 1993421"/>
                <a:gd name="connsiteX8" fmla="*/ 0 w 3627870"/>
                <a:gd name="connsiteY8" fmla="*/ 0 h 1993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27870" h="1993421">
                  <a:moveTo>
                    <a:pt x="3627871" y="0"/>
                  </a:moveTo>
                  <a:lnTo>
                    <a:pt x="3627871" y="1771753"/>
                  </a:lnTo>
                  <a:cubicBezTo>
                    <a:pt x="3627871" y="1894134"/>
                    <a:pt x="3528690" y="1993358"/>
                    <a:pt x="3406308" y="1993422"/>
                  </a:cubicBezTo>
                  <a:lnTo>
                    <a:pt x="221350" y="1993422"/>
                  </a:lnTo>
                  <a:cubicBezTo>
                    <a:pt x="115573" y="1993347"/>
                    <a:pt x="24583" y="1918549"/>
                    <a:pt x="4048" y="1814787"/>
                  </a:cubicBezTo>
                  <a:lnTo>
                    <a:pt x="4048" y="1814787"/>
                  </a:lnTo>
                  <a:lnTo>
                    <a:pt x="4048" y="1814255"/>
                  </a:lnTo>
                  <a:cubicBezTo>
                    <a:pt x="1334" y="1800215"/>
                    <a:pt x="-22" y="1785942"/>
                    <a:pt x="0" y="1771647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1697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CEBBA54-C097-188F-5E80-579BB36B8FD4}"/>
                </a:ext>
              </a:extLst>
            </p:cNvPr>
            <p:cNvSpPr/>
            <p:nvPr/>
          </p:nvSpPr>
          <p:spPr>
            <a:xfrm>
              <a:off x="4464283" y="1329862"/>
              <a:ext cx="423311" cy="617285"/>
            </a:xfrm>
            <a:custGeom>
              <a:avLst/>
              <a:gdLst>
                <a:gd name="connsiteX0" fmla="*/ 419903 w 423311"/>
                <a:gd name="connsiteY0" fmla="*/ 109077 h 617285"/>
                <a:gd name="connsiteX1" fmla="*/ 370691 w 423311"/>
                <a:gd name="connsiteY1" fmla="*/ 88731 h 617285"/>
                <a:gd name="connsiteX2" fmla="*/ 350771 w 423311"/>
                <a:gd name="connsiteY2" fmla="*/ 0 h 617285"/>
                <a:gd name="connsiteX3" fmla="*/ 266194 w 423311"/>
                <a:gd name="connsiteY3" fmla="*/ 0 h 617285"/>
                <a:gd name="connsiteX4" fmla="*/ 246488 w 423311"/>
                <a:gd name="connsiteY4" fmla="*/ 88944 h 617285"/>
                <a:gd name="connsiteX5" fmla="*/ 197063 w 423311"/>
                <a:gd name="connsiteY5" fmla="*/ 109290 h 617285"/>
                <a:gd name="connsiteX6" fmla="*/ 120687 w 423311"/>
                <a:gd name="connsiteY6" fmla="*/ 60397 h 617285"/>
                <a:gd name="connsiteX7" fmla="*/ 61249 w 423311"/>
                <a:gd name="connsiteY7" fmla="*/ 120048 h 617285"/>
                <a:gd name="connsiteX8" fmla="*/ 109290 w 423311"/>
                <a:gd name="connsiteY8" fmla="*/ 196424 h 617285"/>
                <a:gd name="connsiteX9" fmla="*/ 88945 w 423311"/>
                <a:gd name="connsiteY9" fmla="*/ 245742 h 617285"/>
                <a:gd name="connsiteX10" fmla="*/ 0 w 423311"/>
                <a:gd name="connsiteY10" fmla="*/ 265449 h 617285"/>
                <a:gd name="connsiteX11" fmla="*/ 0 w 423311"/>
                <a:gd name="connsiteY11" fmla="*/ 350665 h 617285"/>
                <a:gd name="connsiteX12" fmla="*/ 88945 w 423311"/>
                <a:gd name="connsiteY12" fmla="*/ 370478 h 617285"/>
                <a:gd name="connsiteX13" fmla="*/ 109290 w 423311"/>
                <a:gd name="connsiteY13" fmla="*/ 420223 h 617285"/>
                <a:gd name="connsiteX14" fmla="*/ 60397 w 423311"/>
                <a:gd name="connsiteY14" fmla="*/ 497024 h 617285"/>
                <a:gd name="connsiteX15" fmla="*/ 120262 w 423311"/>
                <a:gd name="connsiteY15" fmla="*/ 556888 h 617285"/>
                <a:gd name="connsiteX16" fmla="*/ 197063 w 423311"/>
                <a:gd name="connsiteY16" fmla="*/ 507996 h 617285"/>
                <a:gd name="connsiteX17" fmla="*/ 246382 w 423311"/>
                <a:gd name="connsiteY17" fmla="*/ 528447 h 617285"/>
                <a:gd name="connsiteX18" fmla="*/ 266194 w 423311"/>
                <a:gd name="connsiteY18" fmla="*/ 617285 h 617285"/>
                <a:gd name="connsiteX19" fmla="*/ 350771 w 423311"/>
                <a:gd name="connsiteY19" fmla="*/ 617285 h 617285"/>
                <a:gd name="connsiteX20" fmla="*/ 370158 w 423311"/>
                <a:gd name="connsiteY20" fmla="*/ 527915 h 617285"/>
                <a:gd name="connsiteX21" fmla="*/ 419371 w 423311"/>
                <a:gd name="connsiteY21" fmla="*/ 507463 h 617285"/>
                <a:gd name="connsiteX22" fmla="*/ 423312 w 423311"/>
                <a:gd name="connsiteY22" fmla="*/ 509913 h 617285"/>
                <a:gd name="connsiteX23" fmla="*/ 423312 w 423311"/>
                <a:gd name="connsiteY23" fmla="*/ 106520 h 617285"/>
                <a:gd name="connsiteX24" fmla="*/ 308696 w 423311"/>
                <a:gd name="connsiteY24" fmla="*/ 417986 h 617285"/>
                <a:gd name="connsiteX25" fmla="*/ 199406 w 423311"/>
                <a:gd name="connsiteY25" fmla="*/ 308696 h 617285"/>
                <a:gd name="connsiteX26" fmla="*/ 308696 w 423311"/>
                <a:gd name="connsiteY26" fmla="*/ 199406 h 617285"/>
                <a:gd name="connsiteX27" fmla="*/ 417986 w 423311"/>
                <a:gd name="connsiteY27" fmla="*/ 308696 h 617285"/>
                <a:gd name="connsiteX28" fmla="*/ 308696 w 423311"/>
                <a:gd name="connsiteY28" fmla="*/ 417560 h 617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23311" h="617285">
                  <a:moveTo>
                    <a:pt x="419903" y="109077"/>
                  </a:moveTo>
                  <a:cubicBezTo>
                    <a:pt x="404373" y="100354"/>
                    <a:pt x="387851" y="93524"/>
                    <a:pt x="370691" y="88731"/>
                  </a:cubicBezTo>
                  <a:lnTo>
                    <a:pt x="350771" y="0"/>
                  </a:lnTo>
                  <a:lnTo>
                    <a:pt x="266194" y="0"/>
                  </a:lnTo>
                  <a:lnTo>
                    <a:pt x="246488" y="88944"/>
                  </a:lnTo>
                  <a:cubicBezTo>
                    <a:pt x="229232" y="93651"/>
                    <a:pt x="212636" y="100485"/>
                    <a:pt x="197063" y="109290"/>
                  </a:cubicBezTo>
                  <a:lnTo>
                    <a:pt x="120687" y="60397"/>
                  </a:lnTo>
                  <a:lnTo>
                    <a:pt x="61249" y="120048"/>
                  </a:lnTo>
                  <a:lnTo>
                    <a:pt x="109290" y="196424"/>
                  </a:lnTo>
                  <a:cubicBezTo>
                    <a:pt x="100481" y="211951"/>
                    <a:pt x="93642" y="228519"/>
                    <a:pt x="88945" y="245742"/>
                  </a:cubicBezTo>
                  <a:lnTo>
                    <a:pt x="0" y="265449"/>
                  </a:lnTo>
                  <a:lnTo>
                    <a:pt x="0" y="350665"/>
                  </a:lnTo>
                  <a:lnTo>
                    <a:pt x="88945" y="370478"/>
                  </a:lnTo>
                  <a:cubicBezTo>
                    <a:pt x="93621" y="387844"/>
                    <a:pt x="100459" y="404556"/>
                    <a:pt x="109290" y="420223"/>
                  </a:cubicBezTo>
                  <a:lnTo>
                    <a:pt x="60397" y="497024"/>
                  </a:lnTo>
                  <a:lnTo>
                    <a:pt x="120262" y="556888"/>
                  </a:lnTo>
                  <a:lnTo>
                    <a:pt x="197063" y="507996"/>
                  </a:lnTo>
                  <a:cubicBezTo>
                    <a:pt x="212647" y="516727"/>
                    <a:pt x="229200" y="523591"/>
                    <a:pt x="246382" y="528447"/>
                  </a:cubicBezTo>
                  <a:lnTo>
                    <a:pt x="266194" y="617285"/>
                  </a:lnTo>
                  <a:lnTo>
                    <a:pt x="350771" y="617285"/>
                  </a:lnTo>
                  <a:lnTo>
                    <a:pt x="370158" y="527915"/>
                  </a:lnTo>
                  <a:cubicBezTo>
                    <a:pt x="387297" y="523012"/>
                    <a:pt x="403808" y="516149"/>
                    <a:pt x="419371" y="507463"/>
                  </a:cubicBezTo>
                  <a:lnTo>
                    <a:pt x="423312" y="509913"/>
                  </a:lnTo>
                  <a:lnTo>
                    <a:pt x="423312" y="106520"/>
                  </a:lnTo>
                  <a:close/>
                  <a:moveTo>
                    <a:pt x="308696" y="417986"/>
                  </a:moveTo>
                  <a:cubicBezTo>
                    <a:pt x="248342" y="417986"/>
                    <a:pt x="199406" y="369055"/>
                    <a:pt x="199406" y="308696"/>
                  </a:cubicBezTo>
                  <a:cubicBezTo>
                    <a:pt x="199406" y="248337"/>
                    <a:pt x="248342" y="199406"/>
                    <a:pt x="308696" y="199406"/>
                  </a:cubicBezTo>
                  <a:cubicBezTo>
                    <a:pt x="369050" y="199406"/>
                    <a:pt x="417986" y="248337"/>
                    <a:pt x="417986" y="308696"/>
                  </a:cubicBezTo>
                  <a:cubicBezTo>
                    <a:pt x="417751" y="368888"/>
                    <a:pt x="368891" y="417560"/>
                    <a:pt x="308696" y="417560"/>
                  </a:cubicBez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3D527A0-1092-A26B-1CC4-BB37F943A54E}"/>
                </a:ext>
              </a:extLst>
            </p:cNvPr>
            <p:cNvSpPr/>
            <p:nvPr/>
          </p:nvSpPr>
          <p:spPr>
            <a:xfrm>
              <a:off x="2058520" y="1164862"/>
              <a:ext cx="1301359" cy="921294"/>
            </a:xfrm>
            <a:custGeom>
              <a:avLst/>
              <a:gdLst>
                <a:gd name="connsiteX0" fmla="*/ 1301359 w 1301359"/>
                <a:gd name="connsiteY0" fmla="*/ 359826 h 921294"/>
                <a:gd name="connsiteX1" fmla="*/ 1301359 w 1301359"/>
                <a:gd name="connsiteY1" fmla="*/ 181404 h 921294"/>
                <a:gd name="connsiteX2" fmla="*/ 1114203 w 1301359"/>
                <a:gd name="connsiteY2" fmla="*/ 139861 h 921294"/>
                <a:gd name="connsiteX3" fmla="*/ 1071595 w 1301359"/>
                <a:gd name="connsiteY3" fmla="*/ 35684 h 921294"/>
                <a:gd name="connsiteX4" fmla="*/ 1094284 w 1301359"/>
                <a:gd name="connsiteY4" fmla="*/ 0 h 921294"/>
                <a:gd name="connsiteX5" fmla="*/ 208780 w 1301359"/>
                <a:gd name="connsiteY5" fmla="*/ 0 h 921294"/>
                <a:gd name="connsiteX6" fmla="*/ 230084 w 1301359"/>
                <a:gd name="connsiteY6" fmla="*/ 34726 h 921294"/>
                <a:gd name="connsiteX7" fmla="*/ 187476 w 1301359"/>
                <a:gd name="connsiteY7" fmla="*/ 138796 h 921294"/>
                <a:gd name="connsiteX8" fmla="*/ 0 w 1301359"/>
                <a:gd name="connsiteY8" fmla="*/ 180445 h 921294"/>
                <a:gd name="connsiteX9" fmla="*/ 0 w 1301359"/>
                <a:gd name="connsiteY9" fmla="*/ 358867 h 921294"/>
                <a:gd name="connsiteX10" fmla="*/ 187476 w 1301359"/>
                <a:gd name="connsiteY10" fmla="*/ 400623 h 921294"/>
                <a:gd name="connsiteX11" fmla="*/ 230084 w 1301359"/>
                <a:gd name="connsiteY11" fmla="*/ 505865 h 921294"/>
                <a:gd name="connsiteX12" fmla="*/ 127079 w 1301359"/>
                <a:gd name="connsiteY12" fmla="*/ 667989 h 921294"/>
                <a:gd name="connsiteX13" fmla="*/ 253518 w 1301359"/>
                <a:gd name="connsiteY13" fmla="*/ 793470 h 921294"/>
                <a:gd name="connsiteX14" fmla="*/ 415429 w 1301359"/>
                <a:gd name="connsiteY14" fmla="*/ 690465 h 921294"/>
                <a:gd name="connsiteX15" fmla="*/ 519500 w 1301359"/>
                <a:gd name="connsiteY15" fmla="*/ 733073 h 921294"/>
                <a:gd name="connsiteX16" fmla="*/ 561149 w 1301359"/>
                <a:gd name="connsiteY16" fmla="*/ 921295 h 921294"/>
                <a:gd name="connsiteX17" fmla="*/ 739464 w 1301359"/>
                <a:gd name="connsiteY17" fmla="*/ 921295 h 921294"/>
                <a:gd name="connsiteX18" fmla="*/ 781433 w 1301359"/>
                <a:gd name="connsiteY18" fmla="*/ 734032 h 921294"/>
                <a:gd name="connsiteX19" fmla="*/ 885184 w 1301359"/>
                <a:gd name="connsiteY19" fmla="*/ 691424 h 921294"/>
                <a:gd name="connsiteX20" fmla="*/ 1047202 w 1301359"/>
                <a:gd name="connsiteY20" fmla="*/ 793470 h 921294"/>
                <a:gd name="connsiteX21" fmla="*/ 1173322 w 1301359"/>
                <a:gd name="connsiteY21" fmla="*/ 667457 h 921294"/>
                <a:gd name="connsiteX22" fmla="*/ 1070956 w 1301359"/>
                <a:gd name="connsiteY22" fmla="*/ 505865 h 921294"/>
                <a:gd name="connsiteX23" fmla="*/ 1113564 w 1301359"/>
                <a:gd name="connsiteY23" fmla="*/ 402008 h 921294"/>
                <a:gd name="connsiteX24" fmla="*/ 651585 w 1301359"/>
                <a:gd name="connsiteY24" fmla="*/ 500965 h 921294"/>
                <a:gd name="connsiteX25" fmla="*/ 421182 w 1301359"/>
                <a:gd name="connsiteY25" fmla="*/ 270562 h 921294"/>
                <a:gd name="connsiteX26" fmla="*/ 651585 w 1301359"/>
                <a:gd name="connsiteY26" fmla="*/ 40158 h 921294"/>
                <a:gd name="connsiteX27" fmla="*/ 881989 w 1301359"/>
                <a:gd name="connsiteY27" fmla="*/ 270562 h 921294"/>
                <a:gd name="connsiteX28" fmla="*/ 651798 w 1301359"/>
                <a:gd name="connsiteY28" fmla="*/ 500965 h 921294"/>
                <a:gd name="connsiteX29" fmla="*/ 651585 w 1301359"/>
                <a:gd name="connsiteY29" fmla="*/ 500965 h 921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301359" h="921294">
                  <a:moveTo>
                    <a:pt x="1301359" y="359826"/>
                  </a:moveTo>
                  <a:lnTo>
                    <a:pt x="1301359" y="181404"/>
                  </a:lnTo>
                  <a:lnTo>
                    <a:pt x="1114203" y="139861"/>
                  </a:lnTo>
                  <a:cubicBezTo>
                    <a:pt x="1104084" y="103602"/>
                    <a:pt x="1089789" y="68641"/>
                    <a:pt x="1071595" y="35684"/>
                  </a:cubicBezTo>
                  <a:lnTo>
                    <a:pt x="1094284" y="0"/>
                  </a:lnTo>
                  <a:lnTo>
                    <a:pt x="208780" y="0"/>
                  </a:lnTo>
                  <a:lnTo>
                    <a:pt x="230084" y="34726"/>
                  </a:lnTo>
                  <a:cubicBezTo>
                    <a:pt x="211677" y="67539"/>
                    <a:pt x="197361" y="102492"/>
                    <a:pt x="187476" y="138796"/>
                  </a:cubicBezTo>
                  <a:lnTo>
                    <a:pt x="0" y="180445"/>
                  </a:lnTo>
                  <a:lnTo>
                    <a:pt x="0" y="358867"/>
                  </a:lnTo>
                  <a:lnTo>
                    <a:pt x="187476" y="400623"/>
                  </a:lnTo>
                  <a:cubicBezTo>
                    <a:pt x="197329" y="437313"/>
                    <a:pt x="211635" y="472656"/>
                    <a:pt x="230084" y="505865"/>
                  </a:cubicBezTo>
                  <a:lnTo>
                    <a:pt x="127079" y="667989"/>
                  </a:lnTo>
                  <a:lnTo>
                    <a:pt x="253518" y="793470"/>
                  </a:lnTo>
                  <a:lnTo>
                    <a:pt x="415429" y="690465"/>
                  </a:lnTo>
                  <a:cubicBezTo>
                    <a:pt x="448323" y="708713"/>
                    <a:pt x="483251" y="723015"/>
                    <a:pt x="519500" y="733073"/>
                  </a:cubicBezTo>
                  <a:lnTo>
                    <a:pt x="561149" y="921295"/>
                  </a:lnTo>
                  <a:lnTo>
                    <a:pt x="739464" y="921295"/>
                  </a:lnTo>
                  <a:lnTo>
                    <a:pt x="781433" y="734032"/>
                  </a:lnTo>
                  <a:cubicBezTo>
                    <a:pt x="817565" y="723926"/>
                    <a:pt x="852387" y="709626"/>
                    <a:pt x="885184" y="691424"/>
                  </a:cubicBezTo>
                  <a:lnTo>
                    <a:pt x="1047202" y="793470"/>
                  </a:lnTo>
                  <a:lnTo>
                    <a:pt x="1173322" y="667457"/>
                  </a:lnTo>
                  <a:lnTo>
                    <a:pt x="1070956" y="505865"/>
                  </a:lnTo>
                  <a:cubicBezTo>
                    <a:pt x="1089118" y="473007"/>
                    <a:pt x="1103413" y="438156"/>
                    <a:pt x="1113564" y="402008"/>
                  </a:cubicBezTo>
                  <a:close/>
                  <a:moveTo>
                    <a:pt x="651585" y="500965"/>
                  </a:moveTo>
                  <a:cubicBezTo>
                    <a:pt x="524336" y="500965"/>
                    <a:pt x="421182" y="397810"/>
                    <a:pt x="421182" y="270562"/>
                  </a:cubicBezTo>
                  <a:cubicBezTo>
                    <a:pt x="421182" y="143314"/>
                    <a:pt x="524336" y="40158"/>
                    <a:pt x="651585" y="40158"/>
                  </a:cubicBezTo>
                  <a:cubicBezTo>
                    <a:pt x="778834" y="40158"/>
                    <a:pt x="881989" y="143314"/>
                    <a:pt x="881989" y="270562"/>
                  </a:cubicBezTo>
                  <a:cubicBezTo>
                    <a:pt x="882052" y="397751"/>
                    <a:pt x="778983" y="500907"/>
                    <a:pt x="651798" y="500965"/>
                  </a:cubicBezTo>
                  <a:cubicBezTo>
                    <a:pt x="651724" y="500965"/>
                    <a:pt x="651660" y="500965"/>
                    <a:pt x="651585" y="500965"/>
                  </a:cubicBez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77A1E02-A633-84E0-0AA8-A986BF110F54}"/>
                </a:ext>
              </a:extLst>
            </p:cNvPr>
            <p:cNvSpPr/>
            <p:nvPr/>
          </p:nvSpPr>
          <p:spPr>
            <a:xfrm>
              <a:off x="1259831" y="2131108"/>
              <a:ext cx="924490" cy="1040490"/>
            </a:xfrm>
            <a:custGeom>
              <a:avLst/>
              <a:gdLst>
                <a:gd name="connsiteX0" fmla="*/ 916927 w 924490"/>
                <a:gd name="connsiteY0" fmla="*/ 618351 h 1040490"/>
                <a:gd name="connsiteX1" fmla="*/ 924490 w 924490"/>
                <a:gd name="connsiteY1" fmla="*/ 476892 h 1040490"/>
                <a:gd name="connsiteX2" fmla="*/ 777812 w 924490"/>
                <a:gd name="connsiteY2" fmla="*/ 435455 h 1040490"/>
                <a:gd name="connsiteX3" fmla="*/ 747773 w 924490"/>
                <a:gd name="connsiteY3" fmla="*/ 351411 h 1040490"/>
                <a:gd name="connsiteX4" fmla="*/ 836398 w 924490"/>
                <a:gd name="connsiteY4" fmla="*/ 226888 h 1040490"/>
                <a:gd name="connsiteX5" fmla="*/ 741169 w 924490"/>
                <a:gd name="connsiteY5" fmla="*/ 121540 h 1040490"/>
                <a:gd name="connsiteX6" fmla="*/ 608444 w 924490"/>
                <a:gd name="connsiteY6" fmla="*/ 196636 h 1040490"/>
                <a:gd name="connsiteX7" fmla="*/ 527595 w 924490"/>
                <a:gd name="connsiteY7" fmla="*/ 157970 h 1040490"/>
                <a:gd name="connsiteX8" fmla="*/ 502244 w 924490"/>
                <a:gd name="connsiteY8" fmla="*/ 7563 h 1040490"/>
                <a:gd name="connsiteX9" fmla="*/ 360784 w 924490"/>
                <a:gd name="connsiteY9" fmla="*/ 0 h 1040490"/>
                <a:gd name="connsiteX10" fmla="*/ 320094 w 924490"/>
                <a:gd name="connsiteY10" fmla="*/ 146785 h 1040490"/>
                <a:gd name="connsiteX11" fmla="*/ 235943 w 924490"/>
                <a:gd name="connsiteY11" fmla="*/ 176717 h 1040490"/>
                <a:gd name="connsiteX12" fmla="*/ 111633 w 924490"/>
                <a:gd name="connsiteY12" fmla="*/ 88412 h 1040490"/>
                <a:gd name="connsiteX13" fmla="*/ 6178 w 924490"/>
                <a:gd name="connsiteY13" fmla="*/ 183321 h 1040490"/>
                <a:gd name="connsiteX14" fmla="*/ 81382 w 924490"/>
                <a:gd name="connsiteY14" fmla="*/ 316259 h 1040490"/>
                <a:gd name="connsiteX15" fmla="*/ 42608 w 924490"/>
                <a:gd name="connsiteY15" fmla="*/ 397001 h 1040490"/>
                <a:gd name="connsiteX16" fmla="*/ 0 w 924490"/>
                <a:gd name="connsiteY16" fmla="*/ 404032 h 1040490"/>
                <a:gd name="connsiteX17" fmla="*/ 0 w 924490"/>
                <a:gd name="connsiteY17" fmla="*/ 595768 h 1040490"/>
                <a:gd name="connsiteX18" fmla="*/ 31104 w 924490"/>
                <a:gd name="connsiteY18" fmla="*/ 604609 h 1040490"/>
                <a:gd name="connsiteX19" fmla="*/ 61143 w 924490"/>
                <a:gd name="connsiteY19" fmla="*/ 688974 h 1040490"/>
                <a:gd name="connsiteX20" fmla="*/ 0 w 924490"/>
                <a:gd name="connsiteY20" fmla="*/ 774190 h 1040490"/>
                <a:gd name="connsiteX21" fmla="*/ 4048 w 924490"/>
                <a:gd name="connsiteY21" fmla="*/ 847582 h 1040490"/>
                <a:gd name="connsiteX22" fmla="*/ 4048 w 924490"/>
                <a:gd name="connsiteY22" fmla="*/ 848115 h 1040490"/>
                <a:gd name="connsiteX23" fmla="*/ 4048 w 924490"/>
                <a:gd name="connsiteY23" fmla="*/ 848115 h 1040490"/>
                <a:gd name="connsiteX24" fmla="*/ 67214 w 924490"/>
                <a:gd name="connsiteY24" fmla="*/ 918099 h 1040490"/>
                <a:gd name="connsiteX25" fmla="*/ 200152 w 924490"/>
                <a:gd name="connsiteY25" fmla="*/ 843535 h 1040490"/>
                <a:gd name="connsiteX26" fmla="*/ 281214 w 924490"/>
                <a:gd name="connsiteY26" fmla="*/ 882734 h 1040490"/>
                <a:gd name="connsiteX27" fmla="*/ 305500 w 924490"/>
                <a:gd name="connsiteY27" fmla="*/ 1027069 h 1040490"/>
                <a:gd name="connsiteX28" fmla="*/ 305500 w 924490"/>
                <a:gd name="connsiteY28" fmla="*/ 1027069 h 1040490"/>
                <a:gd name="connsiteX29" fmla="*/ 306672 w 924490"/>
                <a:gd name="connsiteY29" fmla="*/ 1033034 h 1040490"/>
                <a:gd name="connsiteX30" fmla="*/ 448131 w 924490"/>
                <a:gd name="connsiteY30" fmla="*/ 1040491 h 1040490"/>
                <a:gd name="connsiteX31" fmla="*/ 451859 w 924490"/>
                <a:gd name="connsiteY31" fmla="*/ 1027069 h 1040490"/>
                <a:gd name="connsiteX32" fmla="*/ 451859 w 924490"/>
                <a:gd name="connsiteY32" fmla="*/ 1027069 h 1040490"/>
                <a:gd name="connsiteX33" fmla="*/ 489035 w 924490"/>
                <a:gd name="connsiteY33" fmla="*/ 893599 h 1040490"/>
                <a:gd name="connsiteX34" fmla="*/ 573612 w 924490"/>
                <a:gd name="connsiteY34" fmla="*/ 863774 h 1040490"/>
                <a:gd name="connsiteX35" fmla="*/ 697708 w 924490"/>
                <a:gd name="connsiteY35" fmla="*/ 952292 h 1040490"/>
                <a:gd name="connsiteX36" fmla="*/ 803164 w 924490"/>
                <a:gd name="connsiteY36" fmla="*/ 857489 h 1040490"/>
                <a:gd name="connsiteX37" fmla="*/ 728599 w 924490"/>
                <a:gd name="connsiteY37" fmla="*/ 724445 h 1040490"/>
                <a:gd name="connsiteX38" fmla="*/ 766840 w 924490"/>
                <a:gd name="connsiteY38" fmla="*/ 643809 h 1040490"/>
                <a:gd name="connsiteX39" fmla="*/ 541230 w 924490"/>
                <a:gd name="connsiteY39" fmla="*/ 397321 h 1040490"/>
                <a:gd name="connsiteX40" fmla="*/ 282464 w 924490"/>
                <a:gd name="connsiteY40" fmla="*/ 384070 h 1040490"/>
                <a:gd name="connsiteX41" fmla="*/ 269213 w 924490"/>
                <a:gd name="connsiteY41" fmla="*/ 642840 h 1040490"/>
                <a:gd name="connsiteX42" fmla="*/ 527979 w 924490"/>
                <a:gd name="connsiteY42" fmla="*/ 656091 h 1040490"/>
                <a:gd name="connsiteX43" fmla="*/ 528128 w 924490"/>
                <a:gd name="connsiteY43" fmla="*/ 655952 h 1040490"/>
                <a:gd name="connsiteX44" fmla="*/ 541230 w 924490"/>
                <a:gd name="connsiteY44" fmla="*/ 397321 h 1040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924490" h="1040490">
                  <a:moveTo>
                    <a:pt x="916927" y="618351"/>
                  </a:moveTo>
                  <a:lnTo>
                    <a:pt x="924490" y="476892"/>
                  </a:lnTo>
                  <a:lnTo>
                    <a:pt x="777812" y="435455"/>
                  </a:lnTo>
                  <a:cubicBezTo>
                    <a:pt x="771016" y="406396"/>
                    <a:pt x="760939" y="378201"/>
                    <a:pt x="747773" y="351411"/>
                  </a:cubicBezTo>
                  <a:lnTo>
                    <a:pt x="836398" y="226888"/>
                  </a:lnTo>
                  <a:lnTo>
                    <a:pt x="741169" y="121540"/>
                  </a:lnTo>
                  <a:lnTo>
                    <a:pt x="608444" y="196636"/>
                  </a:lnTo>
                  <a:cubicBezTo>
                    <a:pt x="583071" y="180680"/>
                    <a:pt x="555940" y="167695"/>
                    <a:pt x="527595" y="157970"/>
                  </a:cubicBezTo>
                  <a:lnTo>
                    <a:pt x="502244" y="7563"/>
                  </a:lnTo>
                  <a:lnTo>
                    <a:pt x="360784" y="0"/>
                  </a:lnTo>
                  <a:lnTo>
                    <a:pt x="320094" y="146785"/>
                  </a:lnTo>
                  <a:cubicBezTo>
                    <a:pt x="290934" y="153315"/>
                    <a:pt x="262675" y="163360"/>
                    <a:pt x="235943" y="176717"/>
                  </a:cubicBezTo>
                  <a:lnTo>
                    <a:pt x="111633" y="88412"/>
                  </a:lnTo>
                  <a:lnTo>
                    <a:pt x="6178" y="183321"/>
                  </a:lnTo>
                  <a:lnTo>
                    <a:pt x="81382" y="316259"/>
                  </a:lnTo>
                  <a:cubicBezTo>
                    <a:pt x="65241" y="341504"/>
                    <a:pt x="52222" y="368624"/>
                    <a:pt x="42608" y="397001"/>
                  </a:cubicBezTo>
                  <a:lnTo>
                    <a:pt x="0" y="404032"/>
                  </a:lnTo>
                  <a:lnTo>
                    <a:pt x="0" y="595768"/>
                  </a:lnTo>
                  <a:lnTo>
                    <a:pt x="31104" y="604609"/>
                  </a:lnTo>
                  <a:cubicBezTo>
                    <a:pt x="37685" y="633839"/>
                    <a:pt x="47771" y="662162"/>
                    <a:pt x="61143" y="688974"/>
                  </a:cubicBezTo>
                  <a:lnTo>
                    <a:pt x="0" y="774190"/>
                  </a:lnTo>
                  <a:lnTo>
                    <a:pt x="4048" y="847582"/>
                  </a:lnTo>
                  <a:lnTo>
                    <a:pt x="4048" y="848115"/>
                  </a:lnTo>
                  <a:lnTo>
                    <a:pt x="4048" y="848115"/>
                  </a:lnTo>
                  <a:lnTo>
                    <a:pt x="67214" y="918099"/>
                  </a:lnTo>
                  <a:lnTo>
                    <a:pt x="200152" y="843535"/>
                  </a:lnTo>
                  <a:cubicBezTo>
                    <a:pt x="225474" y="859854"/>
                    <a:pt x="252696" y="873019"/>
                    <a:pt x="281214" y="882734"/>
                  </a:cubicBezTo>
                  <a:lnTo>
                    <a:pt x="305500" y="1027069"/>
                  </a:lnTo>
                  <a:lnTo>
                    <a:pt x="305500" y="1027069"/>
                  </a:lnTo>
                  <a:lnTo>
                    <a:pt x="306672" y="1033034"/>
                  </a:lnTo>
                  <a:lnTo>
                    <a:pt x="448131" y="1040491"/>
                  </a:lnTo>
                  <a:lnTo>
                    <a:pt x="451859" y="1027069"/>
                  </a:lnTo>
                  <a:lnTo>
                    <a:pt x="451859" y="1027069"/>
                  </a:lnTo>
                  <a:lnTo>
                    <a:pt x="489035" y="893599"/>
                  </a:lnTo>
                  <a:cubicBezTo>
                    <a:pt x="518328" y="887101"/>
                    <a:pt x="546726" y="877078"/>
                    <a:pt x="573612" y="863774"/>
                  </a:cubicBezTo>
                  <a:lnTo>
                    <a:pt x="697708" y="952292"/>
                  </a:lnTo>
                  <a:lnTo>
                    <a:pt x="803164" y="857489"/>
                  </a:lnTo>
                  <a:lnTo>
                    <a:pt x="728599" y="724445"/>
                  </a:lnTo>
                  <a:cubicBezTo>
                    <a:pt x="744588" y="699232"/>
                    <a:pt x="757434" y="672154"/>
                    <a:pt x="766840" y="643809"/>
                  </a:cubicBezTo>
                  <a:close/>
                  <a:moveTo>
                    <a:pt x="541230" y="397321"/>
                  </a:moveTo>
                  <a:cubicBezTo>
                    <a:pt x="473430" y="322203"/>
                    <a:pt x="357578" y="316270"/>
                    <a:pt x="282464" y="384070"/>
                  </a:cubicBezTo>
                  <a:cubicBezTo>
                    <a:pt x="207348" y="451870"/>
                    <a:pt x="201416" y="567722"/>
                    <a:pt x="269213" y="642840"/>
                  </a:cubicBezTo>
                  <a:cubicBezTo>
                    <a:pt x="337009" y="717947"/>
                    <a:pt x="452861" y="723880"/>
                    <a:pt x="527979" y="656091"/>
                  </a:cubicBezTo>
                  <a:cubicBezTo>
                    <a:pt x="528032" y="656038"/>
                    <a:pt x="528075" y="655995"/>
                    <a:pt x="528128" y="655952"/>
                  </a:cubicBezTo>
                  <a:cubicBezTo>
                    <a:pt x="603108" y="588131"/>
                    <a:pt x="608977" y="472375"/>
                    <a:pt x="541230" y="397321"/>
                  </a:cubicBez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FB87A83-AB1A-5D13-BCEF-25544D87A228}"/>
                </a:ext>
              </a:extLst>
            </p:cNvPr>
            <p:cNvSpPr/>
            <p:nvPr/>
          </p:nvSpPr>
          <p:spPr>
            <a:xfrm>
              <a:off x="2638311" y="2077848"/>
              <a:ext cx="780261" cy="780368"/>
            </a:xfrm>
            <a:custGeom>
              <a:avLst/>
              <a:gdLst>
                <a:gd name="connsiteX0" fmla="*/ 669907 w 780261"/>
                <a:gd name="connsiteY0" fmla="*/ 460168 h 780368"/>
                <a:gd name="connsiteX1" fmla="*/ 678535 w 780261"/>
                <a:gd name="connsiteY1" fmla="*/ 393167 h 780368"/>
                <a:gd name="connsiteX2" fmla="*/ 780261 w 780261"/>
                <a:gd name="connsiteY2" fmla="*/ 339906 h 780368"/>
                <a:gd name="connsiteX3" fmla="*/ 752140 w 780261"/>
                <a:gd name="connsiteY3" fmla="*/ 236688 h 780368"/>
                <a:gd name="connsiteX4" fmla="*/ 637311 w 780261"/>
                <a:gd name="connsiteY4" fmla="*/ 242121 h 780368"/>
                <a:gd name="connsiteX5" fmla="*/ 596088 w 780261"/>
                <a:gd name="connsiteY5" fmla="*/ 188861 h 780368"/>
                <a:gd name="connsiteX6" fmla="*/ 630281 w 780261"/>
                <a:gd name="connsiteY6" fmla="*/ 78719 h 780368"/>
                <a:gd name="connsiteX7" fmla="*/ 537608 w 780261"/>
                <a:gd name="connsiteY7" fmla="*/ 25458 h 780368"/>
                <a:gd name="connsiteX8" fmla="*/ 459848 w 780261"/>
                <a:gd name="connsiteY8" fmla="*/ 110249 h 780368"/>
                <a:gd name="connsiteX9" fmla="*/ 393060 w 780261"/>
                <a:gd name="connsiteY9" fmla="*/ 101727 h 780368"/>
                <a:gd name="connsiteX10" fmla="*/ 339800 w 780261"/>
                <a:gd name="connsiteY10" fmla="*/ 0 h 780368"/>
                <a:gd name="connsiteX11" fmla="*/ 236156 w 780261"/>
                <a:gd name="connsiteY11" fmla="*/ 28015 h 780368"/>
                <a:gd name="connsiteX12" fmla="*/ 241588 w 780261"/>
                <a:gd name="connsiteY12" fmla="*/ 142950 h 780368"/>
                <a:gd name="connsiteX13" fmla="*/ 188328 w 780261"/>
                <a:gd name="connsiteY13" fmla="*/ 184174 h 780368"/>
                <a:gd name="connsiteX14" fmla="*/ 78399 w 780261"/>
                <a:gd name="connsiteY14" fmla="*/ 150300 h 780368"/>
                <a:gd name="connsiteX15" fmla="*/ 25139 w 780261"/>
                <a:gd name="connsiteY15" fmla="*/ 242866 h 780368"/>
                <a:gd name="connsiteX16" fmla="*/ 110355 w 780261"/>
                <a:gd name="connsiteY16" fmla="*/ 320200 h 780368"/>
                <a:gd name="connsiteX17" fmla="*/ 101940 w 780261"/>
                <a:gd name="connsiteY17" fmla="*/ 386988 h 780368"/>
                <a:gd name="connsiteX18" fmla="*/ 0 w 780261"/>
                <a:gd name="connsiteY18" fmla="*/ 440249 h 780368"/>
                <a:gd name="connsiteX19" fmla="*/ 28121 w 780261"/>
                <a:gd name="connsiteY19" fmla="*/ 543467 h 780368"/>
                <a:gd name="connsiteX20" fmla="*/ 143163 w 780261"/>
                <a:gd name="connsiteY20" fmla="*/ 538034 h 780368"/>
                <a:gd name="connsiteX21" fmla="*/ 184174 w 780261"/>
                <a:gd name="connsiteY21" fmla="*/ 591294 h 780368"/>
                <a:gd name="connsiteX22" fmla="*/ 149981 w 780261"/>
                <a:gd name="connsiteY22" fmla="*/ 700691 h 780368"/>
                <a:gd name="connsiteX23" fmla="*/ 242760 w 780261"/>
                <a:gd name="connsiteY23" fmla="*/ 753951 h 780368"/>
                <a:gd name="connsiteX24" fmla="*/ 319881 w 780261"/>
                <a:gd name="connsiteY24" fmla="*/ 670013 h 780368"/>
                <a:gd name="connsiteX25" fmla="*/ 386882 w 780261"/>
                <a:gd name="connsiteY25" fmla="*/ 678535 h 780368"/>
                <a:gd name="connsiteX26" fmla="*/ 440142 w 780261"/>
                <a:gd name="connsiteY26" fmla="*/ 780368 h 780368"/>
                <a:gd name="connsiteX27" fmla="*/ 543254 w 780261"/>
                <a:gd name="connsiteY27" fmla="*/ 752353 h 780368"/>
                <a:gd name="connsiteX28" fmla="*/ 538673 w 780261"/>
                <a:gd name="connsiteY28" fmla="*/ 654142 h 780368"/>
                <a:gd name="connsiteX29" fmla="*/ 537928 w 780261"/>
                <a:gd name="connsiteY29" fmla="*/ 637311 h 780368"/>
                <a:gd name="connsiteX30" fmla="*/ 591827 w 780261"/>
                <a:gd name="connsiteY30" fmla="*/ 595981 h 780368"/>
                <a:gd name="connsiteX31" fmla="*/ 701650 w 780261"/>
                <a:gd name="connsiteY31" fmla="*/ 630174 h 780368"/>
                <a:gd name="connsiteX32" fmla="*/ 747453 w 780261"/>
                <a:gd name="connsiteY32" fmla="*/ 551562 h 780368"/>
                <a:gd name="connsiteX33" fmla="*/ 755123 w 780261"/>
                <a:gd name="connsiteY33" fmla="*/ 538141 h 780368"/>
                <a:gd name="connsiteX34" fmla="*/ 426295 w 780261"/>
                <a:gd name="connsiteY34" fmla="*/ 522908 h 780368"/>
                <a:gd name="connsiteX35" fmla="*/ 256363 w 780261"/>
                <a:gd name="connsiteY35" fmla="*/ 425570 h 780368"/>
                <a:gd name="connsiteX36" fmla="*/ 353711 w 780261"/>
                <a:gd name="connsiteY36" fmla="*/ 255638 h 780368"/>
                <a:gd name="connsiteX37" fmla="*/ 523633 w 780261"/>
                <a:gd name="connsiteY37" fmla="*/ 352976 h 780368"/>
                <a:gd name="connsiteX38" fmla="*/ 523761 w 780261"/>
                <a:gd name="connsiteY38" fmla="*/ 353434 h 780368"/>
                <a:gd name="connsiteX39" fmla="*/ 426295 w 780261"/>
                <a:gd name="connsiteY39" fmla="*/ 522908 h 780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780261" h="780368">
                  <a:moveTo>
                    <a:pt x="669907" y="460168"/>
                  </a:moveTo>
                  <a:cubicBezTo>
                    <a:pt x="675392" y="438246"/>
                    <a:pt x="678279" y="415760"/>
                    <a:pt x="678535" y="393167"/>
                  </a:cubicBezTo>
                  <a:lnTo>
                    <a:pt x="780261" y="339906"/>
                  </a:lnTo>
                  <a:lnTo>
                    <a:pt x="752140" y="236688"/>
                  </a:lnTo>
                  <a:lnTo>
                    <a:pt x="637311" y="242121"/>
                  </a:lnTo>
                  <a:cubicBezTo>
                    <a:pt x="625679" y="222830"/>
                    <a:pt x="611842" y="204956"/>
                    <a:pt x="596088" y="188861"/>
                  </a:cubicBezTo>
                  <a:lnTo>
                    <a:pt x="630281" y="78719"/>
                  </a:lnTo>
                  <a:lnTo>
                    <a:pt x="537608" y="25458"/>
                  </a:lnTo>
                  <a:lnTo>
                    <a:pt x="459848" y="110249"/>
                  </a:lnTo>
                  <a:cubicBezTo>
                    <a:pt x="437969" y="104965"/>
                    <a:pt x="415568" y="102110"/>
                    <a:pt x="393060" y="101727"/>
                  </a:cubicBezTo>
                  <a:lnTo>
                    <a:pt x="339800" y="0"/>
                  </a:lnTo>
                  <a:lnTo>
                    <a:pt x="236156" y="28015"/>
                  </a:lnTo>
                  <a:lnTo>
                    <a:pt x="241588" y="142950"/>
                  </a:lnTo>
                  <a:cubicBezTo>
                    <a:pt x="222319" y="154614"/>
                    <a:pt x="204444" y="168441"/>
                    <a:pt x="188328" y="184174"/>
                  </a:cubicBezTo>
                  <a:lnTo>
                    <a:pt x="78399" y="150300"/>
                  </a:lnTo>
                  <a:lnTo>
                    <a:pt x="25139" y="242866"/>
                  </a:lnTo>
                  <a:lnTo>
                    <a:pt x="110355" y="320200"/>
                  </a:lnTo>
                  <a:cubicBezTo>
                    <a:pt x="104848" y="342037"/>
                    <a:pt x="102015" y="364470"/>
                    <a:pt x="101940" y="386988"/>
                  </a:cubicBezTo>
                  <a:lnTo>
                    <a:pt x="0" y="440249"/>
                  </a:lnTo>
                  <a:lnTo>
                    <a:pt x="28121" y="543467"/>
                  </a:lnTo>
                  <a:lnTo>
                    <a:pt x="143163" y="538034"/>
                  </a:lnTo>
                  <a:cubicBezTo>
                    <a:pt x="154625" y="557389"/>
                    <a:pt x="168387" y="575274"/>
                    <a:pt x="184174" y="591294"/>
                  </a:cubicBezTo>
                  <a:lnTo>
                    <a:pt x="149981" y="700691"/>
                  </a:lnTo>
                  <a:lnTo>
                    <a:pt x="242760" y="753951"/>
                  </a:lnTo>
                  <a:lnTo>
                    <a:pt x="319881" y="670013"/>
                  </a:lnTo>
                  <a:cubicBezTo>
                    <a:pt x="341792" y="675509"/>
                    <a:pt x="364289" y="678375"/>
                    <a:pt x="386882" y="678535"/>
                  </a:cubicBezTo>
                  <a:lnTo>
                    <a:pt x="440142" y="780368"/>
                  </a:lnTo>
                  <a:lnTo>
                    <a:pt x="543254" y="752353"/>
                  </a:lnTo>
                  <a:lnTo>
                    <a:pt x="538673" y="654142"/>
                  </a:lnTo>
                  <a:lnTo>
                    <a:pt x="537928" y="637311"/>
                  </a:lnTo>
                  <a:cubicBezTo>
                    <a:pt x="557474" y="625722"/>
                    <a:pt x="575562" y="611853"/>
                    <a:pt x="591827" y="595981"/>
                  </a:cubicBezTo>
                  <a:lnTo>
                    <a:pt x="701650" y="630174"/>
                  </a:lnTo>
                  <a:lnTo>
                    <a:pt x="747453" y="551562"/>
                  </a:lnTo>
                  <a:lnTo>
                    <a:pt x="755123" y="538141"/>
                  </a:lnTo>
                  <a:close/>
                  <a:moveTo>
                    <a:pt x="426295" y="522908"/>
                  </a:moveTo>
                  <a:cubicBezTo>
                    <a:pt x="352487" y="542956"/>
                    <a:pt x="276410" y="499367"/>
                    <a:pt x="256363" y="425570"/>
                  </a:cubicBezTo>
                  <a:cubicBezTo>
                    <a:pt x="236326" y="351762"/>
                    <a:pt x="279903" y="275685"/>
                    <a:pt x="353711" y="255638"/>
                  </a:cubicBezTo>
                  <a:cubicBezTo>
                    <a:pt x="427519" y="235591"/>
                    <a:pt x="503596" y="279179"/>
                    <a:pt x="523633" y="352976"/>
                  </a:cubicBezTo>
                  <a:cubicBezTo>
                    <a:pt x="523675" y="353136"/>
                    <a:pt x="523718" y="353285"/>
                    <a:pt x="523761" y="353434"/>
                  </a:cubicBezTo>
                  <a:cubicBezTo>
                    <a:pt x="543510" y="427125"/>
                    <a:pt x="499921" y="502915"/>
                    <a:pt x="426295" y="522908"/>
                  </a:cubicBez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274EEAD-9D01-4410-60BB-FAD0D6695A51}"/>
                </a:ext>
              </a:extLst>
            </p:cNvPr>
            <p:cNvSpPr/>
            <p:nvPr/>
          </p:nvSpPr>
          <p:spPr>
            <a:xfrm>
              <a:off x="3454896" y="2034707"/>
              <a:ext cx="1056149" cy="1055510"/>
            </a:xfrm>
            <a:custGeom>
              <a:avLst/>
              <a:gdLst>
                <a:gd name="connsiteX0" fmla="*/ 1032715 w 1056149"/>
                <a:gd name="connsiteY0" fmla="*/ 684819 h 1055510"/>
                <a:gd name="connsiteX1" fmla="*/ 1056150 w 1056149"/>
                <a:gd name="connsiteY1" fmla="*/ 543254 h 1055510"/>
                <a:gd name="connsiteX2" fmla="*/ 912773 w 1056149"/>
                <a:gd name="connsiteY2" fmla="*/ 485520 h 1055510"/>
                <a:gd name="connsiteX3" fmla="*/ 892215 w 1056149"/>
                <a:gd name="connsiteY3" fmla="*/ 397214 h 1055510"/>
                <a:gd name="connsiteX4" fmla="*/ 995433 w 1056149"/>
                <a:gd name="connsiteY4" fmla="*/ 282279 h 1055510"/>
                <a:gd name="connsiteX5" fmla="*/ 911921 w 1056149"/>
                <a:gd name="connsiteY5" fmla="*/ 165107 h 1055510"/>
                <a:gd name="connsiteX6" fmla="*/ 769610 w 1056149"/>
                <a:gd name="connsiteY6" fmla="*/ 225504 h 1055510"/>
                <a:gd name="connsiteX7" fmla="*/ 692702 w 1056149"/>
                <a:gd name="connsiteY7" fmla="*/ 177782 h 1055510"/>
                <a:gd name="connsiteX8" fmla="*/ 684393 w 1056149"/>
                <a:gd name="connsiteY8" fmla="*/ 23435 h 1055510"/>
                <a:gd name="connsiteX9" fmla="*/ 542721 w 1056149"/>
                <a:gd name="connsiteY9" fmla="*/ 0 h 1055510"/>
                <a:gd name="connsiteX10" fmla="*/ 484774 w 1056149"/>
                <a:gd name="connsiteY10" fmla="*/ 143163 h 1055510"/>
                <a:gd name="connsiteX11" fmla="*/ 396682 w 1056149"/>
                <a:gd name="connsiteY11" fmla="*/ 163828 h 1055510"/>
                <a:gd name="connsiteX12" fmla="*/ 281427 w 1056149"/>
                <a:gd name="connsiteY12" fmla="*/ 60610 h 1055510"/>
                <a:gd name="connsiteX13" fmla="*/ 165213 w 1056149"/>
                <a:gd name="connsiteY13" fmla="*/ 144229 h 1055510"/>
                <a:gd name="connsiteX14" fmla="*/ 225717 w 1056149"/>
                <a:gd name="connsiteY14" fmla="*/ 286327 h 1055510"/>
                <a:gd name="connsiteX15" fmla="*/ 182576 w 1056149"/>
                <a:gd name="connsiteY15" fmla="*/ 353328 h 1055510"/>
                <a:gd name="connsiteX16" fmla="*/ 177783 w 1056149"/>
                <a:gd name="connsiteY16" fmla="*/ 363234 h 1055510"/>
                <a:gd name="connsiteX17" fmla="*/ 23541 w 1056149"/>
                <a:gd name="connsiteY17" fmla="*/ 371756 h 1055510"/>
                <a:gd name="connsiteX18" fmla="*/ 0 w 1056149"/>
                <a:gd name="connsiteY18" fmla="*/ 513215 h 1055510"/>
                <a:gd name="connsiteX19" fmla="*/ 23222 w 1056149"/>
                <a:gd name="connsiteY19" fmla="*/ 522695 h 1055510"/>
                <a:gd name="connsiteX20" fmla="*/ 143377 w 1056149"/>
                <a:gd name="connsiteY20" fmla="*/ 571056 h 1055510"/>
                <a:gd name="connsiteX21" fmla="*/ 163935 w 1056149"/>
                <a:gd name="connsiteY21" fmla="*/ 659041 h 1055510"/>
                <a:gd name="connsiteX22" fmla="*/ 60717 w 1056149"/>
                <a:gd name="connsiteY22" fmla="*/ 774403 h 1055510"/>
                <a:gd name="connsiteX23" fmla="*/ 143909 w 1056149"/>
                <a:gd name="connsiteY23" fmla="*/ 891043 h 1055510"/>
                <a:gd name="connsiteX24" fmla="*/ 286114 w 1056149"/>
                <a:gd name="connsiteY24" fmla="*/ 830433 h 1055510"/>
                <a:gd name="connsiteX25" fmla="*/ 362915 w 1056149"/>
                <a:gd name="connsiteY25" fmla="*/ 878473 h 1055510"/>
                <a:gd name="connsiteX26" fmla="*/ 370904 w 1056149"/>
                <a:gd name="connsiteY26" fmla="*/ 1032182 h 1055510"/>
                <a:gd name="connsiteX27" fmla="*/ 512470 w 1056149"/>
                <a:gd name="connsiteY27" fmla="*/ 1055510 h 1055510"/>
                <a:gd name="connsiteX28" fmla="*/ 569991 w 1056149"/>
                <a:gd name="connsiteY28" fmla="*/ 914264 h 1055510"/>
                <a:gd name="connsiteX29" fmla="*/ 658189 w 1056149"/>
                <a:gd name="connsiteY29" fmla="*/ 893599 h 1055510"/>
                <a:gd name="connsiteX30" fmla="*/ 773231 w 1056149"/>
                <a:gd name="connsiteY30" fmla="*/ 996817 h 1055510"/>
                <a:gd name="connsiteX31" fmla="*/ 890404 w 1056149"/>
                <a:gd name="connsiteY31" fmla="*/ 913199 h 1055510"/>
                <a:gd name="connsiteX32" fmla="*/ 829900 w 1056149"/>
                <a:gd name="connsiteY32" fmla="*/ 770462 h 1055510"/>
                <a:gd name="connsiteX33" fmla="*/ 878367 w 1056149"/>
                <a:gd name="connsiteY33" fmla="*/ 693234 h 1055510"/>
                <a:gd name="connsiteX34" fmla="*/ 635394 w 1056149"/>
                <a:gd name="connsiteY34" fmla="*/ 678428 h 1055510"/>
                <a:gd name="connsiteX35" fmla="*/ 376603 w 1056149"/>
                <a:gd name="connsiteY35" fmla="*/ 635863 h 1055510"/>
                <a:gd name="connsiteX36" fmla="*/ 419179 w 1056149"/>
                <a:gd name="connsiteY36" fmla="*/ 377071 h 1055510"/>
                <a:gd name="connsiteX37" fmla="*/ 677959 w 1056149"/>
                <a:gd name="connsiteY37" fmla="*/ 419637 h 1055510"/>
                <a:gd name="connsiteX38" fmla="*/ 678002 w 1056149"/>
                <a:gd name="connsiteY38" fmla="*/ 419690 h 1055510"/>
                <a:gd name="connsiteX39" fmla="*/ 635511 w 1056149"/>
                <a:gd name="connsiteY39" fmla="*/ 678343 h 1055510"/>
                <a:gd name="connsiteX40" fmla="*/ 635394 w 1056149"/>
                <a:gd name="connsiteY40" fmla="*/ 678428 h 105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056149" h="1055510">
                  <a:moveTo>
                    <a:pt x="1032715" y="684819"/>
                  </a:moveTo>
                  <a:lnTo>
                    <a:pt x="1056150" y="543254"/>
                  </a:lnTo>
                  <a:lnTo>
                    <a:pt x="912773" y="485520"/>
                  </a:lnTo>
                  <a:cubicBezTo>
                    <a:pt x="909503" y="455364"/>
                    <a:pt x="902600" y="425709"/>
                    <a:pt x="892215" y="397214"/>
                  </a:cubicBezTo>
                  <a:lnTo>
                    <a:pt x="995433" y="282279"/>
                  </a:lnTo>
                  <a:lnTo>
                    <a:pt x="911921" y="165107"/>
                  </a:lnTo>
                  <a:lnTo>
                    <a:pt x="769610" y="225504"/>
                  </a:lnTo>
                  <a:cubicBezTo>
                    <a:pt x="745930" y="206639"/>
                    <a:pt x="720120" y="190618"/>
                    <a:pt x="692702" y="177782"/>
                  </a:cubicBezTo>
                  <a:lnTo>
                    <a:pt x="684393" y="23435"/>
                  </a:lnTo>
                  <a:lnTo>
                    <a:pt x="542721" y="0"/>
                  </a:lnTo>
                  <a:lnTo>
                    <a:pt x="484774" y="143163"/>
                  </a:lnTo>
                  <a:cubicBezTo>
                    <a:pt x="454714" y="146657"/>
                    <a:pt x="425155" y="153592"/>
                    <a:pt x="396682" y="163828"/>
                  </a:cubicBezTo>
                  <a:lnTo>
                    <a:pt x="281427" y="60610"/>
                  </a:lnTo>
                  <a:lnTo>
                    <a:pt x="165213" y="144229"/>
                  </a:lnTo>
                  <a:lnTo>
                    <a:pt x="225717" y="286327"/>
                  </a:lnTo>
                  <a:cubicBezTo>
                    <a:pt x="209089" y="307130"/>
                    <a:pt x="194634" y="329585"/>
                    <a:pt x="182576" y="353328"/>
                  </a:cubicBezTo>
                  <a:cubicBezTo>
                    <a:pt x="180978" y="356630"/>
                    <a:pt x="179274" y="359932"/>
                    <a:pt x="177783" y="363234"/>
                  </a:cubicBezTo>
                  <a:lnTo>
                    <a:pt x="23541" y="371756"/>
                  </a:lnTo>
                  <a:lnTo>
                    <a:pt x="0" y="513215"/>
                  </a:lnTo>
                  <a:lnTo>
                    <a:pt x="23222" y="522695"/>
                  </a:lnTo>
                  <a:lnTo>
                    <a:pt x="143377" y="571056"/>
                  </a:lnTo>
                  <a:cubicBezTo>
                    <a:pt x="146657" y="601105"/>
                    <a:pt x="153560" y="630654"/>
                    <a:pt x="163935" y="659041"/>
                  </a:cubicBezTo>
                  <a:lnTo>
                    <a:pt x="60717" y="774403"/>
                  </a:lnTo>
                  <a:lnTo>
                    <a:pt x="143909" y="891043"/>
                  </a:lnTo>
                  <a:lnTo>
                    <a:pt x="286114" y="830433"/>
                  </a:lnTo>
                  <a:cubicBezTo>
                    <a:pt x="309644" y="849542"/>
                    <a:pt x="335433" y="865680"/>
                    <a:pt x="362915" y="878473"/>
                  </a:cubicBezTo>
                  <a:lnTo>
                    <a:pt x="370904" y="1032182"/>
                  </a:lnTo>
                  <a:lnTo>
                    <a:pt x="512470" y="1055510"/>
                  </a:lnTo>
                  <a:lnTo>
                    <a:pt x="569991" y="914264"/>
                  </a:lnTo>
                  <a:cubicBezTo>
                    <a:pt x="600115" y="910973"/>
                    <a:pt x="629738" y="904038"/>
                    <a:pt x="658189" y="893599"/>
                  </a:cubicBezTo>
                  <a:lnTo>
                    <a:pt x="773231" y="996817"/>
                  </a:lnTo>
                  <a:lnTo>
                    <a:pt x="890404" y="913199"/>
                  </a:lnTo>
                  <a:lnTo>
                    <a:pt x="829900" y="770462"/>
                  </a:lnTo>
                  <a:cubicBezTo>
                    <a:pt x="849202" y="746825"/>
                    <a:pt x="865478" y="720887"/>
                    <a:pt x="878367" y="693234"/>
                  </a:cubicBezTo>
                  <a:close/>
                  <a:moveTo>
                    <a:pt x="635394" y="678428"/>
                  </a:moveTo>
                  <a:cubicBezTo>
                    <a:pt x="552180" y="738133"/>
                    <a:pt x="436308" y="719076"/>
                    <a:pt x="376603" y="635863"/>
                  </a:cubicBezTo>
                  <a:cubicBezTo>
                    <a:pt x="316898" y="552638"/>
                    <a:pt x="335955" y="436776"/>
                    <a:pt x="419179" y="377071"/>
                  </a:cubicBezTo>
                  <a:cubicBezTo>
                    <a:pt x="502393" y="317356"/>
                    <a:pt x="618255" y="336423"/>
                    <a:pt x="677959" y="419637"/>
                  </a:cubicBezTo>
                  <a:cubicBezTo>
                    <a:pt x="677981" y="419658"/>
                    <a:pt x="677992" y="419669"/>
                    <a:pt x="678002" y="419690"/>
                  </a:cubicBezTo>
                  <a:cubicBezTo>
                    <a:pt x="737696" y="502851"/>
                    <a:pt x="718672" y="618649"/>
                    <a:pt x="635511" y="678343"/>
                  </a:cubicBezTo>
                  <a:cubicBezTo>
                    <a:pt x="635479" y="678375"/>
                    <a:pt x="635437" y="678396"/>
                    <a:pt x="635394" y="678428"/>
                  </a:cubicBez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30" name="Graphic 13">
            <a:extLst>
              <a:ext uri="{FF2B5EF4-FFF2-40B4-BE49-F238E27FC236}">
                <a16:creationId xmlns:a16="http://schemas.microsoft.com/office/drawing/2014/main" id="{916A46E2-37A6-9179-01CD-8328E97CF1A1}"/>
              </a:ext>
            </a:extLst>
          </p:cNvPr>
          <p:cNvGrpSpPr/>
          <p:nvPr/>
        </p:nvGrpSpPr>
        <p:grpSpPr>
          <a:xfrm>
            <a:off x="883601" y="1975162"/>
            <a:ext cx="3093138" cy="3057773"/>
            <a:chOff x="883601" y="1975162"/>
            <a:chExt cx="3093138" cy="305777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8582B9A-0152-DC55-3343-2A529EAE93F4}"/>
                </a:ext>
              </a:extLst>
            </p:cNvPr>
            <p:cNvSpPr/>
            <p:nvPr/>
          </p:nvSpPr>
          <p:spPr>
            <a:xfrm>
              <a:off x="883601" y="3073600"/>
              <a:ext cx="1393286" cy="1821604"/>
            </a:xfrm>
            <a:custGeom>
              <a:avLst/>
              <a:gdLst>
                <a:gd name="connsiteX0" fmla="*/ 1253638 w 1393286"/>
                <a:gd name="connsiteY0" fmla="*/ 0 h 1821604"/>
                <a:gd name="connsiteX1" fmla="*/ 1393286 w 1393286"/>
                <a:gd name="connsiteY1" fmla="*/ 0 h 1821604"/>
                <a:gd name="connsiteX2" fmla="*/ 1393286 w 1393286"/>
                <a:gd name="connsiteY2" fmla="*/ 1821604 h 1821604"/>
                <a:gd name="connsiteX3" fmla="*/ 1253638 w 1393286"/>
                <a:gd name="connsiteY3" fmla="*/ 1821604 h 1821604"/>
                <a:gd name="connsiteX4" fmla="*/ 139648 w 1393286"/>
                <a:gd name="connsiteY4" fmla="*/ 1821604 h 1821604"/>
                <a:gd name="connsiteX5" fmla="*/ 0 w 1393286"/>
                <a:gd name="connsiteY5" fmla="*/ 1821604 h 1821604"/>
                <a:gd name="connsiteX6" fmla="*/ 0 w 1393286"/>
                <a:gd name="connsiteY6" fmla="*/ 0 h 1821604"/>
                <a:gd name="connsiteX7" fmla="*/ 139648 w 1393286"/>
                <a:gd name="connsiteY7" fmla="*/ 0 h 1821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3286" h="1821604">
                  <a:moveTo>
                    <a:pt x="1253638" y="0"/>
                  </a:moveTo>
                  <a:cubicBezTo>
                    <a:pt x="1330764" y="0"/>
                    <a:pt x="1393286" y="0"/>
                    <a:pt x="1393286" y="0"/>
                  </a:cubicBezTo>
                  <a:lnTo>
                    <a:pt x="1393286" y="1821604"/>
                  </a:lnTo>
                  <a:cubicBezTo>
                    <a:pt x="1393286" y="1821604"/>
                    <a:pt x="1330764" y="1821604"/>
                    <a:pt x="1253638" y="1821604"/>
                  </a:cubicBezTo>
                  <a:lnTo>
                    <a:pt x="139648" y="1821604"/>
                  </a:lnTo>
                  <a:cubicBezTo>
                    <a:pt x="62523" y="1821604"/>
                    <a:pt x="0" y="1821604"/>
                    <a:pt x="0" y="1821604"/>
                  </a:cubicBezTo>
                  <a:lnTo>
                    <a:pt x="0" y="0"/>
                  </a:lnTo>
                  <a:cubicBezTo>
                    <a:pt x="0" y="0"/>
                    <a:pt x="62523" y="0"/>
                    <a:pt x="139648" y="0"/>
                  </a:cubicBezTo>
                  <a:close/>
                </a:path>
              </a:pathLst>
            </a:custGeom>
            <a:solidFill>
              <a:srgbClr val="92E3A9"/>
            </a:solidFill>
            <a:ln w="11697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27EC380-9570-4B41-F1AE-B4E419EB20DE}"/>
                </a:ext>
              </a:extLst>
            </p:cNvPr>
            <p:cNvSpPr/>
            <p:nvPr/>
          </p:nvSpPr>
          <p:spPr>
            <a:xfrm>
              <a:off x="883601" y="3073600"/>
              <a:ext cx="1393286" cy="1821604"/>
            </a:xfrm>
            <a:custGeom>
              <a:avLst/>
              <a:gdLst>
                <a:gd name="connsiteX0" fmla="*/ 1253638 w 1393286"/>
                <a:gd name="connsiteY0" fmla="*/ 0 h 1821604"/>
                <a:gd name="connsiteX1" fmla="*/ 1393286 w 1393286"/>
                <a:gd name="connsiteY1" fmla="*/ 0 h 1821604"/>
                <a:gd name="connsiteX2" fmla="*/ 1393286 w 1393286"/>
                <a:gd name="connsiteY2" fmla="*/ 1821604 h 1821604"/>
                <a:gd name="connsiteX3" fmla="*/ 1253638 w 1393286"/>
                <a:gd name="connsiteY3" fmla="*/ 1821604 h 1821604"/>
                <a:gd name="connsiteX4" fmla="*/ 139648 w 1393286"/>
                <a:gd name="connsiteY4" fmla="*/ 1821604 h 1821604"/>
                <a:gd name="connsiteX5" fmla="*/ 0 w 1393286"/>
                <a:gd name="connsiteY5" fmla="*/ 1821604 h 1821604"/>
                <a:gd name="connsiteX6" fmla="*/ 0 w 1393286"/>
                <a:gd name="connsiteY6" fmla="*/ 0 h 1821604"/>
                <a:gd name="connsiteX7" fmla="*/ 139648 w 1393286"/>
                <a:gd name="connsiteY7" fmla="*/ 0 h 1821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93286" h="1821604">
                  <a:moveTo>
                    <a:pt x="1253638" y="0"/>
                  </a:moveTo>
                  <a:cubicBezTo>
                    <a:pt x="1330764" y="0"/>
                    <a:pt x="1393286" y="0"/>
                    <a:pt x="1393286" y="0"/>
                  </a:cubicBezTo>
                  <a:lnTo>
                    <a:pt x="1393286" y="1821604"/>
                  </a:lnTo>
                  <a:cubicBezTo>
                    <a:pt x="1393286" y="1821604"/>
                    <a:pt x="1330764" y="1821604"/>
                    <a:pt x="1253638" y="1821604"/>
                  </a:cubicBezTo>
                  <a:lnTo>
                    <a:pt x="139648" y="1821604"/>
                  </a:lnTo>
                  <a:cubicBezTo>
                    <a:pt x="62523" y="1821604"/>
                    <a:pt x="0" y="1821604"/>
                    <a:pt x="0" y="1821604"/>
                  </a:cubicBezTo>
                  <a:lnTo>
                    <a:pt x="0" y="0"/>
                  </a:lnTo>
                  <a:cubicBezTo>
                    <a:pt x="0" y="0"/>
                    <a:pt x="62523" y="0"/>
                    <a:pt x="139648" y="0"/>
                  </a:cubicBez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817DAD1-F073-246C-5F7D-963C13DAF2C9}"/>
                </a:ext>
              </a:extLst>
            </p:cNvPr>
            <p:cNvSpPr/>
            <p:nvPr/>
          </p:nvSpPr>
          <p:spPr>
            <a:xfrm>
              <a:off x="1013343" y="3211224"/>
              <a:ext cx="1393286" cy="1821711"/>
            </a:xfrm>
            <a:custGeom>
              <a:avLst/>
              <a:gdLst>
                <a:gd name="connsiteX0" fmla="*/ 1393286 w 1393286"/>
                <a:gd name="connsiteY0" fmla="*/ 139648 h 1821711"/>
                <a:gd name="connsiteX1" fmla="*/ 1393286 w 1393286"/>
                <a:gd name="connsiteY1" fmla="*/ 1681956 h 1821711"/>
                <a:gd name="connsiteX2" fmla="*/ 1253958 w 1393286"/>
                <a:gd name="connsiteY2" fmla="*/ 1821711 h 1821711"/>
                <a:gd name="connsiteX3" fmla="*/ 139542 w 1393286"/>
                <a:gd name="connsiteY3" fmla="*/ 1821711 h 1821711"/>
                <a:gd name="connsiteX4" fmla="*/ 0 w 1393286"/>
                <a:gd name="connsiteY4" fmla="*/ 1681956 h 1821711"/>
                <a:gd name="connsiteX5" fmla="*/ 0 w 1393286"/>
                <a:gd name="connsiteY5" fmla="*/ 139648 h 1821711"/>
                <a:gd name="connsiteX6" fmla="*/ 139542 w 1393286"/>
                <a:gd name="connsiteY6" fmla="*/ 0 h 1821711"/>
                <a:gd name="connsiteX7" fmla="*/ 1253958 w 1393286"/>
                <a:gd name="connsiteY7" fmla="*/ 0 h 1821711"/>
                <a:gd name="connsiteX8" fmla="*/ 1393286 w 1393286"/>
                <a:gd name="connsiteY8" fmla="*/ 139648 h 1821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3286" h="1821711">
                  <a:moveTo>
                    <a:pt x="1393286" y="139648"/>
                  </a:moveTo>
                  <a:lnTo>
                    <a:pt x="1393286" y="1681956"/>
                  </a:lnTo>
                  <a:cubicBezTo>
                    <a:pt x="1393350" y="1759002"/>
                    <a:pt x="1331004" y="1821530"/>
                    <a:pt x="1253958" y="1821711"/>
                  </a:cubicBezTo>
                  <a:lnTo>
                    <a:pt x="139542" y="1821711"/>
                  </a:lnTo>
                  <a:cubicBezTo>
                    <a:pt x="62416" y="1821647"/>
                    <a:pt x="-59" y="1759077"/>
                    <a:pt x="0" y="1681956"/>
                  </a:cubicBezTo>
                  <a:lnTo>
                    <a:pt x="0" y="139648"/>
                  </a:lnTo>
                  <a:cubicBezTo>
                    <a:pt x="0" y="62559"/>
                    <a:pt x="62458" y="64"/>
                    <a:pt x="139542" y="0"/>
                  </a:cubicBezTo>
                  <a:lnTo>
                    <a:pt x="1253958" y="0"/>
                  </a:lnTo>
                  <a:cubicBezTo>
                    <a:pt x="1330961" y="181"/>
                    <a:pt x="1393286" y="62645"/>
                    <a:pt x="1393286" y="139648"/>
                  </a:cubicBezTo>
                  <a:close/>
                </a:path>
              </a:pathLst>
            </a:custGeom>
            <a:solidFill>
              <a:srgbClr val="FFFFFF"/>
            </a:solidFill>
            <a:ln w="11697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FFFC28A-6F4E-68EE-1121-403868CDC3B8}"/>
                </a:ext>
              </a:extLst>
            </p:cNvPr>
            <p:cNvSpPr/>
            <p:nvPr/>
          </p:nvSpPr>
          <p:spPr>
            <a:xfrm>
              <a:off x="1013343" y="3211224"/>
              <a:ext cx="1393286" cy="222201"/>
            </a:xfrm>
            <a:custGeom>
              <a:avLst/>
              <a:gdLst>
                <a:gd name="connsiteX0" fmla="*/ 1393286 w 1393286"/>
                <a:gd name="connsiteY0" fmla="*/ 139648 h 222201"/>
                <a:gd name="connsiteX1" fmla="*/ 1393286 w 1393286"/>
                <a:gd name="connsiteY1" fmla="*/ 222201 h 222201"/>
                <a:gd name="connsiteX2" fmla="*/ 0 w 1393286"/>
                <a:gd name="connsiteY2" fmla="*/ 222201 h 222201"/>
                <a:gd name="connsiteX3" fmla="*/ 0 w 1393286"/>
                <a:gd name="connsiteY3" fmla="*/ 139648 h 222201"/>
                <a:gd name="connsiteX4" fmla="*/ 139542 w 1393286"/>
                <a:gd name="connsiteY4" fmla="*/ 0 h 222201"/>
                <a:gd name="connsiteX5" fmla="*/ 1253958 w 1393286"/>
                <a:gd name="connsiteY5" fmla="*/ 0 h 222201"/>
                <a:gd name="connsiteX6" fmla="*/ 1393286 w 1393286"/>
                <a:gd name="connsiteY6" fmla="*/ 139648 h 222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93286" h="222201">
                  <a:moveTo>
                    <a:pt x="1393286" y="139648"/>
                  </a:moveTo>
                  <a:lnTo>
                    <a:pt x="1393286" y="222201"/>
                  </a:lnTo>
                  <a:lnTo>
                    <a:pt x="0" y="222201"/>
                  </a:lnTo>
                  <a:lnTo>
                    <a:pt x="0" y="139648"/>
                  </a:lnTo>
                  <a:cubicBezTo>
                    <a:pt x="0" y="62559"/>
                    <a:pt x="62458" y="64"/>
                    <a:pt x="139542" y="0"/>
                  </a:cubicBezTo>
                  <a:lnTo>
                    <a:pt x="1253958" y="0"/>
                  </a:lnTo>
                  <a:cubicBezTo>
                    <a:pt x="1330961" y="181"/>
                    <a:pt x="1393286" y="62645"/>
                    <a:pt x="1393286" y="139648"/>
                  </a:cubicBezTo>
                  <a:close/>
                </a:path>
              </a:pathLst>
            </a:custGeom>
            <a:solidFill>
              <a:srgbClr val="92E3A9"/>
            </a:solidFill>
            <a:ln w="11697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EB70B99-7E6B-2B7B-8896-E020B20FDCBB}"/>
                </a:ext>
              </a:extLst>
            </p:cNvPr>
            <p:cNvSpPr/>
            <p:nvPr/>
          </p:nvSpPr>
          <p:spPr>
            <a:xfrm>
              <a:off x="1144363" y="3529188"/>
              <a:ext cx="342782" cy="57520"/>
            </a:xfrm>
            <a:custGeom>
              <a:avLst/>
              <a:gdLst>
                <a:gd name="connsiteX0" fmla="*/ 0 w 342782"/>
                <a:gd name="connsiteY0" fmla="*/ 0 h 57520"/>
                <a:gd name="connsiteX1" fmla="*/ 342783 w 342782"/>
                <a:gd name="connsiteY1" fmla="*/ 0 h 57520"/>
                <a:gd name="connsiteX2" fmla="*/ 342783 w 342782"/>
                <a:gd name="connsiteY2" fmla="*/ 57521 h 57520"/>
                <a:gd name="connsiteX3" fmla="*/ 0 w 342782"/>
                <a:gd name="connsiteY3" fmla="*/ 57521 h 57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782" h="57520">
                  <a:moveTo>
                    <a:pt x="0" y="0"/>
                  </a:moveTo>
                  <a:lnTo>
                    <a:pt x="342783" y="0"/>
                  </a:lnTo>
                  <a:lnTo>
                    <a:pt x="342783" y="57521"/>
                  </a:lnTo>
                  <a:lnTo>
                    <a:pt x="0" y="57521"/>
                  </a:lnTo>
                  <a:close/>
                </a:path>
              </a:pathLst>
            </a:custGeom>
            <a:solidFill>
              <a:srgbClr val="92E3A9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517856E-9F39-E88D-1A2C-9B5A922C3D70}"/>
                </a:ext>
              </a:extLst>
            </p:cNvPr>
            <p:cNvSpPr/>
            <p:nvPr/>
          </p:nvSpPr>
          <p:spPr>
            <a:xfrm>
              <a:off x="1144363" y="4044533"/>
              <a:ext cx="342782" cy="57520"/>
            </a:xfrm>
            <a:custGeom>
              <a:avLst/>
              <a:gdLst>
                <a:gd name="connsiteX0" fmla="*/ 0 w 342782"/>
                <a:gd name="connsiteY0" fmla="*/ 0 h 57520"/>
                <a:gd name="connsiteX1" fmla="*/ 342783 w 342782"/>
                <a:gd name="connsiteY1" fmla="*/ 0 h 57520"/>
                <a:gd name="connsiteX2" fmla="*/ 342783 w 342782"/>
                <a:gd name="connsiteY2" fmla="*/ 57521 h 57520"/>
                <a:gd name="connsiteX3" fmla="*/ 0 w 342782"/>
                <a:gd name="connsiteY3" fmla="*/ 57521 h 57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782" h="57520">
                  <a:moveTo>
                    <a:pt x="0" y="0"/>
                  </a:moveTo>
                  <a:lnTo>
                    <a:pt x="342783" y="0"/>
                  </a:lnTo>
                  <a:lnTo>
                    <a:pt x="342783" y="57521"/>
                  </a:lnTo>
                  <a:lnTo>
                    <a:pt x="0" y="57521"/>
                  </a:lnTo>
                  <a:close/>
                </a:path>
              </a:pathLst>
            </a:custGeom>
            <a:solidFill>
              <a:srgbClr val="92E3A9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8280E38B-5399-BE21-F191-F50BF8809564}"/>
                </a:ext>
              </a:extLst>
            </p:cNvPr>
            <p:cNvSpPr/>
            <p:nvPr/>
          </p:nvSpPr>
          <p:spPr>
            <a:xfrm>
              <a:off x="1144363" y="4511944"/>
              <a:ext cx="342782" cy="57520"/>
            </a:xfrm>
            <a:custGeom>
              <a:avLst/>
              <a:gdLst>
                <a:gd name="connsiteX0" fmla="*/ 0 w 342782"/>
                <a:gd name="connsiteY0" fmla="*/ 0 h 57520"/>
                <a:gd name="connsiteX1" fmla="*/ 342783 w 342782"/>
                <a:gd name="connsiteY1" fmla="*/ 0 h 57520"/>
                <a:gd name="connsiteX2" fmla="*/ 342783 w 342782"/>
                <a:gd name="connsiteY2" fmla="*/ 57521 h 57520"/>
                <a:gd name="connsiteX3" fmla="*/ 0 w 342782"/>
                <a:gd name="connsiteY3" fmla="*/ 57521 h 57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782" h="57520">
                  <a:moveTo>
                    <a:pt x="0" y="0"/>
                  </a:moveTo>
                  <a:lnTo>
                    <a:pt x="342783" y="0"/>
                  </a:lnTo>
                  <a:lnTo>
                    <a:pt x="342783" y="57521"/>
                  </a:lnTo>
                  <a:lnTo>
                    <a:pt x="0" y="57521"/>
                  </a:lnTo>
                  <a:close/>
                </a:path>
              </a:pathLst>
            </a:custGeom>
            <a:solidFill>
              <a:srgbClr val="92E3A9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C17020A3-AE93-44D4-F272-3EBC376867DD}"/>
                </a:ext>
              </a:extLst>
            </p:cNvPr>
            <p:cNvSpPr/>
            <p:nvPr/>
          </p:nvSpPr>
          <p:spPr>
            <a:xfrm>
              <a:off x="1144363" y="3671499"/>
              <a:ext cx="973489" cy="42182"/>
            </a:xfrm>
            <a:custGeom>
              <a:avLst/>
              <a:gdLst>
                <a:gd name="connsiteX0" fmla="*/ 0 w 973489"/>
                <a:gd name="connsiteY0" fmla="*/ 0 h 42182"/>
                <a:gd name="connsiteX1" fmla="*/ 973490 w 973489"/>
                <a:gd name="connsiteY1" fmla="*/ 0 h 42182"/>
                <a:gd name="connsiteX2" fmla="*/ 973490 w 973489"/>
                <a:gd name="connsiteY2" fmla="*/ 42182 h 42182"/>
                <a:gd name="connsiteX3" fmla="*/ 0 w 973489"/>
                <a:gd name="connsiteY3" fmla="*/ 42182 h 42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3489" h="42182">
                  <a:moveTo>
                    <a:pt x="0" y="0"/>
                  </a:moveTo>
                  <a:lnTo>
                    <a:pt x="973490" y="0"/>
                  </a:lnTo>
                  <a:lnTo>
                    <a:pt x="973490" y="42182"/>
                  </a:lnTo>
                  <a:lnTo>
                    <a:pt x="0" y="42182"/>
                  </a:ln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B19DF0E-E2A0-D782-DF48-20E913925F26}"/>
                </a:ext>
              </a:extLst>
            </p:cNvPr>
            <p:cNvSpPr/>
            <p:nvPr/>
          </p:nvSpPr>
          <p:spPr>
            <a:xfrm>
              <a:off x="1144363" y="3752241"/>
              <a:ext cx="797943" cy="41116"/>
            </a:xfrm>
            <a:custGeom>
              <a:avLst/>
              <a:gdLst>
                <a:gd name="connsiteX0" fmla="*/ 0 w 797943"/>
                <a:gd name="connsiteY0" fmla="*/ 0 h 41116"/>
                <a:gd name="connsiteX1" fmla="*/ 797944 w 797943"/>
                <a:gd name="connsiteY1" fmla="*/ 0 h 41116"/>
                <a:gd name="connsiteX2" fmla="*/ 797944 w 797943"/>
                <a:gd name="connsiteY2" fmla="*/ 41117 h 41116"/>
                <a:gd name="connsiteX3" fmla="*/ 0 w 797943"/>
                <a:gd name="connsiteY3" fmla="*/ 41117 h 41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7943" h="41116">
                  <a:moveTo>
                    <a:pt x="0" y="0"/>
                  </a:moveTo>
                  <a:lnTo>
                    <a:pt x="797944" y="0"/>
                  </a:lnTo>
                  <a:lnTo>
                    <a:pt x="797944" y="41117"/>
                  </a:lnTo>
                  <a:lnTo>
                    <a:pt x="0" y="41117"/>
                  </a:ln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D62005CB-FA7F-DB4E-CB6F-560D24DBBBBE}"/>
                </a:ext>
              </a:extLst>
            </p:cNvPr>
            <p:cNvSpPr/>
            <p:nvPr/>
          </p:nvSpPr>
          <p:spPr>
            <a:xfrm>
              <a:off x="1144363" y="3831492"/>
              <a:ext cx="902440" cy="41116"/>
            </a:xfrm>
            <a:custGeom>
              <a:avLst/>
              <a:gdLst>
                <a:gd name="connsiteX0" fmla="*/ 0 w 902440"/>
                <a:gd name="connsiteY0" fmla="*/ 0 h 41116"/>
                <a:gd name="connsiteX1" fmla="*/ 902441 w 902440"/>
                <a:gd name="connsiteY1" fmla="*/ 0 h 41116"/>
                <a:gd name="connsiteX2" fmla="*/ 902441 w 902440"/>
                <a:gd name="connsiteY2" fmla="*/ 41117 h 41116"/>
                <a:gd name="connsiteX3" fmla="*/ 0 w 902440"/>
                <a:gd name="connsiteY3" fmla="*/ 41117 h 41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2440" h="41116">
                  <a:moveTo>
                    <a:pt x="0" y="0"/>
                  </a:moveTo>
                  <a:lnTo>
                    <a:pt x="902441" y="0"/>
                  </a:lnTo>
                  <a:lnTo>
                    <a:pt x="902441" y="41117"/>
                  </a:lnTo>
                  <a:lnTo>
                    <a:pt x="0" y="41117"/>
                  </a:ln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6EE35CF-2E1B-4C51-33DD-59EB8FBE3019}"/>
                </a:ext>
              </a:extLst>
            </p:cNvPr>
            <p:cNvSpPr/>
            <p:nvPr/>
          </p:nvSpPr>
          <p:spPr>
            <a:xfrm>
              <a:off x="1144363" y="3910850"/>
              <a:ext cx="902440" cy="41116"/>
            </a:xfrm>
            <a:custGeom>
              <a:avLst/>
              <a:gdLst>
                <a:gd name="connsiteX0" fmla="*/ 0 w 902440"/>
                <a:gd name="connsiteY0" fmla="*/ 0 h 41116"/>
                <a:gd name="connsiteX1" fmla="*/ 902441 w 902440"/>
                <a:gd name="connsiteY1" fmla="*/ 0 h 41116"/>
                <a:gd name="connsiteX2" fmla="*/ 902441 w 902440"/>
                <a:gd name="connsiteY2" fmla="*/ 41117 h 41116"/>
                <a:gd name="connsiteX3" fmla="*/ 0 w 902440"/>
                <a:gd name="connsiteY3" fmla="*/ 41117 h 41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2440" h="41116">
                  <a:moveTo>
                    <a:pt x="0" y="0"/>
                  </a:moveTo>
                  <a:lnTo>
                    <a:pt x="902441" y="0"/>
                  </a:lnTo>
                  <a:lnTo>
                    <a:pt x="902441" y="41117"/>
                  </a:lnTo>
                  <a:lnTo>
                    <a:pt x="0" y="41117"/>
                  </a:ln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3A639B3-304F-8D2A-7B14-01D79002DA91}"/>
                </a:ext>
              </a:extLst>
            </p:cNvPr>
            <p:cNvSpPr/>
            <p:nvPr/>
          </p:nvSpPr>
          <p:spPr>
            <a:xfrm>
              <a:off x="1144363" y="4138910"/>
              <a:ext cx="973489" cy="42182"/>
            </a:xfrm>
            <a:custGeom>
              <a:avLst/>
              <a:gdLst>
                <a:gd name="connsiteX0" fmla="*/ 0 w 973489"/>
                <a:gd name="connsiteY0" fmla="*/ 0 h 42182"/>
                <a:gd name="connsiteX1" fmla="*/ 973490 w 973489"/>
                <a:gd name="connsiteY1" fmla="*/ 0 h 42182"/>
                <a:gd name="connsiteX2" fmla="*/ 973490 w 973489"/>
                <a:gd name="connsiteY2" fmla="*/ 42182 h 42182"/>
                <a:gd name="connsiteX3" fmla="*/ 0 w 973489"/>
                <a:gd name="connsiteY3" fmla="*/ 42182 h 42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3489" h="42182">
                  <a:moveTo>
                    <a:pt x="0" y="0"/>
                  </a:moveTo>
                  <a:lnTo>
                    <a:pt x="973490" y="0"/>
                  </a:lnTo>
                  <a:lnTo>
                    <a:pt x="973490" y="42182"/>
                  </a:lnTo>
                  <a:lnTo>
                    <a:pt x="0" y="42182"/>
                  </a:ln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8A7CB7E5-5836-994C-77E7-8CF0E0F4A156}"/>
                </a:ext>
              </a:extLst>
            </p:cNvPr>
            <p:cNvSpPr/>
            <p:nvPr/>
          </p:nvSpPr>
          <p:spPr>
            <a:xfrm>
              <a:off x="1144363" y="4219653"/>
              <a:ext cx="797943" cy="41116"/>
            </a:xfrm>
            <a:custGeom>
              <a:avLst/>
              <a:gdLst>
                <a:gd name="connsiteX0" fmla="*/ 0 w 797943"/>
                <a:gd name="connsiteY0" fmla="*/ 0 h 41116"/>
                <a:gd name="connsiteX1" fmla="*/ 797944 w 797943"/>
                <a:gd name="connsiteY1" fmla="*/ 0 h 41116"/>
                <a:gd name="connsiteX2" fmla="*/ 797944 w 797943"/>
                <a:gd name="connsiteY2" fmla="*/ 41117 h 41116"/>
                <a:gd name="connsiteX3" fmla="*/ 0 w 797943"/>
                <a:gd name="connsiteY3" fmla="*/ 41117 h 41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7943" h="41116">
                  <a:moveTo>
                    <a:pt x="0" y="0"/>
                  </a:moveTo>
                  <a:lnTo>
                    <a:pt x="797944" y="0"/>
                  </a:lnTo>
                  <a:lnTo>
                    <a:pt x="797944" y="41117"/>
                  </a:lnTo>
                  <a:lnTo>
                    <a:pt x="0" y="41117"/>
                  </a:ln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6A0168BA-C142-4397-3CEB-CC165E8868BE}"/>
                </a:ext>
              </a:extLst>
            </p:cNvPr>
            <p:cNvSpPr/>
            <p:nvPr/>
          </p:nvSpPr>
          <p:spPr>
            <a:xfrm>
              <a:off x="1144363" y="4298904"/>
              <a:ext cx="902440" cy="41116"/>
            </a:xfrm>
            <a:custGeom>
              <a:avLst/>
              <a:gdLst>
                <a:gd name="connsiteX0" fmla="*/ 0 w 902440"/>
                <a:gd name="connsiteY0" fmla="*/ 0 h 41116"/>
                <a:gd name="connsiteX1" fmla="*/ 902441 w 902440"/>
                <a:gd name="connsiteY1" fmla="*/ 0 h 41116"/>
                <a:gd name="connsiteX2" fmla="*/ 902441 w 902440"/>
                <a:gd name="connsiteY2" fmla="*/ 41117 h 41116"/>
                <a:gd name="connsiteX3" fmla="*/ 0 w 902440"/>
                <a:gd name="connsiteY3" fmla="*/ 41117 h 41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2440" h="41116">
                  <a:moveTo>
                    <a:pt x="0" y="0"/>
                  </a:moveTo>
                  <a:lnTo>
                    <a:pt x="902441" y="0"/>
                  </a:lnTo>
                  <a:lnTo>
                    <a:pt x="902441" y="41117"/>
                  </a:lnTo>
                  <a:lnTo>
                    <a:pt x="0" y="41117"/>
                  </a:ln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4CCC0C8-7BBD-DBD1-E4F9-089834C12C14}"/>
                </a:ext>
              </a:extLst>
            </p:cNvPr>
            <p:cNvSpPr/>
            <p:nvPr/>
          </p:nvSpPr>
          <p:spPr>
            <a:xfrm>
              <a:off x="1144363" y="4652125"/>
              <a:ext cx="973489" cy="42182"/>
            </a:xfrm>
            <a:custGeom>
              <a:avLst/>
              <a:gdLst>
                <a:gd name="connsiteX0" fmla="*/ 0 w 973489"/>
                <a:gd name="connsiteY0" fmla="*/ 0 h 42182"/>
                <a:gd name="connsiteX1" fmla="*/ 973490 w 973489"/>
                <a:gd name="connsiteY1" fmla="*/ 0 h 42182"/>
                <a:gd name="connsiteX2" fmla="*/ 973490 w 973489"/>
                <a:gd name="connsiteY2" fmla="*/ 42182 h 42182"/>
                <a:gd name="connsiteX3" fmla="*/ 0 w 973489"/>
                <a:gd name="connsiteY3" fmla="*/ 42182 h 42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3489" h="42182">
                  <a:moveTo>
                    <a:pt x="0" y="0"/>
                  </a:moveTo>
                  <a:lnTo>
                    <a:pt x="973490" y="0"/>
                  </a:lnTo>
                  <a:lnTo>
                    <a:pt x="973490" y="42182"/>
                  </a:lnTo>
                  <a:lnTo>
                    <a:pt x="0" y="42182"/>
                  </a:ln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6C618424-38D1-23D7-E64C-6B817E27EB32}"/>
                </a:ext>
              </a:extLst>
            </p:cNvPr>
            <p:cNvSpPr/>
            <p:nvPr/>
          </p:nvSpPr>
          <p:spPr>
            <a:xfrm>
              <a:off x="1144363" y="4732868"/>
              <a:ext cx="797943" cy="41116"/>
            </a:xfrm>
            <a:custGeom>
              <a:avLst/>
              <a:gdLst>
                <a:gd name="connsiteX0" fmla="*/ 0 w 797943"/>
                <a:gd name="connsiteY0" fmla="*/ 0 h 41116"/>
                <a:gd name="connsiteX1" fmla="*/ 797944 w 797943"/>
                <a:gd name="connsiteY1" fmla="*/ 0 h 41116"/>
                <a:gd name="connsiteX2" fmla="*/ 797944 w 797943"/>
                <a:gd name="connsiteY2" fmla="*/ 41117 h 41116"/>
                <a:gd name="connsiteX3" fmla="*/ 0 w 797943"/>
                <a:gd name="connsiteY3" fmla="*/ 41117 h 41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7943" h="41116">
                  <a:moveTo>
                    <a:pt x="0" y="0"/>
                  </a:moveTo>
                  <a:lnTo>
                    <a:pt x="797944" y="0"/>
                  </a:lnTo>
                  <a:lnTo>
                    <a:pt x="797944" y="41117"/>
                  </a:lnTo>
                  <a:lnTo>
                    <a:pt x="0" y="41117"/>
                  </a:ln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C0A76F84-F42A-FB2F-9999-15A16DCF41FA}"/>
                </a:ext>
              </a:extLst>
            </p:cNvPr>
            <p:cNvSpPr/>
            <p:nvPr/>
          </p:nvSpPr>
          <p:spPr>
            <a:xfrm>
              <a:off x="1144363" y="4812225"/>
              <a:ext cx="902440" cy="41116"/>
            </a:xfrm>
            <a:custGeom>
              <a:avLst/>
              <a:gdLst>
                <a:gd name="connsiteX0" fmla="*/ 0 w 902440"/>
                <a:gd name="connsiteY0" fmla="*/ 0 h 41116"/>
                <a:gd name="connsiteX1" fmla="*/ 902441 w 902440"/>
                <a:gd name="connsiteY1" fmla="*/ 0 h 41116"/>
                <a:gd name="connsiteX2" fmla="*/ 902441 w 902440"/>
                <a:gd name="connsiteY2" fmla="*/ 41117 h 41116"/>
                <a:gd name="connsiteX3" fmla="*/ 0 w 902440"/>
                <a:gd name="connsiteY3" fmla="*/ 41117 h 41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2440" h="41116">
                  <a:moveTo>
                    <a:pt x="0" y="0"/>
                  </a:moveTo>
                  <a:lnTo>
                    <a:pt x="902441" y="0"/>
                  </a:lnTo>
                  <a:lnTo>
                    <a:pt x="902441" y="41117"/>
                  </a:lnTo>
                  <a:lnTo>
                    <a:pt x="0" y="41117"/>
                  </a:ln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4627273B-046C-C2D0-D678-ECEDAD96725E}"/>
                </a:ext>
              </a:extLst>
            </p:cNvPr>
            <p:cNvSpPr/>
            <p:nvPr/>
          </p:nvSpPr>
          <p:spPr>
            <a:xfrm>
              <a:off x="2207968" y="1975162"/>
              <a:ext cx="1768770" cy="956552"/>
            </a:xfrm>
            <a:custGeom>
              <a:avLst/>
              <a:gdLst>
                <a:gd name="connsiteX0" fmla="*/ 1768771 w 1768770"/>
                <a:gd name="connsiteY0" fmla="*/ 166704 h 956552"/>
                <a:gd name="connsiteX1" fmla="*/ 1768771 w 1768770"/>
                <a:gd name="connsiteY1" fmla="*/ 790061 h 956552"/>
                <a:gd name="connsiteX2" fmla="*/ 1602279 w 1768770"/>
                <a:gd name="connsiteY2" fmla="*/ 956553 h 956552"/>
                <a:gd name="connsiteX3" fmla="*/ 166491 w 1768770"/>
                <a:gd name="connsiteY3" fmla="*/ 956553 h 956552"/>
                <a:gd name="connsiteX4" fmla="*/ 0 w 1768770"/>
                <a:gd name="connsiteY4" fmla="*/ 790061 h 956552"/>
                <a:gd name="connsiteX5" fmla="*/ 0 w 1768770"/>
                <a:gd name="connsiteY5" fmla="*/ 166704 h 956552"/>
                <a:gd name="connsiteX6" fmla="*/ 166491 w 1768770"/>
                <a:gd name="connsiteY6" fmla="*/ 0 h 956552"/>
                <a:gd name="connsiteX7" fmla="*/ 1602279 w 1768770"/>
                <a:gd name="connsiteY7" fmla="*/ 0 h 956552"/>
                <a:gd name="connsiteX8" fmla="*/ 1768771 w 1768770"/>
                <a:gd name="connsiteY8" fmla="*/ 166704 h 956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68770" h="956552">
                  <a:moveTo>
                    <a:pt x="1768771" y="166704"/>
                  </a:moveTo>
                  <a:lnTo>
                    <a:pt x="1768771" y="790061"/>
                  </a:lnTo>
                  <a:cubicBezTo>
                    <a:pt x="1768771" y="882010"/>
                    <a:pt x="1694228" y="956553"/>
                    <a:pt x="1602279" y="956553"/>
                  </a:cubicBezTo>
                  <a:lnTo>
                    <a:pt x="166491" y="956553"/>
                  </a:lnTo>
                  <a:cubicBezTo>
                    <a:pt x="74543" y="956553"/>
                    <a:pt x="0" y="882010"/>
                    <a:pt x="0" y="790061"/>
                  </a:cubicBezTo>
                  <a:lnTo>
                    <a:pt x="0" y="166704"/>
                  </a:lnTo>
                  <a:cubicBezTo>
                    <a:pt x="-64" y="74692"/>
                    <a:pt x="74479" y="64"/>
                    <a:pt x="166491" y="0"/>
                  </a:cubicBezTo>
                  <a:lnTo>
                    <a:pt x="1602279" y="0"/>
                  </a:lnTo>
                  <a:cubicBezTo>
                    <a:pt x="1694292" y="64"/>
                    <a:pt x="1768835" y="74692"/>
                    <a:pt x="1768771" y="166704"/>
                  </a:cubicBezTo>
                  <a:close/>
                </a:path>
              </a:pathLst>
            </a:custGeom>
            <a:solidFill>
              <a:srgbClr val="FFFFFF"/>
            </a:solidFill>
            <a:ln w="11697" cap="flat">
              <a:solidFill>
                <a:srgbClr val="22222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57098EA-8088-87D4-B90B-FB37DB79EE3F}"/>
                </a:ext>
              </a:extLst>
            </p:cNvPr>
            <p:cNvSpPr/>
            <p:nvPr/>
          </p:nvSpPr>
          <p:spPr>
            <a:xfrm>
              <a:off x="2208501" y="1975162"/>
              <a:ext cx="1768238" cy="180871"/>
            </a:xfrm>
            <a:custGeom>
              <a:avLst/>
              <a:gdLst>
                <a:gd name="connsiteX0" fmla="*/ 1768238 w 1768238"/>
                <a:gd name="connsiteY0" fmla="*/ 166704 h 180871"/>
                <a:gd name="connsiteX1" fmla="*/ 1768238 w 1768238"/>
                <a:gd name="connsiteY1" fmla="*/ 180872 h 180871"/>
                <a:gd name="connsiteX2" fmla="*/ 0 w 1768238"/>
                <a:gd name="connsiteY2" fmla="*/ 180872 h 180871"/>
                <a:gd name="connsiteX3" fmla="*/ 0 w 1768238"/>
                <a:gd name="connsiteY3" fmla="*/ 166704 h 180871"/>
                <a:gd name="connsiteX4" fmla="*/ 166491 w 1768238"/>
                <a:gd name="connsiteY4" fmla="*/ 0 h 180871"/>
                <a:gd name="connsiteX5" fmla="*/ 1601747 w 1768238"/>
                <a:gd name="connsiteY5" fmla="*/ 0 h 180871"/>
                <a:gd name="connsiteX6" fmla="*/ 1768238 w 1768238"/>
                <a:gd name="connsiteY6" fmla="*/ 166704 h 180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68238" h="180871">
                  <a:moveTo>
                    <a:pt x="1768238" y="166704"/>
                  </a:moveTo>
                  <a:lnTo>
                    <a:pt x="1768238" y="180872"/>
                  </a:lnTo>
                  <a:lnTo>
                    <a:pt x="0" y="180872"/>
                  </a:lnTo>
                  <a:lnTo>
                    <a:pt x="0" y="166704"/>
                  </a:lnTo>
                  <a:cubicBezTo>
                    <a:pt x="-64" y="74692"/>
                    <a:pt x="74479" y="64"/>
                    <a:pt x="166491" y="0"/>
                  </a:cubicBezTo>
                  <a:lnTo>
                    <a:pt x="1601747" y="0"/>
                  </a:lnTo>
                  <a:cubicBezTo>
                    <a:pt x="1693759" y="64"/>
                    <a:pt x="1768302" y="74692"/>
                    <a:pt x="1768238" y="166704"/>
                  </a:cubicBezTo>
                  <a:close/>
                </a:path>
              </a:pathLst>
            </a:custGeom>
            <a:solidFill>
              <a:srgbClr val="92E3A9"/>
            </a:solidFill>
            <a:ln w="11697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5429F57B-434C-2FBE-C84D-4C141A91DE37}"/>
                </a:ext>
              </a:extLst>
            </p:cNvPr>
            <p:cNvSpPr/>
            <p:nvPr/>
          </p:nvSpPr>
          <p:spPr>
            <a:xfrm>
              <a:off x="2424363" y="2051908"/>
              <a:ext cx="50878" cy="50920"/>
            </a:xfrm>
            <a:custGeom>
              <a:avLst/>
              <a:gdLst>
                <a:gd name="connsiteX0" fmla="*/ 43409 w 50878"/>
                <a:gd name="connsiteY0" fmla="*/ 43516 h 50920"/>
                <a:gd name="connsiteX1" fmla="*/ 7405 w 50878"/>
                <a:gd name="connsiteY1" fmla="*/ 43410 h 50920"/>
                <a:gd name="connsiteX2" fmla="*/ 7511 w 50878"/>
                <a:gd name="connsiteY2" fmla="*/ 7406 h 50920"/>
                <a:gd name="connsiteX3" fmla="*/ 43409 w 50878"/>
                <a:gd name="connsiteY3" fmla="*/ 7406 h 50920"/>
                <a:gd name="connsiteX4" fmla="*/ 43409 w 50878"/>
                <a:gd name="connsiteY4" fmla="*/ 43516 h 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78" h="50920">
                  <a:moveTo>
                    <a:pt x="43409" y="43516"/>
                  </a:moveTo>
                  <a:cubicBezTo>
                    <a:pt x="33438" y="53433"/>
                    <a:pt x="17322" y="53380"/>
                    <a:pt x="7405" y="43410"/>
                  </a:cubicBezTo>
                  <a:cubicBezTo>
                    <a:pt x="-2512" y="33439"/>
                    <a:pt x="-2459" y="17323"/>
                    <a:pt x="7511" y="7406"/>
                  </a:cubicBezTo>
                  <a:cubicBezTo>
                    <a:pt x="17439" y="-2469"/>
                    <a:pt x="33481" y="-2469"/>
                    <a:pt x="43409" y="7406"/>
                  </a:cubicBezTo>
                  <a:cubicBezTo>
                    <a:pt x="53368" y="17387"/>
                    <a:pt x="53368" y="33535"/>
                    <a:pt x="43409" y="43516"/>
                  </a:cubicBez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B6C70DCF-1A4B-BADC-C095-10E99A5490B0}"/>
                </a:ext>
              </a:extLst>
            </p:cNvPr>
            <p:cNvSpPr/>
            <p:nvPr/>
          </p:nvSpPr>
          <p:spPr>
            <a:xfrm>
              <a:off x="2542814" y="2051908"/>
              <a:ext cx="50878" cy="50920"/>
            </a:xfrm>
            <a:custGeom>
              <a:avLst/>
              <a:gdLst>
                <a:gd name="connsiteX0" fmla="*/ 43409 w 50878"/>
                <a:gd name="connsiteY0" fmla="*/ 43516 h 50920"/>
                <a:gd name="connsiteX1" fmla="*/ 7405 w 50878"/>
                <a:gd name="connsiteY1" fmla="*/ 43410 h 50920"/>
                <a:gd name="connsiteX2" fmla="*/ 7511 w 50878"/>
                <a:gd name="connsiteY2" fmla="*/ 7406 h 50920"/>
                <a:gd name="connsiteX3" fmla="*/ 43409 w 50878"/>
                <a:gd name="connsiteY3" fmla="*/ 7406 h 50920"/>
                <a:gd name="connsiteX4" fmla="*/ 43409 w 50878"/>
                <a:gd name="connsiteY4" fmla="*/ 43516 h 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78" h="50920">
                  <a:moveTo>
                    <a:pt x="43409" y="43516"/>
                  </a:moveTo>
                  <a:cubicBezTo>
                    <a:pt x="33438" y="53433"/>
                    <a:pt x="17322" y="53380"/>
                    <a:pt x="7405" y="43410"/>
                  </a:cubicBezTo>
                  <a:cubicBezTo>
                    <a:pt x="-2512" y="33439"/>
                    <a:pt x="-2459" y="17323"/>
                    <a:pt x="7511" y="7406"/>
                  </a:cubicBezTo>
                  <a:cubicBezTo>
                    <a:pt x="17439" y="-2469"/>
                    <a:pt x="33481" y="-2469"/>
                    <a:pt x="43409" y="7406"/>
                  </a:cubicBezTo>
                  <a:cubicBezTo>
                    <a:pt x="53368" y="17387"/>
                    <a:pt x="53368" y="33535"/>
                    <a:pt x="43409" y="43516"/>
                  </a:cubicBez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2A5582D-B136-3BB1-B893-09A5FB108E5F}"/>
                </a:ext>
              </a:extLst>
            </p:cNvPr>
            <p:cNvSpPr/>
            <p:nvPr/>
          </p:nvSpPr>
          <p:spPr>
            <a:xfrm>
              <a:off x="2661264" y="2051908"/>
              <a:ext cx="50878" cy="50920"/>
            </a:xfrm>
            <a:custGeom>
              <a:avLst/>
              <a:gdLst>
                <a:gd name="connsiteX0" fmla="*/ 43409 w 50878"/>
                <a:gd name="connsiteY0" fmla="*/ 43516 h 50920"/>
                <a:gd name="connsiteX1" fmla="*/ 7405 w 50878"/>
                <a:gd name="connsiteY1" fmla="*/ 43410 h 50920"/>
                <a:gd name="connsiteX2" fmla="*/ 7511 w 50878"/>
                <a:gd name="connsiteY2" fmla="*/ 7406 h 50920"/>
                <a:gd name="connsiteX3" fmla="*/ 43409 w 50878"/>
                <a:gd name="connsiteY3" fmla="*/ 7406 h 50920"/>
                <a:gd name="connsiteX4" fmla="*/ 43409 w 50878"/>
                <a:gd name="connsiteY4" fmla="*/ 43516 h 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78" h="50920">
                  <a:moveTo>
                    <a:pt x="43409" y="43516"/>
                  </a:moveTo>
                  <a:cubicBezTo>
                    <a:pt x="33438" y="53433"/>
                    <a:pt x="17322" y="53380"/>
                    <a:pt x="7405" y="43410"/>
                  </a:cubicBezTo>
                  <a:cubicBezTo>
                    <a:pt x="-2512" y="33439"/>
                    <a:pt x="-2459" y="17323"/>
                    <a:pt x="7511" y="7406"/>
                  </a:cubicBezTo>
                  <a:cubicBezTo>
                    <a:pt x="17439" y="-2469"/>
                    <a:pt x="33481" y="-2469"/>
                    <a:pt x="43409" y="7406"/>
                  </a:cubicBezTo>
                  <a:cubicBezTo>
                    <a:pt x="53368" y="17387"/>
                    <a:pt x="53368" y="33535"/>
                    <a:pt x="43409" y="43516"/>
                  </a:cubicBez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FCC87E6-F135-A0E9-0CFE-0FC674DC558E}"/>
                </a:ext>
              </a:extLst>
            </p:cNvPr>
            <p:cNvSpPr/>
            <p:nvPr/>
          </p:nvSpPr>
          <p:spPr>
            <a:xfrm>
              <a:off x="2320774" y="2270650"/>
              <a:ext cx="578192" cy="499793"/>
            </a:xfrm>
            <a:custGeom>
              <a:avLst/>
              <a:gdLst>
                <a:gd name="connsiteX0" fmla="*/ 0 w 578192"/>
                <a:gd name="connsiteY0" fmla="*/ 0 h 499793"/>
                <a:gd name="connsiteX1" fmla="*/ 578193 w 578192"/>
                <a:gd name="connsiteY1" fmla="*/ 0 h 499793"/>
                <a:gd name="connsiteX2" fmla="*/ 578193 w 578192"/>
                <a:gd name="connsiteY2" fmla="*/ 499794 h 499793"/>
                <a:gd name="connsiteX3" fmla="*/ 0 w 578192"/>
                <a:gd name="connsiteY3" fmla="*/ 499794 h 499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8192" h="499793">
                  <a:moveTo>
                    <a:pt x="0" y="0"/>
                  </a:moveTo>
                  <a:lnTo>
                    <a:pt x="578193" y="0"/>
                  </a:lnTo>
                  <a:lnTo>
                    <a:pt x="578193" y="499794"/>
                  </a:lnTo>
                  <a:lnTo>
                    <a:pt x="0" y="499794"/>
                  </a:lnTo>
                  <a:close/>
                </a:path>
              </a:pathLst>
            </a:custGeom>
            <a:noFill/>
            <a:ln w="11697" cap="rnd">
              <a:solidFill>
                <a:srgbClr val="263238"/>
              </a:solidFill>
              <a:custDash>
                <a:ds d="330750" sp="330750"/>
              </a:custDash>
              <a:round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168B1E06-0C78-D410-982E-891128CB8453}"/>
                </a:ext>
              </a:extLst>
            </p:cNvPr>
            <p:cNvSpPr/>
            <p:nvPr/>
          </p:nvSpPr>
          <p:spPr>
            <a:xfrm>
              <a:off x="2988124" y="2270650"/>
              <a:ext cx="665432" cy="35151"/>
            </a:xfrm>
            <a:custGeom>
              <a:avLst/>
              <a:gdLst>
                <a:gd name="connsiteX0" fmla="*/ 0 w 665432"/>
                <a:gd name="connsiteY0" fmla="*/ 0 h 35151"/>
                <a:gd name="connsiteX1" fmla="*/ 665433 w 665432"/>
                <a:gd name="connsiteY1" fmla="*/ 0 h 35151"/>
                <a:gd name="connsiteX2" fmla="*/ 665433 w 665432"/>
                <a:gd name="connsiteY2" fmla="*/ 35152 h 35151"/>
                <a:gd name="connsiteX3" fmla="*/ 0 w 665432"/>
                <a:gd name="connsiteY3" fmla="*/ 35152 h 35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5432" h="35151">
                  <a:moveTo>
                    <a:pt x="0" y="0"/>
                  </a:moveTo>
                  <a:lnTo>
                    <a:pt x="665433" y="0"/>
                  </a:lnTo>
                  <a:lnTo>
                    <a:pt x="665433" y="35152"/>
                  </a:lnTo>
                  <a:lnTo>
                    <a:pt x="0" y="35152"/>
                  </a:ln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DB831F30-EB61-BB39-49D9-22EAD3A7057F}"/>
                </a:ext>
              </a:extLst>
            </p:cNvPr>
            <p:cNvSpPr/>
            <p:nvPr/>
          </p:nvSpPr>
          <p:spPr>
            <a:xfrm>
              <a:off x="2988124" y="2343510"/>
              <a:ext cx="510445" cy="35045"/>
            </a:xfrm>
            <a:custGeom>
              <a:avLst/>
              <a:gdLst>
                <a:gd name="connsiteX0" fmla="*/ 0 w 510445"/>
                <a:gd name="connsiteY0" fmla="*/ 0 h 35045"/>
                <a:gd name="connsiteX1" fmla="*/ 510446 w 510445"/>
                <a:gd name="connsiteY1" fmla="*/ 0 h 35045"/>
                <a:gd name="connsiteX2" fmla="*/ 510446 w 510445"/>
                <a:gd name="connsiteY2" fmla="*/ 35045 h 35045"/>
                <a:gd name="connsiteX3" fmla="*/ 0 w 510445"/>
                <a:gd name="connsiteY3" fmla="*/ 35045 h 35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0445" h="35045">
                  <a:moveTo>
                    <a:pt x="0" y="0"/>
                  </a:moveTo>
                  <a:lnTo>
                    <a:pt x="510446" y="0"/>
                  </a:lnTo>
                  <a:lnTo>
                    <a:pt x="510446" y="35045"/>
                  </a:lnTo>
                  <a:lnTo>
                    <a:pt x="0" y="35045"/>
                  </a:ln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C562353D-76FE-E8BF-1D30-2FBF3FF76C5A}"/>
                </a:ext>
              </a:extLst>
            </p:cNvPr>
            <p:cNvSpPr/>
            <p:nvPr/>
          </p:nvSpPr>
          <p:spPr>
            <a:xfrm>
              <a:off x="2988124" y="2415837"/>
              <a:ext cx="760022" cy="35471"/>
            </a:xfrm>
            <a:custGeom>
              <a:avLst/>
              <a:gdLst>
                <a:gd name="connsiteX0" fmla="*/ 0 w 760022"/>
                <a:gd name="connsiteY0" fmla="*/ 0 h 35471"/>
                <a:gd name="connsiteX1" fmla="*/ 760023 w 760022"/>
                <a:gd name="connsiteY1" fmla="*/ 0 h 35471"/>
                <a:gd name="connsiteX2" fmla="*/ 760023 w 760022"/>
                <a:gd name="connsiteY2" fmla="*/ 35471 h 35471"/>
                <a:gd name="connsiteX3" fmla="*/ 0 w 760022"/>
                <a:gd name="connsiteY3" fmla="*/ 35471 h 35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0022" h="35471">
                  <a:moveTo>
                    <a:pt x="0" y="0"/>
                  </a:moveTo>
                  <a:lnTo>
                    <a:pt x="760023" y="0"/>
                  </a:lnTo>
                  <a:lnTo>
                    <a:pt x="760023" y="35471"/>
                  </a:lnTo>
                  <a:lnTo>
                    <a:pt x="0" y="35471"/>
                  </a:ln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88B2C3E2-9ED1-61CB-14F6-908803C82D94}"/>
                </a:ext>
              </a:extLst>
            </p:cNvPr>
            <p:cNvSpPr/>
            <p:nvPr/>
          </p:nvSpPr>
          <p:spPr>
            <a:xfrm>
              <a:off x="2988124" y="2486567"/>
              <a:ext cx="647217" cy="35471"/>
            </a:xfrm>
            <a:custGeom>
              <a:avLst/>
              <a:gdLst>
                <a:gd name="connsiteX0" fmla="*/ 0 w 647217"/>
                <a:gd name="connsiteY0" fmla="*/ 0 h 35471"/>
                <a:gd name="connsiteX1" fmla="*/ 647218 w 647217"/>
                <a:gd name="connsiteY1" fmla="*/ 0 h 35471"/>
                <a:gd name="connsiteX2" fmla="*/ 647218 w 647217"/>
                <a:gd name="connsiteY2" fmla="*/ 35471 h 35471"/>
                <a:gd name="connsiteX3" fmla="*/ 0 w 647217"/>
                <a:gd name="connsiteY3" fmla="*/ 35471 h 35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7217" h="35471">
                  <a:moveTo>
                    <a:pt x="0" y="0"/>
                  </a:moveTo>
                  <a:lnTo>
                    <a:pt x="647218" y="0"/>
                  </a:lnTo>
                  <a:lnTo>
                    <a:pt x="647218" y="35471"/>
                  </a:lnTo>
                  <a:lnTo>
                    <a:pt x="0" y="35471"/>
                  </a:lnTo>
                  <a:close/>
                </a:path>
              </a:pathLst>
            </a:custGeom>
            <a:solidFill>
              <a:srgbClr val="263238"/>
            </a:solidFill>
            <a:ln w="106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81988FD8-85BD-80BA-FE73-DDDE44D824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76522" y="2636027"/>
            <a:ext cx="1917700" cy="3023613"/>
          </a:xfrm>
          <a:prstGeom prst="rect">
            <a:avLst/>
          </a:prstGeom>
        </p:spPr>
      </p:pic>
      <p:pic>
        <p:nvPicPr>
          <p:cNvPr id="17" name="Picture 16" descr="A black and white logo&#10;&#10;Description automatically generated">
            <a:extLst>
              <a:ext uri="{FF2B5EF4-FFF2-40B4-BE49-F238E27FC236}">
                <a16:creationId xmlns:a16="http://schemas.microsoft.com/office/drawing/2014/main" id="{C244FE3B-3519-6789-3062-22DDD258BA7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1100" y="860166"/>
            <a:ext cx="1452954" cy="67030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E4C98BF-6CC7-86F4-D8A7-6EC2E164206E}"/>
              </a:ext>
            </a:extLst>
          </p:cNvPr>
          <p:cNvSpPr txBox="1"/>
          <p:nvPr/>
        </p:nvSpPr>
        <p:spPr>
          <a:xfrm>
            <a:off x="6580669" y="3866588"/>
            <a:ext cx="212077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CA" sz="1600" dirty="0">
                <a:solidFill>
                  <a:schemeClr val="bg1"/>
                </a:solidFill>
                <a:latin typeface="Sora Thin" pitchFamily="2" charset="0"/>
                <a:cs typeface="Sora Thin" pitchFamily="2" charset="0"/>
              </a:rPr>
              <a:t>WWW.STUDIO42.CA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DBCE891-8A54-FB5E-F2EB-47EF5FF02D87}"/>
              </a:ext>
            </a:extLst>
          </p:cNvPr>
          <p:cNvSpPr txBox="1"/>
          <p:nvPr/>
        </p:nvSpPr>
        <p:spPr>
          <a:xfrm>
            <a:off x="6580668" y="4624846"/>
            <a:ext cx="236763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CA" sz="1600" dirty="0">
                <a:solidFill>
                  <a:schemeClr val="bg1"/>
                </a:solidFill>
                <a:latin typeface="Sora Thin" pitchFamily="2" charset="0"/>
                <a:cs typeface="Sora Thin" pitchFamily="2" charset="0"/>
              </a:rPr>
              <a:t>HELLO@STUDIO42.C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2CF35F5-5093-362C-CF9C-A85112B0C5B5}"/>
              </a:ext>
            </a:extLst>
          </p:cNvPr>
          <p:cNvSpPr txBox="1"/>
          <p:nvPr/>
        </p:nvSpPr>
        <p:spPr>
          <a:xfrm>
            <a:off x="6580668" y="5389895"/>
            <a:ext cx="462626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CA" sz="1600" dirty="0">
                <a:solidFill>
                  <a:schemeClr val="bg1"/>
                </a:solidFill>
                <a:latin typeface="Sora Thin" pitchFamily="2" charset="0"/>
                <a:cs typeface="Sora Thin" pitchFamily="2" charset="0"/>
              </a:rPr>
              <a:t>https://www.youtube.com/@Studio42Canada</a:t>
            </a:r>
          </a:p>
        </p:txBody>
      </p:sp>
    </p:spTree>
    <p:extLst>
      <p:ext uri="{BB962C8B-B14F-4D97-AF65-F5344CB8AC3E}">
        <p14:creationId xmlns:p14="http://schemas.microsoft.com/office/powerpoint/2010/main" val="21242136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9B02008-4DE7-2A2E-0DB0-70871B17AE8C}"/>
              </a:ext>
            </a:extLst>
          </p:cNvPr>
          <p:cNvSpPr/>
          <p:nvPr/>
        </p:nvSpPr>
        <p:spPr>
          <a:xfrm>
            <a:off x="641684" y="1299411"/>
            <a:ext cx="7365857" cy="4876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6ED748-9D0D-801A-E5F8-0B33F8DD7A62}"/>
              </a:ext>
            </a:extLst>
          </p:cNvPr>
          <p:cNvSpPr/>
          <p:nvPr/>
        </p:nvSpPr>
        <p:spPr>
          <a:xfrm>
            <a:off x="1011068" y="3836469"/>
            <a:ext cx="3165355" cy="2063940"/>
          </a:xfrm>
          <a:prstGeom prst="rect">
            <a:avLst/>
          </a:prstGeom>
          <a:gradFill flip="none" rotWithShape="1">
            <a:gsLst>
              <a:gs pos="0">
                <a:srgbClr val="000000"/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9C9443D-E1D4-DBA8-1537-7AE1A30537E9}"/>
              </a:ext>
            </a:extLst>
          </p:cNvPr>
          <p:cNvSpPr/>
          <p:nvPr/>
        </p:nvSpPr>
        <p:spPr>
          <a:xfrm rot="5400000">
            <a:off x="1558174" y="1013501"/>
            <a:ext cx="2071142" cy="3165355"/>
          </a:xfrm>
          <a:prstGeom prst="rect">
            <a:avLst/>
          </a:prstGeom>
          <a:gradFill flip="none" rotWithShape="1">
            <a:gsLst>
              <a:gs pos="0">
                <a:srgbClr val="000000"/>
              </a:gs>
              <a:gs pos="99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4811A2E-CC95-BAB8-4AB3-6EDE0768CACC}"/>
              </a:ext>
            </a:extLst>
          </p:cNvPr>
          <p:cNvSpPr/>
          <p:nvPr/>
        </p:nvSpPr>
        <p:spPr>
          <a:xfrm rot="10800000" flipH="1">
            <a:off x="4493633" y="3836469"/>
            <a:ext cx="3165354" cy="206394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99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77EC703-C7AB-32D1-0C22-AB500177B9D4}"/>
              </a:ext>
            </a:extLst>
          </p:cNvPr>
          <p:cNvSpPr/>
          <p:nvPr/>
        </p:nvSpPr>
        <p:spPr>
          <a:xfrm rot="5400000">
            <a:off x="5040739" y="1013504"/>
            <a:ext cx="2071143" cy="3165355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00A0E2C3-76E0-44D3-A03E-C1D52651067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8419345" y="2488452"/>
            <a:ext cx="3374914" cy="1898389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D547B7B4-F54B-8E36-DC69-E75026D228CD}"/>
              </a:ext>
            </a:extLst>
          </p:cNvPr>
          <p:cNvSpPr/>
          <p:nvPr/>
        </p:nvSpPr>
        <p:spPr>
          <a:xfrm>
            <a:off x="8642879" y="2618890"/>
            <a:ext cx="2774854" cy="1898389"/>
          </a:xfrm>
          <a:prstGeom prst="rect">
            <a:avLst/>
          </a:prstGeom>
          <a:gradFill flip="none" rotWithShape="1">
            <a:gsLst>
              <a:gs pos="0">
                <a:srgbClr val="000000"/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0D335BB-23E6-7317-333D-EDD69FB77F8C}"/>
              </a:ext>
            </a:extLst>
          </p:cNvPr>
          <p:cNvSpPr>
            <a:spLocks/>
          </p:cNvSpPr>
          <p:nvPr/>
        </p:nvSpPr>
        <p:spPr>
          <a:xfrm>
            <a:off x="8739944" y="3380835"/>
            <a:ext cx="1290362" cy="374497"/>
          </a:xfrm>
          <a:prstGeom prst="rect">
            <a:avLst/>
          </a:prstGeom>
        </p:spPr>
        <p:txBody>
          <a:bodyPr wrap="none" lIns="68235" tIns="34117" rIns="68235" bIns="34117">
            <a:spAutoFit/>
          </a:bodyPr>
          <a:lstStyle/>
          <a:p>
            <a:pPr>
              <a:lnSpc>
                <a:spcPct val="90000"/>
              </a:lnSpc>
            </a:pPr>
            <a:r>
              <a:rPr lang="en-US" sz="11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cs typeface="+mj-cs"/>
              </a:rPr>
              <a:t>Your pitch deck</a:t>
            </a:r>
          </a:p>
          <a:p>
            <a:pPr>
              <a:lnSpc>
                <a:spcPct val="90000"/>
              </a:lnSpc>
            </a:pPr>
            <a:r>
              <a:rPr lang="en-US" sz="1100" b="1" i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cs typeface="+mj-cs"/>
              </a:rPr>
              <a:t>headline</a:t>
            </a:r>
            <a:endParaRPr lang="en-US" sz="1100" i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+mj-lt"/>
              <a:cs typeface="+mj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A2CEC30-6B11-5AA1-8059-4BB6ED489B41}"/>
              </a:ext>
            </a:extLst>
          </p:cNvPr>
          <p:cNvSpPr txBox="1"/>
          <p:nvPr/>
        </p:nvSpPr>
        <p:spPr>
          <a:xfrm>
            <a:off x="8722185" y="4886565"/>
            <a:ext cx="2988551" cy="110927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dirty="0"/>
              <a:t>Place over an image to fade an image into the background of your slide </a:t>
            </a:r>
            <a:br>
              <a:rPr lang="en-US" sz="1600" dirty="0"/>
            </a:br>
            <a:r>
              <a:rPr lang="en-US" sz="1600" dirty="0"/>
              <a:t>and/or to allow for textual content on top of the imag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1267708-3783-99C3-BD8D-88500D5776F7}"/>
              </a:ext>
            </a:extLst>
          </p:cNvPr>
          <p:cNvSpPr/>
          <p:nvPr/>
        </p:nvSpPr>
        <p:spPr>
          <a:xfrm>
            <a:off x="0" y="0"/>
            <a:ext cx="4991100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Gradient Overlays</a:t>
            </a:r>
            <a:endParaRPr lang="en-C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30283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lue Light'">
            <a:extLst>
              <a:ext uri="{FF2B5EF4-FFF2-40B4-BE49-F238E27FC236}">
                <a16:creationId xmlns:a16="http://schemas.microsoft.com/office/drawing/2014/main" id="{FB0A4760-8932-8B96-CBA0-2A768237F2FF}"/>
              </a:ext>
            </a:extLst>
          </p:cNvPr>
          <p:cNvSpPr/>
          <p:nvPr/>
        </p:nvSpPr>
        <p:spPr>
          <a:xfrm rot="4500000">
            <a:off x="4620799" y="1176690"/>
            <a:ext cx="4323522" cy="4323522"/>
          </a:xfrm>
          <a:prstGeom prst="ellipse">
            <a:avLst/>
          </a:prstGeom>
          <a:gradFill flip="none" rotWithShape="1">
            <a:gsLst>
              <a:gs pos="22000">
                <a:srgbClr val="62AADB"/>
              </a:gs>
              <a:gs pos="0">
                <a:srgbClr val="3BC8F1"/>
              </a:gs>
              <a:gs pos="69000">
                <a:srgbClr val="FA3585"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" name="Pink">
            <a:extLst>
              <a:ext uri="{FF2B5EF4-FFF2-40B4-BE49-F238E27FC236}">
                <a16:creationId xmlns:a16="http://schemas.microsoft.com/office/drawing/2014/main" id="{24249601-A1E5-EDA0-C92E-C5C2A2C85278}"/>
              </a:ext>
            </a:extLst>
          </p:cNvPr>
          <p:cNvSpPr/>
          <p:nvPr/>
        </p:nvSpPr>
        <p:spPr>
          <a:xfrm rot="11700000">
            <a:off x="3081096" y="705849"/>
            <a:ext cx="4323522" cy="4323522"/>
          </a:xfrm>
          <a:prstGeom prst="ellipse">
            <a:avLst/>
          </a:prstGeom>
          <a:gradFill flip="none" rotWithShape="1">
            <a:gsLst>
              <a:gs pos="24000">
                <a:srgbClr val="FA3585"/>
              </a:gs>
              <a:gs pos="0">
                <a:srgbClr val="FA3585"/>
              </a:gs>
              <a:gs pos="66000">
                <a:srgbClr val="6070FF"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1" name="Yellow">
            <a:extLst>
              <a:ext uri="{FF2B5EF4-FFF2-40B4-BE49-F238E27FC236}">
                <a16:creationId xmlns:a16="http://schemas.microsoft.com/office/drawing/2014/main" id="{84654D63-8BCD-EC5C-9917-24CB2B2CD9AC}"/>
              </a:ext>
            </a:extLst>
          </p:cNvPr>
          <p:cNvSpPr/>
          <p:nvPr/>
        </p:nvSpPr>
        <p:spPr>
          <a:xfrm>
            <a:off x="6350761" y="1806210"/>
            <a:ext cx="4323522" cy="4323522"/>
          </a:xfrm>
          <a:prstGeom prst="ellipse">
            <a:avLst/>
          </a:prstGeom>
          <a:gradFill flip="none" rotWithShape="1">
            <a:gsLst>
              <a:gs pos="45000">
                <a:srgbClr val="D8956E"/>
              </a:gs>
              <a:gs pos="0">
                <a:srgbClr val="D4F579"/>
              </a:gs>
              <a:gs pos="69000">
                <a:srgbClr val="FA3585">
                  <a:lumMod val="75000"/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C41617-EA40-A233-FFDB-25071E50C7CB}"/>
              </a:ext>
            </a:extLst>
          </p:cNvPr>
          <p:cNvSpPr/>
          <p:nvPr/>
        </p:nvSpPr>
        <p:spPr>
          <a:xfrm>
            <a:off x="0" y="0"/>
            <a:ext cx="4991100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Gradient Segments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C7ACF29-568B-0256-E50D-5C9F132166E4}"/>
              </a:ext>
            </a:extLst>
          </p:cNvPr>
          <p:cNvSpPr txBox="1"/>
          <p:nvPr/>
        </p:nvSpPr>
        <p:spPr>
          <a:xfrm>
            <a:off x="1066270" y="4731952"/>
            <a:ext cx="2858560" cy="88767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dirty="0"/>
              <a:t>Adjust gradient colors then select all shapes and align center and middle to create multi layer gradient circle </a:t>
            </a:r>
          </a:p>
        </p:txBody>
      </p:sp>
    </p:spTree>
    <p:extLst>
      <p:ext uri="{BB962C8B-B14F-4D97-AF65-F5344CB8AC3E}">
        <p14:creationId xmlns:p14="http://schemas.microsoft.com/office/powerpoint/2010/main" val="38938902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123EF367-0848-1132-C56E-C669C60B8F03}"/>
              </a:ext>
            </a:extLst>
          </p:cNvPr>
          <p:cNvGrpSpPr/>
          <p:nvPr/>
        </p:nvGrpSpPr>
        <p:grpSpPr>
          <a:xfrm>
            <a:off x="1548072" y="245467"/>
            <a:ext cx="9095856" cy="6367066"/>
            <a:chOff x="1693257" y="-189330"/>
            <a:chExt cx="9095856" cy="6367066"/>
          </a:xfrm>
        </p:grpSpPr>
        <p:sp>
          <p:nvSpPr>
            <p:cNvPr id="9" name="Прямоугольник 3">
              <a:extLst>
                <a:ext uri="{FF2B5EF4-FFF2-40B4-BE49-F238E27FC236}">
                  <a16:creationId xmlns:a16="http://schemas.microsoft.com/office/drawing/2014/main" id="{81894302-A2C2-C420-604B-8CA6BBFFD1D8}"/>
                </a:ext>
              </a:extLst>
            </p:cNvPr>
            <p:cNvSpPr/>
            <p:nvPr/>
          </p:nvSpPr>
          <p:spPr>
            <a:xfrm>
              <a:off x="2630688" y="1217453"/>
              <a:ext cx="7385567" cy="4155023"/>
            </a:xfrm>
            <a:prstGeom prst="rect">
              <a:avLst/>
            </a:prstGeom>
            <a:gradFill flip="none" rotWithShape="1">
              <a:gsLst>
                <a:gs pos="14000">
                  <a:srgbClr val="333399"/>
                </a:gs>
                <a:gs pos="51000">
                  <a:srgbClr val="8B1EAF"/>
                </a:gs>
                <a:gs pos="90000">
                  <a:srgbClr val="FF00CC"/>
                </a:gs>
              </a:gsLst>
              <a:lin ang="3600000" scaled="0"/>
              <a:tileRect/>
            </a:gradFill>
            <a:ln w="76200" cap="flat" cmpd="sng" algn="ctr">
              <a:noFill/>
              <a:prstDash val="solid"/>
              <a:miter lim="800000"/>
            </a:ln>
            <a:effectLst>
              <a:softEdge rad="0"/>
            </a:effectLst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0" name="Полилиния: фигура 4">
              <a:extLst>
                <a:ext uri="{FF2B5EF4-FFF2-40B4-BE49-F238E27FC236}">
                  <a16:creationId xmlns:a16="http://schemas.microsoft.com/office/drawing/2014/main" id="{E91780DA-1C60-F30F-44A0-38FAD8C37EE8}"/>
                </a:ext>
              </a:extLst>
            </p:cNvPr>
            <p:cNvSpPr>
              <a:spLocks/>
            </p:cNvSpPr>
            <p:nvPr/>
          </p:nvSpPr>
          <p:spPr bwMode="auto">
            <a:xfrm rot="3070033">
              <a:off x="2390778" y="-886851"/>
              <a:ext cx="6138925" cy="7533968"/>
            </a:xfrm>
            <a:custGeom>
              <a:avLst/>
              <a:gdLst>
                <a:gd name="connsiteX0" fmla="*/ 0 w 15201088"/>
                <a:gd name="connsiteY0" fmla="*/ 12204017 h 18655468"/>
                <a:gd name="connsiteX1" fmla="*/ 9823784 w 15201088"/>
                <a:gd name="connsiteY1" fmla="*/ 0 h 18655468"/>
                <a:gd name="connsiteX2" fmla="*/ 9845642 w 15201088"/>
                <a:gd name="connsiteY2" fmla="*/ 360406 h 18655468"/>
                <a:gd name="connsiteX3" fmla="*/ 9913614 w 15201088"/>
                <a:gd name="connsiteY3" fmla="*/ 822282 h 18655468"/>
                <a:gd name="connsiteX4" fmla="*/ 9981585 w 15201088"/>
                <a:gd name="connsiteY4" fmla="*/ 1256990 h 18655468"/>
                <a:gd name="connsiteX5" fmla="*/ 10063151 w 15201088"/>
                <a:gd name="connsiteY5" fmla="*/ 1705283 h 18655468"/>
                <a:gd name="connsiteX6" fmla="*/ 10144716 w 15201088"/>
                <a:gd name="connsiteY6" fmla="*/ 2139991 h 18655468"/>
                <a:gd name="connsiteX7" fmla="*/ 10253471 w 15201088"/>
                <a:gd name="connsiteY7" fmla="*/ 2561114 h 18655468"/>
                <a:gd name="connsiteX8" fmla="*/ 10375819 w 15201088"/>
                <a:gd name="connsiteY8" fmla="*/ 2968652 h 18655468"/>
                <a:gd name="connsiteX9" fmla="*/ 10498168 w 15201088"/>
                <a:gd name="connsiteY9" fmla="*/ 3376191 h 18655468"/>
                <a:gd name="connsiteX10" fmla="*/ 10647706 w 15201088"/>
                <a:gd name="connsiteY10" fmla="*/ 3797314 h 18655468"/>
                <a:gd name="connsiteX11" fmla="*/ 10810837 w 15201088"/>
                <a:gd name="connsiteY11" fmla="*/ 4191268 h 18655468"/>
                <a:gd name="connsiteX12" fmla="*/ 10973969 w 15201088"/>
                <a:gd name="connsiteY12" fmla="*/ 4585222 h 18655468"/>
                <a:gd name="connsiteX13" fmla="*/ 11137100 w 15201088"/>
                <a:gd name="connsiteY13" fmla="*/ 4965592 h 18655468"/>
                <a:gd name="connsiteX14" fmla="*/ 11341014 w 15201088"/>
                <a:gd name="connsiteY14" fmla="*/ 5332377 h 18655468"/>
                <a:gd name="connsiteX15" fmla="*/ 11531335 w 15201088"/>
                <a:gd name="connsiteY15" fmla="*/ 5699161 h 18655468"/>
                <a:gd name="connsiteX16" fmla="*/ 11762437 w 15201088"/>
                <a:gd name="connsiteY16" fmla="*/ 6065945 h 18655468"/>
                <a:gd name="connsiteX17" fmla="*/ 11993540 w 15201088"/>
                <a:gd name="connsiteY17" fmla="*/ 6419146 h 18655468"/>
                <a:gd name="connsiteX18" fmla="*/ 12238238 w 15201088"/>
                <a:gd name="connsiteY18" fmla="*/ 6758761 h 18655468"/>
                <a:gd name="connsiteX19" fmla="*/ 12469341 w 15201088"/>
                <a:gd name="connsiteY19" fmla="*/ 7098377 h 18655468"/>
                <a:gd name="connsiteX20" fmla="*/ 12754821 w 15201088"/>
                <a:gd name="connsiteY20" fmla="*/ 7437992 h 18655468"/>
                <a:gd name="connsiteX21" fmla="*/ 13026708 w 15201088"/>
                <a:gd name="connsiteY21" fmla="*/ 7764023 h 18655468"/>
                <a:gd name="connsiteX22" fmla="*/ 13312187 w 15201088"/>
                <a:gd name="connsiteY22" fmla="*/ 8062885 h 18655468"/>
                <a:gd name="connsiteX23" fmla="*/ 13611261 w 15201088"/>
                <a:gd name="connsiteY23" fmla="*/ 8388916 h 18655468"/>
                <a:gd name="connsiteX24" fmla="*/ 13937524 w 15201088"/>
                <a:gd name="connsiteY24" fmla="*/ 8687777 h 18655468"/>
                <a:gd name="connsiteX25" fmla="*/ 14263787 w 15201088"/>
                <a:gd name="connsiteY25" fmla="*/ 8973054 h 18655468"/>
                <a:gd name="connsiteX26" fmla="*/ 14603645 w 15201088"/>
                <a:gd name="connsiteY26" fmla="*/ 9271916 h 18655468"/>
                <a:gd name="connsiteX27" fmla="*/ 14970691 w 15201088"/>
                <a:gd name="connsiteY27" fmla="*/ 9557193 h 18655468"/>
                <a:gd name="connsiteX28" fmla="*/ 15201088 w 15201088"/>
                <a:gd name="connsiteY28" fmla="*/ 9727735 h 18655468"/>
                <a:gd name="connsiteX29" fmla="*/ 8014592 w 15201088"/>
                <a:gd name="connsiteY29" fmla="*/ 18655468 h 18655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5201088" h="18655468">
                  <a:moveTo>
                    <a:pt x="0" y="12204017"/>
                  </a:moveTo>
                  <a:lnTo>
                    <a:pt x="9823784" y="0"/>
                  </a:lnTo>
                  <a:lnTo>
                    <a:pt x="9845642" y="360406"/>
                  </a:lnTo>
                  <a:lnTo>
                    <a:pt x="9913614" y="822282"/>
                  </a:lnTo>
                  <a:lnTo>
                    <a:pt x="9981585" y="1256990"/>
                  </a:lnTo>
                  <a:lnTo>
                    <a:pt x="10063151" y="1705283"/>
                  </a:lnTo>
                  <a:lnTo>
                    <a:pt x="10144716" y="2139991"/>
                  </a:lnTo>
                  <a:lnTo>
                    <a:pt x="10253471" y="2561114"/>
                  </a:lnTo>
                  <a:lnTo>
                    <a:pt x="10375819" y="2968652"/>
                  </a:lnTo>
                  <a:lnTo>
                    <a:pt x="10498168" y="3376191"/>
                  </a:lnTo>
                  <a:lnTo>
                    <a:pt x="10647706" y="3797314"/>
                  </a:lnTo>
                  <a:lnTo>
                    <a:pt x="10810837" y="4191268"/>
                  </a:lnTo>
                  <a:lnTo>
                    <a:pt x="10973969" y="4585222"/>
                  </a:lnTo>
                  <a:lnTo>
                    <a:pt x="11137100" y="4965592"/>
                  </a:lnTo>
                  <a:lnTo>
                    <a:pt x="11341014" y="5332377"/>
                  </a:lnTo>
                  <a:lnTo>
                    <a:pt x="11531335" y="5699161"/>
                  </a:lnTo>
                  <a:lnTo>
                    <a:pt x="11762437" y="6065945"/>
                  </a:lnTo>
                  <a:lnTo>
                    <a:pt x="11993540" y="6419146"/>
                  </a:lnTo>
                  <a:lnTo>
                    <a:pt x="12238238" y="6758761"/>
                  </a:lnTo>
                  <a:lnTo>
                    <a:pt x="12469341" y="7098377"/>
                  </a:lnTo>
                  <a:lnTo>
                    <a:pt x="12754821" y="7437992"/>
                  </a:lnTo>
                  <a:lnTo>
                    <a:pt x="13026708" y="7764023"/>
                  </a:lnTo>
                  <a:lnTo>
                    <a:pt x="13312187" y="8062885"/>
                  </a:lnTo>
                  <a:lnTo>
                    <a:pt x="13611261" y="8388916"/>
                  </a:lnTo>
                  <a:lnTo>
                    <a:pt x="13937524" y="8687777"/>
                  </a:lnTo>
                  <a:lnTo>
                    <a:pt x="14263787" y="8973054"/>
                  </a:lnTo>
                  <a:lnTo>
                    <a:pt x="14603645" y="9271916"/>
                  </a:lnTo>
                  <a:lnTo>
                    <a:pt x="14970691" y="9557193"/>
                  </a:lnTo>
                  <a:lnTo>
                    <a:pt x="15201088" y="9727735"/>
                  </a:lnTo>
                  <a:lnTo>
                    <a:pt x="8014592" y="18655468"/>
                  </a:lnTo>
                  <a:close/>
                </a:path>
              </a:pathLst>
            </a:custGeom>
            <a:gradFill>
              <a:gsLst>
                <a:gs pos="100000">
                  <a:srgbClr val="333399">
                    <a:alpha val="0"/>
                  </a:srgbClr>
                </a:gs>
                <a:gs pos="0">
                  <a:srgbClr val="333399"/>
                </a:gs>
              </a:gsLst>
              <a:lin ang="0" scaled="0"/>
            </a:gradFill>
            <a:ln w="76200" cap="flat" cmpd="sng" algn="ctr">
              <a:noFill/>
              <a:prstDash val="solid"/>
              <a:miter lim="800000"/>
            </a:ln>
            <a:effectLst>
              <a:softEdge rad="0"/>
            </a:effectLst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1" name="Полилиния: фигура 5">
              <a:extLst>
                <a:ext uri="{FF2B5EF4-FFF2-40B4-BE49-F238E27FC236}">
                  <a16:creationId xmlns:a16="http://schemas.microsoft.com/office/drawing/2014/main" id="{213BD508-2D6F-B52C-548F-D8A7D695D581}"/>
                </a:ext>
              </a:extLst>
            </p:cNvPr>
            <p:cNvSpPr>
              <a:spLocks/>
            </p:cNvSpPr>
            <p:nvPr/>
          </p:nvSpPr>
          <p:spPr bwMode="auto">
            <a:xfrm rot="9373018">
              <a:off x="4516594" y="1085450"/>
              <a:ext cx="6272519" cy="5092286"/>
            </a:xfrm>
            <a:custGeom>
              <a:avLst/>
              <a:gdLst>
                <a:gd name="connsiteX0" fmla="*/ 7248838 w 15531893"/>
                <a:gd name="connsiteY0" fmla="*/ 12609421 h 12609421"/>
                <a:gd name="connsiteX1" fmla="*/ 0 w 15531893"/>
                <a:gd name="connsiteY1" fmla="*/ 9414866 h 12609421"/>
                <a:gd name="connsiteX2" fmla="*/ 4149121 w 15531893"/>
                <a:gd name="connsiteY2" fmla="*/ 0 h 12609421"/>
                <a:gd name="connsiteX3" fmla="*/ 14117163 w 15531893"/>
                <a:gd name="connsiteY3" fmla="*/ 4392905 h 12609421"/>
                <a:gd name="connsiteX4" fmla="*/ 14331259 w 15531893"/>
                <a:gd name="connsiteY4" fmla="*/ 4740846 h 12609421"/>
                <a:gd name="connsiteX5" fmla="*/ 14564392 w 15531893"/>
                <a:gd name="connsiteY5" fmla="*/ 5207159 h 12609421"/>
                <a:gd name="connsiteX6" fmla="*/ 14785868 w 15531893"/>
                <a:gd name="connsiteY6" fmla="*/ 5685130 h 12609421"/>
                <a:gd name="connsiteX7" fmla="*/ 14972375 w 15531893"/>
                <a:gd name="connsiteY7" fmla="*/ 6186416 h 12609421"/>
                <a:gd name="connsiteX8" fmla="*/ 15158880 w 15531893"/>
                <a:gd name="connsiteY8" fmla="*/ 6687703 h 12609421"/>
                <a:gd name="connsiteX9" fmla="*/ 15298760 w 15531893"/>
                <a:gd name="connsiteY9" fmla="*/ 7212305 h 12609421"/>
                <a:gd name="connsiteX10" fmla="*/ 15438638 w 15531893"/>
                <a:gd name="connsiteY10" fmla="*/ 7748565 h 12609421"/>
                <a:gd name="connsiteX11" fmla="*/ 15461952 w 15531893"/>
                <a:gd name="connsiteY11" fmla="*/ 7888458 h 12609421"/>
                <a:gd name="connsiteX12" fmla="*/ 15485266 w 15531893"/>
                <a:gd name="connsiteY12" fmla="*/ 8040010 h 12609421"/>
                <a:gd name="connsiteX13" fmla="*/ 15508577 w 15531893"/>
                <a:gd name="connsiteY13" fmla="*/ 8191562 h 12609421"/>
                <a:gd name="connsiteX14" fmla="*/ 15531893 w 15531893"/>
                <a:gd name="connsiteY14" fmla="*/ 8343114 h 12609421"/>
                <a:gd name="connsiteX15" fmla="*/ 15531892 w 15531893"/>
                <a:gd name="connsiteY15" fmla="*/ 8389744 h 12609421"/>
                <a:gd name="connsiteX16" fmla="*/ 15531892 w 15531893"/>
                <a:gd name="connsiteY16" fmla="*/ 8436375 h 12609421"/>
                <a:gd name="connsiteX17" fmla="*/ 15531892 w 15531893"/>
                <a:gd name="connsiteY17" fmla="*/ 8483008 h 12609421"/>
                <a:gd name="connsiteX18" fmla="*/ 15520235 w 15531893"/>
                <a:gd name="connsiteY18" fmla="*/ 8506322 h 12609421"/>
                <a:gd name="connsiteX19" fmla="*/ 15496922 w 15531893"/>
                <a:gd name="connsiteY19" fmla="*/ 8541297 h 12609421"/>
                <a:gd name="connsiteX20" fmla="*/ 15461952 w 15531893"/>
                <a:gd name="connsiteY20" fmla="*/ 8564612 h 12609421"/>
                <a:gd name="connsiteX21" fmla="*/ 15403671 w 15531893"/>
                <a:gd name="connsiteY21" fmla="*/ 8576270 h 12609421"/>
                <a:gd name="connsiteX22" fmla="*/ 15345386 w 15531893"/>
                <a:gd name="connsiteY22" fmla="*/ 8587927 h 12609421"/>
                <a:gd name="connsiteX23" fmla="*/ 14867464 w 15531893"/>
                <a:gd name="connsiteY23" fmla="*/ 8622902 h 12609421"/>
                <a:gd name="connsiteX24" fmla="*/ 14401198 w 15531893"/>
                <a:gd name="connsiteY24" fmla="*/ 8681190 h 12609421"/>
                <a:gd name="connsiteX25" fmla="*/ 13934934 w 15531893"/>
                <a:gd name="connsiteY25" fmla="*/ 8762796 h 12609421"/>
                <a:gd name="connsiteX26" fmla="*/ 13480325 w 15531893"/>
                <a:gd name="connsiteY26" fmla="*/ 8832742 h 12609421"/>
                <a:gd name="connsiteX27" fmla="*/ 13025717 w 15531893"/>
                <a:gd name="connsiteY27" fmla="*/ 8949321 h 12609421"/>
                <a:gd name="connsiteX28" fmla="*/ 12582764 w 15531893"/>
                <a:gd name="connsiteY28" fmla="*/ 9089215 h 12609421"/>
                <a:gd name="connsiteX29" fmla="*/ 12128154 w 15531893"/>
                <a:gd name="connsiteY29" fmla="*/ 9229107 h 12609421"/>
                <a:gd name="connsiteX30" fmla="*/ 11696861 w 15531893"/>
                <a:gd name="connsiteY30" fmla="*/ 9403975 h 12609421"/>
                <a:gd name="connsiteX31" fmla="*/ 11370475 w 15531893"/>
                <a:gd name="connsiteY31" fmla="*/ 9543869 h 12609421"/>
                <a:gd name="connsiteX32" fmla="*/ 11067402 w 15531893"/>
                <a:gd name="connsiteY32" fmla="*/ 9695420 h 12609421"/>
                <a:gd name="connsiteX33" fmla="*/ 10764329 w 15531893"/>
                <a:gd name="connsiteY33" fmla="*/ 9835314 h 12609421"/>
                <a:gd name="connsiteX34" fmla="*/ 10472914 w 15531893"/>
                <a:gd name="connsiteY34" fmla="*/ 9998524 h 12609421"/>
                <a:gd name="connsiteX35" fmla="*/ 10181497 w 15531893"/>
                <a:gd name="connsiteY35" fmla="*/ 10161733 h 12609421"/>
                <a:gd name="connsiteX36" fmla="*/ 9913394 w 15531893"/>
                <a:gd name="connsiteY36" fmla="*/ 10336601 h 12609421"/>
                <a:gd name="connsiteX37" fmla="*/ 9633636 w 15531893"/>
                <a:gd name="connsiteY37" fmla="*/ 10499810 h 12609421"/>
                <a:gd name="connsiteX38" fmla="*/ 9365534 w 15531893"/>
                <a:gd name="connsiteY38" fmla="*/ 10686336 h 12609421"/>
                <a:gd name="connsiteX39" fmla="*/ 9097431 w 15531893"/>
                <a:gd name="connsiteY39" fmla="*/ 10872861 h 12609421"/>
                <a:gd name="connsiteX40" fmla="*/ 8852642 w 15531893"/>
                <a:gd name="connsiteY40" fmla="*/ 11059386 h 12609421"/>
                <a:gd name="connsiteX41" fmla="*/ 8607853 w 15531893"/>
                <a:gd name="connsiteY41" fmla="*/ 11269227 h 12609421"/>
                <a:gd name="connsiteX42" fmla="*/ 8363063 w 15531893"/>
                <a:gd name="connsiteY42" fmla="*/ 11467411 h 12609421"/>
                <a:gd name="connsiteX43" fmla="*/ 8129931 w 15531893"/>
                <a:gd name="connsiteY43" fmla="*/ 11688909 h 12609421"/>
                <a:gd name="connsiteX44" fmla="*/ 7908454 w 15531893"/>
                <a:gd name="connsiteY44" fmla="*/ 11898750 h 12609421"/>
                <a:gd name="connsiteX45" fmla="*/ 7686979 w 15531893"/>
                <a:gd name="connsiteY45" fmla="*/ 12131906 h 12609421"/>
                <a:gd name="connsiteX46" fmla="*/ 7477159 w 15531893"/>
                <a:gd name="connsiteY46" fmla="*/ 12353404 h 12609421"/>
                <a:gd name="connsiteX47" fmla="*/ 7267341 w 15531893"/>
                <a:gd name="connsiteY47" fmla="*/ 12586562 h 12609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5531893" h="12609421">
                  <a:moveTo>
                    <a:pt x="7248838" y="12609421"/>
                  </a:moveTo>
                  <a:lnTo>
                    <a:pt x="0" y="9414866"/>
                  </a:lnTo>
                  <a:lnTo>
                    <a:pt x="4149121" y="0"/>
                  </a:lnTo>
                  <a:lnTo>
                    <a:pt x="14117163" y="4392905"/>
                  </a:lnTo>
                  <a:lnTo>
                    <a:pt x="14331259" y="4740846"/>
                  </a:lnTo>
                  <a:lnTo>
                    <a:pt x="14564392" y="5207159"/>
                  </a:lnTo>
                  <a:lnTo>
                    <a:pt x="14785868" y="5685130"/>
                  </a:lnTo>
                  <a:lnTo>
                    <a:pt x="14972375" y="6186416"/>
                  </a:lnTo>
                  <a:lnTo>
                    <a:pt x="15158880" y="6687703"/>
                  </a:lnTo>
                  <a:lnTo>
                    <a:pt x="15298760" y="7212305"/>
                  </a:lnTo>
                  <a:lnTo>
                    <a:pt x="15438638" y="7748565"/>
                  </a:lnTo>
                  <a:lnTo>
                    <a:pt x="15461952" y="7888458"/>
                  </a:lnTo>
                  <a:lnTo>
                    <a:pt x="15485266" y="8040010"/>
                  </a:lnTo>
                  <a:lnTo>
                    <a:pt x="15508577" y="8191562"/>
                  </a:lnTo>
                  <a:lnTo>
                    <a:pt x="15531893" y="8343114"/>
                  </a:lnTo>
                  <a:lnTo>
                    <a:pt x="15531892" y="8389744"/>
                  </a:lnTo>
                  <a:lnTo>
                    <a:pt x="15531892" y="8436375"/>
                  </a:lnTo>
                  <a:lnTo>
                    <a:pt x="15531892" y="8483008"/>
                  </a:lnTo>
                  <a:lnTo>
                    <a:pt x="15520235" y="8506322"/>
                  </a:lnTo>
                  <a:lnTo>
                    <a:pt x="15496922" y="8541297"/>
                  </a:lnTo>
                  <a:lnTo>
                    <a:pt x="15461952" y="8564612"/>
                  </a:lnTo>
                  <a:lnTo>
                    <a:pt x="15403671" y="8576270"/>
                  </a:lnTo>
                  <a:lnTo>
                    <a:pt x="15345386" y="8587927"/>
                  </a:lnTo>
                  <a:lnTo>
                    <a:pt x="14867464" y="8622902"/>
                  </a:lnTo>
                  <a:lnTo>
                    <a:pt x="14401198" y="8681190"/>
                  </a:lnTo>
                  <a:lnTo>
                    <a:pt x="13934934" y="8762796"/>
                  </a:lnTo>
                  <a:lnTo>
                    <a:pt x="13480325" y="8832742"/>
                  </a:lnTo>
                  <a:lnTo>
                    <a:pt x="13025717" y="8949321"/>
                  </a:lnTo>
                  <a:lnTo>
                    <a:pt x="12582764" y="9089215"/>
                  </a:lnTo>
                  <a:lnTo>
                    <a:pt x="12128154" y="9229107"/>
                  </a:lnTo>
                  <a:lnTo>
                    <a:pt x="11696861" y="9403975"/>
                  </a:lnTo>
                  <a:lnTo>
                    <a:pt x="11370475" y="9543869"/>
                  </a:lnTo>
                  <a:lnTo>
                    <a:pt x="11067402" y="9695420"/>
                  </a:lnTo>
                  <a:lnTo>
                    <a:pt x="10764329" y="9835314"/>
                  </a:lnTo>
                  <a:lnTo>
                    <a:pt x="10472914" y="9998524"/>
                  </a:lnTo>
                  <a:lnTo>
                    <a:pt x="10181497" y="10161733"/>
                  </a:lnTo>
                  <a:lnTo>
                    <a:pt x="9913394" y="10336601"/>
                  </a:lnTo>
                  <a:lnTo>
                    <a:pt x="9633636" y="10499810"/>
                  </a:lnTo>
                  <a:lnTo>
                    <a:pt x="9365534" y="10686336"/>
                  </a:lnTo>
                  <a:lnTo>
                    <a:pt x="9097431" y="10872861"/>
                  </a:lnTo>
                  <a:lnTo>
                    <a:pt x="8852642" y="11059386"/>
                  </a:lnTo>
                  <a:lnTo>
                    <a:pt x="8607853" y="11269227"/>
                  </a:lnTo>
                  <a:lnTo>
                    <a:pt x="8363063" y="11467411"/>
                  </a:lnTo>
                  <a:lnTo>
                    <a:pt x="8129931" y="11688909"/>
                  </a:lnTo>
                  <a:lnTo>
                    <a:pt x="7908454" y="11898750"/>
                  </a:lnTo>
                  <a:lnTo>
                    <a:pt x="7686979" y="12131906"/>
                  </a:lnTo>
                  <a:lnTo>
                    <a:pt x="7477159" y="12353404"/>
                  </a:lnTo>
                  <a:lnTo>
                    <a:pt x="7267341" y="12586562"/>
                  </a:lnTo>
                  <a:close/>
                </a:path>
              </a:pathLst>
            </a:custGeom>
            <a:gradFill>
              <a:gsLst>
                <a:gs pos="100000">
                  <a:srgbClr val="8B1EAF">
                    <a:alpha val="0"/>
                  </a:srgbClr>
                </a:gs>
                <a:gs pos="19000">
                  <a:srgbClr val="8B1EAF"/>
                </a:gs>
              </a:gsLst>
              <a:lin ang="0" scaled="0"/>
            </a:gradFill>
            <a:ln w="76200" cap="flat" cmpd="sng" algn="ctr">
              <a:noFill/>
              <a:prstDash val="solid"/>
              <a:miter lim="800000"/>
            </a:ln>
            <a:effectLst>
              <a:softEdge rad="0"/>
            </a:effectLst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2" name="Полилиния: фигура 6">
              <a:extLst>
                <a:ext uri="{FF2B5EF4-FFF2-40B4-BE49-F238E27FC236}">
                  <a16:creationId xmlns:a16="http://schemas.microsoft.com/office/drawing/2014/main" id="{05A5B6DB-C784-4662-3800-A6CB960B286A}"/>
                </a:ext>
              </a:extLst>
            </p:cNvPr>
            <p:cNvSpPr>
              <a:spLocks/>
            </p:cNvSpPr>
            <p:nvPr/>
          </p:nvSpPr>
          <p:spPr bwMode="auto">
            <a:xfrm rot="11713459">
              <a:off x="2398616" y="2571815"/>
              <a:ext cx="6773981" cy="3593912"/>
            </a:xfrm>
            <a:custGeom>
              <a:avLst/>
              <a:gdLst>
                <a:gd name="connsiteX0" fmla="*/ 12060953 w 16773604"/>
                <a:gd name="connsiteY0" fmla="*/ 8444519 h 8899176"/>
                <a:gd name="connsiteX1" fmla="*/ 11594688 w 16773604"/>
                <a:gd name="connsiteY1" fmla="*/ 8561100 h 8899176"/>
                <a:gd name="connsiteX2" fmla="*/ 11140079 w 16773604"/>
                <a:gd name="connsiteY2" fmla="*/ 8666020 h 8899176"/>
                <a:gd name="connsiteX3" fmla="*/ 10673813 w 16773604"/>
                <a:gd name="connsiteY3" fmla="*/ 8747624 h 8899176"/>
                <a:gd name="connsiteX4" fmla="*/ 10370741 w 16773604"/>
                <a:gd name="connsiteY4" fmla="*/ 8805914 h 8899176"/>
                <a:gd name="connsiteX5" fmla="*/ 10079325 w 16773604"/>
                <a:gd name="connsiteY5" fmla="*/ 8829230 h 8899176"/>
                <a:gd name="connsiteX6" fmla="*/ 9787910 w 16773604"/>
                <a:gd name="connsiteY6" fmla="*/ 8864202 h 8899176"/>
                <a:gd name="connsiteX7" fmla="*/ 9508150 w 16773604"/>
                <a:gd name="connsiteY7" fmla="*/ 8875860 h 8899176"/>
                <a:gd name="connsiteX8" fmla="*/ 9205079 w 16773604"/>
                <a:gd name="connsiteY8" fmla="*/ 8887518 h 8899176"/>
                <a:gd name="connsiteX9" fmla="*/ 8913662 w 16773604"/>
                <a:gd name="connsiteY9" fmla="*/ 8899176 h 8899176"/>
                <a:gd name="connsiteX10" fmla="*/ 8633903 w 16773604"/>
                <a:gd name="connsiteY10" fmla="*/ 8899176 h 8899176"/>
                <a:gd name="connsiteX11" fmla="*/ 8354144 w 16773604"/>
                <a:gd name="connsiteY11" fmla="*/ 8887518 h 8899176"/>
                <a:gd name="connsiteX12" fmla="*/ 8074385 w 16773604"/>
                <a:gd name="connsiteY12" fmla="*/ 8875859 h 8899176"/>
                <a:gd name="connsiteX13" fmla="*/ 7782970 w 16773604"/>
                <a:gd name="connsiteY13" fmla="*/ 8852544 h 8899176"/>
                <a:gd name="connsiteX14" fmla="*/ 7514867 w 16773604"/>
                <a:gd name="connsiteY14" fmla="*/ 8829229 h 8899176"/>
                <a:gd name="connsiteX15" fmla="*/ 7235108 w 16773604"/>
                <a:gd name="connsiteY15" fmla="*/ 8782597 h 8899176"/>
                <a:gd name="connsiteX16" fmla="*/ 6967005 w 16773604"/>
                <a:gd name="connsiteY16" fmla="*/ 8735965 h 8899176"/>
                <a:gd name="connsiteX17" fmla="*/ 6687246 w 16773604"/>
                <a:gd name="connsiteY17" fmla="*/ 8677677 h 8899176"/>
                <a:gd name="connsiteX18" fmla="*/ 6419143 w 16773604"/>
                <a:gd name="connsiteY18" fmla="*/ 8619387 h 8899176"/>
                <a:gd name="connsiteX19" fmla="*/ 6151041 w 16773604"/>
                <a:gd name="connsiteY19" fmla="*/ 8549442 h 8899176"/>
                <a:gd name="connsiteX20" fmla="*/ 5882938 w 16773604"/>
                <a:gd name="connsiteY20" fmla="*/ 8479493 h 8899176"/>
                <a:gd name="connsiteX21" fmla="*/ 5626492 w 16773604"/>
                <a:gd name="connsiteY21" fmla="*/ 8397890 h 8899176"/>
                <a:gd name="connsiteX22" fmla="*/ 5358390 w 16773604"/>
                <a:gd name="connsiteY22" fmla="*/ 8304627 h 8899176"/>
                <a:gd name="connsiteX23" fmla="*/ 5101944 w 16773604"/>
                <a:gd name="connsiteY23" fmla="*/ 8211363 h 8899176"/>
                <a:gd name="connsiteX24" fmla="*/ 4833841 w 16773604"/>
                <a:gd name="connsiteY24" fmla="*/ 8106444 h 8899176"/>
                <a:gd name="connsiteX25" fmla="*/ 4577396 w 16773604"/>
                <a:gd name="connsiteY25" fmla="*/ 7989866 h 8899176"/>
                <a:gd name="connsiteX26" fmla="*/ 4332606 w 16773604"/>
                <a:gd name="connsiteY26" fmla="*/ 7873288 h 8899176"/>
                <a:gd name="connsiteX27" fmla="*/ 4076160 w 16773604"/>
                <a:gd name="connsiteY27" fmla="*/ 7745052 h 8899176"/>
                <a:gd name="connsiteX28" fmla="*/ 3819714 w 16773604"/>
                <a:gd name="connsiteY28" fmla="*/ 7616815 h 8899176"/>
                <a:gd name="connsiteX29" fmla="*/ 3574925 w 16773604"/>
                <a:gd name="connsiteY29" fmla="*/ 7476922 h 8899176"/>
                <a:gd name="connsiteX30" fmla="*/ 3330136 w 16773604"/>
                <a:gd name="connsiteY30" fmla="*/ 7325370 h 8899176"/>
                <a:gd name="connsiteX31" fmla="*/ 3097003 w 16773604"/>
                <a:gd name="connsiteY31" fmla="*/ 7173818 h 8899176"/>
                <a:gd name="connsiteX32" fmla="*/ 2840557 w 16773604"/>
                <a:gd name="connsiteY32" fmla="*/ 6998952 h 8899176"/>
                <a:gd name="connsiteX33" fmla="*/ 2607424 w 16773604"/>
                <a:gd name="connsiteY33" fmla="*/ 6835741 h 8899176"/>
                <a:gd name="connsiteX34" fmla="*/ 2362634 w 16773604"/>
                <a:gd name="connsiteY34" fmla="*/ 6649216 h 8899176"/>
                <a:gd name="connsiteX35" fmla="*/ 2129503 w 16773604"/>
                <a:gd name="connsiteY35" fmla="*/ 6474349 h 8899176"/>
                <a:gd name="connsiteX36" fmla="*/ 1756490 w 16773604"/>
                <a:gd name="connsiteY36" fmla="*/ 6136272 h 8899176"/>
                <a:gd name="connsiteX37" fmla="*/ 1371821 w 16773604"/>
                <a:gd name="connsiteY37" fmla="*/ 5798195 h 8899176"/>
                <a:gd name="connsiteX38" fmla="*/ 1022122 w 16773604"/>
                <a:gd name="connsiteY38" fmla="*/ 5436802 h 8899176"/>
                <a:gd name="connsiteX39" fmla="*/ 695736 w 16773604"/>
                <a:gd name="connsiteY39" fmla="*/ 5075410 h 8899176"/>
                <a:gd name="connsiteX40" fmla="*/ 381007 w 16773604"/>
                <a:gd name="connsiteY40" fmla="*/ 4702360 h 8899176"/>
                <a:gd name="connsiteX41" fmla="*/ 101248 w 16773604"/>
                <a:gd name="connsiteY41" fmla="*/ 4305994 h 8899176"/>
                <a:gd name="connsiteX42" fmla="*/ 0 w 16773604"/>
                <a:gd name="connsiteY42" fmla="*/ 4156308 h 8899176"/>
                <a:gd name="connsiteX43" fmla="*/ 15272133 w 16773604"/>
                <a:gd name="connsiteY43" fmla="*/ 0 h 8899176"/>
                <a:gd name="connsiteX44" fmla="*/ 16773604 w 16773604"/>
                <a:gd name="connsiteY44" fmla="*/ 5517077 h 8899176"/>
                <a:gd name="connsiteX45" fmla="*/ 16723606 w 16773604"/>
                <a:gd name="connsiteY45" fmla="*/ 5576696 h 8899176"/>
                <a:gd name="connsiteX46" fmla="*/ 16385564 w 16773604"/>
                <a:gd name="connsiteY46" fmla="*/ 5914773 h 8899176"/>
                <a:gd name="connsiteX47" fmla="*/ 16047522 w 16773604"/>
                <a:gd name="connsiteY47" fmla="*/ 6217876 h 8899176"/>
                <a:gd name="connsiteX48" fmla="*/ 15674510 w 16773604"/>
                <a:gd name="connsiteY48" fmla="*/ 6532638 h 8899176"/>
                <a:gd name="connsiteX49" fmla="*/ 15324810 w 16773604"/>
                <a:gd name="connsiteY49" fmla="*/ 6812426 h 8899176"/>
                <a:gd name="connsiteX50" fmla="*/ 14951798 w 16773604"/>
                <a:gd name="connsiteY50" fmla="*/ 7080556 h 8899176"/>
                <a:gd name="connsiteX51" fmla="*/ 14567129 w 16773604"/>
                <a:gd name="connsiteY51" fmla="*/ 7325369 h 8899176"/>
                <a:gd name="connsiteX52" fmla="*/ 14170804 w 16773604"/>
                <a:gd name="connsiteY52" fmla="*/ 7558525 h 8899176"/>
                <a:gd name="connsiteX53" fmla="*/ 13762822 w 16773604"/>
                <a:gd name="connsiteY53" fmla="*/ 7768367 h 8899176"/>
                <a:gd name="connsiteX54" fmla="*/ 13354840 w 16773604"/>
                <a:gd name="connsiteY54" fmla="*/ 7966550 h 8899176"/>
                <a:gd name="connsiteX55" fmla="*/ 12923544 w 16773604"/>
                <a:gd name="connsiteY55" fmla="*/ 8153075 h 8899176"/>
                <a:gd name="connsiteX56" fmla="*/ 12503905 w 16773604"/>
                <a:gd name="connsiteY56" fmla="*/ 8304628 h 8899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6773604" h="8899176">
                  <a:moveTo>
                    <a:pt x="12060953" y="8444519"/>
                  </a:moveTo>
                  <a:lnTo>
                    <a:pt x="11594688" y="8561100"/>
                  </a:lnTo>
                  <a:lnTo>
                    <a:pt x="11140079" y="8666020"/>
                  </a:lnTo>
                  <a:lnTo>
                    <a:pt x="10673813" y="8747624"/>
                  </a:lnTo>
                  <a:lnTo>
                    <a:pt x="10370741" y="8805914"/>
                  </a:lnTo>
                  <a:lnTo>
                    <a:pt x="10079325" y="8829230"/>
                  </a:lnTo>
                  <a:lnTo>
                    <a:pt x="9787910" y="8864202"/>
                  </a:lnTo>
                  <a:lnTo>
                    <a:pt x="9508150" y="8875860"/>
                  </a:lnTo>
                  <a:lnTo>
                    <a:pt x="9205079" y="8887518"/>
                  </a:lnTo>
                  <a:lnTo>
                    <a:pt x="8913662" y="8899176"/>
                  </a:lnTo>
                  <a:lnTo>
                    <a:pt x="8633903" y="8899176"/>
                  </a:lnTo>
                  <a:lnTo>
                    <a:pt x="8354144" y="8887518"/>
                  </a:lnTo>
                  <a:lnTo>
                    <a:pt x="8074385" y="8875859"/>
                  </a:lnTo>
                  <a:lnTo>
                    <a:pt x="7782970" y="8852544"/>
                  </a:lnTo>
                  <a:lnTo>
                    <a:pt x="7514867" y="8829229"/>
                  </a:lnTo>
                  <a:lnTo>
                    <a:pt x="7235108" y="8782597"/>
                  </a:lnTo>
                  <a:lnTo>
                    <a:pt x="6967005" y="8735965"/>
                  </a:lnTo>
                  <a:lnTo>
                    <a:pt x="6687246" y="8677677"/>
                  </a:lnTo>
                  <a:lnTo>
                    <a:pt x="6419143" y="8619387"/>
                  </a:lnTo>
                  <a:lnTo>
                    <a:pt x="6151041" y="8549442"/>
                  </a:lnTo>
                  <a:lnTo>
                    <a:pt x="5882938" y="8479493"/>
                  </a:lnTo>
                  <a:lnTo>
                    <a:pt x="5626492" y="8397890"/>
                  </a:lnTo>
                  <a:lnTo>
                    <a:pt x="5358390" y="8304627"/>
                  </a:lnTo>
                  <a:lnTo>
                    <a:pt x="5101944" y="8211363"/>
                  </a:lnTo>
                  <a:lnTo>
                    <a:pt x="4833841" y="8106444"/>
                  </a:lnTo>
                  <a:lnTo>
                    <a:pt x="4577396" y="7989866"/>
                  </a:lnTo>
                  <a:lnTo>
                    <a:pt x="4332606" y="7873288"/>
                  </a:lnTo>
                  <a:lnTo>
                    <a:pt x="4076160" y="7745052"/>
                  </a:lnTo>
                  <a:lnTo>
                    <a:pt x="3819714" y="7616815"/>
                  </a:lnTo>
                  <a:lnTo>
                    <a:pt x="3574925" y="7476922"/>
                  </a:lnTo>
                  <a:lnTo>
                    <a:pt x="3330136" y="7325370"/>
                  </a:lnTo>
                  <a:lnTo>
                    <a:pt x="3097003" y="7173818"/>
                  </a:lnTo>
                  <a:lnTo>
                    <a:pt x="2840557" y="6998952"/>
                  </a:lnTo>
                  <a:lnTo>
                    <a:pt x="2607424" y="6835741"/>
                  </a:lnTo>
                  <a:lnTo>
                    <a:pt x="2362634" y="6649216"/>
                  </a:lnTo>
                  <a:lnTo>
                    <a:pt x="2129503" y="6474349"/>
                  </a:lnTo>
                  <a:lnTo>
                    <a:pt x="1756490" y="6136272"/>
                  </a:lnTo>
                  <a:lnTo>
                    <a:pt x="1371821" y="5798195"/>
                  </a:lnTo>
                  <a:lnTo>
                    <a:pt x="1022122" y="5436802"/>
                  </a:lnTo>
                  <a:lnTo>
                    <a:pt x="695736" y="5075410"/>
                  </a:lnTo>
                  <a:lnTo>
                    <a:pt x="381007" y="4702360"/>
                  </a:lnTo>
                  <a:lnTo>
                    <a:pt x="101248" y="4305994"/>
                  </a:lnTo>
                  <a:lnTo>
                    <a:pt x="0" y="4156308"/>
                  </a:lnTo>
                  <a:lnTo>
                    <a:pt x="15272133" y="0"/>
                  </a:lnTo>
                  <a:lnTo>
                    <a:pt x="16773604" y="5517077"/>
                  </a:lnTo>
                  <a:lnTo>
                    <a:pt x="16723606" y="5576696"/>
                  </a:lnTo>
                  <a:lnTo>
                    <a:pt x="16385564" y="5914773"/>
                  </a:lnTo>
                  <a:lnTo>
                    <a:pt x="16047522" y="6217876"/>
                  </a:lnTo>
                  <a:lnTo>
                    <a:pt x="15674510" y="6532638"/>
                  </a:lnTo>
                  <a:lnTo>
                    <a:pt x="15324810" y="6812426"/>
                  </a:lnTo>
                  <a:lnTo>
                    <a:pt x="14951798" y="7080556"/>
                  </a:lnTo>
                  <a:lnTo>
                    <a:pt x="14567129" y="7325369"/>
                  </a:lnTo>
                  <a:lnTo>
                    <a:pt x="14170804" y="7558525"/>
                  </a:lnTo>
                  <a:lnTo>
                    <a:pt x="13762822" y="7768367"/>
                  </a:lnTo>
                  <a:lnTo>
                    <a:pt x="13354840" y="7966550"/>
                  </a:lnTo>
                  <a:lnTo>
                    <a:pt x="12923544" y="8153075"/>
                  </a:lnTo>
                  <a:lnTo>
                    <a:pt x="12503905" y="8304628"/>
                  </a:lnTo>
                  <a:close/>
                </a:path>
              </a:pathLst>
            </a:custGeom>
            <a:gradFill>
              <a:gsLst>
                <a:gs pos="6000">
                  <a:srgbClr val="FF00CC"/>
                </a:gs>
                <a:gs pos="100000">
                  <a:srgbClr val="FF00CC">
                    <a:alpha val="0"/>
                  </a:srgbClr>
                </a:gs>
              </a:gsLst>
              <a:lin ang="7800000" scaled="0"/>
            </a:gradFill>
            <a:ln w="76200" cap="flat" cmpd="sng" algn="ctr">
              <a:noFill/>
              <a:prstDash val="solid"/>
              <a:miter lim="800000"/>
            </a:ln>
            <a:effectLst>
              <a:softEdge rad="0"/>
            </a:effectLst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2804744A-12C3-D71F-3C9C-81DDDFBB02FC}"/>
              </a:ext>
            </a:extLst>
          </p:cNvPr>
          <p:cNvSpPr/>
          <p:nvPr/>
        </p:nvSpPr>
        <p:spPr>
          <a:xfrm>
            <a:off x="0" y="0"/>
            <a:ext cx="4991100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Gradient Shapes for Background</a:t>
            </a:r>
            <a:endParaRPr lang="en-C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37771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DEED997-8284-8F2F-FCB9-2BCB330B9F97}"/>
              </a:ext>
            </a:extLst>
          </p:cNvPr>
          <p:cNvGrpSpPr/>
          <p:nvPr/>
        </p:nvGrpSpPr>
        <p:grpSpPr>
          <a:xfrm>
            <a:off x="1981200" y="1186359"/>
            <a:ext cx="8229600" cy="4634180"/>
            <a:chOff x="457200" y="1601114"/>
            <a:chExt cx="8229600" cy="4634180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71DA2D13-F5D0-0DD6-3139-0B3AC7B14A3A}"/>
                </a:ext>
              </a:extLst>
            </p:cNvPr>
            <p:cNvCxnSpPr/>
            <p:nvPr/>
          </p:nvCxnSpPr>
          <p:spPr>
            <a:xfrm>
              <a:off x="2040492" y="2807512"/>
              <a:ext cx="0" cy="1014984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674DB0CC-463A-9ED2-0B4F-2898368BEE3F}"/>
                </a:ext>
              </a:extLst>
            </p:cNvPr>
            <p:cNvCxnSpPr/>
            <p:nvPr/>
          </p:nvCxnSpPr>
          <p:spPr>
            <a:xfrm>
              <a:off x="3724255" y="2807512"/>
              <a:ext cx="0" cy="1014984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F03F4456-91AD-1280-B00C-9A685E166CD6}"/>
                </a:ext>
              </a:extLst>
            </p:cNvPr>
            <p:cNvCxnSpPr/>
            <p:nvPr/>
          </p:nvCxnSpPr>
          <p:spPr>
            <a:xfrm>
              <a:off x="5408018" y="2807512"/>
              <a:ext cx="0" cy="1014984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0FE724F-3B08-15C6-854B-A5AACC41891C}"/>
                </a:ext>
              </a:extLst>
            </p:cNvPr>
            <p:cNvCxnSpPr/>
            <p:nvPr/>
          </p:nvCxnSpPr>
          <p:spPr>
            <a:xfrm>
              <a:off x="7091782" y="2807512"/>
              <a:ext cx="0" cy="1014984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0DC50120-53F4-E8BF-AEC3-2BA3C6376CBD}"/>
                </a:ext>
              </a:extLst>
            </p:cNvPr>
            <p:cNvCxnSpPr/>
            <p:nvPr/>
          </p:nvCxnSpPr>
          <p:spPr>
            <a:xfrm>
              <a:off x="2040492" y="1601114"/>
              <a:ext cx="0" cy="1014984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015F7A82-7228-B6EC-A592-16587074C7C4}"/>
                </a:ext>
              </a:extLst>
            </p:cNvPr>
            <p:cNvCxnSpPr/>
            <p:nvPr/>
          </p:nvCxnSpPr>
          <p:spPr>
            <a:xfrm>
              <a:off x="3724255" y="1601114"/>
              <a:ext cx="0" cy="1014984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609C01B-7431-B0C9-6C2D-FE86D117FE73}"/>
                </a:ext>
              </a:extLst>
            </p:cNvPr>
            <p:cNvCxnSpPr/>
            <p:nvPr/>
          </p:nvCxnSpPr>
          <p:spPr>
            <a:xfrm>
              <a:off x="5408018" y="1601114"/>
              <a:ext cx="0" cy="1014984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CC21A478-8BBB-1388-FB83-BEBE8415DED1}"/>
                </a:ext>
              </a:extLst>
            </p:cNvPr>
            <p:cNvCxnSpPr/>
            <p:nvPr/>
          </p:nvCxnSpPr>
          <p:spPr>
            <a:xfrm>
              <a:off x="7091782" y="1601114"/>
              <a:ext cx="0" cy="1014984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80DE262-D142-F67E-06DF-0AF3D71394AD}"/>
                </a:ext>
              </a:extLst>
            </p:cNvPr>
            <p:cNvCxnSpPr/>
            <p:nvPr/>
          </p:nvCxnSpPr>
          <p:spPr>
            <a:xfrm>
              <a:off x="457200" y="2711805"/>
              <a:ext cx="1469269" cy="0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9D4223A-23D9-D44E-BCBD-8AC3DA704D89}"/>
                </a:ext>
              </a:extLst>
            </p:cNvPr>
            <p:cNvCxnSpPr/>
            <p:nvPr/>
          </p:nvCxnSpPr>
          <p:spPr>
            <a:xfrm>
              <a:off x="2169983" y="2711805"/>
              <a:ext cx="1469269" cy="0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E8D4C6C4-3835-A40D-43D7-773AF0F3A6F1}"/>
                </a:ext>
              </a:extLst>
            </p:cNvPr>
            <p:cNvCxnSpPr/>
            <p:nvPr/>
          </p:nvCxnSpPr>
          <p:spPr>
            <a:xfrm>
              <a:off x="3854839" y="2711805"/>
              <a:ext cx="1469269" cy="0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25D9A13-A0FA-40CC-10F5-2323AC8E65B1}"/>
                </a:ext>
              </a:extLst>
            </p:cNvPr>
            <p:cNvCxnSpPr/>
            <p:nvPr/>
          </p:nvCxnSpPr>
          <p:spPr>
            <a:xfrm>
              <a:off x="5539695" y="2711805"/>
              <a:ext cx="1469269" cy="0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19CB09-C1A7-99EB-8545-6186AB2B80C4}"/>
                </a:ext>
              </a:extLst>
            </p:cNvPr>
            <p:cNvCxnSpPr/>
            <p:nvPr/>
          </p:nvCxnSpPr>
          <p:spPr>
            <a:xfrm>
              <a:off x="7217531" y="2711805"/>
              <a:ext cx="1469269" cy="0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FB06166B-A9A5-E4CD-061D-5CB74938A18B}"/>
                </a:ext>
              </a:extLst>
            </p:cNvPr>
            <p:cNvCxnSpPr/>
            <p:nvPr/>
          </p:nvCxnSpPr>
          <p:spPr>
            <a:xfrm>
              <a:off x="2040492" y="4013910"/>
              <a:ext cx="0" cy="1014984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D68A576C-2180-2587-809C-ED46CCB1EDBA}"/>
                </a:ext>
              </a:extLst>
            </p:cNvPr>
            <p:cNvCxnSpPr/>
            <p:nvPr/>
          </p:nvCxnSpPr>
          <p:spPr>
            <a:xfrm>
              <a:off x="3724255" y="4013910"/>
              <a:ext cx="0" cy="1014984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53836035-22FD-7375-8A52-0C33D378A1FB}"/>
                </a:ext>
              </a:extLst>
            </p:cNvPr>
            <p:cNvCxnSpPr/>
            <p:nvPr/>
          </p:nvCxnSpPr>
          <p:spPr>
            <a:xfrm>
              <a:off x="5408018" y="4013910"/>
              <a:ext cx="0" cy="1014984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3BB13298-1418-89BA-E8E2-55927DADCB89}"/>
                </a:ext>
              </a:extLst>
            </p:cNvPr>
            <p:cNvCxnSpPr/>
            <p:nvPr/>
          </p:nvCxnSpPr>
          <p:spPr>
            <a:xfrm>
              <a:off x="7091782" y="4013910"/>
              <a:ext cx="0" cy="1014984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5B9FE47D-F43F-917C-BE98-42265AD7CFAB}"/>
                </a:ext>
              </a:extLst>
            </p:cNvPr>
            <p:cNvCxnSpPr/>
            <p:nvPr/>
          </p:nvCxnSpPr>
          <p:spPr>
            <a:xfrm>
              <a:off x="2040492" y="5220310"/>
              <a:ext cx="0" cy="1014984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47EDA372-1BC4-8376-4277-BAAB66EA3802}"/>
                </a:ext>
              </a:extLst>
            </p:cNvPr>
            <p:cNvCxnSpPr/>
            <p:nvPr/>
          </p:nvCxnSpPr>
          <p:spPr>
            <a:xfrm>
              <a:off x="3724255" y="5220310"/>
              <a:ext cx="0" cy="1014984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5F51BC1D-8421-EC1B-5289-A1999C999A28}"/>
                </a:ext>
              </a:extLst>
            </p:cNvPr>
            <p:cNvCxnSpPr/>
            <p:nvPr/>
          </p:nvCxnSpPr>
          <p:spPr>
            <a:xfrm>
              <a:off x="5408018" y="5220310"/>
              <a:ext cx="0" cy="1014984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643D6B60-A009-0FD1-63CB-8E535287DA26}"/>
                </a:ext>
              </a:extLst>
            </p:cNvPr>
            <p:cNvCxnSpPr/>
            <p:nvPr/>
          </p:nvCxnSpPr>
          <p:spPr>
            <a:xfrm>
              <a:off x="7091782" y="5220310"/>
              <a:ext cx="0" cy="1014984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5B992417-4EEF-31EC-FBE9-569222679587}"/>
                </a:ext>
              </a:extLst>
            </p:cNvPr>
            <p:cNvCxnSpPr/>
            <p:nvPr/>
          </p:nvCxnSpPr>
          <p:spPr>
            <a:xfrm>
              <a:off x="457200" y="3918203"/>
              <a:ext cx="1469269" cy="0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EF6FF4A-13C6-12DC-B4F0-D605B5F9151D}"/>
                </a:ext>
              </a:extLst>
            </p:cNvPr>
            <p:cNvCxnSpPr/>
            <p:nvPr/>
          </p:nvCxnSpPr>
          <p:spPr>
            <a:xfrm>
              <a:off x="2169983" y="3918203"/>
              <a:ext cx="1469269" cy="0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47BC6EB4-4889-3308-98E5-A52C642711FF}"/>
                </a:ext>
              </a:extLst>
            </p:cNvPr>
            <p:cNvCxnSpPr/>
            <p:nvPr/>
          </p:nvCxnSpPr>
          <p:spPr>
            <a:xfrm>
              <a:off x="3854839" y="3918203"/>
              <a:ext cx="1469269" cy="0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103E075-CDA0-07BC-2F8B-5F8D18AFD730}"/>
                </a:ext>
              </a:extLst>
            </p:cNvPr>
            <p:cNvCxnSpPr/>
            <p:nvPr/>
          </p:nvCxnSpPr>
          <p:spPr>
            <a:xfrm>
              <a:off x="5539695" y="3918203"/>
              <a:ext cx="1469269" cy="0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C30E2A07-06A5-6815-7AB0-2DED32362070}"/>
                </a:ext>
              </a:extLst>
            </p:cNvPr>
            <p:cNvCxnSpPr/>
            <p:nvPr/>
          </p:nvCxnSpPr>
          <p:spPr>
            <a:xfrm>
              <a:off x="7217531" y="3918203"/>
              <a:ext cx="1469269" cy="0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218E0CE9-6BAB-AE0C-863A-FFEB4523049F}"/>
                </a:ext>
              </a:extLst>
            </p:cNvPr>
            <p:cNvCxnSpPr/>
            <p:nvPr/>
          </p:nvCxnSpPr>
          <p:spPr>
            <a:xfrm>
              <a:off x="457200" y="5124601"/>
              <a:ext cx="1469269" cy="0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05889E1-04F8-0C6C-9D73-416D890399EC}"/>
                </a:ext>
              </a:extLst>
            </p:cNvPr>
            <p:cNvCxnSpPr/>
            <p:nvPr/>
          </p:nvCxnSpPr>
          <p:spPr>
            <a:xfrm>
              <a:off x="2169983" y="5124601"/>
              <a:ext cx="1469269" cy="0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55FA804C-4F6D-BCEB-DB6B-D5B43E175139}"/>
                </a:ext>
              </a:extLst>
            </p:cNvPr>
            <p:cNvCxnSpPr/>
            <p:nvPr/>
          </p:nvCxnSpPr>
          <p:spPr>
            <a:xfrm>
              <a:off x="3854839" y="5124601"/>
              <a:ext cx="1469269" cy="0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84E5C06F-8B73-35BB-DB0D-A833C3A78C5A}"/>
                </a:ext>
              </a:extLst>
            </p:cNvPr>
            <p:cNvCxnSpPr/>
            <p:nvPr/>
          </p:nvCxnSpPr>
          <p:spPr>
            <a:xfrm>
              <a:off x="5539695" y="5124601"/>
              <a:ext cx="1469269" cy="0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54AD6D6B-AF53-F5AD-061F-C1F88C5C2256}"/>
                </a:ext>
              </a:extLst>
            </p:cNvPr>
            <p:cNvCxnSpPr/>
            <p:nvPr/>
          </p:nvCxnSpPr>
          <p:spPr>
            <a:xfrm>
              <a:off x="7217531" y="5124601"/>
              <a:ext cx="1469269" cy="0"/>
            </a:xfrm>
            <a:prstGeom prst="line">
              <a:avLst/>
            </a:prstGeom>
            <a:ln w="12700" cap="rnd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E251CDBA-249D-EC10-676E-D10375EC6C2D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Native lines Grid – grouped</a:t>
            </a:r>
            <a:endParaRPr lang="en-C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90520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B4EF9B5-A3EE-4E84-8808-17955EED4F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6028590"/>
              </p:ext>
            </p:extLst>
          </p:nvPr>
        </p:nvGraphicFramePr>
        <p:xfrm>
          <a:off x="571500" y="952501"/>
          <a:ext cx="11049000" cy="49653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9800">
                  <a:extLst>
                    <a:ext uri="{9D8B030D-6E8A-4147-A177-3AD203B41FA5}">
                      <a16:colId xmlns:a16="http://schemas.microsoft.com/office/drawing/2014/main" val="883291324"/>
                    </a:ext>
                  </a:extLst>
                </a:gridCol>
                <a:gridCol w="2209800">
                  <a:extLst>
                    <a:ext uri="{9D8B030D-6E8A-4147-A177-3AD203B41FA5}">
                      <a16:colId xmlns:a16="http://schemas.microsoft.com/office/drawing/2014/main" val="1983756049"/>
                    </a:ext>
                  </a:extLst>
                </a:gridCol>
                <a:gridCol w="2209800">
                  <a:extLst>
                    <a:ext uri="{9D8B030D-6E8A-4147-A177-3AD203B41FA5}">
                      <a16:colId xmlns:a16="http://schemas.microsoft.com/office/drawing/2014/main" val="355586360"/>
                    </a:ext>
                  </a:extLst>
                </a:gridCol>
                <a:gridCol w="2209800">
                  <a:extLst>
                    <a:ext uri="{9D8B030D-6E8A-4147-A177-3AD203B41FA5}">
                      <a16:colId xmlns:a16="http://schemas.microsoft.com/office/drawing/2014/main" val="3626199509"/>
                    </a:ext>
                  </a:extLst>
                </a:gridCol>
                <a:gridCol w="2209800">
                  <a:extLst>
                    <a:ext uri="{9D8B030D-6E8A-4147-A177-3AD203B41FA5}">
                      <a16:colId xmlns:a16="http://schemas.microsoft.com/office/drawing/2014/main" val="2161393824"/>
                    </a:ext>
                  </a:extLst>
                </a:gridCol>
              </a:tblGrid>
              <a:tr h="64962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arious Table</a:t>
                      </a:r>
                    </a:p>
                  </a:txBody>
                  <a:tcPr marL="101873" marR="101873" marT="53844" marB="53844" anchor="ctr"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arious Table</a:t>
                      </a:r>
                    </a:p>
                  </a:txBody>
                  <a:tcPr marL="101873" marR="101873" marT="53844" marB="53844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arious Table</a:t>
                      </a:r>
                    </a:p>
                  </a:txBody>
                  <a:tcPr marL="101873" marR="101873" marT="53844" marB="53844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arious Table</a:t>
                      </a:r>
                    </a:p>
                  </a:txBody>
                  <a:tcPr marL="101873" marR="101873" marT="53844" marB="53844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arious Table</a:t>
                      </a:r>
                    </a:p>
                  </a:txBody>
                  <a:tcPr marL="101873" marR="101873" marT="53844" marB="53844"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180050"/>
                  </a:ext>
                </a:extLst>
              </a:tr>
              <a:tr h="6165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1004110"/>
                  </a:ext>
                </a:extLst>
              </a:tr>
              <a:tr h="6165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755630"/>
                  </a:ext>
                </a:extLst>
              </a:tr>
              <a:tr h="6165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7123879"/>
                  </a:ext>
                </a:extLst>
              </a:tr>
              <a:tr h="6165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7126002"/>
                  </a:ext>
                </a:extLst>
              </a:tr>
              <a:tr h="6165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5466982"/>
                  </a:ext>
                </a:extLst>
              </a:tr>
              <a:tr h="6165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lumMod val="95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8086554"/>
                  </a:ext>
                </a:extLst>
              </a:tr>
              <a:tr h="6165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dolor</a:t>
                      </a:r>
                      <a:endPara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65000"/>
                            <a:lumOff val="3500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65000"/>
                              <a:lumOff val="3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 ipsum </a:t>
                      </a:r>
                      <a:endParaRPr lang="en-US" sz="13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1873" marR="101873" marT="53844" marB="53844" anchor="ctr">
                    <a:solidFill>
                      <a:schemeClr val="bg1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6589567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C5E7CD24-19AF-5ED6-FCDF-92DF0308D8E2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tandard Table</a:t>
            </a:r>
          </a:p>
        </p:txBody>
      </p:sp>
    </p:spTree>
    <p:extLst>
      <p:ext uri="{BB962C8B-B14F-4D97-AF65-F5344CB8AC3E}">
        <p14:creationId xmlns:p14="http://schemas.microsoft.com/office/powerpoint/2010/main" val="39988684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367B535-C942-767B-349B-78B9E58427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8951931"/>
              </p:ext>
            </p:extLst>
          </p:nvPr>
        </p:nvGraphicFramePr>
        <p:xfrm>
          <a:off x="1127125" y="1274396"/>
          <a:ext cx="9937752" cy="27319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65767">
                  <a:extLst>
                    <a:ext uri="{9D8B030D-6E8A-4147-A177-3AD203B41FA5}">
                      <a16:colId xmlns:a16="http://schemas.microsoft.com/office/drawing/2014/main" val="883291324"/>
                    </a:ext>
                  </a:extLst>
                </a:gridCol>
                <a:gridCol w="1494397">
                  <a:extLst>
                    <a:ext uri="{9D8B030D-6E8A-4147-A177-3AD203B41FA5}">
                      <a16:colId xmlns:a16="http://schemas.microsoft.com/office/drawing/2014/main" val="1983756049"/>
                    </a:ext>
                  </a:extLst>
                </a:gridCol>
                <a:gridCol w="1494397">
                  <a:extLst>
                    <a:ext uri="{9D8B030D-6E8A-4147-A177-3AD203B41FA5}">
                      <a16:colId xmlns:a16="http://schemas.microsoft.com/office/drawing/2014/main" val="355586360"/>
                    </a:ext>
                  </a:extLst>
                </a:gridCol>
                <a:gridCol w="1494397">
                  <a:extLst>
                    <a:ext uri="{9D8B030D-6E8A-4147-A177-3AD203B41FA5}">
                      <a16:colId xmlns:a16="http://schemas.microsoft.com/office/drawing/2014/main" val="3626199509"/>
                    </a:ext>
                  </a:extLst>
                </a:gridCol>
                <a:gridCol w="1494397">
                  <a:extLst>
                    <a:ext uri="{9D8B030D-6E8A-4147-A177-3AD203B41FA5}">
                      <a16:colId xmlns:a16="http://schemas.microsoft.com/office/drawing/2014/main" val="2161393824"/>
                    </a:ext>
                  </a:extLst>
                </a:gridCol>
                <a:gridCol w="1494397">
                  <a:extLst>
                    <a:ext uri="{9D8B030D-6E8A-4147-A177-3AD203B41FA5}">
                      <a16:colId xmlns:a16="http://schemas.microsoft.com/office/drawing/2014/main" val="4287600261"/>
                    </a:ext>
                  </a:extLst>
                </a:gridCol>
              </a:tblGrid>
              <a:tr h="639620"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latin typeface="+mn-lt"/>
                          <a:ea typeface="+mn-ea"/>
                          <a:cs typeface="+mn-cs"/>
                        </a:rPr>
                        <a:t>Item List 2023</a:t>
                      </a:r>
                    </a:p>
                  </a:txBody>
                  <a:tcPr marL="143707" marR="143707" marT="71854" marB="71854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latin typeface="+mn-lt"/>
                          <a:ea typeface="+mn-ea"/>
                          <a:cs typeface="+mn-cs"/>
                        </a:rPr>
                        <a:t>August</a:t>
                      </a:r>
                    </a:p>
                  </a:txBody>
                  <a:tcPr marL="143707" marR="143707" marT="71854" marB="71854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latin typeface="+mn-lt"/>
                          <a:ea typeface="+mn-ea"/>
                          <a:cs typeface="+mn-cs"/>
                        </a:rPr>
                        <a:t>September</a:t>
                      </a:r>
                    </a:p>
                  </a:txBody>
                  <a:tcPr marL="143707" marR="143707" marT="71854" marB="71854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latin typeface="+mn-lt"/>
                          <a:ea typeface="+mn-ea"/>
                          <a:cs typeface="+mn-cs"/>
                        </a:rPr>
                        <a:t>October</a:t>
                      </a:r>
                    </a:p>
                  </a:txBody>
                  <a:tcPr marL="143707" marR="143707" marT="71854" marB="71854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latin typeface="+mn-lt"/>
                          <a:ea typeface="+mn-ea"/>
                          <a:cs typeface="+mn-cs"/>
                        </a:rPr>
                        <a:t>November</a:t>
                      </a:r>
                    </a:p>
                  </a:txBody>
                  <a:tcPr marL="143707" marR="143707" marT="71854" marB="71854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latin typeface="+mn-lt"/>
                          <a:ea typeface="+mn-ea"/>
                          <a:cs typeface="+mn-cs"/>
                        </a:rPr>
                        <a:t>December</a:t>
                      </a:r>
                    </a:p>
                  </a:txBody>
                  <a:tcPr marL="143707" marR="143707" marT="71854" marB="71854" anchor="ctr"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180050"/>
                  </a:ext>
                </a:extLst>
              </a:tr>
              <a:tr h="516310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nsert Text Here</a:t>
                      </a:r>
                    </a:p>
                  </a:txBody>
                  <a:tcPr marL="143707" marR="143707" marT="71854" marB="71854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one</a:t>
                      </a:r>
                    </a:p>
                  </a:txBody>
                  <a:tcPr marL="143707" marR="143707" marT="71854" marB="71854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707" marR="143707" marT="71854" marB="7185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pproved </a:t>
                      </a:r>
                      <a:endParaRPr lang="en-US" sz="1100" b="0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707" marR="143707" marT="71854" marB="71854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707" marR="143707" marT="71854" marB="7185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evision</a:t>
                      </a:r>
                      <a:endParaRPr lang="en-US" sz="1100" b="0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707" marR="143707" marT="71854" marB="71854" anchor="ctr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1004110"/>
                  </a:ext>
                </a:extLst>
              </a:tr>
              <a:tr h="5163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nsert Text Here</a:t>
                      </a:r>
                    </a:p>
                  </a:txBody>
                  <a:tcPr marL="143707" marR="143707" marT="71854" marB="7185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707" marR="143707" marT="71854" marB="7185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ubmitted</a:t>
                      </a:r>
                    </a:p>
                  </a:txBody>
                  <a:tcPr marL="143707" marR="143707" marT="71854" marB="71854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707" marR="143707" marT="71854" marB="7185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pproved</a:t>
                      </a:r>
                    </a:p>
                  </a:txBody>
                  <a:tcPr marL="143707" marR="143707" marT="71854" marB="71854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707" marR="143707" marT="71854" marB="7185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755630"/>
                  </a:ext>
                </a:extLst>
              </a:tr>
              <a:tr h="5434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nsert Text Here</a:t>
                      </a:r>
                    </a:p>
                  </a:txBody>
                  <a:tcPr marL="143707" marR="143707" marT="71854" marB="71854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pproved</a:t>
                      </a:r>
                      <a:endParaRPr lang="en-US" sz="1100" b="0" kern="1200" baseline="300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707" marR="143707" marT="71854" marB="71854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707" marR="143707" marT="71854" marB="7185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evision</a:t>
                      </a:r>
                      <a:endParaRPr lang="en-US" sz="1100" b="0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707" marR="143707" marT="71854" marB="71854"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707" marR="143707" marT="71854" marB="7185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one</a:t>
                      </a:r>
                      <a:endParaRPr lang="en-US" sz="1100" b="0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707" marR="143707" marT="71854" marB="71854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7123879"/>
                  </a:ext>
                </a:extLst>
              </a:tr>
              <a:tr h="5163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nsert Text Here</a:t>
                      </a:r>
                    </a:p>
                  </a:txBody>
                  <a:tcPr marL="143707" marR="143707" marT="71854" marB="7185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707" marR="143707" marT="71854" marB="7185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one</a:t>
                      </a:r>
                      <a:endParaRPr lang="en-US" sz="1100" b="0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707" marR="143707" marT="71854" marB="71854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707" marR="143707" marT="71854" marB="7185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ubmitted</a:t>
                      </a:r>
                    </a:p>
                  </a:txBody>
                  <a:tcPr marL="143707" marR="143707" marT="71854" marB="71854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3707" marR="143707" marT="71854" marB="71854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7126002"/>
                  </a:ext>
                </a:extLst>
              </a:tr>
            </a:tbl>
          </a:graphicData>
        </a:graphic>
      </p:graphicFrame>
      <p:grpSp>
        <p:nvGrpSpPr>
          <p:cNvPr id="31" name="Group 30">
            <a:extLst>
              <a:ext uri="{FF2B5EF4-FFF2-40B4-BE49-F238E27FC236}">
                <a16:creationId xmlns:a16="http://schemas.microsoft.com/office/drawing/2014/main" id="{E4C49861-6099-52F5-FBF3-B83AACE8DC71}"/>
              </a:ext>
            </a:extLst>
          </p:cNvPr>
          <p:cNvGrpSpPr/>
          <p:nvPr/>
        </p:nvGrpSpPr>
        <p:grpSpPr>
          <a:xfrm>
            <a:off x="1615180" y="4877785"/>
            <a:ext cx="3718822" cy="836434"/>
            <a:chOff x="7156846" y="3298279"/>
            <a:chExt cx="3718822" cy="836434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975DEEC3-B18E-54D1-F694-D679C654B0D3}"/>
                </a:ext>
              </a:extLst>
            </p:cNvPr>
            <p:cNvGrpSpPr/>
            <p:nvPr/>
          </p:nvGrpSpPr>
          <p:grpSpPr>
            <a:xfrm>
              <a:off x="7929721" y="3298279"/>
              <a:ext cx="2945947" cy="836434"/>
              <a:chOff x="6671505" y="2714239"/>
              <a:chExt cx="3293357" cy="836434"/>
            </a:xfrm>
          </p:grpSpPr>
          <p:sp>
            <p:nvSpPr>
              <p:cNvPr id="18" name="Title 1">
                <a:extLst>
                  <a:ext uri="{FF2B5EF4-FFF2-40B4-BE49-F238E27FC236}">
                    <a16:creationId xmlns:a16="http://schemas.microsoft.com/office/drawing/2014/main" id="{536CBB89-4910-E438-ED9A-C31E7E327E3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671505" y="2714239"/>
                <a:ext cx="2665008" cy="304974"/>
              </a:xfrm>
              <a:prstGeom prst="rect">
                <a:avLst/>
              </a:prstGeom>
            </p:spPr>
            <p:txBody>
              <a:bodyPr wrap="square" anchor="ctr" anchorCtr="0">
                <a:noAutofit/>
              </a:bodyPr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4400" b="0" i="0" kern="120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j-cs"/>
                  </a:defRPr>
                </a:lvl1pPr>
              </a:lstStyle>
              <a:p>
                <a:r>
                  <a:rPr lang="en-GB" sz="1400" b="1" dirty="0">
                    <a:solidFill>
                      <a:schemeClr val="accent2"/>
                    </a:solidFill>
                    <a:latin typeface="+mj-lt"/>
                  </a:rPr>
                  <a:t>Project Description</a:t>
                </a:r>
                <a:endParaRPr lang="en-US" sz="1400" b="1" baseline="2000" dirty="0">
                  <a:solidFill>
                    <a:schemeClr val="accent2"/>
                  </a:solidFill>
                  <a:latin typeface="+mj-lt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F9289671-E86B-25D9-8460-0003F39580D3}"/>
                  </a:ext>
                </a:extLst>
              </p:cNvPr>
              <p:cNvSpPr txBox="1"/>
              <p:nvPr/>
            </p:nvSpPr>
            <p:spPr>
              <a:xfrm>
                <a:off x="6671506" y="2999753"/>
                <a:ext cx="3293356" cy="5509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GB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Lorem ipsum </a:t>
                </a:r>
                <a:r>
                  <a:rPr lang="en-GB" sz="12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dolor</a:t>
                </a:r>
                <a:r>
                  <a:rPr lang="en-GB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sit </a:t>
                </a:r>
                <a:r>
                  <a:rPr lang="en-GB" sz="12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amet</a:t>
                </a:r>
                <a:r>
                  <a:rPr lang="en-GB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, </a:t>
                </a:r>
                <a:r>
                  <a:rPr lang="en-GB" sz="12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consectetur</a:t>
                </a:r>
                <a:r>
                  <a:rPr lang="en-GB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</a:t>
                </a:r>
                <a:r>
                  <a:rPr lang="en-GB" sz="12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adipiscing</a:t>
                </a:r>
                <a:r>
                  <a:rPr lang="en-GB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</a:t>
                </a:r>
                <a:r>
                  <a:rPr lang="en-GB" sz="12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elit</a:t>
                </a:r>
                <a:r>
                  <a:rPr lang="en-GB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. Integer vitae </a:t>
                </a:r>
                <a:r>
                  <a:rPr lang="en-GB" sz="12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justo</a:t>
                </a:r>
                <a:r>
                  <a:rPr lang="en-GB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 </a:t>
                </a: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138AAF25-7FD1-DC48-E8BB-8FF4D1EDDF2F}"/>
                </a:ext>
              </a:extLst>
            </p:cNvPr>
            <p:cNvGrpSpPr/>
            <p:nvPr/>
          </p:nvGrpSpPr>
          <p:grpSpPr>
            <a:xfrm>
              <a:off x="7156846" y="3429000"/>
              <a:ext cx="569235" cy="569235"/>
              <a:chOff x="9765917" y="1118659"/>
              <a:chExt cx="569235" cy="569235"/>
            </a:xfrm>
          </p:grpSpPr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1B186A59-193B-2F26-26FC-8AF7AC8D3144}"/>
                  </a:ext>
                </a:extLst>
              </p:cNvPr>
              <p:cNvSpPr/>
              <p:nvPr/>
            </p:nvSpPr>
            <p:spPr>
              <a:xfrm>
                <a:off x="9765917" y="1118659"/>
                <a:ext cx="569235" cy="569235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342900" dist="177800" dir="6600000" algn="tr" rotWithShape="0">
                  <a:prstClr val="black">
                    <a:alpha val="9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7" name="Freeform 21">
                <a:extLst>
                  <a:ext uri="{FF2B5EF4-FFF2-40B4-BE49-F238E27FC236}">
                    <a16:creationId xmlns:a16="http://schemas.microsoft.com/office/drawing/2014/main" id="{A1360310-B006-5E8D-EC87-8B65EC1DA0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924534" y="1287180"/>
                <a:ext cx="252000" cy="216000"/>
              </a:xfrm>
              <a:custGeom>
                <a:avLst/>
                <a:gdLst>
                  <a:gd name="T0" fmla="*/ 9008 w 16128"/>
                  <a:gd name="T1" fmla="*/ 9118 h 13670"/>
                  <a:gd name="T2" fmla="*/ 11668 w 16128"/>
                  <a:gd name="T3" fmla="*/ 8439 h 13670"/>
                  <a:gd name="T4" fmla="*/ 14502 w 16128"/>
                  <a:gd name="T5" fmla="*/ 7645 h 13670"/>
                  <a:gd name="T6" fmla="*/ 16083 w 16128"/>
                  <a:gd name="T7" fmla="*/ 7107 h 13670"/>
                  <a:gd name="T8" fmla="*/ 15867 w 16128"/>
                  <a:gd name="T9" fmla="*/ 6545 h 13670"/>
                  <a:gd name="T10" fmla="*/ 14995 w 16128"/>
                  <a:gd name="T11" fmla="*/ 5410 h 13670"/>
                  <a:gd name="T12" fmla="*/ 13743 w 16128"/>
                  <a:gd name="T13" fmla="*/ 3931 h 13670"/>
                  <a:gd name="T14" fmla="*/ 6671 w 16128"/>
                  <a:gd name="T15" fmla="*/ 6187 h 13670"/>
                  <a:gd name="T16" fmla="*/ 7399 w 16128"/>
                  <a:gd name="T17" fmla="*/ 8114 h 13670"/>
                  <a:gd name="T18" fmla="*/ 7834 w 16128"/>
                  <a:gd name="T19" fmla="*/ 9142 h 13670"/>
                  <a:gd name="T20" fmla="*/ 6171 w 16128"/>
                  <a:gd name="T21" fmla="*/ 7159 h 13670"/>
                  <a:gd name="T22" fmla="*/ 5413 w 16128"/>
                  <a:gd name="T23" fmla="*/ 8193 h 13670"/>
                  <a:gd name="T24" fmla="*/ 4789 w 16128"/>
                  <a:gd name="T25" fmla="*/ 8949 h 13670"/>
                  <a:gd name="T26" fmla="*/ 4394 w 16128"/>
                  <a:gd name="T27" fmla="*/ 9233 h 13670"/>
                  <a:gd name="T28" fmla="*/ 3806 w 16128"/>
                  <a:gd name="T29" fmla="*/ 8807 h 13670"/>
                  <a:gd name="T30" fmla="*/ 2946 w 16128"/>
                  <a:gd name="T31" fmla="*/ 7995 h 13670"/>
                  <a:gd name="T32" fmla="*/ 1946 w 16128"/>
                  <a:gd name="T33" fmla="*/ 6977 h 13670"/>
                  <a:gd name="T34" fmla="*/ 1903 w 16128"/>
                  <a:gd name="T35" fmla="*/ 7958 h 13670"/>
                  <a:gd name="T36" fmla="*/ 1902 w 16128"/>
                  <a:gd name="T37" fmla="*/ 9349 h 13670"/>
                  <a:gd name="T38" fmla="*/ 2036 w 16128"/>
                  <a:gd name="T39" fmla="*/ 9736 h 13670"/>
                  <a:gd name="T40" fmla="*/ 3069 w 16128"/>
                  <a:gd name="T41" fmla="*/ 10776 h 13670"/>
                  <a:gd name="T42" fmla="*/ 4618 w 16128"/>
                  <a:gd name="T43" fmla="*/ 12220 h 13670"/>
                  <a:gd name="T44" fmla="*/ 5996 w 16128"/>
                  <a:gd name="T45" fmla="*/ 13385 h 13670"/>
                  <a:gd name="T46" fmla="*/ 6767 w 16128"/>
                  <a:gd name="T47" fmla="*/ 13636 h 13670"/>
                  <a:gd name="T48" fmla="*/ 8689 w 16128"/>
                  <a:gd name="T49" fmla="*/ 13137 h 13670"/>
                  <a:gd name="T50" fmla="*/ 11288 w 16128"/>
                  <a:gd name="T51" fmla="*/ 12351 h 13670"/>
                  <a:gd name="T52" fmla="*/ 13358 w 16128"/>
                  <a:gd name="T53" fmla="*/ 11677 h 13670"/>
                  <a:gd name="T54" fmla="*/ 13885 w 16128"/>
                  <a:gd name="T55" fmla="*/ 11379 h 13670"/>
                  <a:gd name="T56" fmla="*/ 14007 w 16128"/>
                  <a:gd name="T57" fmla="*/ 10539 h 13670"/>
                  <a:gd name="T58" fmla="*/ 14216 w 16128"/>
                  <a:gd name="T59" fmla="*/ 8501 h 13670"/>
                  <a:gd name="T60" fmla="*/ 12749 w 16128"/>
                  <a:gd name="T61" fmla="*/ 8644 h 13670"/>
                  <a:gd name="T62" fmla="*/ 8990 w 16128"/>
                  <a:gd name="T63" fmla="*/ 9702 h 13670"/>
                  <a:gd name="T64" fmla="*/ 7661 w 16128"/>
                  <a:gd name="T65" fmla="*/ 10019 h 13670"/>
                  <a:gd name="T66" fmla="*/ 7380 w 16128"/>
                  <a:gd name="T67" fmla="*/ 9609 h 13670"/>
                  <a:gd name="T68" fmla="*/ 6949 w 16128"/>
                  <a:gd name="T69" fmla="*/ 8595 h 13670"/>
                  <a:gd name="T70" fmla="*/ 6330 w 16128"/>
                  <a:gd name="T71" fmla="*/ 6984 h 13670"/>
                  <a:gd name="T72" fmla="*/ 7769 w 16128"/>
                  <a:gd name="T73" fmla="*/ 244 h 13670"/>
                  <a:gd name="T74" fmla="*/ 4580 w 16128"/>
                  <a:gd name="T75" fmla="*/ 1102 h 13670"/>
                  <a:gd name="T76" fmla="*/ 2926 w 16128"/>
                  <a:gd name="T77" fmla="*/ 1610 h 13670"/>
                  <a:gd name="T78" fmla="*/ 2820 w 16128"/>
                  <a:gd name="T79" fmla="*/ 1937 h 13670"/>
                  <a:gd name="T80" fmla="*/ 3833 w 16128"/>
                  <a:gd name="T81" fmla="*/ 2838 h 13670"/>
                  <a:gd name="T82" fmla="*/ 5235 w 16128"/>
                  <a:gd name="T83" fmla="*/ 3977 h 13670"/>
                  <a:gd name="T84" fmla="*/ 6374 w 16128"/>
                  <a:gd name="T85" fmla="*/ 4818 h 13670"/>
                  <a:gd name="T86" fmla="*/ 7007 w 16128"/>
                  <a:gd name="T87" fmla="*/ 4905 h 13670"/>
                  <a:gd name="T88" fmla="*/ 8782 w 16128"/>
                  <a:gd name="T89" fmla="*/ 4451 h 13670"/>
                  <a:gd name="T90" fmla="*/ 11048 w 16128"/>
                  <a:gd name="T91" fmla="*/ 3797 h 13670"/>
                  <a:gd name="T92" fmla="*/ 12729 w 16128"/>
                  <a:gd name="T93" fmla="*/ 3245 h 13670"/>
                  <a:gd name="T94" fmla="*/ 12897 w 16128"/>
                  <a:gd name="T95" fmla="*/ 2914 h 13670"/>
                  <a:gd name="T96" fmla="*/ 12015 w 16128"/>
                  <a:gd name="T97" fmla="*/ 2075 h 13670"/>
                  <a:gd name="T98" fmla="*/ 10264 w 16128"/>
                  <a:gd name="T99" fmla="*/ 587 h 13670"/>
                  <a:gd name="T100" fmla="*/ 100 w 16128"/>
                  <a:gd name="T101" fmla="*/ 4443 h 13670"/>
                  <a:gd name="T102" fmla="*/ 1108 w 16128"/>
                  <a:gd name="T103" fmla="*/ 5506 h 13670"/>
                  <a:gd name="T104" fmla="*/ 2621 w 16128"/>
                  <a:gd name="T105" fmla="*/ 6979 h 13670"/>
                  <a:gd name="T106" fmla="*/ 3911 w 16128"/>
                  <a:gd name="T107" fmla="*/ 8146 h 13670"/>
                  <a:gd name="T108" fmla="*/ 4398 w 16128"/>
                  <a:gd name="T109" fmla="*/ 8331 h 13670"/>
                  <a:gd name="T110" fmla="*/ 4998 w 16128"/>
                  <a:gd name="T111" fmla="*/ 7639 h 13670"/>
                  <a:gd name="T112" fmla="*/ 6013 w 16128"/>
                  <a:gd name="T113" fmla="*/ 6264 h 13670"/>
                  <a:gd name="T114" fmla="*/ 2048 w 16128"/>
                  <a:gd name="T115" fmla="*/ 2138 h 13670"/>
                  <a:gd name="T116" fmla="*/ 871 w 16128"/>
                  <a:gd name="T117" fmla="*/ 3303 h 13670"/>
                  <a:gd name="T118" fmla="*/ 198 w 16128"/>
                  <a:gd name="T119" fmla="*/ 4018 h 13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128" h="13670">
                    <a:moveTo>
                      <a:pt x="7951" y="9328"/>
                    </a:moveTo>
                    <a:lnTo>
                      <a:pt x="7990" y="9330"/>
                    </a:lnTo>
                    <a:lnTo>
                      <a:pt x="8072" y="9320"/>
                    </a:lnTo>
                    <a:lnTo>
                      <a:pt x="8193" y="9299"/>
                    </a:lnTo>
                    <a:lnTo>
                      <a:pt x="8349" y="9268"/>
                    </a:lnTo>
                    <a:lnTo>
                      <a:pt x="8540" y="9227"/>
                    </a:lnTo>
                    <a:lnTo>
                      <a:pt x="8761" y="9176"/>
                    </a:lnTo>
                    <a:lnTo>
                      <a:pt x="9008" y="9118"/>
                    </a:lnTo>
                    <a:lnTo>
                      <a:pt x="9283" y="9053"/>
                    </a:lnTo>
                    <a:lnTo>
                      <a:pt x="9579" y="8979"/>
                    </a:lnTo>
                    <a:lnTo>
                      <a:pt x="9895" y="8900"/>
                    </a:lnTo>
                    <a:lnTo>
                      <a:pt x="10226" y="8816"/>
                    </a:lnTo>
                    <a:lnTo>
                      <a:pt x="10573" y="8727"/>
                    </a:lnTo>
                    <a:lnTo>
                      <a:pt x="10931" y="8633"/>
                    </a:lnTo>
                    <a:lnTo>
                      <a:pt x="11296" y="8538"/>
                    </a:lnTo>
                    <a:lnTo>
                      <a:pt x="11668" y="8439"/>
                    </a:lnTo>
                    <a:lnTo>
                      <a:pt x="12042" y="8338"/>
                    </a:lnTo>
                    <a:lnTo>
                      <a:pt x="12416" y="8236"/>
                    </a:lnTo>
                    <a:lnTo>
                      <a:pt x="12786" y="8134"/>
                    </a:lnTo>
                    <a:lnTo>
                      <a:pt x="13151" y="8033"/>
                    </a:lnTo>
                    <a:lnTo>
                      <a:pt x="13509" y="7932"/>
                    </a:lnTo>
                    <a:lnTo>
                      <a:pt x="13855" y="7833"/>
                    </a:lnTo>
                    <a:lnTo>
                      <a:pt x="14187" y="7737"/>
                    </a:lnTo>
                    <a:lnTo>
                      <a:pt x="14502" y="7645"/>
                    </a:lnTo>
                    <a:lnTo>
                      <a:pt x="14797" y="7555"/>
                    </a:lnTo>
                    <a:lnTo>
                      <a:pt x="15071" y="7471"/>
                    </a:lnTo>
                    <a:lnTo>
                      <a:pt x="15319" y="7393"/>
                    </a:lnTo>
                    <a:lnTo>
                      <a:pt x="15538" y="7320"/>
                    </a:lnTo>
                    <a:lnTo>
                      <a:pt x="15727" y="7255"/>
                    </a:lnTo>
                    <a:lnTo>
                      <a:pt x="15883" y="7197"/>
                    </a:lnTo>
                    <a:lnTo>
                      <a:pt x="16002" y="7147"/>
                    </a:lnTo>
                    <a:lnTo>
                      <a:pt x="16083" y="7107"/>
                    </a:lnTo>
                    <a:lnTo>
                      <a:pt x="16120" y="7076"/>
                    </a:lnTo>
                    <a:lnTo>
                      <a:pt x="16128" y="7042"/>
                    </a:lnTo>
                    <a:lnTo>
                      <a:pt x="16119" y="6993"/>
                    </a:lnTo>
                    <a:lnTo>
                      <a:pt x="16095" y="6928"/>
                    </a:lnTo>
                    <a:lnTo>
                      <a:pt x="16056" y="6851"/>
                    </a:lnTo>
                    <a:lnTo>
                      <a:pt x="16005" y="6760"/>
                    </a:lnTo>
                    <a:lnTo>
                      <a:pt x="15942" y="6658"/>
                    </a:lnTo>
                    <a:lnTo>
                      <a:pt x="15867" y="6545"/>
                    </a:lnTo>
                    <a:lnTo>
                      <a:pt x="15781" y="6424"/>
                    </a:lnTo>
                    <a:lnTo>
                      <a:pt x="15688" y="6294"/>
                    </a:lnTo>
                    <a:lnTo>
                      <a:pt x="15586" y="6157"/>
                    </a:lnTo>
                    <a:lnTo>
                      <a:pt x="15477" y="6015"/>
                    </a:lnTo>
                    <a:lnTo>
                      <a:pt x="15363" y="5868"/>
                    </a:lnTo>
                    <a:lnTo>
                      <a:pt x="15243" y="5718"/>
                    </a:lnTo>
                    <a:lnTo>
                      <a:pt x="15120" y="5564"/>
                    </a:lnTo>
                    <a:lnTo>
                      <a:pt x="14995" y="5410"/>
                    </a:lnTo>
                    <a:lnTo>
                      <a:pt x="14868" y="5254"/>
                    </a:lnTo>
                    <a:lnTo>
                      <a:pt x="14740" y="5100"/>
                    </a:lnTo>
                    <a:lnTo>
                      <a:pt x="14613" y="4948"/>
                    </a:lnTo>
                    <a:lnTo>
                      <a:pt x="14487" y="4799"/>
                    </a:lnTo>
                    <a:lnTo>
                      <a:pt x="14364" y="4653"/>
                    </a:lnTo>
                    <a:lnTo>
                      <a:pt x="14131" y="4380"/>
                    </a:lnTo>
                    <a:lnTo>
                      <a:pt x="13920" y="4136"/>
                    </a:lnTo>
                    <a:lnTo>
                      <a:pt x="13743" y="3931"/>
                    </a:lnTo>
                    <a:lnTo>
                      <a:pt x="13605" y="3773"/>
                    </a:lnTo>
                    <a:lnTo>
                      <a:pt x="13516" y="3672"/>
                    </a:lnTo>
                    <a:lnTo>
                      <a:pt x="13485" y="3637"/>
                    </a:lnTo>
                    <a:lnTo>
                      <a:pt x="6465" y="5620"/>
                    </a:lnTo>
                    <a:lnTo>
                      <a:pt x="6480" y="5661"/>
                    </a:lnTo>
                    <a:lnTo>
                      <a:pt x="6522" y="5776"/>
                    </a:lnTo>
                    <a:lnTo>
                      <a:pt x="6586" y="5955"/>
                    </a:lnTo>
                    <a:lnTo>
                      <a:pt x="6671" y="6187"/>
                    </a:lnTo>
                    <a:lnTo>
                      <a:pt x="6773" y="6462"/>
                    </a:lnTo>
                    <a:lnTo>
                      <a:pt x="6886" y="6769"/>
                    </a:lnTo>
                    <a:lnTo>
                      <a:pt x="7010" y="7099"/>
                    </a:lnTo>
                    <a:lnTo>
                      <a:pt x="7139" y="7440"/>
                    </a:lnTo>
                    <a:lnTo>
                      <a:pt x="7203" y="7611"/>
                    </a:lnTo>
                    <a:lnTo>
                      <a:pt x="7269" y="7782"/>
                    </a:lnTo>
                    <a:lnTo>
                      <a:pt x="7334" y="7950"/>
                    </a:lnTo>
                    <a:lnTo>
                      <a:pt x="7399" y="8114"/>
                    </a:lnTo>
                    <a:lnTo>
                      <a:pt x="7462" y="8275"/>
                    </a:lnTo>
                    <a:lnTo>
                      <a:pt x="7524" y="8428"/>
                    </a:lnTo>
                    <a:lnTo>
                      <a:pt x="7583" y="8573"/>
                    </a:lnTo>
                    <a:lnTo>
                      <a:pt x="7640" y="8710"/>
                    </a:lnTo>
                    <a:lnTo>
                      <a:pt x="7694" y="8837"/>
                    </a:lnTo>
                    <a:lnTo>
                      <a:pt x="7744" y="8952"/>
                    </a:lnTo>
                    <a:lnTo>
                      <a:pt x="7791" y="9055"/>
                    </a:lnTo>
                    <a:lnTo>
                      <a:pt x="7834" y="9142"/>
                    </a:lnTo>
                    <a:lnTo>
                      <a:pt x="7871" y="9215"/>
                    </a:lnTo>
                    <a:lnTo>
                      <a:pt x="7904" y="9271"/>
                    </a:lnTo>
                    <a:lnTo>
                      <a:pt x="7931" y="9308"/>
                    </a:lnTo>
                    <a:lnTo>
                      <a:pt x="7951" y="9328"/>
                    </a:lnTo>
                    <a:close/>
                    <a:moveTo>
                      <a:pt x="6318" y="6950"/>
                    </a:moveTo>
                    <a:lnTo>
                      <a:pt x="6301" y="6976"/>
                    </a:lnTo>
                    <a:lnTo>
                      <a:pt x="6251" y="7047"/>
                    </a:lnTo>
                    <a:lnTo>
                      <a:pt x="6171" y="7159"/>
                    </a:lnTo>
                    <a:lnTo>
                      <a:pt x="6068" y="7304"/>
                    </a:lnTo>
                    <a:lnTo>
                      <a:pt x="5944" y="7476"/>
                    </a:lnTo>
                    <a:lnTo>
                      <a:pt x="5805" y="7668"/>
                    </a:lnTo>
                    <a:lnTo>
                      <a:pt x="5730" y="7770"/>
                    </a:lnTo>
                    <a:lnTo>
                      <a:pt x="5653" y="7873"/>
                    </a:lnTo>
                    <a:lnTo>
                      <a:pt x="5574" y="7979"/>
                    </a:lnTo>
                    <a:lnTo>
                      <a:pt x="5494" y="8086"/>
                    </a:lnTo>
                    <a:lnTo>
                      <a:pt x="5413" y="8193"/>
                    </a:lnTo>
                    <a:lnTo>
                      <a:pt x="5330" y="8299"/>
                    </a:lnTo>
                    <a:lnTo>
                      <a:pt x="5249" y="8403"/>
                    </a:lnTo>
                    <a:lnTo>
                      <a:pt x="5168" y="8504"/>
                    </a:lnTo>
                    <a:lnTo>
                      <a:pt x="5087" y="8603"/>
                    </a:lnTo>
                    <a:lnTo>
                      <a:pt x="5009" y="8698"/>
                    </a:lnTo>
                    <a:lnTo>
                      <a:pt x="4933" y="8787"/>
                    </a:lnTo>
                    <a:lnTo>
                      <a:pt x="4860" y="8871"/>
                    </a:lnTo>
                    <a:lnTo>
                      <a:pt x="4789" y="8949"/>
                    </a:lnTo>
                    <a:lnTo>
                      <a:pt x="4722" y="9018"/>
                    </a:lnTo>
                    <a:lnTo>
                      <a:pt x="4660" y="9080"/>
                    </a:lnTo>
                    <a:lnTo>
                      <a:pt x="4603" y="9133"/>
                    </a:lnTo>
                    <a:lnTo>
                      <a:pt x="4550" y="9175"/>
                    </a:lnTo>
                    <a:lnTo>
                      <a:pt x="4503" y="9208"/>
                    </a:lnTo>
                    <a:lnTo>
                      <a:pt x="4462" y="9229"/>
                    </a:lnTo>
                    <a:lnTo>
                      <a:pt x="4429" y="9237"/>
                    </a:lnTo>
                    <a:lnTo>
                      <a:pt x="4394" y="9233"/>
                    </a:lnTo>
                    <a:lnTo>
                      <a:pt x="4349" y="9216"/>
                    </a:lnTo>
                    <a:lnTo>
                      <a:pt x="4293" y="9187"/>
                    </a:lnTo>
                    <a:lnTo>
                      <a:pt x="4230" y="9146"/>
                    </a:lnTo>
                    <a:lnTo>
                      <a:pt x="4158" y="9095"/>
                    </a:lnTo>
                    <a:lnTo>
                      <a:pt x="4079" y="9035"/>
                    </a:lnTo>
                    <a:lnTo>
                      <a:pt x="3994" y="8967"/>
                    </a:lnTo>
                    <a:lnTo>
                      <a:pt x="3902" y="8890"/>
                    </a:lnTo>
                    <a:lnTo>
                      <a:pt x="3806" y="8807"/>
                    </a:lnTo>
                    <a:lnTo>
                      <a:pt x="3705" y="8718"/>
                    </a:lnTo>
                    <a:lnTo>
                      <a:pt x="3602" y="8623"/>
                    </a:lnTo>
                    <a:lnTo>
                      <a:pt x="3495" y="8524"/>
                    </a:lnTo>
                    <a:lnTo>
                      <a:pt x="3387" y="8422"/>
                    </a:lnTo>
                    <a:lnTo>
                      <a:pt x="3276" y="8317"/>
                    </a:lnTo>
                    <a:lnTo>
                      <a:pt x="3166" y="8210"/>
                    </a:lnTo>
                    <a:lnTo>
                      <a:pt x="3055" y="8103"/>
                    </a:lnTo>
                    <a:lnTo>
                      <a:pt x="2946" y="7995"/>
                    </a:lnTo>
                    <a:lnTo>
                      <a:pt x="2839" y="7889"/>
                    </a:lnTo>
                    <a:lnTo>
                      <a:pt x="2733" y="7783"/>
                    </a:lnTo>
                    <a:lnTo>
                      <a:pt x="2631" y="7680"/>
                    </a:lnTo>
                    <a:lnTo>
                      <a:pt x="2439" y="7485"/>
                    </a:lnTo>
                    <a:lnTo>
                      <a:pt x="2269" y="7311"/>
                    </a:lnTo>
                    <a:lnTo>
                      <a:pt x="2126" y="7163"/>
                    </a:lnTo>
                    <a:lnTo>
                      <a:pt x="2017" y="7049"/>
                    </a:lnTo>
                    <a:lnTo>
                      <a:pt x="1946" y="6977"/>
                    </a:lnTo>
                    <a:lnTo>
                      <a:pt x="1922" y="6950"/>
                    </a:lnTo>
                    <a:lnTo>
                      <a:pt x="1921" y="6978"/>
                    </a:lnTo>
                    <a:lnTo>
                      <a:pt x="1920" y="7055"/>
                    </a:lnTo>
                    <a:lnTo>
                      <a:pt x="1917" y="7176"/>
                    </a:lnTo>
                    <a:lnTo>
                      <a:pt x="1914" y="7334"/>
                    </a:lnTo>
                    <a:lnTo>
                      <a:pt x="1910" y="7522"/>
                    </a:lnTo>
                    <a:lnTo>
                      <a:pt x="1906" y="7732"/>
                    </a:lnTo>
                    <a:lnTo>
                      <a:pt x="1903" y="7958"/>
                    </a:lnTo>
                    <a:lnTo>
                      <a:pt x="1899" y="8194"/>
                    </a:lnTo>
                    <a:lnTo>
                      <a:pt x="1897" y="8432"/>
                    </a:lnTo>
                    <a:lnTo>
                      <a:pt x="1895" y="8666"/>
                    </a:lnTo>
                    <a:lnTo>
                      <a:pt x="1895" y="8888"/>
                    </a:lnTo>
                    <a:lnTo>
                      <a:pt x="1896" y="9092"/>
                    </a:lnTo>
                    <a:lnTo>
                      <a:pt x="1898" y="9186"/>
                    </a:lnTo>
                    <a:lnTo>
                      <a:pt x="1899" y="9271"/>
                    </a:lnTo>
                    <a:lnTo>
                      <a:pt x="1902" y="9349"/>
                    </a:lnTo>
                    <a:lnTo>
                      <a:pt x="1905" y="9418"/>
                    </a:lnTo>
                    <a:lnTo>
                      <a:pt x="1908" y="9478"/>
                    </a:lnTo>
                    <a:lnTo>
                      <a:pt x="1912" y="9526"/>
                    </a:lnTo>
                    <a:lnTo>
                      <a:pt x="1917" y="9564"/>
                    </a:lnTo>
                    <a:lnTo>
                      <a:pt x="1922" y="9590"/>
                    </a:lnTo>
                    <a:lnTo>
                      <a:pt x="1939" y="9619"/>
                    </a:lnTo>
                    <a:lnTo>
                      <a:pt x="1978" y="9668"/>
                    </a:lnTo>
                    <a:lnTo>
                      <a:pt x="2036" y="9736"/>
                    </a:lnTo>
                    <a:lnTo>
                      <a:pt x="2114" y="9820"/>
                    </a:lnTo>
                    <a:lnTo>
                      <a:pt x="2209" y="9920"/>
                    </a:lnTo>
                    <a:lnTo>
                      <a:pt x="2319" y="10035"/>
                    </a:lnTo>
                    <a:lnTo>
                      <a:pt x="2445" y="10163"/>
                    </a:lnTo>
                    <a:lnTo>
                      <a:pt x="2585" y="10301"/>
                    </a:lnTo>
                    <a:lnTo>
                      <a:pt x="2736" y="10451"/>
                    </a:lnTo>
                    <a:lnTo>
                      <a:pt x="2898" y="10609"/>
                    </a:lnTo>
                    <a:lnTo>
                      <a:pt x="3069" y="10776"/>
                    </a:lnTo>
                    <a:lnTo>
                      <a:pt x="3249" y="10948"/>
                    </a:lnTo>
                    <a:lnTo>
                      <a:pt x="3434" y="11125"/>
                    </a:lnTo>
                    <a:lnTo>
                      <a:pt x="3626" y="11307"/>
                    </a:lnTo>
                    <a:lnTo>
                      <a:pt x="3821" y="11490"/>
                    </a:lnTo>
                    <a:lnTo>
                      <a:pt x="4020" y="11675"/>
                    </a:lnTo>
                    <a:lnTo>
                      <a:pt x="4219" y="11858"/>
                    </a:lnTo>
                    <a:lnTo>
                      <a:pt x="4419" y="12040"/>
                    </a:lnTo>
                    <a:lnTo>
                      <a:pt x="4618" y="12220"/>
                    </a:lnTo>
                    <a:lnTo>
                      <a:pt x="4813" y="12395"/>
                    </a:lnTo>
                    <a:lnTo>
                      <a:pt x="5005" y="12563"/>
                    </a:lnTo>
                    <a:lnTo>
                      <a:pt x="5191" y="12726"/>
                    </a:lnTo>
                    <a:lnTo>
                      <a:pt x="5371" y="12880"/>
                    </a:lnTo>
                    <a:lnTo>
                      <a:pt x="5543" y="13024"/>
                    </a:lnTo>
                    <a:lnTo>
                      <a:pt x="5705" y="13157"/>
                    </a:lnTo>
                    <a:lnTo>
                      <a:pt x="5856" y="13278"/>
                    </a:lnTo>
                    <a:lnTo>
                      <a:pt x="5996" y="13385"/>
                    </a:lnTo>
                    <a:lnTo>
                      <a:pt x="6122" y="13478"/>
                    </a:lnTo>
                    <a:lnTo>
                      <a:pt x="6233" y="13553"/>
                    </a:lnTo>
                    <a:lnTo>
                      <a:pt x="6328" y="13612"/>
                    </a:lnTo>
                    <a:lnTo>
                      <a:pt x="6406" y="13650"/>
                    </a:lnTo>
                    <a:lnTo>
                      <a:pt x="6465" y="13669"/>
                    </a:lnTo>
                    <a:lnTo>
                      <a:pt x="6532" y="13670"/>
                    </a:lnTo>
                    <a:lnTo>
                      <a:pt x="6634" y="13659"/>
                    </a:lnTo>
                    <a:lnTo>
                      <a:pt x="6767" y="13636"/>
                    </a:lnTo>
                    <a:lnTo>
                      <a:pt x="6929" y="13603"/>
                    </a:lnTo>
                    <a:lnTo>
                      <a:pt x="7117" y="13560"/>
                    </a:lnTo>
                    <a:lnTo>
                      <a:pt x="7332" y="13508"/>
                    </a:lnTo>
                    <a:lnTo>
                      <a:pt x="7568" y="13447"/>
                    </a:lnTo>
                    <a:lnTo>
                      <a:pt x="7824" y="13379"/>
                    </a:lnTo>
                    <a:lnTo>
                      <a:pt x="8098" y="13304"/>
                    </a:lnTo>
                    <a:lnTo>
                      <a:pt x="8388" y="13223"/>
                    </a:lnTo>
                    <a:lnTo>
                      <a:pt x="8689" y="13137"/>
                    </a:lnTo>
                    <a:lnTo>
                      <a:pt x="9001" y="13046"/>
                    </a:lnTo>
                    <a:lnTo>
                      <a:pt x="9323" y="12951"/>
                    </a:lnTo>
                    <a:lnTo>
                      <a:pt x="9650" y="12854"/>
                    </a:lnTo>
                    <a:lnTo>
                      <a:pt x="9979" y="12755"/>
                    </a:lnTo>
                    <a:lnTo>
                      <a:pt x="10311" y="12654"/>
                    </a:lnTo>
                    <a:lnTo>
                      <a:pt x="10640" y="12552"/>
                    </a:lnTo>
                    <a:lnTo>
                      <a:pt x="10967" y="12451"/>
                    </a:lnTo>
                    <a:lnTo>
                      <a:pt x="11288" y="12351"/>
                    </a:lnTo>
                    <a:lnTo>
                      <a:pt x="11600" y="12252"/>
                    </a:lnTo>
                    <a:lnTo>
                      <a:pt x="11902" y="12156"/>
                    </a:lnTo>
                    <a:lnTo>
                      <a:pt x="12191" y="12064"/>
                    </a:lnTo>
                    <a:lnTo>
                      <a:pt x="12464" y="11975"/>
                    </a:lnTo>
                    <a:lnTo>
                      <a:pt x="12720" y="11891"/>
                    </a:lnTo>
                    <a:lnTo>
                      <a:pt x="12956" y="11813"/>
                    </a:lnTo>
                    <a:lnTo>
                      <a:pt x="13170" y="11741"/>
                    </a:lnTo>
                    <a:lnTo>
                      <a:pt x="13358" y="11677"/>
                    </a:lnTo>
                    <a:lnTo>
                      <a:pt x="13519" y="11619"/>
                    </a:lnTo>
                    <a:lnTo>
                      <a:pt x="13652" y="11572"/>
                    </a:lnTo>
                    <a:lnTo>
                      <a:pt x="13752" y="11534"/>
                    </a:lnTo>
                    <a:lnTo>
                      <a:pt x="13819" y="11505"/>
                    </a:lnTo>
                    <a:lnTo>
                      <a:pt x="13848" y="11488"/>
                    </a:lnTo>
                    <a:lnTo>
                      <a:pt x="13860" y="11468"/>
                    </a:lnTo>
                    <a:lnTo>
                      <a:pt x="13872" y="11431"/>
                    </a:lnTo>
                    <a:lnTo>
                      <a:pt x="13885" y="11379"/>
                    </a:lnTo>
                    <a:lnTo>
                      <a:pt x="13898" y="11313"/>
                    </a:lnTo>
                    <a:lnTo>
                      <a:pt x="13912" y="11232"/>
                    </a:lnTo>
                    <a:lnTo>
                      <a:pt x="13928" y="11141"/>
                    </a:lnTo>
                    <a:lnTo>
                      <a:pt x="13943" y="11038"/>
                    </a:lnTo>
                    <a:lnTo>
                      <a:pt x="13959" y="10925"/>
                    </a:lnTo>
                    <a:lnTo>
                      <a:pt x="13975" y="10803"/>
                    </a:lnTo>
                    <a:lnTo>
                      <a:pt x="13991" y="10674"/>
                    </a:lnTo>
                    <a:lnTo>
                      <a:pt x="14007" y="10539"/>
                    </a:lnTo>
                    <a:lnTo>
                      <a:pt x="14023" y="10398"/>
                    </a:lnTo>
                    <a:lnTo>
                      <a:pt x="14057" y="10105"/>
                    </a:lnTo>
                    <a:lnTo>
                      <a:pt x="14089" y="9803"/>
                    </a:lnTo>
                    <a:lnTo>
                      <a:pt x="14119" y="9504"/>
                    </a:lnTo>
                    <a:lnTo>
                      <a:pt x="14148" y="9215"/>
                    </a:lnTo>
                    <a:lnTo>
                      <a:pt x="14174" y="8946"/>
                    </a:lnTo>
                    <a:lnTo>
                      <a:pt x="14197" y="8705"/>
                    </a:lnTo>
                    <a:lnTo>
                      <a:pt x="14216" y="8501"/>
                    </a:lnTo>
                    <a:lnTo>
                      <a:pt x="14230" y="8345"/>
                    </a:lnTo>
                    <a:lnTo>
                      <a:pt x="14239" y="8245"/>
                    </a:lnTo>
                    <a:lnTo>
                      <a:pt x="14242" y="8209"/>
                    </a:lnTo>
                    <a:lnTo>
                      <a:pt x="14170" y="8230"/>
                    </a:lnTo>
                    <a:lnTo>
                      <a:pt x="13967" y="8290"/>
                    </a:lnTo>
                    <a:lnTo>
                      <a:pt x="13649" y="8382"/>
                    </a:lnTo>
                    <a:lnTo>
                      <a:pt x="13237" y="8502"/>
                    </a:lnTo>
                    <a:lnTo>
                      <a:pt x="12749" y="8644"/>
                    </a:lnTo>
                    <a:lnTo>
                      <a:pt x="12203" y="8802"/>
                    </a:lnTo>
                    <a:lnTo>
                      <a:pt x="11617" y="8969"/>
                    </a:lnTo>
                    <a:lnTo>
                      <a:pt x="11011" y="9141"/>
                    </a:lnTo>
                    <a:lnTo>
                      <a:pt x="10403" y="9314"/>
                    </a:lnTo>
                    <a:lnTo>
                      <a:pt x="9809" y="9479"/>
                    </a:lnTo>
                    <a:lnTo>
                      <a:pt x="9525" y="9556"/>
                    </a:lnTo>
                    <a:lnTo>
                      <a:pt x="9251" y="9632"/>
                    </a:lnTo>
                    <a:lnTo>
                      <a:pt x="8990" y="9702"/>
                    </a:lnTo>
                    <a:lnTo>
                      <a:pt x="8745" y="9767"/>
                    </a:lnTo>
                    <a:lnTo>
                      <a:pt x="8519" y="9826"/>
                    </a:lnTo>
                    <a:lnTo>
                      <a:pt x="8312" y="9879"/>
                    </a:lnTo>
                    <a:lnTo>
                      <a:pt x="8128" y="9924"/>
                    </a:lnTo>
                    <a:lnTo>
                      <a:pt x="7967" y="9962"/>
                    </a:lnTo>
                    <a:lnTo>
                      <a:pt x="7835" y="9991"/>
                    </a:lnTo>
                    <a:lnTo>
                      <a:pt x="7732" y="10010"/>
                    </a:lnTo>
                    <a:lnTo>
                      <a:pt x="7661" y="10019"/>
                    </a:lnTo>
                    <a:lnTo>
                      <a:pt x="7624" y="10018"/>
                    </a:lnTo>
                    <a:lnTo>
                      <a:pt x="7601" y="10002"/>
                    </a:lnTo>
                    <a:lnTo>
                      <a:pt x="7574" y="9970"/>
                    </a:lnTo>
                    <a:lnTo>
                      <a:pt x="7543" y="9923"/>
                    </a:lnTo>
                    <a:lnTo>
                      <a:pt x="7508" y="9863"/>
                    </a:lnTo>
                    <a:lnTo>
                      <a:pt x="7468" y="9789"/>
                    </a:lnTo>
                    <a:lnTo>
                      <a:pt x="7426" y="9705"/>
                    </a:lnTo>
                    <a:lnTo>
                      <a:pt x="7380" y="9609"/>
                    </a:lnTo>
                    <a:lnTo>
                      <a:pt x="7331" y="9504"/>
                    </a:lnTo>
                    <a:lnTo>
                      <a:pt x="7281" y="9391"/>
                    </a:lnTo>
                    <a:lnTo>
                      <a:pt x="7228" y="9270"/>
                    </a:lnTo>
                    <a:lnTo>
                      <a:pt x="7174" y="9143"/>
                    </a:lnTo>
                    <a:lnTo>
                      <a:pt x="7118" y="9011"/>
                    </a:lnTo>
                    <a:lnTo>
                      <a:pt x="7063" y="8875"/>
                    </a:lnTo>
                    <a:lnTo>
                      <a:pt x="7006" y="8736"/>
                    </a:lnTo>
                    <a:lnTo>
                      <a:pt x="6949" y="8595"/>
                    </a:lnTo>
                    <a:lnTo>
                      <a:pt x="6893" y="8454"/>
                    </a:lnTo>
                    <a:lnTo>
                      <a:pt x="6782" y="8172"/>
                    </a:lnTo>
                    <a:lnTo>
                      <a:pt x="6676" y="7900"/>
                    </a:lnTo>
                    <a:lnTo>
                      <a:pt x="6579" y="7646"/>
                    </a:lnTo>
                    <a:lnTo>
                      <a:pt x="6493" y="7418"/>
                    </a:lnTo>
                    <a:lnTo>
                      <a:pt x="6421" y="7227"/>
                    </a:lnTo>
                    <a:lnTo>
                      <a:pt x="6366" y="7078"/>
                    </a:lnTo>
                    <a:lnTo>
                      <a:pt x="6330" y="6984"/>
                    </a:lnTo>
                    <a:lnTo>
                      <a:pt x="6318" y="6950"/>
                    </a:lnTo>
                    <a:close/>
                    <a:moveTo>
                      <a:pt x="9742" y="156"/>
                    </a:moveTo>
                    <a:lnTo>
                      <a:pt x="9130" y="3375"/>
                    </a:lnTo>
                    <a:lnTo>
                      <a:pt x="8713" y="0"/>
                    </a:lnTo>
                    <a:lnTo>
                      <a:pt x="8645" y="17"/>
                    </a:lnTo>
                    <a:lnTo>
                      <a:pt x="8453" y="67"/>
                    </a:lnTo>
                    <a:lnTo>
                      <a:pt x="8155" y="144"/>
                    </a:lnTo>
                    <a:lnTo>
                      <a:pt x="7769" y="244"/>
                    </a:lnTo>
                    <a:lnTo>
                      <a:pt x="7311" y="364"/>
                    </a:lnTo>
                    <a:lnTo>
                      <a:pt x="6800" y="499"/>
                    </a:lnTo>
                    <a:lnTo>
                      <a:pt x="6255" y="644"/>
                    </a:lnTo>
                    <a:lnTo>
                      <a:pt x="5690" y="796"/>
                    </a:lnTo>
                    <a:lnTo>
                      <a:pt x="5408" y="873"/>
                    </a:lnTo>
                    <a:lnTo>
                      <a:pt x="5127" y="950"/>
                    </a:lnTo>
                    <a:lnTo>
                      <a:pt x="4850" y="1027"/>
                    </a:lnTo>
                    <a:lnTo>
                      <a:pt x="4580" y="1102"/>
                    </a:lnTo>
                    <a:lnTo>
                      <a:pt x="4319" y="1177"/>
                    </a:lnTo>
                    <a:lnTo>
                      <a:pt x="4069" y="1250"/>
                    </a:lnTo>
                    <a:lnTo>
                      <a:pt x="3833" y="1319"/>
                    </a:lnTo>
                    <a:lnTo>
                      <a:pt x="3612" y="1386"/>
                    </a:lnTo>
                    <a:lnTo>
                      <a:pt x="3408" y="1448"/>
                    </a:lnTo>
                    <a:lnTo>
                      <a:pt x="3225" y="1508"/>
                    </a:lnTo>
                    <a:lnTo>
                      <a:pt x="3063" y="1562"/>
                    </a:lnTo>
                    <a:lnTo>
                      <a:pt x="2926" y="1610"/>
                    </a:lnTo>
                    <a:lnTo>
                      <a:pt x="2815" y="1654"/>
                    </a:lnTo>
                    <a:lnTo>
                      <a:pt x="2734" y="1690"/>
                    </a:lnTo>
                    <a:lnTo>
                      <a:pt x="2682" y="1720"/>
                    </a:lnTo>
                    <a:lnTo>
                      <a:pt x="2665" y="1743"/>
                    </a:lnTo>
                    <a:lnTo>
                      <a:pt x="2675" y="1770"/>
                    </a:lnTo>
                    <a:lnTo>
                      <a:pt x="2705" y="1812"/>
                    </a:lnTo>
                    <a:lnTo>
                      <a:pt x="2754" y="1868"/>
                    </a:lnTo>
                    <a:lnTo>
                      <a:pt x="2820" y="1937"/>
                    </a:lnTo>
                    <a:lnTo>
                      <a:pt x="2904" y="2019"/>
                    </a:lnTo>
                    <a:lnTo>
                      <a:pt x="3002" y="2111"/>
                    </a:lnTo>
                    <a:lnTo>
                      <a:pt x="3114" y="2213"/>
                    </a:lnTo>
                    <a:lnTo>
                      <a:pt x="3238" y="2325"/>
                    </a:lnTo>
                    <a:lnTo>
                      <a:pt x="3373" y="2444"/>
                    </a:lnTo>
                    <a:lnTo>
                      <a:pt x="3518" y="2570"/>
                    </a:lnTo>
                    <a:lnTo>
                      <a:pt x="3672" y="2702"/>
                    </a:lnTo>
                    <a:lnTo>
                      <a:pt x="3833" y="2838"/>
                    </a:lnTo>
                    <a:lnTo>
                      <a:pt x="4001" y="2978"/>
                    </a:lnTo>
                    <a:lnTo>
                      <a:pt x="4172" y="3121"/>
                    </a:lnTo>
                    <a:lnTo>
                      <a:pt x="4349" y="3265"/>
                    </a:lnTo>
                    <a:lnTo>
                      <a:pt x="4526" y="3410"/>
                    </a:lnTo>
                    <a:lnTo>
                      <a:pt x="4705" y="3555"/>
                    </a:lnTo>
                    <a:lnTo>
                      <a:pt x="4884" y="3698"/>
                    </a:lnTo>
                    <a:lnTo>
                      <a:pt x="5061" y="3839"/>
                    </a:lnTo>
                    <a:lnTo>
                      <a:pt x="5235" y="3977"/>
                    </a:lnTo>
                    <a:lnTo>
                      <a:pt x="5405" y="4109"/>
                    </a:lnTo>
                    <a:lnTo>
                      <a:pt x="5570" y="4236"/>
                    </a:lnTo>
                    <a:lnTo>
                      <a:pt x="5727" y="4355"/>
                    </a:lnTo>
                    <a:lnTo>
                      <a:pt x="5878" y="4467"/>
                    </a:lnTo>
                    <a:lnTo>
                      <a:pt x="6019" y="4571"/>
                    </a:lnTo>
                    <a:lnTo>
                      <a:pt x="6150" y="4665"/>
                    </a:lnTo>
                    <a:lnTo>
                      <a:pt x="6268" y="4747"/>
                    </a:lnTo>
                    <a:lnTo>
                      <a:pt x="6374" y="4818"/>
                    </a:lnTo>
                    <a:lnTo>
                      <a:pt x="6465" y="4875"/>
                    </a:lnTo>
                    <a:lnTo>
                      <a:pt x="6541" y="4920"/>
                    </a:lnTo>
                    <a:lnTo>
                      <a:pt x="6600" y="4948"/>
                    </a:lnTo>
                    <a:lnTo>
                      <a:pt x="6641" y="4961"/>
                    </a:lnTo>
                    <a:lnTo>
                      <a:pt x="6688" y="4961"/>
                    </a:lnTo>
                    <a:lnTo>
                      <a:pt x="6767" y="4951"/>
                    </a:lnTo>
                    <a:lnTo>
                      <a:pt x="6874" y="4932"/>
                    </a:lnTo>
                    <a:lnTo>
                      <a:pt x="7007" y="4905"/>
                    </a:lnTo>
                    <a:lnTo>
                      <a:pt x="7165" y="4869"/>
                    </a:lnTo>
                    <a:lnTo>
                      <a:pt x="7345" y="4826"/>
                    </a:lnTo>
                    <a:lnTo>
                      <a:pt x="7546" y="4777"/>
                    </a:lnTo>
                    <a:lnTo>
                      <a:pt x="7766" y="4721"/>
                    </a:lnTo>
                    <a:lnTo>
                      <a:pt x="8000" y="4661"/>
                    </a:lnTo>
                    <a:lnTo>
                      <a:pt x="8249" y="4595"/>
                    </a:lnTo>
                    <a:lnTo>
                      <a:pt x="8511" y="4525"/>
                    </a:lnTo>
                    <a:lnTo>
                      <a:pt x="8782" y="4451"/>
                    </a:lnTo>
                    <a:lnTo>
                      <a:pt x="9060" y="4374"/>
                    </a:lnTo>
                    <a:lnTo>
                      <a:pt x="9344" y="4294"/>
                    </a:lnTo>
                    <a:lnTo>
                      <a:pt x="9631" y="4213"/>
                    </a:lnTo>
                    <a:lnTo>
                      <a:pt x="9921" y="4130"/>
                    </a:lnTo>
                    <a:lnTo>
                      <a:pt x="10209" y="4046"/>
                    </a:lnTo>
                    <a:lnTo>
                      <a:pt x="10494" y="3962"/>
                    </a:lnTo>
                    <a:lnTo>
                      <a:pt x="10775" y="3880"/>
                    </a:lnTo>
                    <a:lnTo>
                      <a:pt x="11048" y="3797"/>
                    </a:lnTo>
                    <a:lnTo>
                      <a:pt x="11313" y="3717"/>
                    </a:lnTo>
                    <a:lnTo>
                      <a:pt x="11566" y="3638"/>
                    </a:lnTo>
                    <a:lnTo>
                      <a:pt x="11805" y="3561"/>
                    </a:lnTo>
                    <a:lnTo>
                      <a:pt x="12029" y="3490"/>
                    </a:lnTo>
                    <a:lnTo>
                      <a:pt x="12236" y="3421"/>
                    </a:lnTo>
                    <a:lnTo>
                      <a:pt x="12423" y="3357"/>
                    </a:lnTo>
                    <a:lnTo>
                      <a:pt x="12588" y="3298"/>
                    </a:lnTo>
                    <a:lnTo>
                      <a:pt x="12729" y="3245"/>
                    </a:lnTo>
                    <a:lnTo>
                      <a:pt x="12845" y="3199"/>
                    </a:lnTo>
                    <a:lnTo>
                      <a:pt x="12932" y="3159"/>
                    </a:lnTo>
                    <a:lnTo>
                      <a:pt x="12989" y="3127"/>
                    </a:lnTo>
                    <a:lnTo>
                      <a:pt x="13013" y="3103"/>
                    </a:lnTo>
                    <a:lnTo>
                      <a:pt x="13011" y="3076"/>
                    </a:lnTo>
                    <a:lnTo>
                      <a:pt x="12991" y="3034"/>
                    </a:lnTo>
                    <a:lnTo>
                      <a:pt x="12952" y="2980"/>
                    </a:lnTo>
                    <a:lnTo>
                      <a:pt x="12897" y="2914"/>
                    </a:lnTo>
                    <a:lnTo>
                      <a:pt x="12827" y="2837"/>
                    </a:lnTo>
                    <a:lnTo>
                      <a:pt x="12743" y="2750"/>
                    </a:lnTo>
                    <a:lnTo>
                      <a:pt x="12646" y="2654"/>
                    </a:lnTo>
                    <a:lnTo>
                      <a:pt x="12538" y="2551"/>
                    </a:lnTo>
                    <a:lnTo>
                      <a:pt x="12420" y="2441"/>
                    </a:lnTo>
                    <a:lnTo>
                      <a:pt x="12292" y="2324"/>
                    </a:lnTo>
                    <a:lnTo>
                      <a:pt x="12156" y="2202"/>
                    </a:lnTo>
                    <a:lnTo>
                      <a:pt x="12015" y="2075"/>
                    </a:lnTo>
                    <a:lnTo>
                      <a:pt x="11868" y="1946"/>
                    </a:lnTo>
                    <a:lnTo>
                      <a:pt x="11718" y="1815"/>
                    </a:lnTo>
                    <a:lnTo>
                      <a:pt x="11565" y="1682"/>
                    </a:lnTo>
                    <a:lnTo>
                      <a:pt x="11410" y="1548"/>
                    </a:lnTo>
                    <a:lnTo>
                      <a:pt x="11100" y="1285"/>
                    </a:lnTo>
                    <a:lnTo>
                      <a:pt x="10800" y="1032"/>
                    </a:lnTo>
                    <a:lnTo>
                      <a:pt x="10517" y="796"/>
                    </a:lnTo>
                    <a:lnTo>
                      <a:pt x="10264" y="587"/>
                    </a:lnTo>
                    <a:lnTo>
                      <a:pt x="10051" y="410"/>
                    </a:lnTo>
                    <a:lnTo>
                      <a:pt x="9885" y="274"/>
                    </a:lnTo>
                    <a:lnTo>
                      <a:pt x="9780" y="187"/>
                    </a:lnTo>
                    <a:lnTo>
                      <a:pt x="9742" y="156"/>
                    </a:lnTo>
                    <a:close/>
                    <a:moveTo>
                      <a:pt x="0" y="4296"/>
                    </a:moveTo>
                    <a:lnTo>
                      <a:pt x="12" y="4325"/>
                    </a:lnTo>
                    <a:lnTo>
                      <a:pt x="45" y="4375"/>
                    </a:lnTo>
                    <a:lnTo>
                      <a:pt x="100" y="4443"/>
                    </a:lnTo>
                    <a:lnTo>
                      <a:pt x="173" y="4529"/>
                    </a:lnTo>
                    <a:lnTo>
                      <a:pt x="264" y="4632"/>
                    </a:lnTo>
                    <a:lnTo>
                      <a:pt x="372" y="4748"/>
                    </a:lnTo>
                    <a:lnTo>
                      <a:pt x="495" y="4878"/>
                    </a:lnTo>
                    <a:lnTo>
                      <a:pt x="631" y="5022"/>
                    </a:lnTo>
                    <a:lnTo>
                      <a:pt x="780" y="5174"/>
                    </a:lnTo>
                    <a:lnTo>
                      <a:pt x="939" y="5336"/>
                    </a:lnTo>
                    <a:lnTo>
                      <a:pt x="1108" y="5506"/>
                    </a:lnTo>
                    <a:lnTo>
                      <a:pt x="1284" y="5683"/>
                    </a:lnTo>
                    <a:lnTo>
                      <a:pt x="1467" y="5864"/>
                    </a:lnTo>
                    <a:lnTo>
                      <a:pt x="1655" y="6048"/>
                    </a:lnTo>
                    <a:lnTo>
                      <a:pt x="1847" y="6236"/>
                    </a:lnTo>
                    <a:lnTo>
                      <a:pt x="2040" y="6424"/>
                    </a:lnTo>
                    <a:lnTo>
                      <a:pt x="2235" y="6612"/>
                    </a:lnTo>
                    <a:lnTo>
                      <a:pt x="2429" y="6797"/>
                    </a:lnTo>
                    <a:lnTo>
                      <a:pt x="2621" y="6979"/>
                    </a:lnTo>
                    <a:lnTo>
                      <a:pt x="2809" y="7156"/>
                    </a:lnTo>
                    <a:lnTo>
                      <a:pt x="2993" y="7327"/>
                    </a:lnTo>
                    <a:lnTo>
                      <a:pt x="3170" y="7491"/>
                    </a:lnTo>
                    <a:lnTo>
                      <a:pt x="3340" y="7645"/>
                    </a:lnTo>
                    <a:lnTo>
                      <a:pt x="3500" y="7789"/>
                    </a:lnTo>
                    <a:lnTo>
                      <a:pt x="3649" y="7922"/>
                    </a:lnTo>
                    <a:lnTo>
                      <a:pt x="3787" y="8041"/>
                    </a:lnTo>
                    <a:lnTo>
                      <a:pt x="3911" y="8146"/>
                    </a:lnTo>
                    <a:lnTo>
                      <a:pt x="4021" y="8234"/>
                    </a:lnTo>
                    <a:lnTo>
                      <a:pt x="4114" y="8305"/>
                    </a:lnTo>
                    <a:lnTo>
                      <a:pt x="4189" y="8357"/>
                    </a:lnTo>
                    <a:lnTo>
                      <a:pt x="4246" y="8390"/>
                    </a:lnTo>
                    <a:lnTo>
                      <a:pt x="4282" y="8401"/>
                    </a:lnTo>
                    <a:lnTo>
                      <a:pt x="4311" y="8392"/>
                    </a:lnTo>
                    <a:lnTo>
                      <a:pt x="4351" y="8368"/>
                    </a:lnTo>
                    <a:lnTo>
                      <a:pt x="4398" y="8331"/>
                    </a:lnTo>
                    <a:lnTo>
                      <a:pt x="4452" y="8280"/>
                    </a:lnTo>
                    <a:lnTo>
                      <a:pt x="4514" y="8217"/>
                    </a:lnTo>
                    <a:lnTo>
                      <a:pt x="4582" y="8143"/>
                    </a:lnTo>
                    <a:lnTo>
                      <a:pt x="4657" y="8058"/>
                    </a:lnTo>
                    <a:lnTo>
                      <a:pt x="4736" y="7964"/>
                    </a:lnTo>
                    <a:lnTo>
                      <a:pt x="4819" y="7862"/>
                    </a:lnTo>
                    <a:lnTo>
                      <a:pt x="4907" y="7754"/>
                    </a:lnTo>
                    <a:lnTo>
                      <a:pt x="4998" y="7639"/>
                    </a:lnTo>
                    <a:lnTo>
                      <a:pt x="5090" y="7519"/>
                    </a:lnTo>
                    <a:lnTo>
                      <a:pt x="5185" y="7395"/>
                    </a:lnTo>
                    <a:lnTo>
                      <a:pt x="5281" y="7268"/>
                    </a:lnTo>
                    <a:lnTo>
                      <a:pt x="5378" y="7139"/>
                    </a:lnTo>
                    <a:lnTo>
                      <a:pt x="5474" y="7009"/>
                    </a:lnTo>
                    <a:lnTo>
                      <a:pt x="5664" y="6750"/>
                    </a:lnTo>
                    <a:lnTo>
                      <a:pt x="5845" y="6499"/>
                    </a:lnTo>
                    <a:lnTo>
                      <a:pt x="6013" y="6264"/>
                    </a:lnTo>
                    <a:lnTo>
                      <a:pt x="6162" y="6055"/>
                    </a:lnTo>
                    <a:lnTo>
                      <a:pt x="6287" y="5877"/>
                    </a:lnTo>
                    <a:lnTo>
                      <a:pt x="6383" y="5740"/>
                    </a:lnTo>
                    <a:lnTo>
                      <a:pt x="6444" y="5652"/>
                    </a:lnTo>
                    <a:lnTo>
                      <a:pt x="6465" y="5621"/>
                    </a:lnTo>
                    <a:lnTo>
                      <a:pt x="2140" y="2050"/>
                    </a:lnTo>
                    <a:lnTo>
                      <a:pt x="2116" y="2073"/>
                    </a:lnTo>
                    <a:lnTo>
                      <a:pt x="2048" y="2138"/>
                    </a:lnTo>
                    <a:lnTo>
                      <a:pt x="1942" y="2241"/>
                    </a:lnTo>
                    <a:lnTo>
                      <a:pt x="1805" y="2374"/>
                    </a:lnTo>
                    <a:lnTo>
                      <a:pt x="1644" y="2532"/>
                    </a:lnTo>
                    <a:lnTo>
                      <a:pt x="1463" y="2710"/>
                    </a:lnTo>
                    <a:lnTo>
                      <a:pt x="1270" y="2901"/>
                    </a:lnTo>
                    <a:lnTo>
                      <a:pt x="1070" y="3101"/>
                    </a:lnTo>
                    <a:lnTo>
                      <a:pt x="970" y="3203"/>
                    </a:lnTo>
                    <a:lnTo>
                      <a:pt x="871" y="3303"/>
                    </a:lnTo>
                    <a:lnTo>
                      <a:pt x="773" y="3403"/>
                    </a:lnTo>
                    <a:lnTo>
                      <a:pt x="677" y="3502"/>
                    </a:lnTo>
                    <a:lnTo>
                      <a:pt x="585" y="3598"/>
                    </a:lnTo>
                    <a:lnTo>
                      <a:pt x="496" y="3690"/>
                    </a:lnTo>
                    <a:lnTo>
                      <a:pt x="412" y="3780"/>
                    </a:lnTo>
                    <a:lnTo>
                      <a:pt x="335" y="3865"/>
                    </a:lnTo>
                    <a:lnTo>
                      <a:pt x="262" y="3944"/>
                    </a:lnTo>
                    <a:lnTo>
                      <a:pt x="198" y="4018"/>
                    </a:lnTo>
                    <a:lnTo>
                      <a:pt x="140" y="4085"/>
                    </a:lnTo>
                    <a:lnTo>
                      <a:pt x="92" y="4145"/>
                    </a:lnTo>
                    <a:lnTo>
                      <a:pt x="53" y="4196"/>
                    </a:lnTo>
                    <a:lnTo>
                      <a:pt x="24" y="4240"/>
                    </a:lnTo>
                    <a:lnTo>
                      <a:pt x="6" y="4273"/>
                    </a:lnTo>
                    <a:lnTo>
                      <a:pt x="0" y="4296"/>
                    </a:lnTo>
                    <a:close/>
                  </a:path>
                </a:pathLst>
              </a:custGeom>
              <a:solidFill>
                <a:schemeClr val="bg1"/>
              </a:solidFill>
              <a:ln w="38100">
                <a:noFill/>
              </a:ln>
              <a:effectLst>
                <a:outerShdw blurRad="381000" dist="444500" dir="8100000" sx="90000" sy="90000" algn="tr" rotWithShape="0">
                  <a:schemeClr val="accent2">
                    <a:alpha val="1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id-ID" sz="1200" b="1">
                  <a:latin typeface="+mn-lt"/>
                </a:endParaRPr>
              </a:p>
            </p:txBody>
          </p:sp>
        </p:grp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98674692-0E2C-FAC7-764F-7D9A6BB3A5C7}"/>
              </a:ext>
            </a:extLst>
          </p:cNvPr>
          <p:cNvGrpSpPr/>
          <p:nvPr/>
        </p:nvGrpSpPr>
        <p:grpSpPr>
          <a:xfrm>
            <a:off x="7030832" y="4739156"/>
            <a:ext cx="3115014" cy="1178272"/>
            <a:chOff x="574866" y="4822889"/>
            <a:chExt cx="3130860" cy="1486912"/>
          </a:xfrm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EC8DBECA-B773-4133-5E44-E48D741AFA2C}"/>
                </a:ext>
              </a:extLst>
            </p:cNvPr>
            <p:cNvSpPr/>
            <p:nvPr/>
          </p:nvSpPr>
          <p:spPr>
            <a:xfrm>
              <a:off x="574866" y="4822889"/>
              <a:ext cx="3130860" cy="1486912"/>
            </a:xfrm>
            <a:prstGeom prst="roundRect">
              <a:avLst>
                <a:gd name="adj" fmla="val 4682"/>
              </a:avLst>
            </a:prstGeom>
            <a:solidFill>
              <a:schemeClr val="accent4"/>
            </a:solidFill>
            <a:ln>
              <a:noFill/>
            </a:ln>
            <a:effectLst>
              <a:outerShdw blurRad="1016000" dist="381000" dir="2100000" sx="90000" sy="900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dirty="0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A05CF565-E0F3-41EF-20AE-0257E71CB1B1}"/>
                </a:ext>
              </a:extLst>
            </p:cNvPr>
            <p:cNvGrpSpPr/>
            <p:nvPr/>
          </p:nvGrpSpPr>
          <p:grpSpPr>
            <a:xfrm>
              <a:off x="738190" y="4900981"/>
              <a:ext cx="2149117" cy="831512"/>
              <a:chOff x="4919646" y="1053383"/>
              <a:chExt cx="2149117" cy="831512"/>
            </a:xfrm>
          </p:grpSpPr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5CABD6AF-2619-1D34-6AA3-E68BA5F1F221}"/>
                  </a:ext>
                </a:extLst>
              </p:cNvPr>
              <p:cNvSpPr txBox="1"/>
              <p:nvPr/>
            </p:nvSpPr>
            <p:spPr>
              <a:xfrm>
                <a:off x="4919646" y="1053383"/>
                <a:ext cx="2149117" cy="39924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lnSpc>
                    <a:spcPct val="130000"/>
                  </a:lnSpc>
                  <a:spcBef>
                    <a:spcPts val="1200"/>
                  </a:spcBef>
                  <a:defRPr sz="1400">
                    <a:solidFill>
                      <a:schemeClr val="tx2"/>
                    </a:solidFill>
                    <a:ea typeface="+mn-ea"/>
                    <a:cs typeface="+mn-cs"/>
                  </a:defRPr>
                </a:lvl1pPr>
              </a:lstStyle>
              <a:p>
                <a:pPr>
                  <a:spcBef>
                    <a:spcPts val="0"/>
                  </a:spcBef>
                  <a:spcAft>
                    <a:spcPts val="600"/>
                  </a:spcAft>
                </a:pPr>
                <a:r>
                  <a:rPr lang="en-US" sz="1200" dirty="0">
                    <a:solidFill>
                      <a:schemeClr val="bg1"/>
                    </a:solidFill>
                    <a:latin typeface="+mj-lt"/>
                  </a:rPr>
                  <a:t>Reach of Progress</a:t>
                </a:r>
                <a:endParaRPr lang="en-ID" sz="12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D9B023AA-6C5A-6EF6-6F0C-A6828F3DAC46}"/>
                  </a:ext>
                </a:extLst>
              </p:cNvPr>
              <p:cNvSpPr txBox="1"/>
              <p:nvPr/>
            </p:nvSpPr>
            <p:spPr>
              <a:xfrm>
                <a:off x="4919646" y="1283705"/>
                <a:ext cx="1662932" cy="6011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lnSpc>
                    <a:spcPct val="130000"/>
                  </a:lnSpc>
                  <a:spcBef>
                    <a:spcPts val="1200"/>
                  </a:spcBef>
                  <a:defRPr sz="1400">
                    <a:solidFill>
                      <a:schemeClr val="tx2"/>
                    </a:solidFill>
                    <a:ea typeface="+mn-ea"/>
                    <a:cs typeface="+mn-cs"/>
                  </a:defRPr>
                </a:lvl1pPr>
              </a:lstStyle>
              <a:p>
                <a:pPr>
                  <a:spcBef>
                    <a:spcPts val="0"/>
                  </a:spcBef>
                  <a:spcAft>
                    <a:spcPts val="600"/>
                  </a:spcAft>
                </a:pPr>
                <a:r>
                  <a:rPr lang="en-US" sz="2800" b="1" dirty="0">
                    <a:solidFill>
                      <a:schemeClr val="bg1"/>
                    </a:solidFill>
                    <a:latin typeface="+mj-lt"/>
                  </a:rPr>
                  <a:t>23,872</a:t>
                </a: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71CA2024-114C-D2B5-58B7-D2401ED96545}"/>
                </a:ext>
              </a:extLst>
            </p:cNvPr>
            <p:cNvGrpSpPr/>
            <p:nvPr/>
          </p:nvGrpSpPr>
          <p:grpSpPr>
            <a:xfrm>
              <a:off x="778443" y="5634000"/>
              <a:ext cx="2723706" cy="423157"/>
              <a:chOff x="778443" y="5634000"/>
              <a:chExt cx="2723706" cy="423157"/>
            </a:xfrm>
          </p:grpSpPr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5D9A1D86-4A73-C568-62BB-840A6D34F7B3}"/>
                  </a:ext>
                </a:extLst>
              </p:cNvPr>
              <p:cNvGrpSpPr/>
              <p:nvPr/>
            </p:nvGrpSpPr>
            <p:grpSpPr>
              <a:xfrm>
                <a:off x="778443" y="5980957"/>
                <a:ext cx="2723706" cy="76200"/>
                <a:chOff x="738190" y="5980957"/>
                <a:chExt cx="2723706" cy="76200"/>
              </a:xfrm>
            </p:grpSpPr>
            <p:sp>
              <p:nvSpPr>
                <p:cNvPr id="39" name="Rectangle: Rounded Corners 38">
                  <a:extLst>
                    <a:ext uri="{FF2B5EF4-FFF2-40B4-BE49-F238E27FC236}">
                      <a16:creationId xmlns:a16="http://schemas.microsoft.com/office/drawing/2014/main" id="{3081C6E0-FD38-69EE-7E37-F29AF56B43BD}"/>
                    </a:ext>
                  </a:extLst>
                </p:cNvPr>
                <p:cNvSpPr/>
                <p:nvPr/>
              </p:nvSpPr>
              <p:spPr>
                <a:xfrm>
                  <a:off x="877748" y="5980957"/>
                  <a:ext cx="2584148" cy="7620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>
                    <a:alpha val="2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  <p:sp>
              <p:nvSpPr>
                <p:cNvPr id="40" name="Rectangle: Rounded Corners 39">
                  <a:extLst>
                    <a:ext uri="{FF2B5EF4-FFF2-40B4-BE49-F238E27FC236}">
                      <a16:creationId xmlns:a16="http://schemas.microsoft.com/office/drawing/2014/main" id="{B723212D-EC41-16BB-CFCA-79D806B35C8D}"/>
                    </a:ext>
                  </a:extLst>
                </p:cNvPr>
                <p:cNvSpPr/>
                <p:nvPr/>
              </p:nvSpPr>
              <p:spPr>
                <a:xfrm>
                  <a:off x="738190" y="5980957"/>
                  <a:ext cx="1826585" cy="7620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D"/>
                </a:p>
              </p:txBody>
            </p:sp>
          </p:grp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E1FBDA89-0778-396B-53D0-1A86C89A2085}"/>
                  </a:ext>
                </a:extLst>
              </p:cNvPr>
              <p:cNvSpPr txBox="1"/>
              <p:nvPr/>
            </p:nvSpPr>
            <p:spPr>
              <a:xfrm>
                <a:off x="3031573" y="5634000"/>
                <a:ext cx="470576" cy="274434"/>
              </a:xfrm>
              <a:prstGeom prst="rect">
                <a:avLst/>
              </a:prstGeom>
              <a:noFill/>
            </p:spPr>
            <p:txBody>
              <a:bodyPr wrap="square" rtlCol="0" anchor="b">
                <a:spAutoFit/>
              </a:bodyPr>
              <a:lstStyle>
                <a:defPPr>
                  <a:defRPr lang="en-US"/>
                </a:defPPr>
                <a:lvl1pPr>
                  <a:lnSpc>
                    <a:spcPct val="130000"/>
                  </a:lnSpc>
                  <a:spcBef>
                    <a:spcPts val="1200"/>
                  </a:spcBef>
                  <a:defRPr sz="1400">
                    <a:solidFill>
                      <a:schemeClr val="tx2"/>
                    </a:solidFill>
                    <a:ea typeface="+mn-ea"/>
                    <a:cs typeface="+mn-cs"/>
                  </a:defRPr>
                </a:lvl1pPr>
              </a:lstStyle>
              <a:p>
                <a:pPr algn="r">
                  <a:spcBef>
                    <a:spcPts val="0"/>
                  </a:spcBef>
                  <a:spcAft>
                    <a:spcPts val="600"/>
                  </a:spcAft>
                </a:pPr>
                <a:r>
                  <a:rPr lang="en-US" sz="1000" dirty="0">
                    <a:solidFill>
                      <a:schemeClr val="bg1"/>
                    </a:solidFill>
                  </a:rPr>
                  <a:t>80%</a:t>
                </a:r>
                <a:endParaRPr lang="en-ID" sz="1000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D4288D4E-F2DD-B8B7-DC85-AACB83E7CA88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roject Schedule</a:t>
            </a:r>
          </a:p>
        </p:txBody>
      </p:sp>
    </p:spTree>
    <p:extLst>
      <p:ext uri="{BB962C8B-B14F-4D97-AF65-F5344CB8AC3E}">
        <p14:creationId xmlns:p14="http://schemas.microsoft.com/office/powerpoint/2010/main" val="309894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:a16="http://schemas.microsoft.com/office/drawing/2014/main"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79D03BE2-B787-6DDC-0952-BBC4191AB2AF}"/>
              </a:ext>
            </a:extLst>
          </p:cNvPr>
          <p:cNvSpPr/>
          <p:nvPr/>
        </p:nvSpPr>
        <p:spPr>
          <a:xfrm>
            <a:off x="1843314" y="1734287"/>
            <a:ext cx="8505372" cy="3660574"/>
          </a:xfrm>
          <a:prstGeom prst="roundRect">
            <a:avLst>
              <a:gd name="adj" fmla="val 3590"/>
            </a:avLst>
          </a:prstGeom>
          <a:solidFill>
            <a:schemeClr val="bg1">
              <a:alpha val="85000"/>
            </a:schemeClr>
          </a:solidFill>
          <a:ln>
            <a:noFill/>
          </a:ln>
          <a:effectLst>
            <a:outerShdw blurRad="698500" dist="292100" dir="8100000" sx="92000" sy="92000" algn="tr" rotWithShape="0">
              <a:srgbClr val="2F305B">
                <a:alpha val="3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6" name="Table 36">
            <a:extLst>
              <a:ext uri="{FF2B5EF4-FFF2-40B4-BE49-F238E27FC236}">
                <a16:creationId xmlns:a16="http://schemas.microsoft.com/office/drawing/2014/main" id="{C6FDC550-49DF-6B76-56CD-9F666C73B6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9589281"/>
              </p:ext>
            </p:extLst>
          </p:nvPr>
        </p:nvGraphicFramePr>
        <p:xfrm>
          <a:off x="2133600" y="1896619"/>
          <a:ext cx="7924800" cy="3335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6022">
                  <a:extLst>
                    <a:ext uri="{9D8B030D-6E8A-4147-A177-3AD203B41FA5}">
                      <a16:colId xmlns:a16="http://schemas.microsoft.com/office/drawing/2014/main" val="2434049073"/>
                    </a:ext>
                  </a:extLst>
                </a:gridCol>
                <a:gridCol w="1863399">
                  <a:extLst>
                    <a:ext uri="{9D8B030D-6E8A-4147-A177-3AD203B41FA5}">
                      <a16:colId xmlns:a16="http://schemas.microsoft.com/office/drawing/2014/main" val="1708006701"/>
                    </a:ext>
                  </a:extLst>
                </a:gridCol>
                <a:gridCol w="1863399">
                  <a:extLst>
                    <a:ext uri="{9D8B030D-6E8A-4147-A177-3AD203B41FA5}">
                      <a16:colId xmlns:a16="http://schemas.microsoft.com/office/drawing/2014/main" val="1459671630"/>
                    </a:ext>
                  </a:extLst>
                </a:gridCol>
                <a:gridCol w="1841980">
                  <a:extLst>
                    <a:ext uri="{9D8B030D-6E8A-4147-A177-3AD203B41FA5}">
                      <a16:colId xmlns:a16="http://schemas.microsoft.com/office/drawing/2014/main" val="2143217336"/>
                    </a:ext>
                  </a:extLst>
                </a:gridCol>
              </a:tblGrid>
              <a:tr h="667182"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>
                          <a:solidFill>
                            <a:srgbClr val="117DFF"/>
                          </a:solidFill>
                          <a:latin typeface="+mj-lt"/>
                        </a:rPr>
                        <a:t>Feature</a:t>
                      </a:r>
                      <a:endParaRPr lang="en-US" sz="1500" b="0" dirty="0">
                        <a:solidFill>
                          <a:srgbClr val="117DFF"/>
                        </a:solidFill>
                        <a:latin typeface="+mj-lt"/>
                      </a:endParaRPr>
                    </a:p>
                  </a:txBody>
                  <a:tcPr marL="67468" marR="67468" marT="33734" marB="3373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rgbClr val="117DFF"/>
                          </a:solidFill>
                          <a:latin typeface="+mj-lt"/>
                        </a:rPr>
                        <a:t>Basic</a:t>
                      </a:r>
                      <a:endParaRPr lang="en-US" sz="1500" dirty="0">
                        <a:solidFill>
                          <a:srgbClr val="117DFF"/>
                        </a:solidFill>
                        <a:latin typeface="+mj-lt"/>
                      </a:endParaRPr>
                    </a:p>
                  </a:txBody>
                  <a:tcPr marL="67468" marR="67468" marT="33734" marB="33734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rgbClr val="117DFF"/>
                          </a:solidFill>
                        </a:rPr>
                        <a:t>Professional</a:t>
                      </a:r>
                      <a:endParaRPr lang="en-US" sz="1400" dirty="0">
                        <a:solidFill>
                          <a:srgbClr val="117DFF"/>
                        </a:solidFill>
                      </a:endParaRPr>
                    </a:p>
                  </a:txBody>
                  <a:tcPr marL="67468" marR="67468" marT="33734" marB="33734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rgbClr val="117DFF"/>
                          </a:solidFill>
                        </a:rPr>
                        <a:t>Agency</a:t>
                      </a:r>
                      <a:endParaRPr lang="en-US" sz="1400" dirty="0">
                        <a:solidFill>
                          <a:srgbClr val="117DFF"/>
                        </a:solidFill>
                      </a:endParaRPr>
                    </a:p>
                  </a:txBody>
                  <a:tcPr marL="67468" marR="67468" marT="33734" marB="33734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7006052"/>
                  </a:ext>
                </a:extLst>
              </a:tr>
              <a:tr h="667182"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</a:rPr>
                        <a:t>Download</a:t>
                      </a:r>
                    </a:p>
                  </a:txBody>
                  <a:tcPr marL="67468" marR="67468" marT="33734" marB="3373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</a:rPr>
                        <a:t>Limited</a:t>
                      </a:r>
                    </a:p>
                  </a:txBody>
                  <a:tcPr marL="67468" marR="67468" marT="33734" marB="33734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</a:rPr>
                        <a:t>Unlimited</a:t>
                      </a:r>
                    </a:p>
                  </a:txBody>
                  <a:tcPr marL="67468" marR="67468" marT="33734" marB="33734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</a:rPr>
                        <a:t>Unlimited</a:t>
                      </a:r>
                    </a:p>
                  </a:txBody>
                  <a:tcPr marL="67468" marR="67468" marT="33734" marB="33734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5669947"/>
                  </a:ext>
                </a:extLst>
              </a:tr>
              <a:tr h="667182"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</a:rPr>
                        <a:t>Speed</a:t>
                      </a:r>
                    </a:p>
                  </a:txBody>
                  <a:tcPr marL="67468" marR="67468" marT="33734" marB="3373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</a:rPr>
                        <a:t>Low Speed</a:t>
                      </a:r>
                    </a:p>
                  </a:txBody>
                  <a:tcPr marL="67468" marR="67468" marT="33734" marB="33734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</a:rPr>
                        <a:t>High Speed</a:t>
                      </a:r>
                    </a:p>
                  </a:txBody>
                  <a:tcPr marL="67468" marR="67468" marT="33734" marB="33734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</a:rPr>
                        <a:t>High Speed</a:t>
                      </a:r>
                    </a:p>
                  </a:txBody>
                  <a:tcPr marL="67468" marR="67468" marT="33734" marB="33734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2958130"/>
                  </a:ext>
                </a:extLst>
              </a:tr>
              <a:tr h="667182"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</a:rPr>
                        <a:t>Revision</a:t>
                      </a:r>
                    </a:p>
                  </a:txBody>
                  <a:tcPr marL="67468" marR="67468" marT="33734" marB="3373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</a:rPr>
                        <a:t>Limited</a:t>
                      </a:r>
                    </a:p>
                  </a:txBody>
                  <a:tcPr marL="67468" marR="67468" marT="33734" marB="33734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</a:rPr>
                        <a:t>Limited</a:t>
                      </a:r>
                    </a:p>
                  </a:txBody>
                  <a:tcPr marL="67468" marR="67468" marT="33734" marB="33734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</a:rPr>
                        <a:t>Unlimited</a:t>
                      </a:r>
                    </a:p>
                  </a:txBody>
                  <a:tcPr marL="67468" marR="67468" marT="33734" marB="33734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391300"/>
                  </a:ext>
                </a:extLst>
              </a:tr>
              <a:tr h="667182"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</a:rPr>
                        <a:t>Support</a:t>
                      </a:r>
                    </a:p>
                  </a:txBody>
                  <a:tcPr marL="67468" marR="67468" marT="33734" marB="3373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</a:endParaRPr>
                    </a:p>
                  </a:txBody>
                  <a:tcPr marL="67468" marR="67468" marT="33734" marB="33734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</a:endParaRPr>
                    </a:p>
                  </a:txBody>
                  <a:tcPr marL="67468" marR="67468" marT="33734" marB="33734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</a:endParaRPr>
                    </a:p>
                  </a:txBody>
                  <a:tcPr marL="67468" marR="67468" marT="33734" marB="33734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5393408"/>
                  </a:ext>
                </a:extLst>
              </a:tr>
            </a:tbl>
          </a:graphicData>
        </a:graphic>
      </p:graphicFrame>
      <p:grpSp>
        <p:nvGrpSpPr>
          <p:cNvPr id="54" name="Group 53">
            <a:extLst>
              <a:ext uri="{FF2B5EF4-FFF2-40B4-BE49-F238E27FC236}">
                <a16:creationId xmlns:a16="http://schemas.microsoft.com/office/drawing/2014/main" id="{C297B872-C225-A4A6-47C1-CD97AF13AB3E}"/>
              </a:ext>
            </a:extLst>
          </p:cNvPr>
          <p:cNvGrpSpPr/>
          <p:nvPr/>
        </p:nvGrpSpPr>
        <p:grpSpPr>
          <a:xfrm>
            <a:off x="5141521" y="4731934"/>
            <a:ext cx="436760" cy="436760"/>
            <a:chOff x="1290246" y="2462069"/>
            <a:chExt cx="436760" cy="43676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6C19BEAC-73EC-9E93-A07B-5343ADF96C2B}"/>
                </a:ext>
              </a:extLst>
            </p:cNvPr>
            <p:cNvSpPr/>
            <p:nvPr/>
          </p:nvSpPr>
          <p:spPr>
            <a:xfrm>
              <a:off x="1290246" y="2462069"/>
              <a:ext cx="436760" cy="43676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80000">
                  <a:schemeClr val="accent5"/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  <a:effectLst>
              <a:outerShdw blurRad="330200" dist="152400" dir="8100000" sx="92000" sy="92000" algn="tr" rotWithShape="0">
                <a:schemeClr val="accent5">
                  <a:alpha val="3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1" name="成组">
              <a:extLst>
                <a:ext uri="{FF2B5EF4-FFF2-40B4-BE49-F238E27FC236}">
                  <a16:creationId xmlns:a16="http://schemas.microsoft.com/office/drawing/2014/main" id="{3F2B0897-02B7-905C-E297-7A54B7159939}"/>
                </a:ext>
              </a:extLst>
            </p:cNvPr>
            <p:cNvGrpSpPr/>
            <p:nvPr/>
          </p:nvGrpSpPr>
          <p:grpSpPr>
            <a:xfrm>
              <a:off x="1348150" y="2519973"/>
              <a:ext cx="320952" cy="320952"/>
              <a:chOff x="0" y="0"/>
              <a:chExt cx="457200" cy="457200"/>
            </a:xfrm>
          </p:grpSpPr>
          <p:sp>
            <p:nvSpPr>
              <p:cNvPr id="52" name="任意形状 2046">
                <a:extLst>
                  <a:ext uri="{FF2B5EF4-FFF2-40B4-BE49-F238E27FC236}">
                    <a16:creationId xmlns:a16="http://schemas.microsoft.com/office/drawing/2014/main" id="{802166D2-8C3F-AFB0-F216-B369F2680273}"/>
                  </a:ext>
                </a:extLst>
              </p:cNvPr>
              <p:cNvSpPr/>
              <p:nvPr/>
            </p:nvSpPr>
            <p:spPr>
              <a:xfrm>
                <a:off x="0" y="0"/>
                <a:ext cx="457200" cy="457200"/>
              </a:xfrm>
              <a:prstGeom prst="rect">
                <a:avLst/>
              </a:prstGeom>
              <a:solidFill>
                <a:srgbClr val="FFFFFF">
                  <a:alpha val="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 dirty="0"/>
              </a:p>
            </p:txBody>
          </p:sp>
          <p:sp>
            <p:nvSpPr>
              <p:cNvPr id="53" name="任意形状 2047">
                <a:extLst>
                  <a:ext uri="{FF2B5EF4-FFF2-40B4-BE49-F238E27FC236}">
                    <a16:creationId xmlns:a16="http://schemas.microsoft.com/office/drawing/2014/main" id="{365BC286-2D78-D673-F505-574690100EC8}"/>
                  </a:ext>
                </a:extLst>
              </p:cNvPr>
              <p:cNvSpPr/>
              <p:nvPr/>
            </p:nvSpPr>
            <p:spPr>
              <a:xfrm>
                <a:off x="107365" y="107366"/>
                <a:ext cx="242469" cy="24246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8400"/>
                    </a:moveTo>
                    <a:lnTo>
                      <a:pt x="19200" y="0"/>
                    </a:lnTo>
                    <a:lnTo>
                      <a:pt x="21600" y="2400"/>
                    </a:lnTo>
                    <a:lnTo>
                      <a:pt x="13200" y="10800"/>
                    </a:lnTo>
                    <a:lnTo>
                      <a:pt x="21600" y="19200"/>
                    </a:lnTo>
                    <a:lnTo>
                      <a:pt x="19200" y="21600"/>
                    </a:lnTo>
                    <a:lnTo>
                      <a:pt x="10800" y="13200"/>
                    </a:lnTo>
                    <a:lnTo>
                      <a:pt x="2400" y="21600"/>
                    </a:lnTo>
                    <a:lnTo>
                      <a:pt x="0" y="19200"/>
                    </a:lnTo>
                    <a:lnTo>
                      <a:pt x="8400" y="10800"/>
                    </a:lnTo>
                    <a:lnTo>
                      <a:pt x="0" y="2400"/>
                    </a:lnTo>
                    <a:lnTo>
                      <a:pt x="2400" y="0"/>
                    </a:lnTo>
                    <a:close/>
                  </a:path>
                </a:pathLst>
              </a:custGeom>
              <a:solidFill>
                <a:schemeClr val="bg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/>
              </a:p>
            </p:txBody>
          </p:sp>
        </p:grp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28542CE-75B0-C333-AFA5-57B9FF0B9743}"/>
              </a:ext>
            </a:extLst>
          </p:cNvPr>
          <p:cNvGrpSpPr/>
          <p:nvPr/>
        </p:nvGrpSpPr>
        <p:grpSpPr>
          <a:xfrm>
            <a:off x="7086161" y="4731934"/>
            <a:ext cx="436760" cy="436760"/>
            <a:chOff x="6613721" y="5341534"/>
            <a:chExt cx="436760" cy="436760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A13710B2-68E6-0129-8A15-453572265686}"/>
                </a:ext>
              </a:extLst>
            </p:cNvPr>
            <p:cNvSpPr/>
            <p:nvPr/>
          </p:nvSpPr>
          <p:spPr>
            <a:xfrm>
              <a:off x="6613721" y="5341534"/>
              <a:ext cx="436760" cy="43676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80000">
                  <a:schemeClr val="accent1"/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  <a:effectLst>
              <a:outerShdw blurRad="330200" dist="152400" dir="8100000" sx="92000" sy="92000" algn="tr" rotWithShape="0">
                <a:schemeClr val="accent1">
                  <a:alpha val="3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6" name="成组">
              <a:extLst>
                <a:ext uri="{FF2B5EF4-FFF2-40B4-BE49-F238E27FC236}">
                  <a16:creationId xmlns:a16="http://schemas.microsoft.com/office/drawing/2014/main" id="{5E315D29-BB15-DDAF-0A64-8AAE641D161C}"/>
                </a:ext>
              </a:extLst>
            </p:cNvPr>
            <p:cNvGrpSpPr/>
            <p:nvPr/>
          </p:nvGrpSpPr>
          <p:grpSpPr>
            <a:xfrm>
              <a:off x="6671626" y="5384713"/>
              <a:ext cx="320951" cy="320952"/>
              <a:chOff x="0" y="0"/>
              <a:chExt cx="457200" cy="457200"/>
            </a:xfrm>
          </p:grpSpPr>
          <p:sp>
            <p:nvSpPr>
              <p:cNvPr id="57" name="任意形状 2004">
                <a:extLst>
                  <a:ext uri="{FF2B5EF4-FFF2-40B4-BE49-F238E27FC236}">
                    <a16:creationId xmlns:a16="http://schemas.microsoft.com/office/drawing/2014/main" id="{B47B68E4-C1EF-5735-05E8-5096ED0EE433}"/>
                  </a:ext>
                </a:extLst>
              </p:cNvPr>
              <p:cNvSpPr/>
              <p:nvPr/>
            </p:nvSpPr>
            <p:spPr>
              <a:xfrm>
                <a:off x="0" y="0"/>
                <a:ext cx="457200" cy="457200"/>
              </a:xfrm>
              <a:prstGeom prst="rect">
                <a:avLst/>
              </a:prstGeom>
              <a:solidFill>
                <a:schemeClr val="bg1">
                  <a:alpha val="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/>
              </a:p>
            </p:txBody>
          </p:sp>
          <p:sp>
            <p:nvSpPr>
              <p:cNvPr id="58" name="任意形状 2005">
                <a:extLst>
                  <a:ext uri="{FF2B5EF4-FFF2-40B4-BE49-F238E27FC236}">
                    <a16:creationId xmlns:a16="http://schemas.microsoft.com/office/drawing/2014/main" id="{1C427799-E637-233E-66B8-DCA28E25E1E7}"/>
                  </a:ext>
                </a:extLst>
              </p:cNvPr>
              <p:cNvSpPr/>
              <p:nvPr/>
            </p:nvSpPr>
            <p:spPr>
              <a:xfrm>
                <a:off x="69265" y="113900"/>
                <a:ext cx="323299" cy="2290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100" y="16518"/>
                    </a:moveTo>
                    <a:lnTo>
                      <a:pt x="19799" y="0"/>
                    </a:lnTo>
                    <a:lnTo>
                      <a:pt x="21600" y="2541"/>
                    </a:lnTo>
                    <a:lnTo>
                      <a:pt x="8100" y="21600"/>
                    </a:lnTo>
                    <a:lnTo>
                      <a:pt x="0" y="10165"/>
                    </a:lnTo>
                    <a:lnTo>
                      <a:pt x="1800" y="7624"/>
                    </a:lnTo>
                    <a:close/>
                  </a:path>
                </a:pathLst>
              </a:custGeom>
              <a:solidFill>
                <a:schemeClr val="bg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/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A3DF6DFE-0097-1259-DBA7-3DE72FDD5A6E}"/>
              </a:ext>
            </a:extLst>
          </p:cNvPr>
          <p:cNvGrpSpPr/>
          <p:nvPr/>
        </p:nvGrpSpPr>
        <p:grpSpPr>
          <a:xfrm>
            <a:off x="1594384" y="1421380"/>
            <a:ext cx="788146" cy="788146"/>
            <a:chOff x="1759226" y="4112595"/>
            <a:chExt cx="788146" cy="788146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5473265D-48BF-A06E-FD18-7B22EB95E7A2}"/>
                </a:ext>
              </a:extLst>
            </p:cNvPr>
            <p:cNvSpPr/>
            <p:nvPr/>
          </p:nvSpPr>
          <p:spPr>
            <a:xfrm>
              <a:off x="1759226" y="4112595"/>
              <a:ext cx="788146" cy="788146"/>
            </a:xfrm>
            <a:prstGeom prst="roundRect">
              <a:avLst>
                <a:gd name="adj" fmla="val 24171"/>
              </a:avLst>
            </a:prstGeom>
            <a:solidFill>
              <a:schemeClr val="bg1">
                <a:alpha val="85000"/>
              </a:schemeClr>
            </a:solidFill>
            <a:ln>
              <a:noFill/>
            </a:ln>
            <a:effectLst>
              <a:outerShdw blurRad="698500" dist="292100" dir="8100000" sx="92000" sy="92000" algn="tr" rotWithShape="0">
                <a:srgbClr val="2F305B">
                  <a:alpha val="2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76A9867B-787C-4E39-423E-B160AC2FB32E}"/>
                </a:ext>
              </a:extLst>
            </p:cNvPr>
            <p:cNvSpPr/>
            <p:nvPr/>
          </p:nvSpPr>
          <p:spPr>
            <a:xfrm>
              <a:off x="1934919" y="4288288"/>
              <a:ext cx="436760" cy="43676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80000">
                  <a:schemeClr val="accent1"/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  <a:effectLst>
              <a:outerShdw blurRad="330200" dist="152400" dir="8100000" sx="92000" sy="92000" algn="tr" rotWithShape="0">
                <a:schemeClr val="accent1">
                  <a:alpha val="3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4558BA71-EB8F-14EF-A206-84AEE12355A9}"/>
              </a:ext>
            </a:extLst>
          </p:cNvPr>
          <p:cNvGrpSpPr/>
          <p:nvPr/>
        </p:nvGrpSpPr>
        <p:grpSpPr>
          <a:xfrm>
            <a:off x="8957824" y="4731934"/>
            <a:ext cx="436760" cy="436760"/>
            <a:chOff x="6613721" y="5341534"/>
            <a:chExt cx="436760" cy="436760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14A6A74D-9EE7-ADCF-1E3D-0805BD01DCDE}"/>
                </a:ext>
              </a:extLst>
            </p:cNvPr>
            <p:cNvSpPr/>
            <p:nvPr/>
          </p:nvSpPr>
          <p:spPr>
            <a:xfrm>
              <a:off x="6613721" y="5341534"/>
              <a:ext cx="436760" cy="43676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80000">
                  <a:schemeClr val="accent1"/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  <a:effectLst>
              <a:outerShdw blurRad="330200" dist="152400" dir="8100000" sx="92000" sy="92000" algn="tr" rotWithShape="0">
                <a:schemeClr val="accent1">
                  <a:alpha val="3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2" name="成组">
              <a:extLst>
                <a:ext uri="{FF2B5EF4-FFF2-40B4-BE49-F238E27FC236}">
                  <a16:creationId xmlns:a16="http://schemas.microsoft.com/office/drawing/2014/main" id="{7ACDE642-01AE-66C7-759C-8B7591804656}"/>
                </a:ext>
              </a:extLst>
            </p:cNvPr>
            <p:cNvGrpSpPr/>
            <p:nvPr/>
          </p:nvGrpSpPr>
          <p:grpSpPr>
            <a:xfrm>
              <a:off x="6671626" y="5384713"/>
              <a:ext cx="320951" cy="320952"/>
              <a:chOff x="0" y="0"/>
              <a:chExt cx="457200" cy="457200"/>
            </a:xfrm>
          </p:grpSpPr>
          <p:sp>
            <p:nvSpPr>
              <p:cNvPr id="63" name="任意形状 2004">
                <a:extLst>
                  <a:ext uri="{FF2B5EF4-FFF2-40B4-BE49-F238E27FC236}">
                    <a16:creationId xmlns:a16="http://schemas.microsoft.com/office/drawing/2014/main" id="{2AB28561-DECA-67C6-15AA-4AC0EEEDC16A}"/>
                  </a:ext>
                </a:extLst>
              </p:cNvPr>
              <p:cNvSpPr/>
              <p:nvPr/>
            </p:nvSpPr>
            <p:spPr>
              <a:xfrm>
                <a:off x="0" y="0"/>
                <a:ext cx="457200" cy="457200"/>
              </a:xfrm>
              <a:prstGeom prst="rect">
                <a:avLst/>
              </a:prstGeom>
              <a:solidFill>
                <a:schemeClr val="bg1">
                  <a:alpha val="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/>
              </a:p>
            </p:txBody>
          </p:sp>
          <p:sp>
            <p:nvSpPr>
              <p:cNvPr id="64" name="任意形状 2005">
                <a:extLst>
                  <a:ext uri="{FF2B5EF4-FFF2-40B4-BE49-F238E27FC236}">
                    <a16:creationId xmlns:a16="http://schemas.microsoft.com/office/drawing/2014/main" id="{3C749D78-1793-FB2C-A3D5-E9F5BE87229C}"/>
                  </a:ext>
                </a:extLst>
              </p:cNvPr>
              <p:cNvSpPr/>
              <p:nvPr/>
            </p:nvSpPr>
            <p:spPr>
              <a:xfrm>
                <a:off x="69265" y="113900"/>
                <a:ext cx="323299" cy="2290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100" y="16518"/>
                    </a:moveTo>
                    <a:lnTo>
                      <a:pt x="19799" y="0"/>
                    </a:lnTo>
                    <a:lnTo>
                      <a:pt x="21600" y="2541"/>
                    </a:lnTo>
                    <a:lnTo>
                      <a:pt x="8100" y="21600"/>
                    </a:lnTo>
                    <a:lnTo>
                      <a:pt x="0" y="10165"/>
                    </a:lnTo>
                    <a:lnTo>
                      <a:pt x="1800" y="7624"/>
                    </a:lnTo>
                    <a:close/>
                  </a:path>
                </a:pathLst>
              </a:custGeom>
              <a:solidFill>
                <a:schemeClr val="bg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endParaRPr/>
              </a:p>
            </p:txBody>
          </p:sp>
        </p:grpSp>
      </p:grpSp>
      <p:grpSp>
        <p:nvGrpSpPr>
          <p:cNvPr id="65" name="成组">
            <a:extLst>
              <a:ext uri="{FF2B5EF4-FFF2-40B4-BE49-F238E27FC236}">
                <a16:creationId xmlns:a16="http://schemas.microsoft.com/office/drawing/2014/main" id="{AB7B604A-C54A-30F0-9197-D47D0BACC3B5}"/>
              </a:ext>
            </a:extLst>
          </p:cNvPr>
          <p:cNvGrpSpPr/>
          <p:nvPr/>
        </p:nvGrpSpPr>
        <p:grpSpPr>
          <a:xfrm>
            <a:off x="1843314" y="1676617"/>
            <a:ext cx="290286" cy="290284"/>
            <a:chOff x="0" y="0"/>
            <a:chExt cx="457200" cy="457200"/>
          </a:xfrm>
        </p:grpSpPr>
        <p:sp>
          <p:nvSpPr>
            <p:cNvPr id="66" name="任意形状 2178">
              <a:extLst>
                <a:ext uri="{FF2B5EF4-FFF2-40B4-BE49-F238E27FC236}">
                  <a16:creationId xmlns:a16="http://schemas.microsoft.com/office/drawing/2014/main" id="{A7080A5D-B736-76CF-608D-543C759203EE}"/>
                </a:ext>
              </a:extLst>
            </p:cNvPr>
            <p:cNvSpPr/>
            <p:nvPr/>
          </p:nvSpPr>
          <p:spPr>
            <a:xfrm>
              <a:off x="0" y="0"/>
              <a:ext cx="457200" cy="457200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endParaRPr/>
            </a:p>
          </p:txBody>
        </p:sp>
        <p:sp>
          <p:nvSpPr>
            <p:cNvPr id="67" name="任意形状 2179">
              <a:extLst>
                <a:ext uri="{FF2B5EF4-FFF2-40B4-BE49-F238E27FC236}">
                  <a16:creationId xmlns:a16="http://schemas.microsoft.com/office/drawing/2014/main" id="{2FE901B9-F6D0-10F5-36B5-6932C0CD4ECE}"/>
                </a:ext>
              </a:extLst>
            </p:cNvPr>
            <p:cNvSpPr/>
            <p:nvPr/>
          </p:nvSpPr>
          <p:spPr>
            <a:xfrm>
              <a:off x="57150" y="57150"/>
              <a:ext cx="342900" cy="3429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9600" y="0"/>
                  </a:lnTo>
                  <a:lnTo>
                    <a:pt x="9600" y="9600"/>
                  </a:lnTo>
                  <a:lnTo>
                    <a:pt x="0" y="9600"/>
                  </a:lnTo>
                  <a:lnTo>
                    <a:pt x="0" y="0"/>
                  </a:lnTo>
                  <a:close/>
                  <a:moveTo>
                    <a:pt x="0" y="12000"/>
                  </a:moveTo>
                  <a:lnTo>
                    <a:pt x="9600" y="12000"/>
                  </a:lnTo>
                  <a:lnTo>
                    <a:pt x="9600" y="21600"/>
                  </a:lnTo>
                  <a:lnTo>
                    <a:pt x="0" y="21600"/>
                  </a:lnTo>
                  <a:lnTo>
                    <a:pt x="0" y="12000"/>
                  </a:lnTo>
                  <a:close/>
                  <a:moveTo>
                    <a:pt x="12000" y="0"/>
                  </a:moveTo>
                  <a:lnTo>
                    <a:pt x="21600" y="0"/>
                  </a:lnTo>
                  <a:lnTo>
                    <a:pt x="21600" y="9600"/>
                  </a:lnTo>
                  <a:lnTo>
                    <a:pt x="12000" y="9600"/>
                  </a:lnTo>
                  <a:lnTo>
                    <a:pt x="12000" y="0"/>
                  </a:lnTo>
                  <a:close/>
                  <a:moveTo>
                    <a:pt x="12000" y="12000"/>
                  </a:moveTo>
                  <a:lnTo>
                    <a:pt x="21600" y="12000"/>
                  </a:lnTo>
                  <a:lnTo>
                    <a:pt x="21600" y="21600"/>
                  </a:lnTo>
                  <a:lnTo>
                    <a:pt x="12000" y="21600"/>
                  </a:lnTo>
                  <a:lnTo>
                    <a:pt x="12000" y="12000"/>
                  </a:lnTo>
                  <a:close/>
                  <a:moveTo>
                    <a:pt x="14400" y="2400"/>
                  </a:moveTo>
                  <a:lnTo>
                    <a:pt x="14400" y="7200"/>
                  </a:lnTo>
                  <a:lnTo>
                    <a:pt x="19200" y="7200"/>
                  </a:lnTo>
                  <a:lnTo>
                    <a:pt x="19200" y="2400"/>
                  </a:lnTo>
                  <a:lnTo>
                    <a:pt x="14400" y="2400"/>
                  </a:lnTo>
                  <a:close/>
                  <a:moveTo>
                    <a:pt x="14400" y="14400"/>
                  </a:moveTo>
                  <a:lnTo>
                    <a:pt x="14400" y="19200"/>
                  </a:lnTo>
                  <a:lnTo>
                    <a:pt x="19200" y="19200"/>
                  </a:lnTo>
                  <a:lnTo>
                    <a:pt x="19200" y="14400"/>
                  </a:lnTo>
                  <a:lnTo>
                    <a:pt x="14400" y="14400"/>
                  </a:lnTo>
                  <a:close/>
                  <a:moveTo>
                    <a:pt x="2400" y="2400"/>
                  </a:moveTo>
                  <a:lnTo>
                    <a:pt x="2400" y="7200"/>
                  </a:lnTo>
                  <a:lnTo>
                    <a:pt x="7200" y="7200"/>
                  </a:lnTo>
                  <a:lnTo>
                    <a:pt x="7200" y="2400"/>
                  </a:lnTo>
                  <a:lnTo>
                    <a:pt x="2400" y="2400"/>
                  </a:lnTo>
                  <a:close/>
                  <a:moveTo>
                    <a:pt x="2400" y="14400"/>
                  </a:moveTo>
                  <a:lnTo>
                    <a:pt x="2400" y="19200"/>
                  </a:lnTo>
                  <a:lnTo>
                    <a:pt x="7200" y="19200"/>
                  </a:lnTo>
                  <a:lnTo>
                    <a:pt x="7200" y="14400"/>
                  </a:lnTo>
                  <a:lnTo>
                    <a:pt x="2400" y="14400"/>
                  </a:lnTo>
                  <a:close/>
                </a:path>
              </a:pathLst>
            </a:custGeom>
            <a:solidFill>
              <a:srgbClr val="F9F9F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endParaRPr/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D7F9C306-0882-0EF4-0255-B835455E9554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ayment plan schedule</a:t>
            </a:r>
          </a:p>
        </p:txBody>
      </p:sp>
    </p:spTree>
    <p:extLst>
      <p:ext uri="{BB962C8B-B14F-4D97-AF65-F5344CB8AC3E}">
        <p14:creationId xmlns:p14="http://schemas.microsoft.com/office/powerpoint/2010/main" val="18899109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7B93159-B58B-404C-8871-962BD7655089}"/>
              </a:ext>
            </a:extLst>
          </p:cNvPr>
          <p:cNvSpPr/>
          <p:nvPr/>
        </p:nvSpPr>
        <p:spPr>
          <a:xfrm>
            <a:off x="1410710" y="1560218"/>
            <a:ext cx="3005322" cy="4123944"/>
          </a:xfrm>
          <a:prstGeom prst="roundRect">
            <a:avLst>
              <a:gd name="adj" fmla="val 508"/>
            </a:avLst>
          </a:prstGeom>
          <a:solidFill>
            <a:schemeClr val="bg1"/>
          </a:solidFill>
          <a:ln>
            <a:noFill/>
          </a:ln>
          <a:effectLst>
            <a:outerShdw blurRad="571500" dist="254000" dir="5400000" algn="ctr" rotWithShape="0">
              <a:srgbClr val="000000">
                <a:alpha val="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+mj-lt"/>
            </a:endParaRP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7D58C9D1-2864-44AD-8445-F3C2009D46AC}"/>
              </a:ext>
            </a:extLst>
          </p:cNvPr>
          <p:cNvSpPr/>
          <p:nvPr/>
        </p:nvSpPr>
        <p:spPr>
          <a:xfrm>
            <a:off x="1410710" y="5491636"/>
            <a:ext cx="3005322" cy="192526"/>
          </a:xfrm>
          <a:prstGeom prst="roundRect">
            <a:avLst>
              <a:gd name="adj" fmla="val 508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30A203C-8DC6-428A-BEAC-385A8C53B6CD}"/>
              </a:ext>
            </a:extLst>
          </p:cNvPr>
          <p:cNvSpPr/>
          <p:nvPr/>
        </p:nvSpPr>
        <p:spPr>
          <a:xfrm>
            <a:off x="1982759" y="2213957"/>
            <a:ext cx="181042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b="1" baseline="30000" dirty="0">
                <a:solidFill>
                  <a:schemeClr val="accent2"/>
                </a:solidFill>
                <a:latin typeface="+mj-lt"/>
                <a:ea typeface="+mn-ea"/>
                <a:cs typeface="+mn-cs"/>
              </a:rPr>
              <a:t>$</a:t>
            </a:r>
            <a:r>
              <a:rPr lang="en-US" sz="5400" b="1" dirty="0">
                <a:solidFill>
                  <a:schemeClr val="accent2"/>
                </a:solidFill>
                <a:latin typeface="+mj-lt"/>
                <a:ea typeface="+mn-ea"/>
                <a:cs typeface="+mn-cs"/>
              </a:rPr>
              <a:t>241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A23DBCC-3CFE-45E5-A70E-E96CDED1D494}"/>
              </a:ext>
            </a:extLst>
          </p:cNvPr>
          <p:cNvSpPr/>
          <p:nvPr/>
        </p:nvSpPr>
        <p:spPr>
          <a:xfrm>
            <a:off x="1660269" y="1856319"/>
            <a:ext cx="250620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+mn-cs"/>
              </a:rPr>
              <a:t>Basic Pack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4FBF58B-440D-4F9E-9382-1FC844B23D46}"/>
              </a:ext>
            </a:extLst>
          </p:cNvPr>
          <p:cNvSpPr/>
          <p:nvPr/>
        </p:nvSpPr>
        <p:spPr>
          <a:xfrm>
            <a:off x="1778457" y="3043205"/>
            <a:ext cx="2269831" cy="3487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1400" dirty="0">
                <a:ea typeface="+mn-ea"/>
                <a:cs typeface="+mn-cs"/>
              </a:rPr>
              <a:t>Monthly Plan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14139496-6820-4554-9C23-431D75536CF7}"/>
              </a:ext>
            </a:extLst>
          </p:cNvPr>
          <p:cNvGrpSpPr/>
          <p:nvPr/>
        </p:nvGrpSpPr>
        <p:grpSpPr>
          <a:xfrm>
            <a:off x="1857954" y="3834642"/>
            <a:ext cx="2110834" cy="1068804"/>
            <a:chOff x="2456326" y="4389464"/>
            <a:chExt cx="1918940" cy="971640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C8CD6159-BE52-4652-9F28-DB29AB0F7EF8}"/>
                </a:ext>
              </a:extLst>
            </p:cNvPr>
            <p:cNvSpPr txBox="1"/>
            <p:nvPr/>
          </p:nvSpPr>
          <p:spPr>
            <a:xfrm>
              <a:off x="2646169" y="4389464"/>
              <a:ext cx="1725672" cy="230833"/>
            </a:xfrm>
            <a:prstGeom prst="rect">
              <a:avLst/>
            </a:prstGeom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lnSpc>
                  <a:spcPct val="140000"/>
                </a:lnSpc>
                <a:defRPr sz="1050">
                  <a:solidFill>
                    <a:schemeClr val="bg1"/>
                  </a:solidFill>
                  <a:latin typeface="+mj-lt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dirty="0">
                  <a:solidFill>
                    <a:schemeClr val="tx1"/>
                  </a:solidFill>
                  <a:latin typeface="+mn-lt"/>
                </a:rPr>
                <a:t>Lorem ipsum dolor </a:t>
              </a:r>
              <a:r>
                <a:rPr lang="en-US" dirty="0" err="1">
                  <a:solidFill>
                    <a:schemeClr val="tx1"/>
                  </a:solidFill>
                  <a:latin typeface="+mn-lt"/>
                </a:rPr>
                <a:t>amet</a:t>
              </a:r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0E03E24A-A704-4ACE-B103-0F00F95DF848}"/>
                </a:ext>
              </a:extLst>
            </p:cNvPr>
            <p:cNvSpPr txBox="1"/>
            <p:nvPr/>
          </p:nvSpPr>
          <p:spPr>
            <a:xfrm>
              <a:off x="2646169" y="4759868"/>
              <a:ext cx="1725672" cy="230833"/>
            </a:xfrm>
            <a:prstGeom prst="rect">
              <a:avLst/>
            </a:prstGeom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lnSpc>
                  <a:spcPct val="140000"/>
                </a:lnSpc>
                <a:defRPr sz="1050">
                  <a:solidFill>
                    <a:schemeClr val="bg1"/>
                  </a:solidFill>
                  <a:latin typeface="+mj-lt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dirty="0">
                  <a:solidFill>
                    <a:schemeClr val="tx1"/>
                  </a:solidFill>
                  <a:latin typeface="+mn-lt"/>
                </a:rPr>
                <a:t>Lorem ipsum dolor </a:t>
              </a:r>
              <a:r>
                <a:rPr lang="en-US" dirty="0" err="1">
                  <a:solidFill>
                    <a:schemeClr val="tx1"/>
                  </a:solidFill>
                  <a:latin typeface="+mn-lt"/>
                </a:rPr>
                <a:t>amet</a:t>
              </a:r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2F2E4622-15CF-480C-93DE-A460C4346707}"/>
                </a:ext>
              </a:extLst>
            </p:cNvPr>
            <p:cNvSpPr txBox="1"/>
            <p:nvPr/>
          </p:nvSpPr>
          <p:spPr>
            <a:xfrm>
              <a:off x="2646169" y="5130271"/>
              <a:ext cx="1725672" cy="230833"/>
            </a:xfrm>
            <a:prstGeom prst="rect">
              <a:avLst/>
            </a:prstGeom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lnSpc>
                  <a:spcPct val="140000"/>
                </a:lnSpc>
                <a:defRPr sz="1050">
                  <a:solidFill>
                    <a:schemeClr val="bg1"/>
                  </a:solidFill>
                  <a:latin typeface="+mj-lt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dirty="0">
                  <a:solidFill>
                    <a:schemeClr val="tx1"/>
                  </a:solidFill>
                  <a:latin typeface="+mn-lt"/>
                </a:rPr>
                <a:t>Lorem ipsum dolor </a:t>
              </a:r>
              <a:r>
                <a:rPr lang="en-US" dirty="0" err="1">
                  <a:solidFill>
                    <a:schemeClr val="tx1"/>
                  </a:solidFill>
                  <a:latin typeface="+mn-lt"/>
                </a:rPr>
                <a:t>amet</a:t>
              </a:r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1" name="Graphic 67" descr="Checkmark with solid fill">
              <a:extLst>
                <a:ext uri="{FF2B5EF4-FFF2-40B4-BE49-F238E27FC236}">
                  <a16:creationId xmlns:a16="http://schemas.microsoft.com/office/drawing/2014/main" id="{BFC4CEA1-29F9-4A3A-B683-399AB8FEB21C}"/>
                </a:ext>
              </a:extLst>
            </p:cNvPr>
            <p:cNvSpPr/>
            <p:nvPr/>
          </p:nvSpPr>
          <p:spPr>
            <a:xfrm>
              <a:off x="2459752" y="4466084"/>
              <a:ext cx="150074" cy="105409"/>
            </a:xfrm>
            <a:custGeom>
              <a:avLst/>
              <a:gdLst>
                <a:gd name="connsiteX0" fmla="*/ 136919 w 150074"/>
                <a:gd name="connsiteY0" fmla="*/ 0 h 105409"/>
                <a:gd name="connsiteX1" fmla="*/ 53761 w 150074"/>
                <a:gd name="connsiteY1" fmla="*/ 78611 h 105409"/>
                <a:gd name="connsiteX2" fmla="*/ 13806 w 150074"/>
                <a:gd name="connsiteY2" fmla="*/ 37681 h 105409"/>
                <a:gd name="connsiteX3" fmla="*/ 0 w 150074"/>
                <a:gd name="connsiteY3" fmla="*/ 50837 h 105409"/>
                <a:gd name="connsiteX4" fmla="*/ 53111 w 150074"/>
                <a:gd name="connsiteY4" fmla="*/ 105410 h 105409"/>
                <a:gd name="connsiteX5" fmla="*/ 67079 w 150074"/>
                <a:gd name="connsiteY5" fmla="*/ 92416 h 105409"/>
                <a:gd name="connsiteX6" fmla="*/ 150075 w 150074"/>
                <a:gd name="connsiteY6" fmla="*/ 13643 h 10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0074" h="105409">
                  <a:moveTo>
                    <a:pt x="136919" y="0"/>
                  </a:moveTo>
                  <a:lnTo>
                    <a:pt x="53761" y="78611"/>
                  </a:lnTo>
                  <a:lnTo>
                    <a:pt x="13806" y="37681"/>
                  </a:lnTo>
                  <a:lnTo>
                    <a:pt x="0" y="50837"/>
                  </a:lnTo>
                  <a:lnTo>
                    <a:pt x="53111" y="105410"/>
                  </a:lnTo>
                  <a:lnTo>
                    <a:pt x="67079" y="92416"/>
                  </a:lnTo>
                  <a:lnTo>
                    <a:pt x="150075" y="13643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5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Graphic 67" descr="Checkmark with solid fill">
              <a:extLst>
                <a:ext uri="{FF2B5EF4-FFF2-40B4-BE49-F238E27FC236}">
                  <a16:creationId xmlns:a16="http://schemas.microsoft.com/office/drawing/2014/main" id="{F445DF41-8520-4582-A71D-B5BA9ACBF33A}"/>
                </a:ext>
              </a:extLst>
            </p:cNvPr>
            <p:cNvSpPr/>
            <p:nvPr/>
          </p:nvSpPr>
          <p:spPr>
            <a:xfrm>
              <a:off x="2459752" y="4842513"/>
              <a:ext cx="150074" cy="105409"/>
            </a:xfrm>
            <a:custGeom>
              <a:avLst/>
              <a:gdLst>
                <a:gd name="connsiteX0" fmla="*/ 136919 w 150074"/>
                <a:gd name="connsiteY0" fmla="*/ 0 h 105409"/>
                <a:gd name="connsiteX1" fmla="*/ 53761 w 150074"/>
                <a:gd name="connsiteY1" fmla="*/ 78611 h 105409"/>
                <a:gd name="connsiteX2" fmla="*/ 13806 w 150074"/>
                <a:gd name="connsiteY2" fmla="*/ 37681 h 105409"/>
                <a:gd name="connsiteX3" fmla="*/ 0 w 150074"/>
                <a:gd name="connsiteY3" fmla="*/ 50837 h 105409"/>
                <a:gd name="connsiteX4" fmla="*/ 53111 w 150074"/>
                <a:gd name="connsiteY4" fmla="*/ 105410 h 105409"/>
                <a:gd name="connsiteX5" fmla="*/ 67079 w 150074"/>
                <a:gd name="connsiteY5" fmla="*/ 92416 h 105409"/>
                <a:gd name="connsiteX6" fmla="*/ 150075 w 150074"/>
                <a:gd name="connsiteY6" fmla="*/ 13643 h 10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0074" h="105409">
                  <a:moveTo>
                    <a:pt x="136919" y="0"/>
                  </a:moveTo>
                  <a:lnTo>
                    <a:pt x="53761" y="78611"/>
                  </a:lnTo>
                  <a:lnTo>
                    <a:pt x="13806" y="37681"/>
                  </a:lnTo>
                  <a:lnTo>
                    <a:pt x="0" y="50837"/>
                  </a:lnTo>
                  <a:lnTo>
                    <a:pt x="53111" y="105410"/>
                  </a:lnTo>
                  <a:lnTo>
                    <a:pt x="67079" y="92416"/>
                  </a:lnTo>
                  <a:lnTo>
                    <a:pt x="150075" y="13643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5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Graphic 67" descr="Checkmark with solid fill">
              <a:extLst>
                <a:ext uri="{FF2B5EF4-FFF2-40B4-BE49-F238E27FC236}">
                  <a16:creationId xmlns:a16="http://schemas.microsoft.com/office/drawing/2014/main" id="{069860C1-87DA-4EDC-8B64-CC635D4EE7F7}"/>
                </a:ext>
              </a:extLst>
            </p:cNvPr>
            <p:cNvSpPr/>
            <p:nvPr/>
          </p:nvSpPr>
          <p:spPr>
            <a:xfrm>
              <a:off x="2459752" y="5206891"/>
              <a:ext cx="150074" cy="105409"/>
            </a:xfrm>
            <a:custGeom>
              <a:avLst/>
              <a:gdLst>
                <a:gd name="connsiteX0" fmla="*/ 136919 w 150074"/>
                <a:gd name="connsiteY0" fmla="*/ 0 h 105409"/>
                <a:gd name="connsiteX1" fmla="*/ 53761 w 150074"/>
                <a:gd name="connsiteY1" fmla="*/ 78611 h 105409"/>
                <a:gd name="connsiteX2" fmla="*/ 13806 w 150074"/>
                <a:gd name="connsiteY2" fmla="*/ 37681 h 105409"/>
                <a:gd name="connsiteX3" fmla="*/ 0 w 150074"/>
                <a:gd name="connsiteY3" fmla="*/ 50837 h 105409"/>
                <a:gd name="connsiteX4" fmla="*/ 53111 w 150074"/>
                <a:gd name="connsiteY4" fmla="*/ 105410 h 105409"/>
                <a:gd name="connsiteX5" fmla="*/ 67079 w 150074"/>
                <a:gd name="connsiteY5" fmla="*/ 92416 h 105409"/>
                <a:gd name="connsiteX6" fmla="*/ 150075 w 150074"/>
                <a:gd name="connsiteY6" fmla="*/ 13643 h 10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0074" h="105409">
                  <a:moveTo>
                    <a:pt x="136919" y="0"/>
                  </a:moveTo>
                  <a:lnTo>
                    <a:pt x="53761" y="78611"/>
                  </a:lnTo>
                  <a:lnTo>
                    <a:pt x="13806" y="37681"/>
                  </a:lnTo>
                  <a:lnTo>
                    <a:pt x="0" y="50837"/>
                  </a:lnTo>
                  <a:lnTo>
                    <a:pt x="53111" y="105410"/>
                  </a:lnTo>
                  <a:lnTo>
                    <a:pt x="67079" y="92416"/>
                  </a:lnTo>
                  <a:lnTo>
                    <a:pt x="150075" y="13643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5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355DCFDA-74B0-4B0E-B38B-A3EC1020B976}"/>
                </a:ext>
              </a:extLst>
            </p:cNvPr>
            <p:cNvGrpSpPr/>
            <p:nvPr/>
          </p:nvGrpSpPr>
          <p:grpSpPr>
            <a:xfrm>
              <a:off x="2456326" y="4701624"/>
              <a:ext cx="1918940" cy="370404"/>
              <a:chOff x="2395885" y="4566050"/>
              <a:chExt cx="3119286" cy="370404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27C91CA8-3CBE-4EAB-A0F2-8F5E1329CD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395885" y="4566050"/>
                <a:ext cx="3119286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25C10CF7-BF04-496A-AD28-669E67EB26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395885" y="4936454"/>
                <a:ext cx="3119286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FA142F3-15BF-455C-B08A-5663B4C60E93}"/>
              </a:ext>
            </a:extLst>
          </p:cNvPr>
          <p:cNvSpPr/>
          <p:nvPr/>
        </p:nvSpPr>
        <p:spPr>
          <a:xfrm>
            <a:off x="7775969" y="1560218"/>
            <a:ext cx="3005322" cy="4123944"/>
          </a:xfrm>
          <a:prstGeom prst="roundRect">
            <a:avLst>
              <a:gd name="adj" fmla="val 508"/>
            </a:avLst>
          </a:prstGeom>
          <a:solidFill>
            <a:schemeClr val="bg1"/>
          </a:solidFill>
          <a:ln>
            <a:noFill/>
          </a:ln>
          <a:effectLst>
            <a:outerShdw blurRad="571500" dist="254000" dir="5400000" algn="ctr" rotWithShape="0">
              <a:srgbClr val="000000">
                <a:alpha val="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+mj-lt"/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DD60040D-ABEF-428B-97A2-13162EB7C8E0}"/>
              </a:ext>
            </a:extLst>
          </p:cNvPr>
          <p:cNvSpPr/>
          <p:nvPr/>
        </p:nvSpPr>
        <p:spPr>
          <a:xfrm>
            <a:off x="7775969" y="5491636"/>
            <a:ext cx="3005322" cy="192526"/>
          </a:xfrm>
          <a:prstGeom prst="roundRect">
            <a:avLst>
              <a:gd name="adj" fmla="val 508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4EDF0E3-98E7-4B5B-989C-61704BE0A0B4}"/>
              </a:ext>
            </a:extLst>
          </p:cNvPr>
          <p:cNvSpPr/>
          <p:nvPr/>
        </p:nvSpPr>
        <p:spPr>
          <a:xfrm>
            <a:off x="8348018" y="2213957"/>
            <a:ext cx="181042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b="1" baseline="30000" dirty="0">
                <a:solidFill>
                  <a:schemeClr val="accent3"/>
                </a:solidFill>
                <a:latin typeface="+mj-lt"/>
                <a:ea typeface="+mn-ea"/>
                <a:cs typeface="+mn-cs"/>
              </a:rPr>
              <a:t>$</a:t>
            </a:r>
            <a:r>
              <a:rPr lang="en-US" sz="5400" b="1" dirty="0">
                <a:solidFill>
                  <a:schemeClr val="accent3"/>
                </a:solidFill>
                <a:latin typeface="+mj-lt"/>
                <a:ea typeface="+mn-ea"/>
                <a:cs typeface="+mn-cs"/>
              </a:rPr>
              <a:t>551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B5EF3F2-1FE5-45A8-99D8-80BCE217F840}"/>
              </a:ext>
            </a:extLst>
          </p:cNvPr>
          <p:cNvSpPr/>
          <p:nvPr/>
        </p:nvSpPr>
        <p:spPr>
          <a:xfrm>
            <a:off x="8025528" y="1856319"/>
            <a:ext cx="250620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+mn-cs"/>
              </a:rPr>
              <a:t>Business Pack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3DD3C0A-81DA-432E-A9C8-EF4CFAF3AEDC}"/>
              </a:ext>
            </a:extLst>
          </p:cNvPr>
          <p:cNvSpPr/>
          <p:nvPr/>
        </p:nvSpPr>
        <p:spPr>
          <a:xfrm>
            <a:off x="8143716" y="3043205"/>
            <a:ext cx="2269831" cy="3487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1400" dirty="0">
                <a:ea typeface="+mn-ea"/>
                <a:cs typeface="+mn-cs"/>
              </a:rPr>
              <a:t>Monthly Plan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FB73E42A-CBF0-4811-A1C8-E7810BDD7EEB}"/>
              </a:ext>
            </a:extLst>
          </p:cNvPr>
          <p:cNvGrpSpPr/>
          <p:nvPr/>
        </p:nvGrpSpPr>
        <p:grpSpPr>
          <a:xfrm>
            <a:off x="8223213" y="3834642"/>
            <a:ext cx="2110834" cy="1068804"/>
            <a:chOff x="2456326" y="4389464"/>
            <a:chExt cx="1918940" cy="971640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C0F841DB-26AB-4E7F-ADA2-93FC5286FD43}"/>
                </a:ext>
              </a:extLst>
            </p:cNvPr>
            <p:cNvSpPr txBox="1"/>
            <p:nvPr/>
          </p:nvSpPr>
          <p:spPr>
            <a:xfrm>
              <a:off x="2646169" y="4389464"/>
              <a:ext cx="1725672" cy="230833"/>
            </a:xfrm>
            <a:prstGeom prst="rect">
              <a:avLst/>
            </a:prstGeom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lnSpc>
                  <a:spcPct val="140000"/>
                </a:lnSpc>
                <a:defRPr sz="1050">
                  <a:solidFill>
                    <a:schemeClr val="bg1"/>
                  </a:solidFill>
                  <a:latin typeface="+mj-lt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dirty="0">
                  <a:solidFill>
                    <a:schemeClr val="tx1"/>
                  </a:solidFill>
                  <a:latin typeface="+mn-lt"/>
                </a:rPr>
                <a:t>Lorem ipsum dolor </a:t>
              </a:r>
              <a:r>
                <a:rPr lang="en-US" dirty="0" err="1">
                  <a:solidFill>
                    <a:schemeClr val="tx1"/>
                  </a:solidFill>
                  <a:latin typeface="+mn-lt"/>
                </a:rPr>
                <a:t>amet</a:t>
              </a:r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0A87BB3D-2768-482C-AC2C-54FECA7DF5D5}"/>
                </a:ext>
              </a:extLst>
            </p:cNvPr>
            <p:cNvSpPr txBox="1"/>
            <p:nvPr/>
          </p:nvSpPr>
          <p:spPr>
            <a:xfrm>
              <a:off x="2646169" y="4759868"/>
              <a:ext cx="1725672" cy="230833"/>
            </a:xfrm>
            <a:prstGeom prst="rect">
              <a:avLst/>
            </a:prstGeom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lnSpc>
                  <a:spcPct val="140000"/>
                </a:lnSpc>
                <a:defRPr sz="1050">
                  <a:solidFill>
                    <a:schemeClr val="bg1"/>
                  </a:solidFill>
                  <a:latin typeface="+mj-lt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dirty="0">
                  <a:solidFill>
                    <a:schemeClr val="tx1"/>
                  </a:solidFill>
                  <a:latin typeface="+mn-lt"/>
                </a:rPr>
                <a:t>Lorem ipsum dolor </a:t>
              </a:r>
              <a:r>
                <a:rPr lang="en-US" dirty="0" err="1">
                  <a:solidFill>
                    <a:schemeClr val="tx1"/>
                  </a:solidFill>
                  <a:latin typeface="+mn-lt"/>
                </a:rPr>
                <a:t>amet</a:t>
              </a:r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CAA5AB79-D0FB-4B3F-B757-7D795430D4C7}"/>
                </a:ext>
              </a:extLst>
            </p:cNvPr>
            <p:cNvSpPr txBox="1"/>
            <p:nvPr/>
          </p:nvSpPr>
          <p:spPr>
            <a:xfrm>
              <a:off x="2646169" y="5130271"/>
              <a:ext cx="1725672" cy="230833"/>
            </a:xfrm>
            <a:prstGeom prst="rect">
              <a:avLst/>
            </a:prstGeom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lnSpc>
                  <a:spcPct val="140000"/>
                </a:lnSpc>
                <a:defRPr sz="1050">
                  <a:solidFill>
                    <a:schemeClr val="bg1"/>
                  </a:solidFill>
                  <a:latin typeface="+mj-lt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dirty="0">
                  <a:solidFill>
                    <a:schemeClr val="tx1"/>
                  </a:solidFill>
                  <a:latin typeface="+mn-lt"/>
                </a:rPr>
                <a:t>Lorem ipsum dolor </a:t>
              </a:r>
              <a:r>
                <a:rPr lang="en-US" dirty="0" err="1">
                  <a:solidFill>
                    <a:schemeClr val="tx1"/>
                  </a:solidFill>
                  <a:latin typeface="+mn-lt"/>
                </a:rPr>
                <a:t>amet</a:t>
              </a:r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5" name="Graphic 67" descr="Checkmark with solid fill">
              <a:extLst>
                <a:ext uri="{FF2B5EF4-FFF2-40B4-BE49-F238E27FC236}">
                  <a16:creationId xmlns:a16="http://schemas.microsoft.com/office/drawing/2014/main" id="{C994DEF6-8DB8-45D0-89AC-D55793A46ED7}"/>
                </a:ext>
              </a:extLst>
            </p:cNvPr>
            <p:cNvSpPr/>
            <p:nvPr/>
          </p:nvSpPr>
          <p:spPr>
            <a:xfrm>
              <a:off x="2459752" y="4466084"/>
              <a:ext cx="150074" cy="105409"/>
            </a:xfrm>
            <a:custGeom>
              <a:avLst/>
              <a:gdLst>
                <a:gd name="connsiteX0" fmla="*/ 136919 w 150074"/>
                <a:gd name="connsiteY0" fmla="*/ 0 h 105409"/>
                <a:gd name="connsiteX1" fmla="*/ 53761 w 150074"/>
                <a:gd name="connsiteY1" fmla="*/ 78611 h 105409"/>
                <a:gd name="connsiteX2" fmla="*/ 13806 w 150074"/>
                <a:gd name="connsiteY2" fmla="*/ 37681 h 105409"/>
                <a:gd name="connsiteX3" fmla="*/ 0 w 150074"/>
                <a:gd name="connsiteY3" fmla="*/ 50837 h 105409"/>
                <a:gd name="connsiteX4" fmla="*/ 53111 w 150074"/>
                <a:gd name="connsiteY4" fmla="*/ 105410 h 105409"/>
                <a:gd name="connsiteX5" fmla="*/ 67079 w 150074"/>
                <a:gd name="connsiteY5" fmla="*/ 92416 h 105409"/>
                <a:gd name="connsiteX6" fmla="*/ 150075 w 150074"/>
                <a:gd name="connsiteY6" fmla="*/ 13643 h 10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0074" h="105409">
                  <a:moveTo>
                    <a:pt x="136919" y="0"/>
                  </a:moveTo>
                  <a:lnTo>
                    <a:pt x="53761" y="78611"/>
                  </a:lnTo>
                  <a:lnTo>
                    <a:pt x="13806" y="37681"/>
                  </a:lnTo>
                  <a:lnTo>
                    <a:pt x="0" y="50837"/>
                  </a:lnTo>
                  <a:lnTo>
                    <a:pt x="53111" y="105410"/>
                  </a:lnTo>
                  <a:lnTo>
                    <a:pt x="67079" y="92416"/>
                  </a:lnTo>
                  <a:lnTo>
                    <a:pt x="150075" y="13643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5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Graphic 67" descr="Checkmark with solid fill">
              <a:extLst>
                <a:ext uri="{FF2B5EF4-FFF2-40B4-BE49-F238E27FC236}">
                  <a16:creationId xmlns:a16="http://schemas.microsoft.com/office/drawing/2014/main" id="{B62597CC-BFC1-470E-AE2F-7E71F6A8DBF1}"/>
                </a:ext>
              </a:extLst>
            </p:cNvPr>
            <p:cNvSpPr/>
            <p:nvPr/>
          </p:nvSpPr>
          <p:spPr>
            <a:xfrm>
              <a:off x="2459752" y="4842513"/>
              <a:ext cx="150074" cy="105409"/>
            </a:xfrm>
            <a:custGeom>
              <a:avLst/>
              <a:gdLst>
                <a:gd name="connsiteX0" fmla="*/ 136919 w 150074"/>
                <a:gd name="connsiteY0" fmla="*/ 0 h 105409"/>
                <a:gd name="connsiteX1" fmla="*/ 53761 w 150074"/>
                <a:gd name="connsiteY1" fmla="*/ 78611 h 105409"/>
                <a:gd name="connsiteX2" fmla="*/ 13806 w 150074"/>
                <a:gd name="connsiteY2" fmla="*/ 37681 h 105409"/>
                <a:gd name="connsiteX3" fmla="*/ 0 w 150074"/>
                <a:gd name="connsiteY3" fmla="*/ 50837 h 105409"/>
                <a:gd name="connsiteX4" fmla="*/ 53111 w 150074"/>
                <a:gd name="connsiteY4" fmla="*/ 105410 h 105409"/>
                <a:gd name="connsiteX5" fmla="*/ 67079 w 150074"/>
                <a:gd name="connsiteY5" fmla="*/ 92416 h 105409"/>
                <a:gd name="connsiteX6" fmla="*/ 150075 w 150074"/>
                <a:gd name="connsiteY6" fmla="*/ 13643 h 10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0074" h="105409">
                  <a:moveTo>
                    <a:pt x="136919" y="0"/>
                  </a:moveTo>
                  <a:lnTo>
                    <a:pt x="53761" y="78611"/>
                  </a:lnTo>
                  <a:lnTo>
                    <a:pt x="13806" y="37681"/>
                  </a:lnTo>
                  <a:lnTo>
                    <a:pt x="0" y="50837"/>
                  </a:lnTo>
                  <a:lnTo>
                    <a:pt x="53111" y="105410"/>
                  </a:lnTo>
                  <a:lnTo>
                    <a:pt x="67079" y="92416"/>
                  </a:lnTo>
                  <a:lnTo>
                    <a:pt x="150075" y="13643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5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Graphic 67" descr="Checkmark with solid fill">
              <a:extLst>
                <a:ext uri="{FF2B5EF4-FFF2-40B4-BE49-F238E27FC236}">
                  <a16:creationId xmlns:a16="http://schemas.microsoft.com/office/drawing/2014/main" id="{F5CE2162-0C98-489E-A3EC-8E84751B5328}"/>
                </a:ext>
              </a:extLst>
            </p:cNvPr>
            <p:cNvSpPr/>
            <p:nvPr/>
          </p:nvSpPr>
          <p:spPr>
            <a:xfrm>
              <a:off x="2459752" y="5206891"/>
              <a:ext cx="150074" cy="105409"/>
            </a:xfrm>
            <a:custGeom>
              <a:avLst/>
              <a:gdLst>
                <a:gd name="connsiteX0" fmla="*/ 136919 w 150074"/>
                <a:gd name="connsiteY0" fmla="*/ 0 h 105409"/>
                <a:gd name="connsiteX1" fmla="*/ 53761 w 150074"/>
                <a:gd name="connsiteY1" fmla="*/ 78611 h 105409"/>
                <a:gd name="connsiteX2" fmla="*/ 13806 w 150074"/>
                <a:gd name="connsiteY2" fmla="*/ 37681 h 105409"/>
                <a:gd name="connsiteX3" fmla="*/ 0 w 150074"/>
                <a:gd name="connsiteY3" fmla="*/ 50837 h 105409"/>
                <a:gd name="connsiteX4" fmla="*/ 53111 w 150074"/>
                <a:gd name="connsiteY4" fmla="*/ 105410 h 105409"/>
                <a:gd name="connsiteX5" fmla="*/ 67079 w 150074"/>
                <a:gd name="connsiteY5" fmla="*/ 92416 h 105409"/>
                <a:gd name="connsiteX6" fmla="*/ 150075 w 150074"/>
                <a:gd name="connsiteY6" fmla="*/ 13643 h 10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0074" h="105409">
                  <a:moveTo>
                    <a:pt x="136919" y="0"/>
                  </a:moveTo>
                  <a:lnTo>
                    <a:pt x="53761" y="78611"/>
                  </a:lnTo>
                  <a:lnTo>
                    <a:pt x="13806" y="37681"/>
                  </a:lnTo>
                  <a:lnTo>
                    <a:pt x="0" y="50837"/>
                  </a:lnTo>
                  <a:lnTo>
                    <a:pt x="53111" y="105410"/>
                  </a:lnTo>
                  <a:lnTo>
                    <a:pt x="67079" y="92416"/>
                  </a:lnTo>
                  <a:lnTo>
                    <a:pt x="150075" y="13643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5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82772E13-A4A8-4644-9EA6-CF42BA5969FB}"/>
                </a:ext>
              </a:extLst>
            </p:cNvPr>
            <p:cNvGrpSpPr/>
            <p:nvPr/>
          </p:nvGrpSpPr>
          <p:grpSpPr>
            <a:xfrm>
              <a:off x="2456326" y="4701624"/>
              <a:ext cx="1918940" cy="370404"/>
              <a:chOff x="2395885" y="4566050"/>
              <a:chExt cx="3119286" cy="370404"/>
            </a:xfrm>
          </p:grpSpPr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6CC9AA18-05D8-4471-9E19-820E8CAEDE0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395885" y="4566050"/>
                <a:ext cx="3119286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33EAEC16-1E11-40FF-B292-2A694C739D4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395885" y="4936454"/>
                <a:ext cx="3119286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F4E529D3-DCC4-40D8-8199-03A1F09DEAF9}"/>
              </a:ext>
            </a:extLst>
          </p:cNvPr>
          <p:cNvSpPr/>
          <p:nvPr/>
        </p:nvSpPr>
        <p:spPr>
          <a:xfrm>
            <a:off x="4593339" y="1560218"/>
            <a:ext cx="3005322" cy="4123944"/>
          </a:xfrm>
          <a:prstGeom prst="roundRect">
            <a:avLst>
              <a:gd name="adj" fmla="val 508"/>
            </a:avLst>
          </a:prstGeom>
          <a:solidFill>
            <a:schemeClr val="bg1"/>
          </a:solidFill>
          <a:ln>
            <a:noFill/>
          </a:ln>
          <a:effectLst>
            <a:outerShdw blurRad="571500" dist="254000" dir="5400000" algn="ctr" rotWithShape="0">
              <a:srgbClr val="000000">
                <a:alpha val="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+mj-l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5C0418-FBCA-489A-B5E1-C0AF39E1EF99}"/>
              </a:ext>
            </a:extLst>
          </p:cNvPr>
          <p:cNvSpPr/>
          <p:nvPr/>
        </p:nvSpPr>
        <p:spPr>
          <a:xfrm>
            <a:off x="5165388" y="2213957"/>
            <a:ext cx="181042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b="1" baseline="30000" dirty="0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t>$</a:t>
            </a:r>
            <a:r>
              <a:rPr lang="en-US" sz="5400" b="1" dirty="0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t>34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D4F809-33B7-4143-9724-7369364806BD}"/>
              </a:ext>
            </a:extLst>
          </p:cNvPr>
          <p:cNvSpPr/>
          <p:nvPr/>
        </p:nvSpPr>
        <p:spPr>
          <a:xfrm>
            <a:off x="4842898" y="1856319"/>
            <a:ext cx="250620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+mn-cs"/>
              </a:rPr>
              <a:t>Premium Pack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8D9628-A6F0-4F0D-B26D-D16034D28246}"/>
              </a:ext>
            </a:extLst>
          </p:cNvPr>
          <p:cNvSpPr/>
          <p:nvPr/>
        </p:nvSpPr>
        <p:spPr>
          <a:xfrm>
            <a:off x="4961086" y="3043205"/>
            <a:ext cx="2269831" cy="3487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1400" dirty="0">
                <a:ea typeface="+mn-ea"/>
                <a:cs typeface="+mn-cs"/>
              </a:rPr>
              <a:t>Monthly Plan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C8347747-A85C-4E80-A57F-96A226E24A2A}"/>
              </a:ext>
            </a:extLst>
          </p:cNvPr>
          <p:cNvGrpSpPr/>
          <p:nvPr/>
        </p:nvGrpSpPr>
        <p:grpSpPr>
          <a:xfrm>
            <a:off x="5040583" y="3834642"/>
            <a:ext cx="2110834" cy="1068804"/>
            <a:chOff x="2456326" y="4389464"/>
            <a:chExt cx="1918940" cy="971640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7C20F2FC-F9A2-4CFA-B102-DF765804C983}"/>
                </a:ext>
              </a:extLst>
            </p:cNvPr>
            <p:cNvSpPr txBox="1"/>
            <p:nvPr/>
          </p:nvSpPr>
          <p:spPr>
            <a:xfrm>
              <a:off x="2646169" y="4389464"/>
              <a:ext cx="1725672" cy="230833"/>
            </a:xfrm>
            <a:prstGeom prst="rect">
              <a:avLst/>
            </a:prstGeom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lnSpc>
                  <a:spcPct val="140000"/>
                </a:lnSpc>
                <a:defRPr sz="1050">
                  <a:solidFill>
                    <a:schemeClr val="bg1"/>
                  </a:solidFill>
                  <a:latin typeface="+mj-lt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dirty="0">
                  <a:solidFill>
                    <a:schemeClr val="tx1"/>
                  </a:solidFill>
                  <a:latin typeface="+mn-lt"/>
                </a:rPr>
                <a:t>Lorem ipsum dolor </a:t>
              </a:r>
              <a:r>
                <a:rPr lang="en-US" dirty="0" err="1">
                  <a:solidFill>
                    <a:schemeClr val="tx1"/>
                  </a:solidFill>
                  <a:latin typeface="+mn-lt"/>
                </a:rPr>
                <a:t>amet</a:t>
              </a:r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62EE3F50-E803-4F41-9F0A-8E1D7F3C5D97}"/>
                </a:ext>
              </a:extLst>
            </p:cNvPr>
            <p:cNvSpPr txBox="1"/>
            <p:nvPr/>
          </p:nvSpPr>
          <p:spPr>
            <a:xfrm>
              <a:off x="2646169" y="4759868"/>
              <a:ext cx="1725672" cy="230833"/>
            </a:xfrm>
            <a:prstGeom prst="rect">
              <a:avLst/>
            </a:prstGeom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lnSpc>
                  <a:spcPct val="140000"/>
                </a:lnSpc>
                <a:defRPr sz="1050">
                  <a:solidFill>
                    <a:schemeClr val="bg1"/>
                  </a:solidFill>
                  <a:latin typeface="+mj-lt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dirty="0">
                  <a:solidFill>
                    <a:schemeClr val="tx1"/>
                  </a:solidFill>
                  <a:latin typeface="+mn-lt"/>
                </a:rPr>
                <a:t>Lorem ipsum dolor </a:t>
              </a:r>
              <a:r>
                <a:rPr lang="en-US" dirty="0" err="1">
                  <a:solidFill>
                    <a:schemeClr val="tx1"/>
                  </a:solidFill>
                  <a:latin typeface="+mn-lt"/>
                </a:rPr>
                <a:t>amet</a:t>
              </a:r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6BBCBFDC-AC34-4EC6-A468-057C5F05E78E}"/>
                </a:ext>
              </a:extLst>
            </p:cNvPr>
            <p:cNvSpPr txBox="1"/>
            <p:nvPr/>
          </p:nvSpPr>
          <p:spPr>
            <a:xfrm>
              <a:off x="2646169" y="5130271"/>
              <a:ext cx="1725672" cy="230833"/>
            </a:xfrm>
            <a:prstGeom prst="rect">
              <a:avLst/>
            </a:prstGeom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lnSpc>
                  <a:spcPct val="140000"/>
                </a:lnSpc>
                <a:defRPr sz="1050">
                  <a:solidFill>
                    <a:schemeClr val="bg1"/>
                  </a:solidFill>
                  <a:latin typeface="+mj-lt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en-US" dirty="0">
                  <a:solidFill>
                    <a:schemeClr val="tx1"/>
                  </a:solidFill>
                  <a:latin typeface="+mn-lt"/>
                </a:rPr>
                <a:t>Lorem ipsum dolor </a:t>
              </a:r>
              <a:r>
                <a:rPr lang="en-US" dirty="0" err="1">
                  <a:solidFill>
                    <a:schemeClr val="tx1"/>
                  </a:solidFill>
                  <a:latin typeface="+mn-lt"/>
                </a:rPr>
                <a:t>amet</a:t>
              </a:r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5" name="Graphic 67" descr="Checkmark with solid fill">
              <a:extLst>
                <a:ext uri="{FF2B5EF4-FFF2-40B4-BE49-F238E27FC236}">
                  <a16:creationId xmlns:a16="http://schemas.microsoft.com/office/drawing/2014/main" id="{8BC21675-7BF3-4A82-80DC-8A884C2894DF}"/>
                </a:ext>
              </a:extLst>
            </p:cNvPr>
            <p:cNvSpPr/>
            <p:nvPr/>
          </p:nvSpPr>
          <p:spPr>
            <a:xfrm>
              <a:off x="2459752" y="4466084"/>
              <a:ext cx="150074" cy="105409"/>
            </a:xfrm>
            <a:custGeom>
              <a:avLst/>
              <a:gdLst>
                <a:gd name="connsiteX0" fmla="*/ 136919 w 150074"/>
                <a:gd name="connsiteY0" fmla="*/ 0 h 105409"/>
                <a:gd name="connsiteX1" fmla="*/ 53761 w 150074"/>
                <a:gd name="connsiteY1" fmla="*/ 78611 h 105409"/>
                <a:gd name="connsiteX2" fmla="*/ 13806 w 150074"/>
                <a:gd name="connsiteY2" fmla="*/ 37681 h 105409"/>
                <a:gd name="connsiteX3" fmla="*/ 0 w 150074"/>
                <a:gd name="connsiteY3" fmla="*/ 50837 h 105409"/>
                <a:gd name="connsiteX4" fmla="*/ 53111 w 150074"/>
                <a:gd name="connsiteY4" fmla="*/ 105410 h 105409"/>
                <a:gd name="connsiteX5" fmla="*/ 67079 w 150074"/>
                <a:gd name="connsiteY5" fmla="*/ 92416 h 105409"/>
                <a:gd name="connsiteX6" fmla="*/ 150075 w 150074"/>
                <a:gd name="connsiteY6" fmla="*/ 13643 h 10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0074" h="105409">
                  <a:moveTo>
                    <a:pt x="136919" y="0"/>
                  </a:moveTo>
                  <a:lnTo>
                    <a:pt x="53761" y="78611"/>
                  </a:lnTo>
                  <a:lnTo>
                    <a:pt x="13806" y="37681"/>
                  </a:lnTo>
                  <a:lnTo>
                    <a:pt x="0" y="50837"/>
                  </a:lnTo>
                  <a:lnTo>
                    <a:pt x="53111" y="105410"/>
                  </a:lnTo>
                  <a:lnTo>
                    <a:pt x="67079" y="92416"/>
                  </a:lnTo>
                  <a:lnTo>
                    <a:pt x="150075" y="13643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5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Graphic 67" descr="Checkmark with solid fill">
              <a:extLst>
                <a:ext uri="{FF2B5EF4-FFF2-40B4-BE49-F238E27FC236}">
                  <a16:creationId xmlns:a16="http://schemas.microsoft.com/office/drawing/2014/main" id="{60C9B00F-FB9D-47BE-BB43-65E1D7A0D3DF}"/>
                </a:ext>
              </a:extLst>
            </p:cNvPr>
            <p:cNvSpPr/>
            <p:nvPr/>
          </p:nvSpPr>
          <p:spPr>
            <a:xfrm>
              <a:off x="2459752" y="4842513"/>
              <a:ext cx="150074" cy="105409"/>
            </a:xfrm>
            <a:custGeom>
              <a:avLst/>
              <a:gdLst>
                <a:gd name="connsiteX0" fmla="*/ 136919 w 150074"/>
                <a:gd name="connsiteY0" fmla="*/ 0 h 105409"/>
                <a:gd name="connsiteX1" fmla="*/ 53761 w 150074"/>
                <a:gd name="connsiteY1" fmla="*/ 78611 h 105409"/>
                <a:gd name="connsiteX2" fmla="*/ 13806 w 150074"/>
                <a:gd name="connsiteY2" fmla="*/ 37681 h 105409"/>
                <a:gd name="connsiteX3" fmla="*/ 0 w 150074"/>
                <a:gd name="connsiteY3" fmla="*/ 50837 h 105409"/>
                <a:gd name="connsiteX4" fmla="*/ 53111 w 150074"/>
                <a:gd name="connsiteY4" fmla="*/ 105410 h 105409"/>
                <a:gd name="connsiteX5" fmla="*/ 67079 w 150074"/>
                <a:gd name="connsiteY5" fmla="*/ 92416 h 105409"/>
                <a:gd name="connsiteX6" fmla="*/ 150075 w 150074"/>
                <a:gd name="connsiteY6" fmla="*/ 13643 h 10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0074" h="105409">
                  <a:moveTo>
                    <a:pt x="136919" y="0"/>
                  </a:moveTo>
                  <a:lnTo>
                    <a:pt x="53761" y="78611"/>
                  </a:lnTo>
                  <a:lnTo>
                    <a:pt x="13806" y="37681"/>
                  </a:lnTo>
                  <a:lnTo>
                    <a:pt x="0" y="50837"/>
                  </a:lnTo>
                  <a:lnTo>
                    <a:pt x="53111" y="105410"/>
                  </a:lnTo>
                  <a:lnTo>
                    <a:pt x="67079" y="92416"/>
                  </a:lnTo>
                  <a:lnTo>
                    <a:pt x="150075" y="13643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5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Graphic 67" descr="Checkmark with solid fill">
              <a:extLst>
                <a:ext uri="{FF2B5EF4-FFF2-40B4-BE49-F238E27FC236}">
                  <a16:creationId xmlns:a16="http://schemas.microsoft.com/office/drawing/2014/main" id="{BF5CD544-C109-4558-B8C8-0ACA2081FE4C}"/>
                </a:ext>
              </a:extLst>
            </p:cNvPr>
            <p:cNvSpPr/>
            <p:nvPr/>
          </p:nvSpPr>
          <p:spPr>
            <a:xfrm>
              <a:off x="2459752" y="5206891"/>
              <a:ext cx="150074" cy="105409"/>
            </a:xfrm>
            <a:custGeom>
              <a:avLst/>
              <a:gdLst>
                <a:gd name="connsiteX0" fmla="*/ 136919 w 150074"/>
                <a:gd name="connsiteY0" fmla="*/ 0 h 105409"/>
                <a:gd name="connsiteX1" fmla="*/ 53761 w 150074"/>
                <a:gd name="connsiteY1" fmla="*/ 78611 h 105409"/>
                <a:gd name="connsiteX2" fmla="*/ 13806 w 150074"/>
                <a:gd name="connsiteY2" fmla="*/ 37681 h 105409"/>
                <a:gd name="connsiteX3" fmla="*/ 0 w 150074"/>
                <a:gd name="connsiteY3" fmla="*/ 50837 h 105409"/>
                <a:gd name="connsiteX4" fmla="*/ 53111 w 150074"/>
                <a:gd name="connsiteY4" fmla="*/ 105410 h 105409"/>
                <a:gd name="connsiteX5" fmla="*/ 67079 w 150074"/>
                <a:gd name="connsiteY5" fmla="*/ 92416 h 105409"/>
                <a:gd name="connsiteX6" fmla="*/ 150075 w 150074"/>
                <a:gd name="connsiteY6" fmla="*/ 13643 h 10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0074" h="105409">
                  <a:moveTo>
                    <a:pt x="136919" y="0"/>
                  </a:moveTo>
                  <a:lnTo>
                    <a:pt x="53761" y="78611"/>
                  </a:lnTo>
                  <a:lnTo>
                    <a:pt x="13806" y="37681"/>
                  </a:lnTo>
                  <a:lnTo>
                    <a:pt x="0" y="50837"/>
                  </a:lnTo>
                  <a:lnTo>
                    <a:pt x="53111" y="105410"/>
                  </a:lnTo>
                  <a:lnTo>
                    <a:pt x="67079" y="92416"/>
                  </a:lnTo>
                  <a:lnTo>
                    <a:pt x="150075" y="13643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 w="15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3B68018F-8AAC-44AA-8351-844A8E551298}"/>
                </a:ext>
              </a:extLst>
            </p:cNvPr>
            <p:cNvGrpSpPr/>
            <p:nvPr/>
          </p:nvGrpSpPr>
          <p:grpSpPr>
            <a:xfrm>
              <a:off x="2456326" y="4701624"/>
              <a:ext cx="1918940" cy="370404"/>
              <a:chOff x="2395885" y="4566050"/>
              <a:chExt cx="3119286" cy="370404"/>
            </a:xfrm>
          </p:grpSpPr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EBE7D332-1E70-47BB-B1B3-197BB026511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395885" y="4566050"/>
                <a:ext cx="3119286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8E7A8F96-5531-497B-A1F3-53BAB51BB1D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395885" y="4936454"/>
                <a:ext cx="3119286" cy="0"/>
              </a:xfrm>
              <a:prstGeom prst="line">
                <a:avLst/>
              </a:prstGeom>
              <a:ln>
                <a:solidFill>
                  <a:schemeClr val="bg1">
                    <a:lumMod val="85000"/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4F07D69D-CB45-430A-B40D-0DF1734823B3}"/>
              </a:ext>
            </a:extLst>
          </p:cNvPr>
          <p:cNvSpPr/>
          <p:nvPr/>
        </p:nvSpPr>
        <p:spPr>
          <a:xfrm>
            <a:off x="4593339" y="5491636"/>
            <a:ext cx="3005322" cy="192526"/>
          </a:xfrm>
          <a:prstGeom prst="roundRect">
            <a:avLst>
              <a:gd name="adj" fmla="val 508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3DEA397-E58A-425D-19CF-78909C01AFC8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ayment plan schedule</a:t>
            </a:r>
          </a:p>
        </p:txBody>
      </p:sp>
    </p:spTree>
    <p:extLst>
      <p:ext uri="{BB962C8B-B14F-4D97-AF65-F5344CB8AC3E}">
        <p14:creationId xmlns:p14="http://schemas.microsoft.com/office/powerpoint/2010/main" val="10183995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737276C-8ED6-2520-19FC-1F71FF5FCCDC}"/>
              </a:ext>
            </a:extLst>
          </p:cNvPr>
          <p:cNvSpPr/>
          <p:nvPr/>
        </p:nvSpPr>
        <p:spPr>
          <a:xfrm>
            <a:off x="9013018" y="1571680"/>
            <a:ext cx="2418913" cy="3928772"/>
          </a:xfrm>
          <a:prstGeom prst="roundRect">
            <a:avLst>
              <a:gd name="adj" fmla="val 7264"/>
            </a:avLst>
          </a:prstGeom>
          <a:solidFill>
            <a:schemeClr val="bg1"/>
          </a:solidFill>
          <a:ln>
            <a:noFill/>
          </a:ln>
          <a:effectLst>
            <a:outerShdw blurRad="1016000" dist="381000" dir="2100000" sx="90000" sy="9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4EA8330B-1CF6-0B96-00F8-35148A7D0EC6}"/>
              </a:ext>
            </a:extLst>
          </p:cNvPr>
          <p:cNvSpPr/>
          <p:nvPr/>
        </p:nvSpPr>
        <p:spPr>
          <a:xfrm>
            <a:off x="9298097" y="2327338"/>
            <a:ext cx="1848755" cy="1848753"/>
          </a:xfrm>
          <a:prstGeom prst="ellipse">
            <a:avLst/>
          </a:prstGeom>
          <a:solidFill>
            <a:schemeClr val="accent1">
              <a:alpha val="0"/>
            </a:schemeClr>
          </a:solidFill>
          <a:ln>
            <a:solidFill>
              <a:schemeClr val="tx1">
                <a:lumMod val="50000"/>
                <a:lumOff val="50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FE4BF40A-CD6C-C9E7-7141-D947AE834E80}"/>
              </a:ext>
            </a:extLst>
          </p:cNvPr>
          <p:cNvSpPr/>
          <p:nvPr/>
        </p:nvSpPr>
        <p:spPr>
          <a:xfrm>
            <a:off x="9452365" y="2481605"/>
            <a:ext cx="1540219" cy="1540219"/>
          </a:xfrm>
          <a:prstGeom prst="arc">
            <a:avLst>
              <a:gd name="adj1" fmla="val 16283334"/>
              <a:gd name="adj2" fmla="val 19905254"/>
            </a:avLst>
          </a:prstGeom>
          <a:solidFill>
            <a:schemeClr val="bg1">
              <a:alpha val="0"/>
            </a:schemeClr>
          </a:solidFill>
          <a:ln w="101600" cap="rnd">
            <a:gradFill>
              <a:gsLst>
                <a:gs pos="0">
                  <a:schemeClr val="accent3"/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11E271A1-92D3-F1C5-C1E1-1E30321C3B36}"/>
              </a:ext>
            </a:extLst>
          </p:cNvPr>
          <p:cNvSpPr/>
          <p:nvPr/>
        </p:nvSpPr>
        <p:spPr>
          <a:xfrm>
            <a:off x="9452365" y="2481605"/>
            <a:ext cx="1540219" cy="1540219"/>
          </a:xfrm>
          <a:prstGeom prst="arc">
            <a:avLst>
              <a:gd name="adj1" fmla="val 9941633"/>
              <a:gd name="adj2" fmla="val 15213579"/>
            </a:avLst>
          </a:prstGeom>
          <a:ln w="76200" cap="rnd">
            <a:gradFill>
              <a:gsLst>
                <a:gs pos="0">
                  <a:schemeClr val="accent2">
                    <a:lumMod val="60000"/>
                    <a:lumOff val="40000"/>
                  </a:schemeClr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765BF960-A3E2-2A5A-1272-DDE1A451827F}"/>
              </a:ext>
            </a:extLst>
          </p:cNvPr>
          <p:cNvSpPr/>
          <p:nvPr/>
        </p:nvSpPr>
        <p:spPr>
          <a:xfrm>
            <a:off x="9452365" y="2481605"/>
            <a:ext cx="1540219" cy="1540219"/>
          </a:xfrm>
          <a:prstGeom prst="arc">
            <a:avLst>
              <a:gd name="adj1" fmla="val 21039964"/>
              <a:gd name="adj2" fmla="val 8842053"/>
            </a:avLst>
          </a:prstGeom>
          <a:solidFill>
            <a:schemeClr val="bg1">
              <a:alpha val="0"/>
            </a:schemeClr>
          </a:solidFill>
          <a:ln w="101600" cap="rnd">
            <a:gradFill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313316E-AAE7-7ABC-FD6E-DF59BBC2902D}"/>
              </a:ext>
            </a:extLst>
          </p:cNvPr>
          <p:cNvSpPr txBox="1"/>
          <p:nvPr/>
        </p:nvSpPr>
        <p:spPr>
          <a:xfrm>
            <a:off x="9568317" y="2888587"/>
            <a:ext cx="130831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tabLst>
                <a:tab pos="1206500" algn="l"/>
              </a:tabLst>
            </a:pPr>
            <a:r>
              <a:rPr lang="en-US" sz="4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+</a:t>
            </a:r>
            <a:endParaRPr lang="id-ID" sz="4000" b="1" baseline="30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3AC519-46FD-867F-50CD-4546F6BE607E}"/>
              </a:ext>
            </a:extLst>
          </p:cNvPr>
          <p:cNvSpPr txBox="1"/>
          <p:nvPr/>
        </p:nvSpPr>
        <p:spPr>
          <a:xfrm>
            <a:off x="9366637" y="1753870"/>
            <a:ext cx="1711674" cy="4632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30000"/>
              </a:lnSpc>
              <a:spcBef>
                <a:spcPts val="1200"/>
              </a:spcBef>
              <a:defRPr sz="1400">
                <a:solidFill>
                  <a:schemeClr val="tx2"/>
                </a:solidFill>
                <a:ea typeface="+mn-ea"/>
                <a:cs typeface="+mn-cs"/>
              </a:defRPr>
            </a:lvl1pPr>
          </a:lstStyle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Detail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DC8A627-33ED-71C3-0015-41C2F3A7DD94}"/>
              </a:ext>
            </a:extLst>
          </p:cNvPr>
          <p:cNvSpPr txBox="1"/>
          <p:nvPr/>
        </p:nvSpPr>
        <p:spPr>
          <a:xfrm>
            <a:off x="9586578" y="4376514"/>
            <a:ext cx="1271792" cy="3519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  <a:spcAft>
                <a:spcPts val="600"/>
              </a:spcAft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  <a:cs typeface="+mn-cs"/>
              </a:rPr>
              <a:t>Sa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8811D47-82D6-63EF-A0FA-D08C5C84D3AE}"/>
              </a:ext>
            </a:extLst>
          </p:cNvPr>
          <p:cNvSpPr txBox="1"/>
          <p:nvPr/>
        </p:nvSpPr>
        <p:spPr>
          <a:xfrm>
            <a:off x="9586578" y="4727792"/>
            <a:ext cx="12717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cs"/>
              </a:rPr>
              <a:t>126,27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CA275A4-FC45-8D97-5B6A-4148C7D5E40B}"/>
              </a:ext>
            </a:extLst>
          </p:cNvPr>
          <p:cNvSpPr txBox="1"/>
          <p:nvPr/>
        </p:nvSpPr>
        <p:spPr>
          <a:xfrm>
            <a:off x="9586578" y="5127902"/>
            <a:ext cx="12717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>
                <a:solidFill>
                  <a:schemeClr val="bg2">
                    <a:lumMod val="50000"/>
                  </a:schemeClr>
                </a:solidFill>
                <a:cs typeface="+mn-cs"/>
              </a:rPr>
              <a:t>36,6%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D846CBF2-2AB4-8C62-E99F-205D64C28333}"/>
              </a:ext>
            </a:extLst>
          </p:cNvPr>
          <p:cNvSpPr/>
          <p:nvPr/>
        </p:nvSpPr>
        <p:spPr>
          <a:xfrm>
            <a:off x="917125" y="1571680"/>
            <a:ext cx="7770175" cy="3928772"/>
          </a:xfrm>
          <a:prstGeom prst="roundRect">
            <a:avLst>
              <a:gd name="adj" fmla="val 3064"/>
            </a:avLst>
          </a:prstGeom>
          <a:solidFill>
            <a:schemeClr val="bg1"/>
          </a:solidFill>
          <a:ln>
            <a:noFill/>
          </a:ln>
          <a:effectLst>
            <a:outerShdw blurRad="698500" dist="292100" dir="8100000" sx="92000" sy="92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aphicFrame>
        <p:nvGraphicFramePr>
          <p:cNvPr id="26" name="Table 4">
            <a:extLst>
              <a:ext uri="{FF2B5EF4-FFF2-40B4-BE49-F238E27FC236}">
                <a16:creationId xmlns:a16="http://schemas.microsoft.com/office/drawing/2014/main" id="{43A47C47-12BD-0199-4B6C-22E5C8E6F8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023494"/>
              </p:ext>
            </p:extLst>
          </p:nvPr>
        </p:nvGraphicFramePr>
        <p:xfrm>
          <a:off x="1253927" y="1974473"/>
          <a:ext cx="7096571" cy="312318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75967">
                  <a:extLst>
                    <a:ext uri="{9D8B030D-6E8A-4147-A177-3AD203B41FA5}">
                      <a16:colId xmlns:a16="http://schemas.microsoft.com/office/drawing/2014/main" val="1058751604"/>
                    </a:ext>
                  </a:extLst>
                </a:gridCol>
                <a:gridCol w="1789928">
                  <a:extLst>
                    <a:ext uri="{9D8B030D-6E8A-4147-A177-3AD203B41FA5}">
                      <a16:colId xmlns:a16="http://schemas.microsoft.com/office/drawing/2014/main" val="1265401989"/>
                    </a:ext>
                  </a:extLst>
                </a:gridCol>
                <a:gridCol w="788446">
                  <a:extLst>
                    <a:ext uri="{9D8B030D-6E8A-4147-A177-3AD203B41FA5}">
                      <a16:colId xmlns:a16="http://schemas.microsoft.com/office/drawing/2014/main" val="3209969680"/>
                    </a:ext>
                  </a:extLst>
                </a:gridCol>
                <a:gridCol w="788446">
                  <a:extLst>
                    <a:ext uri="{9D8B030D-6E8A-4147-A177-3AD203B41FA5}">
                      <a16:colId xmlns:a16="http://schemas.microsoft.com/office/drawing/2014/main" val="3525883328"/>
                    </a:ext>
                  </a:extLst>
                </a:gridCol>
                <a:gridCol w="788446">
                  <a:extLst>
                    <a:ext uri="{9D8B030D-6E8A-4147-A177-3AD203B41FA5}">
                      <a16:colId xmlns:a16="http://schemas.microsoft.com/office/drawing/2014/main" val="592701308"/>
                    </a:ext>
                  </a:extLst>
                </a:gridCol>
                <a:gridCol w="788446">
                  <a:extLst>
                    <a:ext uri="{9D8B030D-6E8A-4147-A177-3AD203B41FA5}">
                      <a16:colId xmlns:a16="http://schemas.microsoft.com/office/drawing/2014/main" val="5833316"/>
                    </a:ext>
                  </a:extLst>
                </a:gridCol>
                <a:gridCol w="788446">
                  <a:extLst>
                    <a:ext uri="{9D8B030D-6E8A-4147-A177-3AD203B41FA5}">
                      <a16:colId xmlns:a16="http://schemas.microsoft.com/office/drawing/2014/main" val="3999142002"/>
                    </a:ext>
                  </a:extLst>
                </a:gridCol>
                <a:gridCol w="788446">
                  <a:extLst>
                    <a:ext uri="{9D8B030D-6E8A-4147-A177-3AD203B41FA5}">
                      <a16:colId xmlns:a16="http://schemas.microsoft.com/office/drawing/2014/main" val="1231392928"/>
                    </a:ext>
                  </a:extLst>
                </a:gridCol>
              </a:tblGrid>
              <a:tr h="548902">
                <a:tc>
                  <a:txBody>
                    <a:bodyPr/>
                    <a:lstStyle/>
                    <a:p>
                      <a:pPr algn="ctr"/>
                      <a:endParaRPr lang="en-US" sz="1050" b="0" spc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b="0" spc="0" dirty="0">
                          <a:solidFill>
                            <a:schemeClr val="accent1"/>
                          </a:solidFill>
                          <a:latin typeface="+mj-lt"/>
                        </a:rPr>
                        <a:t>Product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pc="0" dirty="0">
                          <a:solidFill>
                            <a:schemeClr val="accent1"/>
                          </a:solidFill>
                          <a:latin typeface="+mj-lt"/>
                        </a:rPr>
                        <a:t>Q1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pc="0" dirty="0">
                          <a:solidFill>
                            <a:schemeClr val="accent1"/>
                          </a:solidFill>
                          <a:latin typeface="+mj-lt"/>
                        </a:rPr>
                        <a:t>Q2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pc="0" dirty="0">
                          <a:solidFill>
                            <a:schemeClr val="accent1"/>
                          </a:solidFill>
                          <a:latin typeface="+mj-lt"/>
                        </a:rPr>
                        <a:t>Q3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pc="0" dirty="0">
                          <a:solidFill>
                            <a:schemeClr val="accent1"/>
                          </a:solidFill>
                          <a:latin typeface="+mj-lt"/>
                        </a:rPr>
                        <a:t>Q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pc="0" dirty="0">
                          <a:solidFill>
                            <a:schemeClr val="accent1"/>
                          </a:solidFill>
                          <a:latin typeface="+mj-lt"/>
                        </a:rPr>
                        <a:t>Q5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spc="0" dirty="0">
                          <a:solidFill>
                            <a:schemeClr val="accent1"/>
                          </a:solidFill>
                          <a:latin typeface="+mj-lt"/>
                        </a:rPr>
                        <a:t>Q6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0489524"/>
                  </a:ext>
                </a:extLst>
              </a:tr>
              <a:tr h="514857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accent1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1" indent="0" algn="l"/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Product Tabl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alpha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>
                            <a:alpha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alpha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>
                            <a:alpha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383530"/>
                  </a:ext>
                </a:extLst>
              </a:tr>
              <a:tr h="514857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accent1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1" indent="0" algn="l"/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Product Tabl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5051798"/>
                  </a:ext>
                </a:extLst>
              </a:tr>
              <a:tr h="514857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accent1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1" indent="0" algn="l"/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Product Tabl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alpha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>
                            <a:alpha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alpha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>
                            <a:alpha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alpha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>
                            <a:alpha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0479433"/>
                  </a:ext>
                </a:extLst>
              </a:tr>
              <a:tr h="514857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accent1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1" indent="0" algn="l"/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Product Tabl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alpha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>
                            <a:alpha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4740469"/>
                  </a:ext>
                </a:extLst>
              </a:tr>
              <a:tr h="514857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accent1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1" indent="0" algn="l"/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Product Table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alpha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>
                            <a:alpha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alpha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>
                            <a:alpha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alpha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>
                            <a:alpha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alpha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>
                            <a:alpha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alpha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2" panose="05020102010507070707" pitchFamily="18" charset="2"/>
                        </a:rPr>
                        <a:t></a:t>
                      </a:r>
                      <a:endParaRPr kumimoji="0" 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1">
                            <a:alpha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9984198"/>
                  </a:ext>
                </a:extLst>
              </a:tr>
            </a:tbl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3E50CDF-47C5-1369-22D8-C464178CDF16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Quarterly Table</a:t>
            </a:r>
          </a:p>
        </p:txBody>
      </p:sp>
    </p:spTree>
    <p:extLst>
      <p:ext uri="{BB962C8B-B14F-4D97-AF65-F5344CB8AC3E}">
        <p14:creationId xmlns:p14="http://schemas.microsoft.com/office/powerpoint/2010/main" val="29308704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94ABCD8-3F10-4BEE-9230-E1C4BC7DC4C2}"/>
              </a:ext>
            </a:extLst>
          </p:cNvPr>
          <p:cNvSpPr/>
          <p:nvPr/>
        </p:nvSpPr>
        <p:spPr>
          <a:xfrm>
            <a:off x="742027" y="1243542"/>
            <a:ext cx="3494200" cy="454223"/>
          </a:xfrm>
          <a:prstGeom prst="rect">
            <a:avLst/>
          </a:prstGeom>
          <a:solidFill>
            <a:schemeClr val="accent1"/>
          </a:solidFill>
          <a:ln w="6350">
            <a:noFill/>
          </a:ln>
          <a:effectLst>
            <a:outerShdw blurRad="1270000" dist="381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+mj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C0FFC8B-5604-4180-A7A9-BC279C3308DE}"/>
              </a:ext>
            </a:extLst>
          </p:cNvPr>
          <p:cNvSpPr/>
          <p:nvPr/>
        </p:nvSpPr>
        <p:spPr>
          <a:xfrm>
            <a:off x="4323314" y="1243542"/>
            <a:ext cx="3494200" cy="454223"/>
          </a:xfrm>
          <a:prstGeom prst="rect">
            <a:avLst/>
          </a:prstGeom>
          <a:solidFill>
            <a:schemeClr val="accent2"/>
          </a:solidFill>
          <a:ln w="6350">
            <a:noFill/>
          </a:ln>
          <a:effectLst>
            <a:outerShdw blurRad="1270000" dist="381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+mj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B36DE64-1CFC-49D1-B101-0FC92579927E}"/>
              </a:ext>
            </a:extLst>
          </p:cNvPr>
          <p:cNvSpPr/>
          <p:nvPr/>
        </p:nvSpPr>
        <p:spPr>
          <a:xfrm>
            <a:off x="7909842" y="1243542"/>
            <a:ext cx="2205707" cy="454223"/>
          </a:xfrm>
          <a:prstGeom prst="rect">
            <a:avLst/>
          </a:prstGeom>
          <a:solidFill>
            <a:schemeClr val="accent3"/>
          </a:solidFill>
          <a:ln w="6350">
            <a:noFill/>
          </a:ln>
          <a:effectLst>
            <a:outerShdw blurRad="1270000" dist="381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+mj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0B5F8F6-142E-45F4-B5A6-D6338EF85AC2}"/>
              </a:ext>
            </a:extLst>
          </p:cNvPr>
          <p:cNvSpPr/>
          <p:nvPr/>
        </p:nvSpPr>
        <p:spPr>
          <a:xfrm>
            <a:off x="10229830" y="1243542"/>
            <a:ext cx="1220143" cy="45422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6350">
            <a:noFill/>
          </a:ln>
          <a:effectLst>
            <a:outerShdw blurRad="1270000" dist="381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latin typeface="+mj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E4626C-76F0-4384-800E-0BE366D9A584}"/>
              </a:ext>
            </a:extLst>
          </p:cNvPr>
          <p:cNvSpPr/>
          <p:nvPr/>
        </p:nvSpPr>
        <p:spPr>
          <a:xfrm>
            <a:off x="742027" y="1779105"/>
            <a:ext cx="3494200" cy="132849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1810E28-2126-4082-9020-30BD3FA244E2}"/>
              </a:ext>
            </a:extLst>
          </p:cNvPr>
          <p:cNvSpPr/>
          <p:nvPr/>
        </p:nvSpPr>
        <p:spPr>
          <a:xfrm>
            <a:off x="4323314" y="1779105"/>
            <a:ext cx="3494200" cy="132849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E22B2BA-CFC8-4FD6-85AC-1B4DE145B5C2}"/>
              </a:ext>
            </a:extLst>
          </p:cNvPr>
          <p:cNvSpPr/>
          <p:nvPr/>
        </p:nvSpPr>
        <p:spPr>
          <a:xfrm>
            <a:off x="7909841" y="1779105"/>
            <a:ext cx="2205707" cy="1328499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B27E2BE-5428-4A12-AC78-A92575CB7027}"/>
              </a:ext>
            </a:extLst>
          </p:cNvPr>
          <p:cNvSpPr/>
          <p:nvPr/>
        </p:nvSpPr>
        <p:spPr>
          <a:xfrm>
            <a:off x="10229828" y="1779105"/>
            <a:ext cx="1220145" cy="1328499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6350">
            <a:noFill/>
          </a:ln>
          <a:effectLst>
            <a:outerShdw blurRad="1270000" dist="381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C0886B7-8EA9-4C4B-8B48-D17AC3CD1D1A}"/>
              </a:ext>
            </a:extLst>
          </p:cNvPr>
          <p:cNvSpPr txBox="1"/>
          <p:nvPr/>
        </p:nvSpPr>
        <p:spPr>
          <a:xfrm>
            <a:off x="1136992" y="1321076"/>
            <a:ext cx="26569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Steps On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C00CC36-0A77-408E-BC88-B35268EF7FA8}"/>
              </a:ext>
            </a:extLst>
          </p:cNvPr>
          <p:cNvSpPr txBox="1"/>
          <p:nvPr/>
        </p:nvSpPr>
        <p:spPr>
          <a:xfrm>
            <a:off x="4718280" y="1321076"/>
            <a:ext cx="26569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Steps Tw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1D3B7E3-A95A-472E-833A-09A1D4D3BC05}"/>
              </a:ext>
            </a:extLst>
          </p:cNvPr>
          <p:cNvSpPr txBox="1"/>
          <p:nvPr/>
        </p:nvSpPr>
        <p:spPr>
          <a:xfrm>
            <a:off x="8038818" y="1321076"/>
            <a:ext cx="19323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Steps Thre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7C7BF21-50C8-4ED5-88BD-71FB9396D740}"/>
              </a:ext>
            </a:extLst>
          </p:cNvPr>
          <p:cNvSpPr txBox="1"/>
          <p:nvPr/>
        </p:nvSpPr>
        <p:spPr>
          <a:xfrm>
            <a:off x="10229828" y="1321076"/>
            <a:ext cx="12201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Steps Four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E159DBF-F6FD-4DAA-955F-82B60A0AE00C}"/>
              </a:ext>
            </a:extLst>
          </p:cNvPr>
          <p:cNvSpPr/>
          <p:nvPr/>
        </p:nvSpPr>
        <p:spPr>
          <a:xfrm>
            <a:off x="742027" y="3189345"/>
            <a:ext cx="3494200" cy="132849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781A8A3-8CF2-4927-A68D-BB1290CA4B26}"/>
              </a:ext>
            </a:extLst>
          </p:cNvPr>
          <p:cNvSpPr/>
          <p:nvPr/>
        </p:nvSpPr>
        <p:spPr>
          <a:xfrm>
            <a:off x="4323314" y="3189345"/>
            <a:ext cx="3494200" cy="132849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E704938-DEF4-4EC2-ADFB-28E7CA41D3A1}"/>
              </a:ext>
            </a:extLst>
          </p:cNvPr>
          <p:cNvSpPr/>
          <p:nvPr/>
        </p:nvSpPr>
        <p:spPr>
          <a:xfrm>
            <a:off x="7909841" y="3189345"/>
            <a:ext cx="2205707" cy="1328499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A270424-6B58-4B36-BE48-4CF8149FB9DA}"/>
              </a:ext>
            </a:extLst>
          </p:cNvPr>
          <p:cNvSpPr/>
          <p:nvPr/>
        </p:nvSpPr>
        <p:spPr>
          <a:xfrm>
            <a:off x="10229828" y="3189345"/>
            <a:ext cx="1220145" cy="1328499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6350">
            <a:noFill/>
          </a:ln>
          <a:effectLst>
            <a:outerShdw blurRad="1270000" dist="381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41F77C1-220B-470B-AA47-C459268B1508}"/>
              </a:ext>
            </a:extLst>
          </p:cNvPr>
          <p:cNvSpPr/>
          <p:nvPr/>
        </p:nvSpPr>
        <p:spPr>
          <a:xfrm>
            <a:off x="742027" y="4599585"/>
            <a:ext cx="3494200" cy="132849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3104B33-11D9-470A-9F4E-0FAFE41E3C24}"/>
              </a:ext>
            </a:extLst>
          </p:cNvPr>
          <p:cNvSpPr/>
          <p:nvPr/>
        </p:nvSpPr>
        <p:spPr>
          <a:xfrm>
            <a:off x="4323314" y="4599585"/>
            <a:ext cx="3494200" cy="132849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9656477-6729-4B83-AC2B-129120302912}"/>
              </a:ext>
            </a:extLst>
          </p:cNvPr>
          <p:cNvSpPr/>
          <p:nvPr/>
        </p:nvSpPr>
        <p:spPr>
          <a:xfrm>
            <a:off x="7909841" y="4599585"/>
            <a:ext cx="2205707" cy="1328499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B6B8ABF-83EA-4106-AB2E-D2E5E10475BE}"/>
              </a:ext>
            </a:extLst>
          </p:cNvPr>
          <p:cNvSpPr/>
          <p:nvPr/>
        </p:nvSpPr>
        <p:spPr>
          <a:xfrm>
            <a:off x="10229828" y="4599585"/>
            <a:ext cx="1220145" cy="1328499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6350">
            <a:noFill/>
          </a:ln>
          <a:effectLst>
            <a:outerShdw blurRad="1270000" dist="38100" dir="5400000" algn="t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F6CAD83-5F5F-4D5D-A5B2-34187EB88C5B}"/>
              </a:ext>
            </a:extLst>
          </p:cNvPr>
          <p:cNvSpPr txBox="1"/>
          <p:nvPr/>
        </p:nvSpPr>
        <p:spPr>
          <a:xfrm>
            <a:off x="4722952" y="1930800"/>
            <a:ext cx="2829509" cy="253916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40000"/>
              </a:lnSpc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  <a:latin typeface="+mn-lt"/>
              </a:rPr>
              <a:t>Lorem Ipsum  dolor sir </a:t>
            </a:r>
            <a:r>
              <a:rPr lang="en-US" dirty="0" err="1">
                <a:solidFill>
                  <a:schemeClr val="tx1"/>
                </a:solidFill>
                <a:latin typeface="+mn-lt"/>
              </a:rPr>
              <a:t>amet</a:t>
            </a:r>
            <a:r>
              <a:rPr lang="en-US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</a:rPr>
              <a:t>elit</a:t>
            </a:r>
            <a:endParaRPr lang="en-US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1FA448E-3FB0-481C-8247-49E427774A78}"/>
              </a:ext>
            </a:extLst>
          </p:cNvPr>
          <p:cNvSpPr txBox="1"/>
          <p:nvPr/>
        </p:nvSpPr>
        <p:spPr>
          <a:xfrm>
            <a:off x="4722952" y="2301204"/>
            <a:ext cx="2829509" cy="253916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40000"/>
              </a:lnSpc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  <a:latin typeface="+mn-lt"/>
              </a:rPr>
              <a:t>Lorem Ipsum  dolor sir </a:t>
            </a:r>
            <a:r>
              <a:rPr lang="en-US" dirty="0" err="1">
                <a:solidFill>
                  <a:schemeClr val="tx1"/>
                </a:solidFill>
                <a:latin typeface="+mn-lt"/>
              </a:rPr>
              <a:t>amet</a:t>
            </a:r>
            <a:r>
              <a:rPr lang="en-US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</a:rPr>
              <a:t>elit</a:t>
            </a:r>
            <a:endParaRPr lang="en-US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0FA6E6D-6D4B-4C1B-9753-8529BB359845}"/>
              </a:ext>
            </a:extLst>
          </p:cNvPr>
          <p:cNvSpPr txBox="1"/>
          <p:nvPr/>
        </p:nvSpPr>
        <p:spPr>
          <a:xfrm>
            <a:off x="4722952" y="2671607"/>
            <a:ext cx="2829509" cy="253916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40000"/>
              </a:lnSpc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  <a:latin typeface="+mn-lt"/>
              </a:rPr>
              <a:t>Lorem Ipsum  dolor sir </a:t>
            </a:r>
            <a:r>
              <a:rPr lang="en-US" dirty="0" err="1">
                <a:solidFill>
                  <a:schemeClr val="tx1"/>
                </a:solidFill>
                <a:latin typeface="+mn-lt"/>
              </a:rPr>
              <a:t>amet</a:t>
            </a:r>
            <a:r>
              <a:rPr lang="en-US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</a:rPr>
              <a:t>elit</a:t>
            </a:r>
            <a:endParaRPr lang="en-US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085C326-07C7-4B3A-BB12-492C18AD25B3}"/>
              </a:ext>
            </a:extLst>
          </p:cNvPr>
          <p:cNvSpPr txBox="1"/>
          <p:nvPr/>
        </p:nvSpPr>
        <p:spPr>
          <a:xfrm>
            <a:off x="4722952" y="3330556"/>
            <a:ext cx="2829509" cy="253916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40000"/>
              </a:lnSpc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  <a:latin typeface="+mn-lt"/>
              </a:rPr>
              <a:t>Lorem Ipsum  dolor sir </a:t>
            </a:r>
            <a:r>
              <a:rPr lang="en-US" dirty="0" err="1">
                <a:solidFill>
                  <a:schemeClr val="tx1"/>
                </a:solidFill>
                <a:latin typeface="+mn-lt"/>
              </a:rPr>
              <a:t>amet</a:t>
            </a:r>
            <a:r>
              <a:rPr lang="en-US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</a:rPr>
              <a:t>elit</a:t>
            </a:r>
            <a:endParaRPr lang="en-US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ED15056-B4DC-4C4B-9AEB-C3304010459F}"/>
              </a:ext>
            </a:extLst>
          </p:cNvPr>
          <p:cNvSpPr txBox="1"/>
          <p:nvPr/>
        </p:nvSpPr>
        <p:spPr>
          <a:xfrm>
            <a:off x="4722952" y="3700960"/>
            <a:ext cx="2829509" cy="253916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40000"/>
              </a:lnSpc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  <a:latin typeface="+mn-lt"/>
              </a:rPr>
              <a:t>Lorem Ipsum  dolor sir </a:t>
            </a:r>
            <a:r>
              <a:rPr lang="en-US" dirty="0" err="1">
                <a:solidFill>
                  <a:schemeClr val="tx1"/>
                </a:solidFill>
                <a:latin typeface="+mn-lt"/>
              </a:rPr>
              <a:t>amet</a:t>
            </a:r>
            <a:r>
              <a:rPr lang="en-US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</a:rPr>
              <a:t>elit</a:t>
            </a:r>
            <a:endParaRPr lang="en-US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FE277D0-C08A-4496-8984-345CB0B43F13}"/>
              </a:ext>
            </a:extLst>
          </p:cNvPr>
          <p:cNvSpPr txBox="1"/>
          <p:nvPr/>
        </p:nvSpPr>
        <p:spPr>
          <a:xfrm>
            <a:off x="4722952" y="4071363"/>
            <a:ext cx="2829509" cy="253916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40000"/>
              </a:lnSpc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  <a:latin typeface="+mn-lt"/>
              </a:rPr>
              <a:t>Lorem Ipsum  dolor sir </a:t>
            </a:r>
            <a:r>
              <a:rPr lang="en-US" dirty="0" err="1">
                <a:solidFill>
                  <a:schemeClr val="tx1"/>
                </a:solidFill>
                <a:latin typeface="+mn-lt"/>
              </a:rPr>
              <a:t>amet</a:t>
            </a:r>
            <a:r>
              <a:rPr lang="en-US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</a:rPr>
              <a:t>elit</a:t>
            </a:r>
            <a:endParaRPr lang="en-US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2FFA448-E5B1-4883-8E32-888D08C654E7}"/>
              </a:ext>
            </a:extLst>
          </p:cNvPr>
          <p:cNvSpPr txBox="1"/>
          <p:nvPr/>
        </p:nvSpPr>
        <p:spPr>
          <a:xfrm>
            <a:off x="4722952" y="4739478"/>
            <a:ext cx="2829509" cy="253916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40000"/>
              </a:lnSpc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  <a:latin typeface="+mn-lt"/>
              </a:rPr>
              <a:t>Lorem Ipsum  dolor sir </a:t>
            </a:r>
            <a:r>
              <a:rPr lang="en-US" dirty="0" err="1">
                <a:solidFill>
                  <a:schemeClr val="tx1"/>
                </a:solidFill>
                <a:latin typeface="+mn-lt"/>
              </a:rPr>
              <a:t>amet</a:t>
            </a:r>
            <a:r>
              <a:rPr lang="en-US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</a:rPr>
              <a:t>elit</a:t>
            </a:r>
            <a:endParaRPr lang="en-US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510876D-C961-49EC-A519-73B23C5CE3FC}"/>
              </a:ext>
            </a:extLst>
          </p:cNvPr>
          <p:cNvSpPr txBox="1"/>
          <p:nvPr/>
        </p:nvSpPr>
        <p:spPr>
          <a:xfrm>
            <a:off x="4722952" y="5109882"/>
            <a:ext cx="2829509" cy="253916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40000"/>
              </a:lnSpc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  <a:latin typeface="+mn-lt"/>
              </a:rPr>
              <a:t>Lorem Ipsum  dolor sir </a:t>
            </a:r>
            <a:r>
              <a:rPr lang="en-US" dirty="0" err="1">
                <a:solidFill>
                  <a:schemeClr val="tx1"/>
                </a:solidFill>
                <a:latin typeface="+mn-lt"/>
              </a:rPr>
              <a:t>amet</a:t>
            </a:r>
            <a:r>
              <a:rPr lang="en-US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</a:rPr>
              <a:t>elit</a:t>
            </a:r>
            <a:endParaRPr lang="en-US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9E3330C-7AD3-4473-A6E9-2DFFBCCDD2CE}"/>
              </a:ext>
            </a:extLst>
          </p:cNvPr>
          <p:cNvSpPr txBox="1"/>
          <p:nvPr/>
        </p:nvSpPr>
        <p:spPr>
          <a:xfrm>
            <a:off x="4722952" y="5480285"/>
            <a:ext cx="2829509" cy="253916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40000"/>
              </a:lnSpc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  <a:latin typeface="+mn-lt"/>
              </a:rPr>
              <a:t>Lorem Ipsum  dolor sir </a:t>
            </a:r>
            <a:r>
              <a:rPr lang="en-US" dirty="0" err="1">
                <a:solidFill>
                  <a:schemeClr val="tx1"/>
                </a:solidFill>
                <a:latin typeface="+mn-lt"/>
              </a:rPr>
              <a:t>amet</a:t>
            </a:r>
            <a:r>
              <a:rPr lang="en-US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+mn-lt"/>
              </a:rPr>
              <a:t>elit</a:t>
            </a:r>
            <a:endParaRPr lang="en-US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EEC2569-BC9F-4700-BF45-0D7B00569115}"/>
              </a:ext>
            </a:extLst>
          </p:cNvPr>
          <p:cNvSpPr txBox="1"/>
          <p:nvPr/>
        </p:nvSpPr>
        <p:spPr>
          <a:xfrm>
            <a:off x="983885" y="1955657"/>
            <a:ext cx="2981512" cy="91480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1050" dirty="0"/>
              <a:t>Lorem ipsum dolor sit </a:t>
            </a:r>
            <a:r>
              <a:rPr lang="en-US" sz="1050" dirty="0" err="1"/>
              <a:t>amet</a:t>
            </a:r>
            <a:r>
              <a:rPr lang="en-US" sz="1050" dirty="0"/>
              <a:t>, </a:t>
            </a:r>
            <a:r>
              <a:rPr lang="en-US" sz="1050" dirty="0" err="1"/>
              <a:t>consectetur</a:t>
            </a:r>
            <a:r>
              <a:rPr lang="en-US" sz="1050" dirty="0"/>
              <a:t> </a:t>
            </a:r>
            <a:r>
              <a:rPr lang="en-US" sz="1050" dirty="0" err="1"/>
              <a:t>adipiscing</a:t>
            </a:r>
            <a:r>
              <a:rPr lang="en-US" sz="1050" dirty="0"/>
              <a:t> </a:t>
            </a:r>
            <a:r>
              <a:rPr lang="en-US" sz="1050" dirty="0" err="1"/>
              <a:t>elit</a:t>
            </a:r>
            <a:r>
              <a:rPr lang="en-US" sz="1050" dirty="0"/>
              <a:t>. Sed </a:t>
            </a:r>
            <a:r>
              <a:rPr lang="en-US" sz="1050" dirty="0" err="1"/>
              <a:t>iaculis</a:t>
            </a:r>
            <a:r>
              <a:rPr lang="en-US" sz="1050" dirty="0"/>
              <a:t> </a:t>
            </a:r>
            <a:r>
              <a:rPr lang="en-US" sz="1050" dirty="0" err="1"/>
              <a:t>mattis</a:t>
            </a:r>
            <a:r>
              <a:rPr lang="en-US" sz="1050" dirty="0"/>
              <a:t> </a:t>
            </a:r>
            <a:r>
              <a:rPr lang="en-US" sz="1050" dirty="0" err="1"/>
              <a:t>augue</a:t>
            </a:r>
            <a:r>
              <a:rPr lang="en-US" sz="1050" dirty="0"/>
              <a:t>, et </a:t>
            </a:r>
            <a:r>
              <a:rPr lang="en-US" sz="1050" dirty="0" err="1"/>
              <a:t>hendrerit</a:t>
            </a:r>
            <a:r>
              <a:rPr lang="en-US" sz="1050" dirty="0"/>
              <a:t> </a:t>
            </a:r>
            <a:r>
              <a:rPr lang="en-US" sz="1050" dirty="0" err="1"/>
              <a:t>augue</a:t>
            </a:r>
            <a:r>
              <a:rPr lang="en-US" sz="1050" dirty="0"/>
              <a:t> semper sed. Nunc sit </a:t>
            </a:r>
            <a:r>
              <a:rPr lang="en-US" sz="1050" dirty="0" err="1"/>
              <a:t>amet</a:t>
            </a:r>
            <a:r>
              <a:rPr lang="en-US" sz="1050" dirty="0"/>
              <a:t> </a:t>
            </a:r>
            <a:r>
              <a:rPr lang="en-US" sz="1050" dirty="0" err="1"/>
              <a:t>posuere</a:t>
            </a:r>
            <a:r>
              <a:rPr lang="en-US" sz="1050" dirty="0"/>
              <a:t> </a:t>
            </a:r>
            <a:r>
              <a:rPr lang="en-US" sz="1050" dirty="0" err="1"/>
              <a:t>massa</a:t>
            </a:r>
            <a:r>
              <a:rPr lang="en-US" sz="1050" dirty="0"/>
              <a:t>. Donec </a:t>
            </a:r>
            <a:r>
              <a:rPr lang="en-US" sz="1050" dirty="0" err="1"/>
              <a:t>euismod</a:t>
            </a:r>
            <a:endParaRPr lang="en-US" sz="1050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34B2629-8DB5-46B2-AC16-9B93993E84B7}"/>
              </a:ext>
            </a:extLst>
          </p:cNvPr>
          <p:cNvSpPr txBox="1"/>
          <p:nvPr/>
        </p:nvSpPr>
        <p:spPr>
          <a:xfrm>
            <a:off x="983885" y="3365897"/>
            <a:ext cx="2981512" cy="914802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40000"/>
              </a:lnSpc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lnSpc>
                <a:spcPct val="130000"/>
              </a:lnSpc>
            </a:pPr>
            <a:r>
              <a:rPr lang="en-ID" dirty="0">
                <a:solidFill>
                  <a:schemeClr val="tx1"/>
                </a:solidFill>
                <a:latin typeface="+mn-lt"/>
              </a:rPr>
              <a:t>Lorem ipsum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dolor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 sit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amet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,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consectetur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adipiscing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elit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.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Sed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iaculis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mattis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augue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, et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hendrerit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augue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 semper sed. Nunc sit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amet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posuere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massa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. Donec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euismod</a:t>
            </a:r>
            <a:endParaRPr lang="en-ID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8D517B7-49D3-45CE-96D0-02E4CEA94E96}"/>
              </a:ext>
            </a:extLst>
          </p:cNvPr>
          <p:cNvSpPr txBox="1"/>
          <p:nvPr/>
        </p:nvSpPr>
        <p:spPr>
          <a:xfrm>
            <a:off x="983885" y="4776137"/>
            <a:ext cx="2981512" cy="914802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40000"/>
              </a:lnSpc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lnSpc>
                <a:spcPct val="130000"/>
              </a:lnSpc>
            </a:pPr>
            <a:r>
              <a:rPr lang="en-ID" dirty="0">
                <a:solidFill>
                  <a:schemeClr val="tx1"/>
                </a:solidFill>
                <a:latin typeface="+mn-lt"/>
              </a:rPr>
              <a:t>Lorem ipsum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dolor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 sit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amet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,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consectetur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adipiscing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elit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.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Sed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iaculis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mattis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augue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, et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hendrerit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augue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 semper sed. Nunc sit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amet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posuere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massa</a:t>
            </a:r>
            <a:r>
              <a:rPr lang="en-ID" dirty="0">
                <a:solidFill>
                  <a:schemeClr val="tx1"/>
                </a:solidFill>
                <a:latin typeface="+mn-lt"/>
              </a:rPr>
              <a:t>. Donec </a:t>
            </a:r>
            <a:r>
              <a:rPr lang="en-ID" dirty="0" err="1">
                <a:solidFill>
                  <a:schemeClr val="tx1"/>
                </a:solidFill>
                <a:latin typeface="+mn-lt"/>
              </a:rPr>
              <a:t>euismod</a:t>
            </a:r>
            <a:endParaRPr lang="en-ID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9" name="Graphic 67" descr="Checkmark with solid fill">
            <a:extLst>
              <a:ext uri="{FF2B5EF4-FFF2-40B4-BE49-F238E27FC236}">
                <a16:creationId xmlns:a16="http://schemas.microsoft.com/office/drawing/2014/main" id="{AA9AD13C-978B-4B29-9998-C8D1406F564D}"/>
              </a:ext>
            </a:extLst>
          </p:cNvPr>
          <p:cNvSpPr/>
          <p:nvPr/>
        </p:nvSpPr>
        <p:spPr>
          <a:xfrm>
            <a:off x="4536536" y="2007420"/>
            <a:ext cx="150074" cy="105409"/>
          </a:xfrm>
          <a:custGeom>
            <a:avLst/>
            <a:gdLst>
              <a:gd name="connsiteX0" fmla="*/ 136919 w 150074"/>
              <a:gd name="connsiteY0" fmla="*/ 0 h 105409"/>
              <a:gd name="connsiteX1" fmla="*/ 53761 w 150074"/>
              <a:gd name="connsiteY1" fmla="*/ 78611 h 105409"/>
              <a:gd name="connsiteX2" fmla="*/ 13806 w 150074"/>
              <a:gd name="connsiteY2" fmla="*/ 37681 h 105409"/>
              <a:gd name="connsiteX3" fmla="*/ 0 w 150074"/>
              <a:gd name="connsiteY3" fmla="*/ 50837 h 105409"/>
              <a:gd name="connsiteX4" fmla="*/ 53111 w 150074"/>
              <a:gd name="connsiteY4" fmla="*/ 105410 h 105409"/>
              <a:gd name="connsiteX5" fmla="*/ 67079 w 150074"/>
              <a:gd name="connsiteY5" fmla="*/ 92416 h 105409"/>
              <a:gd name="connsiteX6" fmla="*/ 150075 w 150074"/>
              <a:gd name="connsiteY6" fmla="*/ 13643 h 1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074" h="105409">
                <a:moveTo>
                  <a:pt x="136919" y="0"/>
                </a:moveTo>
                <a:lnTo>
                  <a:pt x="53761" y="78611"/>
                </a:lnTo>
                <a:lnTo>
                  <a:pt x="13806" y="37681"/>
                </a:lnTo>
                <a:lnTo>
                  <a:pt x="0" y="50837"/>
                </a:lnTo>
                <a:lnTo>
                  <a:pt x="53111" y="105410"/>
                </a:lnTo>
                <a:lnTo>
                  <a:pt x="67079" y="92416"/>
                </a:lnTo>
                <a:lnTo>
                  <a:pt x="150075" y="13643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15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70" name="Graphic 67" descr="Checkmark with solid fill">
            <a:extLst>
              <a:ext uri="{FF2B5EF4-FFF2-40B4-BE49-F238E27FC236}">
                <a16:creationId xmlns:a16="http://schemas.microsoft.com/office/drawing/2014/main" id="{A5A6253C-470D-4530-B03D-00C26D563B4A}"/>
              </a:ext>
            </a:extLst>
          </p:cNvPr>
          <p:cNvSpPr/>
          <p:nvPr/>
        </p:nvSpPr>
        <p:spPr>
          <a:xfrm>
            <a:off x="4536536" y="2383849"/>
            <a:ext cx="150074" cy="105409"/>
          </a:xfrm>
          <a:custGeom>
            <a:avLst/>
            <a:gdLst>
              <a:gd name="connsiteX0" fmla="*/ 136919 w 150074"/>
              <a:gd name="connsiteY0" fmla="*/ 0 h 105409"/>
              <a:gd name="connsiteX1" fmla="*/ 53761 w 150074"/>
              <a:gd name="connsiteY1" fmla="*/ 78611 h 105409"/>
              <a:gd name="connsiteX2" fmla="*/ 13806 w 150074"/>
              <a:gd name="connsiteY2" fmla="*/ 37681 h 105409"/>
              <a:gd name="connsiteX3" fmla="*/ 0 w 150074"/>
              <a:gd name="connsiteY3" fmla="*/ 50837 h 105409"/>
              <a:gd name="connsiteX4" fmla="*/ 53111 w 150074"/>
              <a:gd name="connsiteY4" fmla="*/ 105410 h 105409"/>
              <a:gd name="connsiteX5" fmla="*/ 67079 w 150074"/>
              <a:gd name="connsiteY5" fmla="*/ 92416 h 105409"/>
              <a:gd name="connsiteX6" fmla="*/ 150075 w 150074"/>
              <a:gd name="connsiteY6" fmla="*/ 13643 h 1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074" h="105409">
                <a:moveTo>
                  <a:pt x="136919" y="0"/>
                </a:moveTo>
                <a:lnTo>
                  <a:pt x="53761" y="78611"/>
                </a:lnTo>
                <a:lnTo>
                  <a:pt x="13806" y="37681"/>
                </a:lnTo>
                <a:lnTo>
                  <a:pt x="0" y="50837"/>
                </a:lnTo>
                <a:lnTo>
                  <a:pt x="53111" y="105410"/>
                </a:lnTo>
                <a:lnTo>
                  <a:pt x="67079" y="92416"/>
                </a:lnTo>
                <a:lnTo>
                  <a:pt x="150075" y="13643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15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1" name="Graphic 67" descr="Checkmark with solid fill">
            <a:extLst>
              <a:ext uri="{FF2B5EF4-FFF2-40B4-BE49-F238E27FC236}">
                <a16:creationId xmlns:a16="http://schemas.microsoft.com/office/drawing/2014/main" id="{81D41D9C-468F-4286-A210-0C2E20542B10}"/>
              </a:ext>
            </a:extLst>
          </p:cNvPr>
          <p:cNvSpPr/>
          <p:nvPr/>
        </p:nvSpPr>
        <p:spPr>
          <a:xfrm>
            <a:off x="4536536" y="2748227"/>
            <a:ext cx="150074" cy="105409"/>
          </a:xfrm>
          <a:custGeom>
            <a:avLst/>
            <a:gdLst>
              <a:gd name="connsiteX0" fmla="*/ 136919 w 150074"/>
              <a:gd name="connsiteY0" fmla="*/ 0 h 105409"/>
              <a:gd name="connsiteX1" fmla="*/ 53761 w 150074"/>
              <a:gd name="connsiteY1" fmla="*/ 78611 h 105409"/>
              <a:gd name="connsiteX2" fmla="*/ 13806 w 150074"/>
              <a:gd name="connsiteY2" fmla="*/ 37681 h 105409"/>
              <a:gd name="connsiteX3" fmla="*/ 0 w 150074"/>
              <a:gd name="connsiteY3" fmla="*/ 50837 h 105409"/>
              <a:gd name="connsiteX4" fmla="*/ 53111 w 150074"/>
              <a:gd name="connsiteY4" fmla="*/ 105410 h 105409"/>
              <a:gd name="connsiteX5" fmla="*/ 67079 w 150074"/>
              <a:gd name="connsiteY5" fmla="*/ 92416 h 105409"/>
              <a:gd name="connsiteX6" fmla="*/ 150075 w 150074"/>
              <a:gd name="connsiteY6" fmla="*/ 13643 h 1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074" h="105409">
                <a:moveTo>
                  <a:pt x="136919" y="0"/>
                </a:moveTo>
                <a:lnTo>
                  <a:pt x="53761" y="78611"/>
                </a:lnTo>
                <a:lnTo>
                  <a:pt x="13806" y="37681"/>
                </a:lnTo>
                <a:lnTo>
                  <a:pt x="0" y="50837"/>
                </a:lnTo>
                <a:lnTo>
                  <a:pt x="53111" y="105410"/>
                </a:lnTo>
                <a:lnTo>
                  <a:pt x="67079" y="92416"/>
                </a:lnTo>
                <a:lnTo>
                  <a:pt x="150075" y="13643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15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2" name="Graphic 67" descr="Checkmark with solid fill">
            <a:extLst>
              <a:ext uri="{FF2B5EF4-FFF2-40B4-BE49-F238E27FC236}">
                <a16:creationId xmlns:a16="http://schemas.microsoft.com/office/drawing/2014/main" id="{623D30F8-D617-4B95-9CC4-EBF4B38A84B9}"/>
              </a:ext>
            </a:extLst>
          </p:cNvPr>
          <p:cNvSpPr/>
          <p:nvPr/>
        </p:nvSpPr>
        <p:spPr>
          <a:xfrm>
            <a:off x="4536536" y="3407176"/>
            <a:ext cx="150074" cy="105409"/>
          </a:xfrm>
          <a:custGeom>
            <a:avLst/>
            <a:gdLst>
              <a:gd name="connsiteX0" fmla="*/ 136919 w 150074"/>
              <a:gd name="connsiteY0" fmla="*/ 0 h 105409"/>
              <a:gd name="connsiteX1" fmla="*/ 53761 w 150074"/>
              <a:gd name="connsiteY1" fmla="*/ 78611 h 105409"/>
              <a:gd name="connsiteX2" fmla="*/ 13806 w 150074"/>
              <a:gd name="connsiteY2" fmla="*/ 37681 h 105409"/>
              <a:gd name="connsiteX3" fmla="*/ 0 w 150074"/>
              <a:gd name="connsiteY3" fmla="*/ 50837 h 105409"/>
              <a:gd name="connsiteX4" fmla="*/ 53111 w 150074"/>
              <a:gd name="connsiteY4" fmla="*/ 105410 h 105409"/>
              <a:gd name="connsiteX5" fmla="*/ 67079 w 150074"/>
              <a:gd name="connsiteY5" fmla="*/ 92416 h 105409"/>
              <a:gd name="connsiteX6" fmla="*/ 150075 w 150074"/>
              <a:gd name="connsiteY6" fmla="*/ 13643 h 1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074" h="105409">
                <a:moveTo>
                  <a:pt x="136919" y="0"/>
                </a:moveTo>
                <a:lnTo>
                  <a:pt x="53761" y="78611"/>
                </a:lnTo>
                <a:lnTo>
                  <a:pt x="13806" y="37681"/>
                </a:lnTo>
                <a:lnTo>
                  <a:pt x="0" y="50837"/>
                </a:lnTo>
                <a:lnTo>
                  <a:pt x="53111" y="105410"/>
                </a:lnTo>
                <a:lnTo>
                  <a:pt x="67079" y="92416"/>
                </a:lnTo>
                <a:lnTo>
                  <a:pt x="150075" y="13643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15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3" name="Graphic 67" descr="Checkmark with solid fill">
            <a:extLst>
              <a:ext uri="{FF2B5EF4-FFF2-40B4-BE49-F238E27FC236}">
                <a16:creationId xmlns:a16="http://schemas.microsoft.com/office/drawing/2014/main" id="{15169736-54B9-46EE-93C0-CA3AE69A280A}"/>
              </a:ext>
            </a:extLst>
          </p:cNvPr>
          <p:cNvSpPr/>
          <p:nvPr/>
        </p:nvSpPr>
        <p:spPr>
          <a:xfrm>
            <a:off x="4536536" y="3783605"/>
            <a:ext cx="150074" cy="105409"/>
          </a:xfrm>
          <a:custGeom>
            <a:avLst/>
            <a:gdLst>
              <a:gd name="connsiteX0" fmla="*/ 136919 w 150074"/>
              <a:gd name="connsiteY0" fmla="*/ 0 h 105409"/>
              <a:gd name="connsiteX1" fmla="*/ 53761 w 150074"/>
              <a:gd name="connsiteY1" fmla="*/ 78611 h 105409"/>
              <a:gd name="connsiteX2" fmla="*/ 13806 w 150074"/>
              <a:gd name="connsiteY2" fmla="*/ 37681 h 105409"/>
              <a:gd name="connsiteX3" fmla="*/ 0 w 150074"/>
              <a:gd name="connsiteY3" fmla="*/ 50837 h 105409"/>
              <a:gd name="connsiteX4" fmla="*/ 53111 w 150074"/>
              <a:gd name="connsiteY4" fmla="*/ 105410 h 105409"/>
              <a:gd name="connsiteX5" fmla="*/ 67079 w 150074"/>
              <a:gd name="connsiteY5" fmla="*/ 92416 h 105409"/>
              <a:gd name="connsiteX6" fmla="*/ 150075 w 150074"/>
              <a:gd name="connsiteY6" fmla="*/ 13643 h 1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074" h="105409">
                <a:moveTo>
                  <a:pt x="136919" y="0"/>
                </a:moveTo>
                <a:lnTo>
                  <a:pt x="53761" y="78611"/>
                </a:lnTo>
                <a:lnTo>
                  <a:pt x="13806" y="37681"/>
                </a:lnTo>
                <a:lnTo>
                  <a:pt x="0" y="50837"/>
                </a:lnTo>
                <a:lnTo>
                  <a:pt x="53111" y="105410"/>
                </a:lnTo>
                <a:lnTo>
                  <a:pt x="67079" y="92416"/>
                </a:lnTo>
                <a:lnTo>
                  <a:pt x="150075" y="13643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15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4" name="Graphic 67" descr="Checkmark with solid fill">
            <a:extLst>
              <a:ext uri="{FF2B5EF4-FFF2-40B4-BE49-F238E27FC236}">
                <a16:creationId xmlns:a16="http://schemas.microsoft.com/office/drawing/2014/main" id="{346F0B27-AD25-4F6A-B545-9A5E69A90196}"/>
              </a:ext>
            </a:extLst>
          </p:cNvPr>
          <p:cNvSpPr/>
          <p:nvPr/>
        </p:nvSpPr>
        <p:spPr>
          <a:xfrm>
            <a:off x="4536536" y="4147983"/>
            <a:ext cx="150074" cy="105409"/>
          </a:xfrm>
          <a:custGeom>
            <a:avLst/>
            <a:gdLst>
              <a:gd name="connsiteX0" fmla="*/ 136919 w 150074"/>
              <a:gd name="connsiteY0" fmla="*/ 0 h 105409"/>
              <a:gd name="connsiteX1" fmla="*/ 53761 w 150074"/>
              <a:gd name="connsiteY1" fmla="*/ 78611 h 105409"/>
              <a:gd name="connsiteX2" fmla="*/ 13806 w 150074"/>
              <a:gd name="connsiteY2" fmla="*/ 37681 h 105409"/>
              <a:gd name="connsiteX3" fmla="*/ 0 w 150074"/>
              <a:gd name="connsiteY3" fmla="*/ 50837 h 105409"/>
              <a:gd name="connsiteX4" fmla="*/ 53111 w 150074"/>
              <a:gd name="connsiteY4" fmla="*/ 105410 h 105409"/>
              <a:gd name="connsiteX5" fmla="*/ 67079 w 150074"/>
              <a:gd name="connsiteY5" fmla="*/ 92416 h 105409"/>
              <a:gd name="connsiteX6" fmla="*/ 150075 w 150074"/>
              <a:gd name="connsiteY6" fmla="*/ 13643 h 1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074" h="105409">
                <a:moveTo>
                  <a:pt x="136919" y="0"/>
                </a:moveTo>
                <a:lnTo>
                  <a:pt x="53761" y="78611"/>
                </a:lnTo>
                <a:lnTo>
                  <a:pt x="13806" y="37681"/>
                </a:lnTo>
                <a:lnTo>
                  <a:pt x="0" y="50837"/>
                </a:lnTo>
                <a:lnTo>
                  <a:pt x="53111" y="105410"/>
                </a:lnTo>
                <a:lnTo>
                  <a:pt x="67079" y="92416"/>
                </a:lnTo>
                <a:lnTo>
                  <a:pt x="150075" y="13643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15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5" name="Graphic 67" descr="Checkmark with solid fill">
            <a:extLst>
              <a:ext uri="{FF2B5EF4-FFF2-40B4-BE49-F238E27FC236}">
                <a16:creationId xmlns:a16="http://schemas.microsoft.com/office/drawing/2014/main" id="{2D9D27CF-A32D-41DD-B311-55BD8EDE8875}"/>
              </a:ext>
            </a:extLst>
          </p:cNvPr>
          <p:cNvSpPr/>
          <p:nvPr/>
        </p:nvSpPr>
        <p:spPr>
          <a:xfrm>
            <a:off x="4536536" y="4816098"/>
            <a:ext cx="150074" cy="105409"/>
          </a:xfrm>
          <a:custGeom>
            <a:avLst/>
            <a:gdLst>
              <a:gd name="connsiteX0" fmla="*/ 136919 w 150074"/>
              <a:gd name="connsiteY0" fmla="*/ 0 h 105409"/>
              <a:gd name="connsiteX1" fmla="*/ 53761 w 150074"/>
              <a:gd name="connsiteY1" fmla="*/ 78611 h 105409"/>
              <a:gd name="connsiteX2" fmla="*/ 13806 w 150074"/>
              <a:gd name="connsiteY2" fmla="*/ 37681 h 105409"/>
              <a:gd name="connsiteX3" fmla="*/ 0 w 150074"/>
              <a:gd name="connsiteY3" fmla="*/ 50837 h 105409"/>
              <a:gd name="connsiteX4" fmla="*/ 53111 w 150074"/>
              <a:gd name="connsiteY4" fmla="*/ 105410 h 105409"/>
              <a:gd name="connsiteX5" fmla="*/ 67079 w 150074"/>
              <a:gd name="connsiteY5" fmla="*/ 92416 h 105409"/>
              <a:gd name="connsiteX6" fmla="*/ 150075 w 150074"/>
              <a:gd name="connsiteY6" fmla="*/ 13643 h 1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074" h="105409">
                <a:moveTo>
                  <a:pt x="136919" y="0"/>
                </a:moveTo>
                <a:lnTo>
                  <a:pt x="53761" y="78611"/>
                </a:lnTo>
                <a:lnTo>
                  <a:pt x="13806" y="37681"/>
                </a:lnTo>
                <a:lnTo>
                  <a:pt x="0" y="50837"/>
                </a:lnTo>
                <a:lnTo>
                  <a:pt x="53111" y="105410"/>
                </a:lnTo>
                <a:lnTo>
                  <a:pt x="67079" y="92416"/>
                </a:lnTo>
                <a:lnTo>
                  <a:pt x="150075" y="13643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15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6" name="Graphic 67" descr="Checkmark with solid fill">
            <a:extLst>
              <a:ext uri="{FF2B5EF4-FFF2-40B4-BE49-F238E27FC236}">
                <a16:creationId xmlns:a16="http://schemas.microsoft.com/office/drawing/2014/main" id="{33941870-8ECC-472A-8C7B-6B7BDA42667D}"/>
              </a:ext>
            </a:extLst>
          </p:cNvPr>
          <p:cNvSpPr/>
          <p:nvPr/>
        </p:nvSpPr>
        <p:spPr>
          <a:xfrm>
            <a:off x="4536536" y="5192527"/>
            <a:ext cx="150074" cy="105409"/>
          </a:xfrm>
          <a:custGeom>
            <a:avLst/>
            <a:gdLst>
              <a:gd name="connsiteX0" fmla="*/ 136919 w 150074"/>
              <a:gd name="connsiteY0" fmla="*/ 0 h 105409"/>
              <a:gd name="connsiteX1" fmla="*/ 53761 w 150074"/>
              <a:gd name="connsiteY1" fmla="*/ 78611 h 105409"/>
              <a:gd name="connsiteX2" fmla="*/ 13806 w 150074"/>
              <a:gd name="connsiteY2" fmla="*/ 37681 h 105409"/>
              <a:gd name="connsiteX3" fmla="*/ 0 w 150074"/>
              <a:gd name="connsiteY3" fmla="*/ 50837 h 105409"/>
              <a:gd name="connsiteX4" fmla="*/ 53111 w 150074"/>
              <a:gd name="connsiteY4" fmla="*/ 105410 h 105409"/>
              <a:gd name="connsiteX5" fmla="*/ 67079 w 150074"/>
              <a:gd name="connsiteY5" fmla="*/ 92416 h 105409"/>
              <a:gd name="connsiteX6" fmla="*/ 150075 w 150074"/>
              <a:gd name="connsiteY6" fmla="*/ 13643 h 1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074" h="105409">
                <a:moveTo>
                  <a:pt x="136919" y="0"/>
                </a:moveTo>
                <a:lnTo>
                  <a:pt x="53761" y="78611"/>
                </a:lnTo>
                <a:lnTo>
                  <a:pt x="13806" y="37681"/>
                </a:lnTo>
                <a:lnTo>
                  <a:pt x="0" y="50837"/>
                </a:lnTo>
                <a:lnTo>
                  <a:pt x="53111" y="105410"/>
                </a:lnTo>
                <a:lnTo>
                  <a:pt x="67079" y="92416"/>
                </a:lnTo>
                <a:lnTo>
                  <a:pt x="150075" y="13643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15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77" name="Graphic 67" descr="Checkmark with solid fill">
            <a:extLst>
              <a:ext uri="{FF2B5EF4-FFF2-40B4-BE49-F238E27FC236}">
                <a16:creationId xmlns:a16="http://schemas.microsoft.com/office/drawing/2014/main" id="{79E3B727-A800-4CE1-B1F2-8FCA2DB04C74}"/>
              </a:ext>
            </a:extLst>
          </p:cNvPr>
          <p:cNvSpPr/>
          <p:nvPr/>
        </p:nvSpPr>
        <p:spPr>
          <a:xfrm>
            <a:off x="4536536" y="5556905"/>
            <a:ext cx="150074" cy="105409"/>
          </a:xfrm>
          <a:custGeom>
            <a:avLst/>
            <a:gdLst>
              <a:gd name="connsiteX0" fmla="*/ 136919 w 150074"/>
              <a:gd name="connsiteY0" fmla="*/ 0 h 105409"/>
              <a:gd name="connsiteX1" fmla="*/ 53761 w 150074"/>
              <a:gd name="connsiteY1" fmla="*/ 78611 h 105409"/>
              <a:gd name="connsiteX2" fmla="*/ 13806 w 150074"/>
              <a:gd name="connsiteY2" fmla="*/ 37681 h 105409"/>
              <a:gd name="connsiteX3" fmla="*/ 0 w 150074"/>
              <a:gd name="connsiteY3" fmla="*/ 50837 h 105409"/>
              <a:gd name="connsiteX4" fmla="*/ 53111 w 150074"/>
              <a:gd name="connsiteY4" fmla="*/ 105410 h 105409"/>
              <a:gd name="connsiteX5" fmla="*/ 67079 w 150074"/>
              <a:gd name="connsiteY5" fmla="*/ 92416 h 105409"/>
              <a:gd name="connsiteX6" fmla="*/ 150075 w 150074"/>
              <a:gd name="connsiteY6" fmla="*/ 13643 h 1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074" h="105409">
                <a:moveTo>
                  <a:pt x="136919" y="0"/>
                </a:moveTo>
                <a:lnTo>
                  <a:pt x="53761" y="78611"/>
                </a:lnTo>
                <a:lnTo>
                  <a:pt x="13806" y="37681"/>
                </a:lnTo>
                <a:lnTo>
                  <a:pt x="0" y="50837"/>
                </a:lnTo>
                <a:lnTo>
                  <a:pt x="53111" y="105410"/>
                </a:lnTo>
                <a:lnTo>
                  <a:pt x="67079" y="92416"/>
                </a:lnTo>
                <a:lnTo>
                  <a:pt x="150075" y="13643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15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3511C2A-7B7F-4D13-B299-2FDA0044B687}"/>
              </a:ext>
            </a:extLst>
          </p:cNvPr>
          <p:cNvSpPr txBox="1"/>
          <p:nvPr/>
        </p:nvSpPr>
        <p:spPr>
          <a:xfrm>
            <a:off x="8259235" y="2073818"/>
            <a:ext cx="1803761" cy="253916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30000"/>
              </a:lnSpc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  <a:latin typeface="+mn-lt"/>
              </a:rPr>
              <a:t>Lorem Ipsum  dolor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B87E57B-BDA1-432A-8CBC-392AF8F4A3F3}"/>
              </a:ext>
            </a:extLst>
          </p:cNvPr>
          <p:cNvSpPr txBox="1"/>
          <p:nvPr/>
        </p:nvSpPr>
        <p:spPr>
          <a:xfrm>
            <a:off x="8259235" y="2604461"/>
            <a:ext cx="1803761" cy="253916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30000"/>
              </a:lnSpc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  <a:latin typeface="+mn-lt"/>
              </a:rPr>
              <a:t>Lorem Ipsum  dolor</a:t>
            </a:r>
          </a:p>
        </p:txBody>
      </p:sp>
      <p:sp>
        <p:nvSpPr>
          <p:cNvPr id="78" name="Graphic 67" descr="Checkmark with solid fill">
            <a:extLst>
              <a:ext uri="{FF2B5EF4-FFF2-40B4-BE49-F238E27FC236}">
                <a16:creationId xmlns:a16="http://schemas.microsoft.com/office/drawing/2014/main" id="{5A3B529E-44D3-4397-87FF-4292725FC58D}"/>
              </a:ext>
            </a:extLst>
          </p:cNvPr>
          <p:cNvSpPr/>
          <p:nvPr/>
        </p:nvSpPr>
        <p:spPr>
          <a:xfrm>
            <a:off x="8104234" y="2125329"/>
            <a:ext cx="150074" cy="105409"/>
          </a:xfrm>
          <a:custGeom>
            <a:avLst/>
            <a:gdLst>
              <a:gd name="connsiteX0" fmla="*/ 136919 w 150074"/>
              <a:gd name="connsiteY0" fmla="*/ 0 h 105409"/>
              <a:gd name="connsiteX1" fmla="*/ 53761 w 150074"/>
              <a:gd name="connsiteY1" fmla="*/ 78611 h 105409"/>
              <a:gd name="connsiteX2" fmla="*/ 13806 w 150074"/>
              <a:gd name="connsiteY2" fmla="*/ 37681 h 105409"/>
              <a:gd name="connsiteX3" fmla="*/ 0 w 150074"/>
              <a:gd name="connsiteY3" fmla="*/ 50837 h 105409"/>
              <a:gd name="connsiteX4" fmla="*/ 53111 w 150074"/>
              <a:gd name="connsiteY4" fmla="*/ 105410 h 105409"/>
              <a:gd name="connsiteX5" fmla="*/ 67079 w 150074"/>
              <a:gd name="connsiteY5" fmla="*/ 92416 h 105409"/>
              <a:gd name="connsiteX6" fmla="*/ 150075 w 150074"/>
              <a:gd name="connsiteY6" fmla="*/ 13643 h 1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074" h="105409">
                <a:moveTo>
                  <a:pt x="136919" y="0"/>
                </a:moveTo>
                <a:lnTo>
                  <a:pt x="53761" y="78611"/>
                </a:lnTo>
                <a:lnTo>
                  <a:pt x="13806" y="37681"/>
                </a:lnTo>
                <a:lnTo>
                  <a:pt x="0" y="50837"/>
                </a:lnTo>
                <a:lnTo>
                  <a:pt x="53111" y="105410"/>
                </a:lnTo>
                <a:lnTo>
                  <a:pt x="67079" y="92416"/>
                </a:lnTo>
                <a:lnTo>
                  <a:pt x="150075" y="13643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15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79" name="Graphic 67" descr="Checkmark with solid fill">
            <a:extLst>
              <a:ext uri="{FF2B5EF4-FFF2-40B4-BE49-F238E27FC236}">
                <a16:creationId xmlns:a16="http://schemas.microsoft.com/office/drawing/2014/main" id="{72F8A1FD-013D-4919-B3A5-6BA330A6DF25}"/>
              </a:ext>
            </a:extLst>
          </p:cNvPr>
          <p:cNvSpPr/>
          <p:nvPr/>
        </p:nvSpPr>
        <p:spPr>
          <a:xfrm>
            <a:off x="8104234" y="2655972"/>
            <a:ext cx="150074" cy="105409"/>
          </a:xfrm>
          <a:custGeom>
            <a:avLst/>
            <a:gdLst>
              <a:gd name="connsiteX0" fmla="*/ 136919 w 150074"/>
              <a:gd name="connsiteY0" fmla="*/ 0 h 105409"/>
              <a:gd name="connsiteX1" fmla="*/ 53761 w 150074"/>
              <a:gd name="connsiteY1" fmla="*/ 78611 h 105409"/>
              <a:gd name="connsiteX2" fmla="*/ 13806 w 150074"/>
              <a:gd name="connsiteY2" fmla="*/ 37681 h 105409"/>
              <a:gd name="connsiteX3" fmla="*/ 0 w 150074"/>
              <a:gd name="connsiteY3" fmla="*/ 50837 h 105409"/>
              <a:gd name="connsiteX4" fmla="*/ 53111 w 150074"/>
              <a:gd name="connsiteY4" fmla="*/ 105410 h 105409"/>
              <a:gd name="connsiteX5" fmla="*/ 67079 w 150074"/>
              <a:gd name="connsiteY5" fmla="*/ 92416 h 105409"/>
              <a:gd name="connsiteX6" fmla="*/ 150075 w 150074"/>
              <a:gd name="connsiteY6" fmla="*/ 13643 h 1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074" h="105409">
                <a:moveTo>
                  <a:pt x="136919" y="0"/>
                </a:moveTo>
                <a:lnTo>
                  <a:pt x="53761" y="78611"/>
                </a:lnTo>
                <a:lnTo>
                  <a:pt x="13806" y="37681"/>
                </a:lnTo>
                <a:lnTo>
                  <a:pt x="0" y="50837"/>
                </a:lnTo>
                <a:lnTo>
                  <a:pt x="53111" y="105410"/>
                </a:lnTo>
                <a:lnTo>
                  <a:pt x="67079" y="92416"/>
                </a:lnTo>
                <a:lnTo>
                  <a:pt x="150075" y="13643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15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639D49B8-FEF7-4F13-BBBA-A38839EFF448}"/>
              </a:ext>
            </a:extLst>
          </p:cNvPr>
          <p:cNvSpPr txBox="1"/>
          <p:nvPr/>
        </p:nvSpPr>
        <p:spPr>
          <a:xfrm>
            <a:off x="8259235" y="3484058"/>
            <a:ext cx="1803761" cy="253916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30000"/>
              </a:lnSpc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  <a:latin typeface="+mn-lt"/>
              </a:rPr>
              <a:t>Lorem Ipsum  dolor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3C089C6-8C52-4EF9-9440-BFF473277595}"/>
              </a:ext>
            </a:extLst>
          </p:cNvPr>
          <p:cNvSpPr txBox="1"/>
          <p:nvPr/>
        </p:nvSpPr>
        <p:spPr>
          <a:xfrm>
            <a:off x="8259235" y="4014701"/>
            <a:ext cx="1803761" cy="253916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30000"/>
              </a:lnSpc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  <a:latin typeface="+mn-lt"/>
              </a:rPr>
              <a:t>Lorem Ipsum  dolor</a:t>
            </a:r>
          </a:p>
        </p:txBody>
      </p:sp>
      <p:sp>
        <p:nvSpPr>
          <p:cNvPr id="80" name="Graphic 67" descr="Checkmark with solid fill">
            <a:extLst>
              <a:ext uri="{FF2B5EF4-FFF2-40B4-BE49-F238E27FC236}">
                <a16:creationId xmlns:a16="http://schemas.microsoft.com/office/drawing/2014/main" id="{6F312F54-ACDC-40AD-96D8-EE453CD0DE09}"/>
              </a:ext>
            </a:extLst>
          </p:cNvPr>
          <p:cNvSpPr/>
          <p:nvPr/>
        </p:nvSpPr>
        <p:spPr>
          <a:xfrm>
            <a:off x="8104234" y="3535569"/>
            <a:ext cx="150074" cy="105409"/>
          </a:xfrm>
          <a:custGeom>
            <a:avLst/>
            <a:gdLst>
              <a:gd name="connsiteX0" fmla="*/ 136919 w 150074"/>
              <a:gd name="connsiteY0" fmla="*/ 0 h 105409"/>
              <a:gd name="connsiteX1" fmla="*/ 53761 w 150074"/>
              <a:gd name="connsiteY1" fmla="*/ 78611 h 105409"/>
              <a:gd name="connsiteX2" fmla="*/ 13806 w 150074"/>
              <a:gd name="connsiteY2" fmla="*/ 37681 h 105409"/>
              <a:gd name="connsiteX3" fmla="*/ 0 w 150074"/>
              <a:gd name="connsiteY3" fmla="*/ 50837 h 105409"/>
              <a:gd name="connsiteX4" fmla="*/ 53111 w 150074"/>
              <a:gd name="connsiteY4" fmla="*/ 105410 h 105409"/>
              <a:gd name="connsiteX5" fmla="*/ 67079 w 150074"/>
              <a:gd name="connsiteY5" fmla="*/ 92416 h 105409"/>
              <a:gd name="connsiteX6" fmla="*/ 150075 w 150074"/>
              <a:gd name="connsiteY6" fmla="*/ 13643 h 1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074" h="105409">
                <a:moveTo>
                  <a:pt x="136919" y="0"/>
                </a:moveTo>
                <a:lnTo>
                  <a:pt x="53761" y="78611"/>
                </a:lnTo>
                <a:lnTo>
                  <a:pt x="13806" y="37681"/>
                </a:lnTo>
                <a:lnTo>
                  <a:pt x="0" y="50837"/>
                </a:lnTo>
                <a:lnTo>
                  <a:pt x="53111" y="105410"/>
                </a:lnTo>
                <a:lnTo>
                  <a:pt x="67079" y="92416"/>
                </a:lnTo>
                <a:lnTo>
                  <a:pt x="150075" y="13643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15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81" name="Graphic 67" descr="Checkmark with solid fill">
            <a:extLst>
              <a:ext uri="{FF2B5EF4-FFF2-40B4-BE49-F238E27FC236}">
                <a16:creationId xmlns:a16="http://schemas.microsoft.com/office/drawing/2014/main" id="{C0D7A27C-D5BF-48C3-B063-6F9C227A9785}"/>
              </a:ext>
            </a:extLst>
          </p:cNvPr>
          <p:cNvSpPr/>
          <p:nvPr/>
        </p:nvSpPr>
        <p:spPr>
          <a:xfrm>
            <a:off x="8104234" y="4066212"/>
            <a:ext cx="150074" cy="105409"/>
          </a:xfrm>
          <a:custGeom>
            <a:avLst/>
            <a:gdLst>
              <a:gd name="connsiteX0" fmla="*/ 136919 w 150074"/>
              <a:gd name="connsiteY0" fmla="*/ 0 h 105409"/>
              <a:gd name="connsiteX1" fmla="*/ 53761 w 150074"/>
              <a:gd name="connsiteY1" fmla="*/ 78611 h 105409"/>
              <a:gd name="connsiteX2" fmla="*/ 13806 w 150074"/>
              <a:gd name="connsiteY2" fmla="*/ 37681 h 105409"/>
              <a:gd name="connsiteX3" fmla="*/ 0 w 150074"/>
              <a:gd name="connsiteY3" fmla="*/ 50837 h 105409"/>
              <a:gd name="connsiteX4" fmla="*/ 53111 w 150074"/>
              <a:gd name="connsiteY4" fmla="*/ 105410 h 105409"/>
              <a:gd name="connsiteX5" fmla="*/ 67079 w 150074"/>
              <a:gd name="connsiteY5" fmla="*/ 92416 h 105409"/>
              <a:gd name="connsiteX6" fmla="*/ 150075 w 150074"/>
              <a:gd name="connsiteY6" fmla="*/ 13643 h 1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074" h="105409">
                <a:moveTo>
                  <a:pt x="136919" y="0"/>
                </a:moveTo>
                <a:lnTo>
                  <a:pt x="53761" y="78611"/>
                </a:lnTo>
                <a:lnTo>
                  <a:pt x="13806" y="37681"/>
                </a:lnTo>
                <a:lnTo>
                  <a:pt x="0" y="50837"/>
                </a:lnTo>
                <a:lnTo>
                  <a:pt x="53111" y="105410"/>
                </a:lnTo>
                <a:lnTo>
                  <a:pt x="67079" y="92416"/>
                </a:lnTo>
                <a:lnTo>
                  <a:pt x="150075" y="13643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15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A9D1937-46F2-426E-9E67-0083120676B0}"/>
              </a:ext>
            </a:extLst>
          </p:cNvPr>
          <p:cNvSpPr txBox="1"/>
          <p:nvPr/>
        </p:nvSpPr>
        <p:spPr>
          <a:xfrm>
            <a:off x="8259235" y="4894298"/>
            <a:ext cx="1803761" cy="253916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30000"/>
              </a:lnSpc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  <a:latin typeface="+mn-lt"/>
              </a:rPr>
              <a:t>Lorem Ipsum  dolor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B46B352-E0A7-44CE-996E-2A762F4EED15}"/>
              </a:ext>
            </a:extLst>
          </p:cNvPr>
          <p:cNvSpPr txBox="1"/>
          <p:nvPr/>
        </p:nvSpPr>
        <p:spPr>
          <a:xfrm>
            <a:off x="8259235" y="5424941"/>
            <a:ext cx="1803761" cy="253916"/>
          </a:xfrm>
          <a:prstGeom prst="rect">
            <a:avLst/>
          </a:prstGeom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30000"/>
              </a:lnSpc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lnSpc>
                <a:spcPct val="100000"/>
              </a:lnSpc>
            </a:pPr>
            <a:r>
              <a:rPr lang="en-US" dirty="0">
                <a:solidFill>
                  <a:schemeClr val="tx1"/>
                </a:solidFill>
                <a:latin typeface="+mn-lt"/>
              </a:rPr>
              <a:t>Lorem Ipsum  dolor</a:t>
            </a:r>
          </a:p>
        </p:txBody>
      </p:sp>
      <p:sp>
        <p:nvSpPr>
          <p:cNvPr id="82" name="Graphic 67" descr="Checkmark with solid fill">
            <a:extLst>
              <a:ext uri="{FF2B5EF4-FFF2-40B4-BE49-F238E27FC236}">
                <a16:creationId xmlns:a16="http://schemas.microsoft.com/office/drawing/2014/main" id="{6E2CBDF9-4BB7-4361-83F5-E7E77654B3FB}"/>
              </a:ext>
            </a:extLst>
          </p:cNvPr>
          <p:cNvSpPr/>
          <p:nvPr/>
        </p:nvSpPr>
        <p:spPr>
          <a:xfrm>
            <a:off x="8104234" y="4945809"/>
            <a:ext cx="150074" cy="105409"/>
          </a:xfrm>
          <a:custGeom>
            <a:avLst/>
            <a:gdLst>
              <a:gd name="connsiteX0" fmla="*/ 136919 w 150074"/>
              <a:gd name="connsiteY0" fmla="*/ 0 h 105409"/>
              <a:gd name="connsiteX1" fmla="*/ 53761 w 150074"/>
              <a:gd name="connsiteY1" fmla="*/ 78611 h 105409"/>
              <a:gd name="connsiteX2" fmla="*/ 13806 w 150074"/>
              <a:gd name="connsiteY2" fmla="*/ 37681 h 105409"/>
              <a:gd name="connsiteX3" fmla="*/ 0 w 150074"/>
              <a:gd name="connsiteY3" fmla="*/ 50837 h 105409"/>
              <a:gd name="connsiteX4" fmla="*/ 53111 w 150074"/>
              <a:gd name="connsiteY4" fmla="*/ 105410 h 105409"/>
              <a:gd name="connsiteX5" fmla="*/ 67079 w 150074"/>
              <a:gd name="connsiteY5" fmla="*/ 92416 h 105409"/>
              <a:gd name="connsiteX6" fmla="*/ 150075 w 150074"/>
              <a:gd name="connsiteY6" fmla="*/ 13643 h 1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074" h="105409">
                <a:moveTo>
                  <a:pt x="136919" y="0"/>
                </a:moveTo>
                <a:lnTo>
                  <a:pt x="53761" y="78611"/>
                </a:lnTo>
                <a:lnTo>
                  <a:pt x="13806" y="37681"/>
                </a:lnTo>
                <a:lnTo>
                  <a:pt x="0" y="50837"/>
                </a:lnTo>
                <a:lnTo>
                  <a:pt x="53111" y="105410"/>
                </a:lnTo>
                <a:lnTo>
                  <a:pt x="67079" y="92416"/>
                </a:lnTo>
                <a:lnTo>
                  <a:pt x="150075" y="13643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15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83" name="Graphic 67" descr="Checkmark with solid fill">
            <a:extLst>
              <a:ext uri="{FF2B5EF4-FFF2-40B4-BE49-F238E27FC236}">
                <a16:creationId xmlns:a16="http://schemas.microsoft.com/office/drawing/2014/main" id="{26252B36-5765-4C18-AB0D-B958D39FF1E1}"/>
              </a:ext>
            </a:extLst>
          </p:cNvPr>
          <p:cNvSpPr/>
          <p:nvPr/>
        </p:nvSpPr>
        <p:spPr>
          <a:xfrm>
            <a:off x="8104234" y="5476452"/>
            <a:ext cx="150074" cy="105409"/>
          </a:xfrm>
          <a:custGeom>
            <a:avLst/>
            <a:gdLst>
              <a:gd name="connsiteX0" fmla="*/ 136919 w 150074"/>
              <a:gd name="connsiteY0" fmla="*/ 0 h 105409"/>
              <a:gd name="connsiteX1" fmla="*/ 53761 w 150074"/>
              <a:gd name="connsiteY1" fmla="*/ 78611 h 105409"/>
              <a:gd name="connsiteX2" fmla="*/ 13806 w 150074"/>
              <a:gd name="connsiteY2" fmla="*/ 37681 h 105409"/>
              <a:gd name="connsiteX3" fmla="*/ 0 w 150074"/>
              <a:gd name="connsiteY3" fmla="*/ 50837 h 105409"/>
              <a:gd name="connsiteX4" fmla="*/ 53111 w 150074"/>
              <a:gd name="connsiteY4" fmla="*/ 105410 h 105409"/>
              <a:gd name="connsiteX5" fmla="*/ 67079 w 150074"/>
              <a:gd name="connsiteY5" fmla="*/ 92416 h 105409"/>
              <a:gd name="connsiteX6" fmla="*/ 150075 w 150074"/>
              <a:gd name="connsiteY6" fmla="*/ 13643 h 1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074" h="105409">
                <a:moveTo>
                  <a:pt x="136919" y="0"/>
                </a:moveTo>
                <a:lnTo>
                  <a:pt x="53761" y="78611"/>
                </a:lnTo>
                <a:lnTo>
                  <a:pt x="13806" y="37681"/>
                </a:lnTo>
                <a:lnTo>
                  <a:pt x="0" y="50837"/>
                </a:lnTo>
                <a:lnTo>
                  <a:pt x="53111" y="105410"/>
                </a:lnTo>
                <a:lnTo>
                  <a:pt x="67079" y="92416"/>
                </a:lnTo>
                <a:lnTo>
                  <a:pt x="150075" y="13643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 w="15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C87CB6E5-D3A5-4B70-9C90-8E2A2F693C7F}"/>
              </a:ext>
            </a:extLst>
          </p:cNvPr>
          <p:cNvCxnSpPr>
            <a:cxnSpLocks/>
          </p:cNvCxnSpPr>
          <p:nvPr/>
        </p:nvCxnSpPr>
        <p:spPr>
          <a:xfrm>
            <a:off x="4469243" y="2242960"/>
            <a:ext cx="3119286" cy="0"/>
          </a:xfrm>
          <a:prstGeom prst="line">
            <a:avLst/>
          </a:prstGeom>
          <a:ln>
            <a:solidFill>
              <a:schemeClr val="bg1">
                <a:lumMod val="7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6883A76F-3629-4188-B791-2D46AC746984}"/>
              </a:ext>
            </a:extLst>
          </p:cNvPr>
          <p:cNvCxnSpPr>
            <a:cxnSpLocks/>
          </p:cNvCxnSpPr>
          <p:nvPr/>
        </p:nvCxnSpPr>
        <p:spPr>
          <a:xfrm>
            <a:off x="4469243" y="2613364"/>
            <a:ext cx="3119286" cy="0"/>
          </a:xfrm>
          <a:prstGeom prst="line">
            <a:avLst/>
          </a:prstGeom>
          <a:ln>
            <a:solidFill>
              <a:schemeClr val="bg1">
                <a:lumMod val="7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5D57A0E8-F721-466B-A8D3-6081F0B2ACBF}"/>
              </a:ext>
            </a:extLst>
          </p:cNvPr>
          <p:cNvCxnSpPr>
            <a:cxnSpLocks/>
          </p:cNvCxnSpPr>
          <p:nvPr/>
        </p:nvCxnSpPr>
        <p:spPr>
          <a:xfrm>
            <a:off x="4469243" y="3642716"/>
            <a:ext cx="3119286" cy="0"/>
          </a:xfrm>
          <a:prstGeom prst="line">
            <a:avLst/>
          </a:prstGeom>
          <a:ln>
            <a:solidFill>
              <a:schemeClr val="bg1">
                <a:lumMod val="7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4F954650-A2FA-4A73-98DF-87F7BA6B2C59}"/>
              </a:ext>
            </a:extLst>
          </p:cNvPr>
          <p:cNvCxnSpPr>
            <a:cxnSpLocks/>
          </p:cNvCxnSpPr>
          <p:nvPr/>
        </p:nvCxnSpPr>
        <p:spPr>
          <a:xfrm>
            <a:off x="4469243" y="4013120"/>
            <a:ext cx="3119286" cy="0"/>
          </a:xfrm>
          <a:prstGeom prst="line">
            <a:avLst/>
          </a:prstGeom>
          <a:ln>
            <a:solidFill>
              <a:schemeClr val="bg1">
                <a:lumMod val="7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0392C852-45AE-46A6-A131-A301D1CD30C4}"/>
              </a:ext>
            </a:extLst>
          </p:cNvPr>
          <p:cNvCxnSpPr>
            <a:cxnSpLocks/>
          </p:cNvCxnSpPr>
          <p:nvPr/>
        </p:nvCxnSpPr>
        <p:spPr>
          <a:xfrm>
            <a:off x="4469243" y="5051638"/>
            <a:ext cx="3119286" cy="0"/>
          </a:xfrm>
          <a:prstGeom prst="line">
            <a:avLst/>
          </a:prstGeom>
          <a:ln>
            <a:solidFill>
              <a:schemeClr val="bg1">
                <a:lumMod val="7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2E95D5B9-88A7-42FA-9AD7-7339D5A2517E}"/>
              </a:ext>
            </a:extLst>
          </p:cNvPr>
          <p:cNvCxnSpPr>
            <a:cxnSpLocks/>
          </p:cNvCxnSpPr>
          <p:nvPr/>
        </p:nvCxnSpPr>
        <p:spPr>
          <a:xfrm>
            <a:off x="4469243" y="5422042"/>
            <a:ext cx="3119286" cy="0"/>
          </a:xfrm>
          <a:prstGeom prst="line">
            <a:avLst/>
          </a:prstGeom>
          <a:ln>
            <a:solidFill>
              <a:schemeClr val="bg1">
                <a:lumMod val="7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8F613227-ED5E-4DD7-AC52-76F02706156F}"/>
              </a:ext>
            </a:extLst>
          </p:cNvPr>
          <p:cNvCxnSpPr>
            <a:cxnSpLocks/>
          </p:cNvCxnSpPr>
          <p:nvPr/>
        </p:nvCxnSpPr>
        <p:spPr>
          <a:xfrm>
            <a:off x="8079252" y="2443354"/>
            <a:ext cx="1866884" cy="0"/>
          </a:xfrm>
          <a:prstGeom prst="line">
            <a:avLst/>
          </a:prstGeom>
          <a:ln>
            <a:solidFill>
              <a:schemeClr val="bg1">
                <a:lumMod val="7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608838E5-F6BA-4FCA-A833-79F831AA075C}"/>
              </a:ext>
            </a:extLst>
          </p:cNvPr>
          <p:cNvCxnSpPr>
            <a:cxnSpLocks/>
          </p:cNvCxnSpPr>
          <p:nvPr/>
        </p:nvCxnSpPr>
        <p:spPr>
          <a:xfrm>
            <a:off x="8079252" y="3860439"/>
            <a:ext cx="1866884" cy="0"/>
          </a:xfrm>
          <a:prstGeom prst="line">
            <a:avLst/>
          </a:prstGeom>
          <a:ln>
            <a:solidFill>
              <a:schemeClr val="bg1">
                <a:lumMod val="7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061CB549-0F0B-433A-9FA6-E1F233F19913}"/>
              </a:ext>
            </a:extLst>
          </p:cNvPr>
          <p:cNvCxnSpPr>
            <a:cxnSpLocks/>
          </p:cNvCxnSpPr>
          <p:nvPr/>
        </p:nvCxnSpPr>
        <p:spPr>
          <a:xfrm>
            <a:off x="8079252" y="5269361"/>
            <a:ext cx="1866884" cy="0"/>
          </a:xfrm>
          <a:prstGeom prst="line">
            <a:avLst/>
          </a:prstGeom>
          <a:ln>
            <a:solidFill>
              <a:schemeClr val="bg1">
                <a:lumMod val="7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Graphic 67" descr="Checkmark with solid fill">
            <a:extLst>
              <a:ext uri="{FF2B5EF4-FFF2-40B4-BE49-F238E27FC236}">
                <a16:creationId xmlns:a16="http://schemas.microsoft.com/office/drawing/2014/main" id="{A7762266-603D-48B6-BDF8-3AC5B2670FFF}"/>
              </a:ext>
            </a:extLst>
          </p:cNvPr>
          <p:cNvSpPr/>
          <p:nvPr/>
        </p:nvSpPr>
        <p:spPr>
          <a:xfrm>
            <a:off x="10762076" y="1984559"/>
            <a:ext cx="150074" cy="146304"/>
          </a:xfrm>
          <a:prstGeom prst="ellipse">
            <a:avLst/>
          </a:prstGeom>
          <a:noFill/>
          <a:ln w="25400" cap="flat">
            <a:solidFill>
              <a:schemeClr val="bg1">
                <a:lumMod val="95000"/>
                <a:alpha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01" name="Graphic 67" descr="Checkmark with solid fill">
            <a:extLst>
              <a:ext uri="{FF2B5EF4-FFF2-40B4-BE49-F238E27FC236}">
                <a16:creationId xmlns:a16="http://schemas.microsoft.com/office/drawing/2014/main" id="{BAFB65A2-2A05-437C-AAE3-77102099C85F}"/>
              </a:ext>
            </a:extLst>
          </p:cNvPr>
          <p:cNvSpPr/>
          <p:nvPr/>
        </p:nvSpPr>
        <p:spPr>
          <a:xfrm>
            <a:off x="10762076" y="2360988"/>
            <a:ext cx="150074" cy="146304"/>
          </a:xfrm>
          <a:prstGeom prst="ellipse">
            <a:avLst/>
          </a:prstGeom>
          <a:noFill/>
          <a:ln w="25400" cap="flat">
            <a:solidFill>
              <a:schemeClr val="bg1">
                <a:lumMod val="95000"/>
                <a:alpha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2" name="Graphic 67" descr="Checkmark with solid fill">
            <a:extLst>
              <a:ext uri="{FF2B5EF4-FFF2-40B4-BE49-F238E27FC236}">
                <a16:creationId xmlns:a16="http://schemas.microsoft.com/office/drawing/2014/main" id="{0A47507E-1008-4FCF-8F94-088BC4CA2B5E}"/>
              </a:ext>
            </a:extLst>
          </p:cNvPr>
          <p:cNvSpPr/>
          <p:nvPr/>
        </p:nvSpPr>
        <p:spPr>
          <a:xfrm>
            <a:off x="10762076" y="2725366"/>
            <a:ext cx="150074" cy="146304"/>
          </a:xfrm>
          <a:prstGeom prst="ellipse">
            <a:avLst/>
          </a:prstGeom>
          <a:noFill/>
          <a:ln w="25400" cap="flat">
            <a:solidFill>
              <a:schemeClr val="bg1">
                <a:lumMod val="95000"/>
                <a:alpha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3" name="Graphic 67" descr="Checkmark with solid fill">
            <a:extLst>
              <a:ext uri="{FF2B5EF4-FFF2-40B4-BE49-F238E27FC236}">
                <a16:creationId xmlns:a16="http://schemas.microsoft.com/office/drawing/2014/main" id="{A1D21113-84C9-4636-81B7-C45EE7EC3C0F}"/>
              </a:ext>
            </a:extLst>
          </p:cNvPr>
          <p:cNvSpPr/>
          <p:nvPr/>
        </p:nvSpPr>
        <p:spPr>
          <a:xfrm>
            <a:off x="10762076" y="3384315"/>
            <a:ext cx="150074" cy="146304"/>
          </a:xfrm>
          <a:prstGeom prst="ellipse">
            <a:avLst/>
          </a:prstGeom>
          <a:noFill/>
          <a:ln w="25400" cap="flat">
            <a:solidFill>
              <a:schemeClr val="bg1">
                <a:lumMod val="95000"/>
                <a:alpha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4" name="Graphic 67" descr="Checkmark with solid fill">
            <a:extLst>
              <a:ext uri="{FF2B5EF4-FFF2-40B4-BE49-F238E27FC236}">
                <a16:creationId xmlns:a16="http://schemas.microsoft.com/office/drawing/2014/main" id="{FB11FB67-5DA6-4B08-98F2-D62CCCEEBAF1}"/>
              </a:ext>
            </a:extLst>
          </p:cNvPr>
          <p:cNvSpPr/>
          <p:nvPr/>
        </p:nvSpPr>
        <p:spPr>
          <a:xfrm>
            <a:off x="10762076" y="3760744"/>
            <a:ext cx="150074" cy="146304"/>
          </a:xfrm>
          <a:prstGeom prst="ellipse">
            <a:avLst/>
          </a:prstGeom>
          <a:noFill/>
          <a:ln w="25400" cap="flat">
            <a:solidFill>
              <a:schemeClr val="bg1">
                <a:lumMod val="95000"/>
                <a:alpha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5" name="Graphic 67" descr="Checkmark with solid fill">
            <a:extLst>
              <a:ext uri="{FF2B5EF4-FFF2-40B4-BE49-F238E27FC236}">
                <a16:creationId xmlns:a16="http://schemas.microsoft.com/office/drawing/2014/main" id="{D2B1DAD4-CD1A-48D0-AF0A-02E429B07ECB}"/>
              </a:ext>
            </a:extLst>
          </p:cNvPr>
          <p:cNvSpPr/>
          <p:nvPr/>
        </p:nvSpPr>
        <p:spPr>
          <a:xfrm>
            <a:off x="10762076" y="4125122"/>
            <a:ext cx="150074" cy="146304"/>
          </a:xfrm>
          <a:prstGeom prst="ellipse">
            <a:avLst/>
          </a:prstGeom>
          <a:noFill/>
          <a:ln w="25400" cap="flat">
            <a:solidFill>
              <a:schemeClr val="bg1">
                <a:lumMod val="95000"/>
                <a:alpha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6" name="Graphic 67" descr="Checkmark with solid fill">
            <a:extLst>
              <a:ext uri="{FF2B5EF4-FFF2-40B4-BE49-F238E27FC236}">
                <a16:creationId xmlns:a16="http://schemas.microsoft.com/office/drawing/2014/main" id="{E128341C-1BB4-4336-84DB-D6889D28DBBA}"/>
              </a:ext>
            </a:extLst>
          </p:cNvPr>
          <p:cNvSpPr/>
          <p:nvPr/>
        </p:nvSpPr>
        <p:spPr>
          <a:xfrm>
            <a:off x="10762076" y="4793237"/>
            <a:ext cx="150074" cy="146304"/>
          </a:xfrm>
          <a:prstGeom prst="ellipse">
            <a:avLst/>
          </a:prstGeom>
          <a:noFill/>
          <a:ln w="25400" cap="flat">
            <a:solidFill>
              <a:schemeClr val="bg1">
                <a:lumMod val="95000"/>
                <a:alpha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7" name="Graphic 67" descr="Checkmark with solid fill">
            <a:extLst>
              <a:ext uri="{FF2B5EF4-FFF2-40B4-BE49-F238E27FC236}">
                <a16:creationId xmlns:a16="http://schemas.microsoft.com/office/drawing/2014/main" id="{28714ACD-CDA2-4CA6-AA6F-7631F850A339}"/>
              </a:ext>
            </a:extLst>
          </p:cNvPr>
          <p:cNvSpPr/>
          <p:nvPr/>
        </p:nvSpPr>
        <p:spPr>
          <a:xfrm>
            <a:off x="10762076" y="5169666"/>
            <a:ext cx="150074" cy="146304"/>
          </a:xfrm>
          <a:prstGeom prst="ellipse">
            <a:avLst/>
          </a:prstGeom>
          <a:noFill/>
          <a:ln w="25400" cap="flat">
            <a:solidFill>
              <a:schemeClr val="bg1">
                <a:lumMod val="95000"/>
                <a:alpha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8" name="Graphic 67" descr="Checkmark with solid fill">
            <a:extLst>
              <a:ext uri="{FF2B5EF4-FFF2-40B4-BE49-F238E27FC236}">
                <a16:creationId xmlns:a16="http://schemas.microsoft.com/office/drawing/2014/main" id="{FFD2A678-8AED-4F86-8637-401FC681E56F}"/>
              </a:ext>
            </a:extLst>
          </p:cNvPr>
          <p:cNvSpPr/>
          <p:nvPr/>
        </p:nvSpPr>
        <p:spPr>
          <a:xfrm>
            <a:off x="10762076" y="5534044"/>
            <a:ext cx="150074" cy="146304"/>
          </a:xfrm>
          <a:prstGeom prst="ellipse">
            <a:avLst/>
          </a:prstGeom>
          <a:noFill/>
          <a:ln w="25400" cap="flat">
            <a:solidFill>
              <a:schemeClr val="bg1">
                <a:lumMod val="95000"/>
                <a:alpha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097BA52B-62F9-486F-889A-84A3CD07011C}"/>
              </a:ext>
            </a:extLst>
          </p:cNvPr>
          <p:cNvCxnSpPr>
            <a:cxnSpLocks/>
          </p:cNvCxnSpPr>
          <p:nvPr/>
        </p:nvCxnSpPr>
        <p:spPr>
          <a:xfrm>
            <a:off x="10366118" y="2242960"/>
            <a:ext cx="947564" cy="0"/>
          </a:xfrm>
          <a:prstGeom prst="line">
            <a:avLst/>
          </a:prstGeom>
          <a:ln>
            <a:solidFill>
              <a:schemeClr val="bg1">
                <a:lumMod val="95000"/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5D6F6C24-EDF9-494B-9BE2-141E11921C5B}"/>
              </a:ext>
            </a:extLst>
          </p:cNvPr>
          <p:cNvCxnSpPr>
            <a:cxnSpLocks/>
          </p:cNvCxnSpPr>
          <p:nvPr/>
        </p:nvCxnSpPr>
        <p:spPr>
          <a:xfrm>
            <a:off x="10366118" y="2613364"/>
            <a:ext cx="947564" cy="0"/>
          </a:xfrm>
          <a:prstGeom prst="line">
            <a:avLst/>
          </a:prstGeom>
          <a:ln>
            <a:solidFill>
              <a:schemeClr val="bg1">
                <a:lumMod val="95000"/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06A65253-3FC2-4526-B167-CBC93F931E07}"/>
              </a:ext>
            </a:extLst>
          </p:cNvPr>
          <p:cNvCxnSpPr>
            <a:cxnSpLocks/>
          </p:cNvCxnSpPr>
          <p:nvPr/>
        </p:nvCxnSpPr>
        <p:spPr>
          <a:xfrm>
            <a:off x="10366118" y="3642716"/>
            <a:ext cx="947564" cy="0"/>
          </a:xfrm>
          <a:prstGeom prst="line">
            <a:avLst/>
          </a:prstGeom>
          <a:ln>
            <a:solidFill>
              <a:schemeClr val="bg1">
                <a:lumMod val="95000"/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81315B13-7283-47DB-A550-86B5353907B4}"/>
              </a:ext>
            </a:extLst>
          </p:cNvPr>
          <p:cNvCxnSpPr>
            <a:cxnSpLocks/>
          </p:cNvCxnSpPr>
          <p:nvPr/>
        </p:nvCxnSpPr>
        <p:spPr>
          <a:xfrm>
            <a:off x="10366118" y="4013120"/>
            <a:ext cx="947564" cy="0"/>
          </a:xfrm>
          <a:prstGeom prst="line">
            <a:avLst/>
          </a:prstGeom>
          <a:ln>
            <a:solidFill>
              <a:schemeClr val="bg1">
                <a:lumMod val="95000"/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B246236C-7256-487B-81B4-208BB4A87301}"/>
              </a:ext>
            </a:extLst>
          </p:cNvPr>
          <p:cNvCxnSpPr>
            <a:cxnSpLocks/>
          </p:cNvCxnSpPr>
          <p:nvPr/>
        </p:nvCxnSpPr>
        <p:spPr>
          <a:xfrm>
            <a:off x="10366118" y="5051638"/>
            <a:ext cx="947564" cy="0"/>
          </a:xfrm>
          <a:prstGeom prst="line">
            <a:avLst/>
          </a:prstGeom>
          <a:ln>
            <a:solidFill>
              <a:schemeClr val="bg1">
                <a:lumMod val="95000"/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92889955-484A-4A5B-BEFC-36C2F586AD2D}"/>
              </a:ext>
            </a:extLst>
          </p:cNvPr>
          <p:cNvCxnSpPr>
            <a:cxnSpLocks/>
          </p:cNvCxnSpPr>
          <p:nvPr/>
        </p:nvCxnSpPr>
        <p:spPr>
          <a:xfrm>
            <a:off x="10366118" y="5422042"/>
            <a:ext cx="947564" cy="0"/>
          </a:xfrm>
          <a:prstGeom prst="line">
            <a:avLst/>
          </a:prstGeom>
          <a:ln>
            <a:solidFill>
              <a:schemeClr val="bg1">
                <a:lumMod val="95000"/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Graphic 67" descr="Checkmark with solid fill">
            <a:extLst>
              <a:ext uri="{FF2B5EF4-FFF2-40B4-BE49-F238E27FC236}">
                <a16:creationId xmlns:a16="http://schemas.microsoft.com/office/drawing/2014/main" id="{A24E6A8D-63AF-4DFF-8C03-D708761D73E2}"/>
              </a:ext>
            </a:extLst>
          </p:cNvPr>
          <p:cNvSpPr/>
          <p:nvPr/>
        </p:nvSpPr>
        <p:spPr>
          <a:xfrm>
            <a:off x="10792122" y="1992180"/>
            <a:ext cx="150074" cy="105409"/>
          </a:xfrm>
          <a:custGeom>
            <a:avLst/>
            <a:gdLst>
              <a:gd name="connsiteX0" fmla="*/ 136919 w 150074"/>
              <a:gd name="connsiteY0" fmla="*/ 0 h 105409"/>
              <a:gd name="connsiteX1" fmla="*/ 53761 w 150074"/>
              <a:gd name="connsiteY1" fmla="*/ 78611 h 105409"/>
              <a:gd name="connsiteX2" fmla="*/ 13806 w 150074"/>
              <a:gd name="connsiteY2" fmla="*/ 37681 h 105409"/>
              <a:gd name="connsiteX3" fmla="*/ 0 w 150074"/>
              <a:gd name="connsiteY3" fmla="*/ 50837 h 105409"/>
              <a:gd name="connsiteX4" fmla="*/ 53111 w 150074"/>
              <a:gd name="connsiteY4" fmla="*/ 105410 h 105409"/>
              <a:gd name="connsiteX5" fmla="*/ 67079 w 150074"/>
              <a:gd name="connsiteY5" fmla="*/ 92416 h 105409"/>
              <a:gd name="connsiteX6" fmla="*/ 150075 w 150074"/>
              <a:gd name="connsiteY6" fmla="*/ 13643 h 1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074" h="105409">
                <a:moveTo>
                  <a:pt x="136919" y="0"/>
                </a:moveTo>
                <a:lnTo>
                  <a:pt x="53761" y="78611"/>
                </a:lnTo>
                <a:lnTo>
                  <a:pt x="13806" y="37681"/>
                </a:lnTo>
                <a:lnTo>
                  <a:pt x="0" y="50837"/>
                </a:lnTo>
                <a:lnTo>
                  <a:pt x="53111" y="105410"/>
                </a:lnTo>
                <a:lnTo>
                  <a:pt x="67079" y="92416"/>
                </a:lnTo>
                <a:lnTo>
                  <a:pt x="150075" y="13643"/>
                </a:lnTo>
                <a:close/>
              </a:path>
            </a:pathLst>
          </a:custGeom>
          <a:solidFill>
            <a:schemeClr val="bg1"/>
          </a:solidFill>
          <a:ln w="15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17" name="Graphic 67" descr="Checkmark with solid fill">
            <a:extLst>
              <a:ext uri="{FF2B5EF4-FFF2-40B4-BE49-F238E27FC236}">
                <a16:creationId xmlns:a16="http://schemas.microsoft.com/office/drawing/2014/main" id="{C52BD836-B284-48F7-96DA-36C9E0F1D702}"/>
              </a:ext>
            </a:extLst>
          </p:cNvPr>
          <p:cNvSpPr/>
          <p:nvPr/>
        </p:nvSpPr>
        <p:spPr>
          <a:xfrm>
            <a:off x="10792122" y="2368609"/>
            <a:ext cx="150074" cy="105409"/>
          </a:xfrm>
          <a:custGeom>
            <a:avLst/>
            <a:gdLst>
              <a:gd name="connsiteX0" fmla="*/ 136919 w 150074"/>
              <a:gd name="connsiteY0" fmla="*/ 0 h 105409"/>
              <a:gd name="connsiteX1" fmla="*/ 53761 w 150074"/>
              <a:gd name="connsiteY1" fmla="*/ 78611 h 105409"/>
              <a:gd name="connsiteX2" fmla="*/ 13806 w 150074"/>
              <a:gd name="connsiteY2" fmla="*/ 37681 h 105409"/>
              <a:gd name="connsiteX3" fmla="*/ 0 w 150074"/>
              <a:gd name="connsiteY3" fmla="*/ 50837 h 105409"/>
              <a:gd name="connsiteX4" fmla="*/ 53111 w 150074"/>
              <a:gd name="connsiteY4" fmla="*/ 105410 h 105409"/>
              <a:gd name="connsiteX5" fmla="*/ 67079 w 150074"/>
              <a:gd name="connsiteY5" fmla="*/ 92416 h 105409"/>
              <a:gd name="connsiteX6" fmla="*/ 150075 w 150074"/>
              <a:gd name="connsiteY6" fmla="*/ 13643 h 1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074" h="105409">
                <a:moveTo>
                  <a:pt x="136919" y="0"/>
                </a:moveTo>
                <a:lnTo>
                  <a:pt x="53761" y="78611"/>
                </a:lnTo>
                <a:lnTo>
                  <a:pt x="13806" y="37681"/>
                </a:lnTo>
                <a:lnTo>
                  <a:pt x="0" y="50837"/>
                </a:lnTo>
                <a:lnTo>
                  <a:pt x="53111" y="105410"/>
                </a:lnTo>
                <a:lnTo>
                  <a:pt x="67079" y="92416"/>
                </a:lnTo>
                <a:lnTo>
                  <a:pt x="150075" y="13643"/>
                </a:lnTo>
                <a:close/>
              </a:path>
            </a:pathLst>
          </a:custGeom>
          <a:solidFill>
            <a:schemeClr val="bg1"/>
          </a:solidFill>
          <a:ln w="15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8" name="Graphic 67" descr="Checkmark with solid fill">
            <a:extLst>
              <a:ext uri="{FF2B5EF4-FFF2-40B4-BE49-F238E27FC236}">
                <a16:creationId xmlns:a16="http://schemas.microsoft.com/office/drawing/2014/main" id="{19AE4A30-43D9-4BFE-BBBC-2C5EFFBEBBB3}"/>
              </a:ext>
            </a:extLst>
          </p:cNvPr>
          <p:cNvSpPr/>
          <p:nvPr/>
        </p:nvSpPr>
        <p:spPr>
          <a:xfrm>
            <a:off x="10792122" y="2732987"/>
            <a:ext cx="150074" cy="105409"/>
          </a:xfrm>
          <a:custGeom>
            <a:avLst/>
            <a:gdLst>
              <a:gd name="connsiteX0" fmla="*/ 136919 w 150074"/>
              <a:gd name="connsiteY0" fmla="*/ 0 h 105409"/>
              <a:gd name="connsiteX1" fmla="*/ 53761 w 150074"/>
              <a:gd name="connsiteY1" fmla="*/ 78611 h 105409"/>
              <a:gd name="connsiteX2" fmla="*/ 13806 w 150074"/>
              <a:gd name="connsiteY2" fmla="*/ 37681 h 105409"/>
              <a:gd name="connsiteX3" fmla="*/ 0 w 150074"/>
              <a:gd name="connsiteY3" fmla="*/ 50837 h 105409"/>
              <a:gd name="connsiteX4" fmla="*/ 53111 w 150074"/>
              <a:gd name="connsiteY4" fmla="*/ 105410 h 105409"/>
              <a:gd name="connsiteX5" fmla="*/ 67079 w 150074"/>
              <a:gd name="connsiteY5" fmla="*/ 92416 h 105409"/>
              <a:gd name="connsiteX6" fmla="*/ 150075 w 150074"/>
              <a:gd name="connsiteY6" fmla="*/ 13643 h 1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074" h="105409">
                <a:moveTo>
                  <a:pt x="136919" y="0"/>
                </a:moveTo>
                <a:lnTo>
                  <a:pt x="53761" y="78611"/>
                </a:lnTo>
                <a:lnTo>
                  <a:pt x="13806" y="37681"/>
                </a:lnTo>
                <a:lnTo>
                  <a:pt x="0" y="50837"/>
                </a:lnTo>
                <a:lnTo>
                  <a:pt x="53111" y="105410"/>
                </a:lnTo>
                <a:lnTo>
                  <a:pt x="67079" y="92416"/>
                </a:lnTo>
                <a:lnTo>
                  <a:pt x="150075" y="13643"/>
                </a:lnTo>
                <a:close/>
              </a:path>
            </a:pathLst>
          </a:custGeom>
          <a:solidFill>
            <a:schemeClr val="bg1"/>
          </a:solidFill>
          <a:ln w="15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9" name="Graphic 67" descr="Checkmark with solid fill">
            <a:extLst>
              <a:ext uri="{FF2B5EF4-FFF2-40B4-BE49-F238E27FC236}">
                <a16:creationId xmlns:a16="http://schemas.microsoft.com/office/drawing/2014/main" id="{4376CE67-52D5-4CE5-9FE4-E124063EF132}"/>
              </a:ext>
            </a:extLst>
          </p:cNvPr>
          <p:cNvSpPr/>
          <p:nvPr/>
        </p:nvSpPr>
        <p:spPr>
          <a:xfrm>
            <a:off x="10792122" y="3391936"/>
            <a:ext cx="150074" cy="105409"/>
          </a:xfrm>
          <a:custGeom>
            <a:avLst/>
            <a:gdLst>
              <a:gd name="connsiteX0" fmla="*/ 136919 w 150074"/>
              <a:gd name="connsiteY0" fmla="*/ 0 h 105409"/>
              <a:gd name="connsiteX1" fmla="*/ 53761 w 150074"/>
              <a:gd name="connsiteY1" fmla="*/ 78611 h 105409"/>
              <a:gd name="connsiteX2" fmla="*/ 13806 w 150074"/>
              <a:gd name="connsiteY2" fmla="*/ 37681 h 105409"/>
              <a:gd name="connsiteX3" fmla="*/ 0 w 150074"/>
              <a:gd name="connsiteY3" fmla="*/ 50837 h 105409"/>
              <a:gd name="connsiteX4" fmla="*/ 53111 w 150074"/>
              <a:gd name="connsiteY4" fmla="*/ 105410 h 105409"/>
              <a:gd name="connsiteX5" fmla="*/ 67079 w 150074"/>
              <a:gd name="connsiteY5" fmla="*/ 92416 h 105409"/>
              <a:gd name="connsiteX6" fmla="*/ 150075 w 150074"/>
              <a:gd name="connsiteY6" fmla="*/ 13643 h 1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074" h="105409">
                <a:moveTo>
                  <a:pt x="136919" y="0"/>
                </a:moveTo>
                <a:lnTo>
                  <a:pt x="53761" y="78611"/>
                </a:lnTo>
                <a:lnTo>
                  <a:pt x="13806" y="37681"/>
                </a:lnTo>
                <a:lnTo>
                  <a:pt x="0" y="50837"/>
                </a:lnTo>
                <a:lnTo>
                  <a:pt x="53111" y="105410"/>
                </a:lnTo>
                <a:lnTo>
                  <a:pt x="67079" y="92416"/>
                </a:lnTo>
                <a:lnTo>
                  <a:pt x="150075" y="13643"/>
                </a:lnTo>
                <a:close/>
              </a:path>
            </a:pathLst>
          </a:custGeom>
          <a:solidFill>
            <a:schemeClr val="bg1"/>
          </a:solidFill>
          <a:ln w="15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0" name="Graphic 67" descr="Checkmark with solid fill">
            <a:extLst>
              <a:ext uri="{FF2B5EF4-FFF2-40B4-BE49-F238E27FC236}">
                <a16:creationId xmlns:a16="http://schemas.microsoft.com/office/drawing/2014/main" id="{0F8BBED2-3174-462E-82FE-DA96C672B670}"/>
              </a:ext>
            </a:extLst>
          </p:cNvPr>
          <p:cNvSpPr/>
          <p:nvPr/>
        </p:nvSpPr>
        <p:spPr>
          <a:xfrm>
            <a:off x="10792122" y="3768365"/>
            <a:ext cx="150074" cy="105409"/>
          </a:xfrm>
          <a:custGeom>
            <a:avLst/>
            <a:gdLst>
              <a:gd name="connsiteX0" fmla="*/ 136919 w 150074"/>
              <a:gd name="connsiteY0" fmla="*/ 0 h 105409"/>
              <a:gd name="connsiteX1" fmla="*/ 53761 w 150074"/>
              <a:gd name="connsiteY1" fmla="*/ 78611 h 105409"/>
              <a:gd name="connsiteX2" fmla="*/ 13806 w 150074"/>
              <a:gd name="connsiteY2" fmla="*/ 37681 h 105409"/>
              <a:gd name="connsiteX3" fmla="*/ 0 w 150074"/>
              <a:gd name="connsiteY3" fmla="*/ 50837 h 105409"/>
              <a:gd name="connsiteX4" fmla="*/ 53111 w 150074"/>
              <a:gd name="connsiteY4" fmla="*/ 105410 h 105409"/>
              <a:gd name="connsiteX5" fmla="*/ 67079 w 150074"/>
              <a:gd name="connsiteY5" fmla="*/ 92416 h 105409"/>
              <a:gd name="connsiteX6" fmla="*/ 150075 w 150074"/>
              <a:gd name="connsiteY6" fmla="*/ 13643 h 1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074" h="105409">
                <a:moveTo>
                  <a:pt x="136919" y="0"/>
                </a:moveTo>
                <a:lnTo>
                  <a:pt x="53761" y="78611"/>
                </a:lnTo>
                <a:lnTo>
                  <a:pt x="13806" y="37681"/>
                </a:lnTo>
                <a:lnTo>
                  <a:pt x="0" y="50837"/>
                </a:lnTo>
                <a:lnTo>
                  <a:pt x="53111" y="105410"/>
                </a:lnTo>
                <a:lnTo>
                  <a:pt x="67079" y="92416"/>
                </a:lnTo>
                <a:lnTo>
                  <a:pt x="150075" y="13643"/>
                </a:lnTo>
                <a:close/>
              </a:path>
            </a:pathLst>
          </a:custGeom>
          <a:solidFill>
            <a:schemeClr val="bg1"/>
          </a:solidFill>
          <a:ln w="15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1" name="Graphic 67" descr="Checkmark with solid fill">
            <a:extLst>
              <a:ext uri="{FF2B5EF4-FFF2-40B4-BE49-F238E27FC236}">
                <a16:creationId xmlns:a16="http://schemas.microsoft.com/office/drawing/2014/main" id="{4D421436-678E-4721-875C-BA7599B5490B}"/>
              </a:ext>
            </a:extLst>
          </p:cNvPr>
          <p:cNvSpPr/>
          <p:nvPr/>
        </p:nvSpPr>
        <p:spPr>
          <a:xfrm>
            <a:off x="10792122" y="4132743"/>
            <a:ext cx="150074" cy="105409"/>
          </a:xfrm>
          <a:custGeom>
            <a:avLst/>
            <a:gdLst>
              <a:gd name="connsiteX0" fmla="*/ 136919 w 150074"/>
              <a:gd name="connsiteY0" fmla="*/ 0 h 105409"/>
              <a:gd name="connsiteX1" fmla="*/ 53761 w 150074"/>
              <a:gd name="connsiteY1" fmla="*/ 78611 h 105409"/>
              <a:gd name="connsiteX2" fmla="*/ 13806 w 150074"/>
              <a:gd name="connsiteY2" fmla="*/ 37681 h 105409"/>
              <a:gd name="connsiteX3" fmla="*/ 0 w 150074"/>
              <a:gd name="connsiteY3" fmla="*/ 50837 h 105409"/>
              <a:gd name="connsiteX4" fmla="*/ 53111 w 150074"/>
              <a:gd name="connsiteY4" fmla="*/ 105410 h 105409"/>
              <a:gd name="connsiteX5" fmla="*/ 67079 w 150074"/>
              <a:gd name="connsiteY5" fmla="*/ 92416 h 105409"/>
              <a:gd name="connsiteX6" fmla="*/ 150075 w 150074"/>
              <a:gd name="connsiteY6" fmla="*/ 13643 h 1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074" h="105409">
                <a:moveTo>
                  <a:pt x="136919" y="0"/>
                </a:moveTo>
                <a:lnTo>
                  <a:pt x="53761" y="78611"/>
                </a:lnTo>
                <a:lnTo>
                  <a:pt x="13806" y="37681"/>
                </a:lnTo>
                <a:lnTo>
                  <a:pt x="0" y="50837"/>
                </a:lnTo>
                <a:lnTo>
                  <a:pt x="53111" y="105410"/>
                </a:lnTo>
                <a:lnTo>
                  <a:pt x="67079" y="92416"/>
                </a:lnTo>
                <a:lnTo>
                  <a:pt x="150075" y="13643"/>
                </a:lnTo>
                <a:close/>
              </a:path>
            </a:pathLst>
          </a:custGeom>
          <a:solidFill>
            <a:schemeClr val="bg1"/>
          </a:solidFill>
          <a:ln w="15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2" name="Graphic 67" descr="Checkmark with solid fill">
            <a:extLst>
              <a:ext uri="{FF2B5EF4-FFF2-40B4-BE49-F238E27FC236}">
                <a16:creationId xmlns:a16="http://schemas.microsoft.com/office/drawing/2014/main" id="{63D56C6F-C44E-47A2-98FC-2510E39E3F9F}"/>
              </a:ext>
            </a:extLst>
          </p:cNvPr>
          <p:cNvSpPr/>
          <p:nvPr/>
        </p:nvSpPr>
        <p:spPr>
          <a:xfrm>
            <a:off x="10792122" y="4800858"/>
            <a:ext cx="150074" cy="105409"/>
          </a:xfrm>
          <a:custGeom>
            <a:avLst/>
            <a:gdLst>
              <a:gd name="connsiteX0" fmla="*/ 136919 w 150074"/>
              <a:gd name="connsiteY0" fmla="*/ 0 h 105409"/>
              <a:gd name="connsiteX1" fmla="*/ 53761 w 150074"/>
              <a:gd name="connsiteY1" fmla="*/ 78611 h 105409"/>
              <a:gd name="connsiteX2" fmla="*/ 13806 w 150074"/>
              <a:gd name="connsiteY2" fmla="*/ 37681 h 105409"/>
              <a:gd name="connsiteX3" fmla="*/ 0 w 150074"/>
              <a:gd name="connsiteY3" fmla="*/ 50837 h 105409"/>
              <a:gd name="connsiteX4" fmla="*/ 53111 w 150074"/>
              <a:gd name="connsiteY4" fmla="*/ 105410 h 105409"/>
              <a:gd name="connsiteX5" fmla="*/ 67079 w 150074"/>
              <a:gd name="connsiteY5" fmla="*/ 92416 h 105409"/>
              <a:gd name="connsiteX6" fmla="*/ 150075 w 150074"/>
              <a:gd name="connsiteY6" fmla="*/ 13643 h 1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074" h="105409">
                <a:moveTo>
                  <a:pt x="136919" y="0"/>
                </a:moveTo>
                <a:lnTo>
                  <a:pt x="53761" y="78611"/>
                </a:lnTo>
                <a:lnTo>
                  <a:pt x="13806" y="37681"/>
                </a:lnTo>
                <a:lnTo>
                  <a:pt x="0" y="50837"/>
                </a:lnTo>
                <a:lnTo>
                  <a:pt x="53111" y="105410"/>
                </a:lnTo>
                <a:lnTo>
                  <a:pt x="67079" y="92416"/>
                </a:lnTo>
                <a:lnTo>
                  <a:pt x="150075" y="13643"/>
                </a:lnTo>
                <a:close/>
              </a:path>
            </a:pathLst>
          </a:custGeom>
          <a:solidFill>
            <a:schemeClr val="bg1"/>
          </a:solidFill>
          <a:ln w="15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3" name="Graphic 67" descr="Checkmark with solid fill">
            <a:extLst>
              <a:ext uri="{FF2B5EF4-FFF2-40B4-BE49-F238E27FC236}">
                <a16:creationId xmlns:a16="http://schemas.microsoft.com/office/drawing/2014/main" id="{88C334DF-36CE-465E-B02A-F4C8C44B34D4}"/>
              </a:ext>
            </a:extLst>
          </p:cNvPr>
          <p:cNvSpPr/>
          <p:nvPr/>
        </p:nvSpPr>
        <p:spPr>
          <a:xfrm>
            <a:off x="10792122" y="5177287"/>
            <a:ext cx="150074" cy="105409"/>
          </a:xfrm>
          <a:custGeom>
            <a:avLst/>
            <a:gdLst>
              <a:gd name="connsiteX0" fmla="*/ 136919 w 150074"/>
              <a:gd name="connsiteY0" fmla="*/ 0 h 105409"/>
              <a:gd name="connsiteX1" fmla="*/ 53761 w 150074"/>
              <a:gd name="connsiteY1" fmla="*/ 78611 h 105409"/>
              <a:gd name="connsiteX2" fmla="*/ 13806 w 150074"/>
              <a:gd name="connsiteY2" fmla="*/ 37681 h 105409"/>
              <a:gd name="connsiteX3" fmla="*/ 0 w 150074"/>
              <a:gd name="connsiteY3" fmla="*/ 50837 h 105409"/>
              <a:gd name="connsiteX4" fmla="*/ 53111 w 150074"/>
              <a:gd name="connsiteY4" fmla="*/ 105410 h 105409"/>
              <a:gd name="connsiteX5" fmla="*/ 67079 w 150074"/>
              <a:gd name="connsiteY5" fmla="*/ 92416 h 105409"/>
              <a:gd name="connsiteX6" fmla="*/ 150075 w 150074"/>
              <a:gd name="connsiteY6" fmla="*/ 13643 h 1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074" h="105409">
                <a:moveTo>
                  <a:pt x="136919" y="0"/>
                </a:moveTo>
                <a:lnTo>
                  <a:pt x="53761" y="78611"/>
                </a:lnTo>
                <a:lnTo>
                  <a:pt x="13806" y="37681"/>
                </a:lnTo>
                <a:lnTo>
                  <a:pt x="0" y="50837"/>
                </a:lnTo>
                <a:lnTo>
                  <a:pt x="53111" y="105410"/>
                </a:lnTo>
                <a:lnTo>
                  <a:pt x="67079" y="92416"/>
                </a:lnTo>
                <a:lnTo>
                  <a:pt x="150075" y="13643"/>
                </a:lnTo>
                <a:close/>
              </a:path>
            </a:pathLst>
          </a:custGeom>
          <a:solidFill>
            <a:schemeClr val="bg1"/>
          </a:solidFill>
          <a:ln w="15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4" name="Graphic 67" descr="Checkmark with solid fill">
            <a:extLst>
              <a:ext uri="{FF2B5EF4-FFF2-40B4-BE49-F238E27FC236}">
                <a16:creationId xmlns:a16="http://schemas.microsoft.com/office/drawing/2014/main" id="{3C5EFDD5-2267-4D68-96AC-7766567F8EC3}"/>
              </a:ext>
            </a:extLst>
          </p:cNvPr>
          <p:cNvSpPr/>
          <p:nvPr/>
        </p:nvSpPr>
        <p:spPr>
          <a:xfrm>
            <a:off x="10792122" y="5541665"/>
            <a:ext cx="150074" cy="105409"/>
          </a:xfrm>
          <a:custGeom>
            <a:avLst/>
            <a:gdLst>
              <a:gd name="connsiteX0" fmla="*/ 136919 w 150074"/>
              <a:gd name="connsiteY0" fmla="*/ 0 h 105409"/>
              <a:gd name="connsiteX1" fmla="*/ 53761 w 150074"/>
              <a:gd name="connsiteY1" fmla="*/ 78611 h 105409"/>
              <a:gd name="connsiteX2" fmla="*/ 13806 w 150074"/>
              <a:gd name="connsiteY2" fmla="*/ 37681 h 105409"/>
              <a:gd name="connsiteX3" fmla="*/ 0 w 150074"/>
              <a:gd name="connsiteY3" fmla="*/ 50837 h 105409"/>
              <a:gd name="connsiteX4" fmla="*/ 53111 w 150074"/>
              <a:gd name="connsiteY4" fmla="*/ 105410 h 105409"/>
              <a:gd name="connsiteX5" fmla="*/ 67079 w 150074"/>
              <a:gd name="connsiteY5" fmla="*/ 92416 h 105409"/>
              <a:gd name="connsiteX6" fmla="*/ 150075 w 150074"/>
              <a:gd name="connsiteY6" fmla="*/ 13643 h 1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074" h="105409">
                <a:moveTo>
                  <a:pt x="136919" y="0"/>
                </a:moveTo>
                <a:lnTo>
                  <a:pt x="53761" y="78611"/>
                </a:lnTo>
                <a:lnTo>
                  <a:pt x="13806" y="37681"/>
                </a:lnTo>
                <a:lnTo>
                  <a:pt x="0" y="50837"/>
                </a:lnTo>
                <a:lnTo>
                  <a:pt x="53111" y="105410"/>
                </a:lnTo>
                <a:lnTo>
                  <a:pt x="67079" y="92416"/>
                </a:lnTo>
                <a:lnTo>
                  <a:pt x="150075" y="13643"/>
                </a:lnTo>
                <a:close/>
              </a:path>
            </a:pathLst>
          </a:custGeom>
          <a:solidFill>
            <a:schemeClr val="bg1"/>
          </a:solidFill>
          <a:ln w="15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20134C1-096E-569A-6130-A31B61F55FA9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roject Overview</a:t>
            </a:r>
          </a:p>
        </p:txBody>
      </p:sp>
    </p:spTree>
    <p:extLst>
      <p:ext uri="{BB962C8B-B14F-4D97-AF65-F5344CB8AC3E}">
        <p14:creationId xmlns:p14="http://schemas.microsoft.com/office/powerpoint/2010/main" val="39609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A0F4CDC-10E9-1312-C982-7D7241BF234C}"/>
              </a:ext>
            </a:extLst>
          </p:cNvPr>
          <p:cNvSpPr txBox="1"/>
          <p:nvPr/>
        </p:nvSpPr>
        <p:spPr>
          <a:xfrm>
            <a:off x="571500" y="571500"/>
            <a:ext cx="11049000" cy="9848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Introducing the Presentation Assets Toolkit 2024 - your comprehensive resource for enhancing your presentation design skills and creating impactful presentations.</a:t>
            </a:r>
          </a:p>
          <a:p>
            <a:pPr algn="ctr"/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Inside the toolkit, you'll find a wealth of resources -</a:t>
            </a:r>
            <a:endParaRPr lang="en-CA" sz="1600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CA7FA42-1A71-F319-1E82-30D456A6CB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4694565"/>
              </p:ext>
            </p:extLst>
          </p:nvPr>
        </p:nvGraphicFramePr>
        <p:xfrm>
          <a:off x="2781300" y="1983316"/>
          <a:ext cx="6629400" cy="3765286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750738">
                  <a:extLst>
                    <a:ext uri="{9D8B030D-6E8A-4147-A177-3AD203B41FA5}">
                      <a16:colId xmlns:a16="http://schemas.microsoft.com/office/drawing/2014/main" val="731020810"/>
                    </a:ext>
                  </a:extLst>
                </a:gridCol>
                <a:gridCol w="4377522">
                  <a:extLst>
                    <a:ext uri="{9D8B030D-6E8A-4147-A177-3AD203B41FA5}">
                      <a16:colId xmlns:a16="http://schemas.microsoft.com/office/drawing/2014/main" val="1949629919"/>
                    </a:ext>
                  </a:extLst>
                </a:gridCol>
                <a:gridCol w="1501140">
                  <a:extLst>
                    <a:ext uri="{9D8B030D-6E8A-4147-A177-3AD203B41FA5}">
                      <a16:colId xmlns:a16="http://schemas.microsoft.com/office/drawing/2014/main" val="19670220"/>
                    </a:ext>
                  </a:extLst>
                </a:gridCol>
              </a:tblGrid>
              <a:tr h="537898">
                <a:tc>
                  <a:txBody>
                    <a:bodyPr/>
                    <a:lstStyle/>
                    <a:p>
                      <a:pPr algn="ctr"/>
                      <a:r>
                        <a:rPr lang="en-CA" sz="2400" b="0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2000" b="0" dirty="0">
                          <a:solidFill>
                            <a:srgbClr val="92E3A9"/>
                          </a:solidFill>
                        </a:rPr>
                        <a:t>Shapes &amp; Elements</a:t>
                      </a:r>
                    </a:p>
                  </a:txBody>
                  <a:tcPr marL="43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2000" b="0" dirty="0">
                        <a:solidFill>
                          <a:srgbClr val="92E3A9"/>
                        </a:solidFill>
                      </a:endParaRPr>
                    </a:p>
                  </a:txBody>
                  <a:tcPr marL="32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7557006"/>
                  </a:ext>
                </a:extLst>
              </a:tr>
              <a:tr h="537898">
                <a:tc>
                  <a:txBody>
                    <a:bodyPr/>
                    <a:lstStyle/>
                    <a:p>
                      <a:pPr algn="ctr"/>
                      <a:r>
                        <a:rPr lang="en-CA" sz="2400" b="0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2000" b="0" dirty="0">
                          <a:solidFill>
                            <a:srgbClr val="92E3A9"/>
                          </a:solidFill>
                        </a:rPr>
                        <a:t>Gradients</a:t>
                      </a:r>
                    </a:p>
                  </a:txBody>
                  <a:tcPr marL="43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2000" b="0" dirty="0">
                        <a:solidFill>
                          <a:srgbClr val="92E3A9"/>
                        </a:solidFill>
                      </a:endParaRPr>
                    </a:p>
                  </a:txBody>
                  <a:tcPr marL="32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5867843"/>
                  </a:ext>
                </a:extLst>
              </a:tr>
              <a:tr h="537898">
                <a:tc>
                  <a:txBody>
                    <a:bodyPr/>
                    <a:lstStyle/>
                    <a:p>
                      <a:pPr algn="ctr"/>
                      <a:r>
                        <a:rPr lang="en-CA" sz="2400" b="0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2000" b="0" dirty="0">
                          <a:solidFill>
                            <a:srgbClr val="92E3A9"/>
                          </a:solidFill>
                        </a:rPr>
                        <a:t>Tables and Grids</a:t>
                      </a:r>
                    </a:p>
                  </a:txBody>
                  <a:tcPr marL="43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2000" b="0" dirty="0">
                        <a:solidFill>
                          <a:srgbClr val="92E3A9"/>
                        </a:solidFill>
                      </a:endParaRPr>
                    </a:p>
                  </a:txBody>
                  <a:tcPr marL="32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9187294"/>
                  </a:ext>
                </a:extLst>
              </a:tr>
              <a:tr h="537898">
                <a:tc>
                  <a:txBody>
                    <a:bodyPr/>
                    <a:lstStyle/>
                    <a:p>
                      <a:pPr algn="ctr"/>
                      <a:r>
                        <a:rPr lang="en-CA" sz="2400" b="0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2000" b="0" dirty="0">
                          <a:solidFill>
                            <a:srgbClr val="92E3A9"/>
                          </a:solidFill>
                        </a:rPr>
                        <a:t>Editable Maps</a:t>
                      </a:r>
                    </a:p>
                  </a:txBody>
                  <a:tcPr marL="43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sz="2000" b="0" dirty="0">
                        <a:solidFill>
                          <a:srgbClr val="92E3A9"/>
                        </a:solidFill>
                      </a:endParaRPr>
                    </a:p>
                  </a:txBody>
                  <a:tcPr marL="32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2067932"/>
                  </a:ext>
                </a:extLst>
              </a:tr>
              <a:tr h="537898">
                <a:tc>
                  <a:txBody>
                    <a:bodyPr/>
                    <a:lstStyle/>
                    <a:p>
                      <a:pPr algn="ctr"/>
                      <a:r>
                        <a:rPr lang="en-CA" sz="2400" b="0" dirty="0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2000" b="0" dirty="0">
                          <a:solidFill>
                            <a:srgbClr val="92E3A9"/>
                          </a:solidFill>
                        </a:rPr>
                        <a:t>Social Icon Libraries</a:t>
                      </a:r>
                    </a:p>
                  </a:txBody>
                  <a:tcPr marL="43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CA" sz="2000" b="0" dirty="0">
                        <a:solidFill>
                          <a:srgbClr val="92E3A9"/>
                        </a:solidFill>
                      </a:endParaRPr>
                    </a:p>
                  </a:txBody>
                  <a:tcPr marL="32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493343"/>
                  </a:ext>
                </a:extLst>
              </a:tr>
              <a:tr h="537898">
                <a:tc>
                  <a:txBody>
                    <a:bodyPr/>
                    <a:lstStyle/>
                    <a:p>
                      <a:pPr algn="ctr"/>
                      <a:r>
                        <a:rPr lang="en-CA" sz="2400" b="0" dirty="0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2000" b="0" dirty="0">
                          <a:solidFill>
                            <a:srgbClr val="92E3A9"/>
                          </a:solidFill>
                        </a:rPr>
                        <a:t>Device Mock-ups</a:t>
                      </a:r>
                    </a:p>
                  </a:txBody>
                  <a:tcPr marL="43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CA" sz="2000" b="0" dirty="0">
                        <a:solidFill>
                          <a:srgbClr val="92E3A9"/>
                        </a:solidFill>
                      </a:endParaRPr>
                    </a:p>
                  </a:txBody>
                  <a:tcPr marL="32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1891250"/>
                  </a:ext>
                </a:extLst>
              </a:tr>
              <a:tr h="537898">
                <a:tc>
                  <a:txBody>
                    <a:bodyPr/>
                    <a:lstStyle/>
                    <a:p>
                      <a:pPr algn="ctr"/>
                      <a:r>
                        <a:rPr lang="en-CA" sz="2400" b="0" dirty="0">
                          <a:solidFill>
                            <a:schemeClr val="bg1"/>
                          </a:solidFill>
                        </a:rPr>
                        <a:t>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2000" b="0" dirty="0">
                          <a:solidFill>
                            <a:srgbClr val="92E3A9"/>
                          </a:solidFill>
                        </a:rPr>
                        <a:t>Data Visualization Tools</a:t>
                      </a:r>
                    </a:p>
                  </a:txBody>
                  <a:tcPr marL="43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CA" sz="2000" b="0" dirty="0">
                        <a:solidFill>
                          <a:srgbClr val="92E3A9"/>
                        </a:solidFill>
                      </a:endParaRPr>
                    </a:p>
                  </a:txBody>
                  <a:tcPr marL="324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92E3A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14532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79015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Rectangle 185">
            <a:extLst>
              <a:ext uri="{FF2B5EF4-FFF2-40B4-BE49-F238E27FC236}">
                <a16:creationId xmlns:a16="http://schemas.microsoft.com/office/drawing/2014/main" id="{48AF9661-F451-4F90-9CF3-2D2095A52482}"/>
              </a:ext>
            </a:extLst>
          </p:cNvPr>
          <p:cNvSpPr/>
          <p:nvPr/>
        </p:nvSpPr>
        <p:spPr>
          <a:xfrm>
            <a:off x="8941452" y="3883505"/>
            <a:ext cx="2588683" cy="69591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>
                <a:solidFill>
                  <a:schemeClr val="bg1"/>
                </a:solidFill>
              </a:rPr>
              <a:t>Select a country to recolor it using the </a:t>
            </a:r>
            <a:r>
              <a:rPr lang="en-US" sz="1200" b="1" dirty="0">
                <a:solidFill>
                  <a:schemeClr val="bg1"/>
                </a:solidFill>
              </a:rPr>
              <a:t>Shape Fill </a:t>
            </a:r>
            <a:r>
              <a:rPr lang="en-US" sz="1200" dirty="0">
                <a:solidFill>
                  <a:schemeClr val="bg1"/>
                </a:solidFill>
              </a:rPr>
              <a:t>options.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CE822EA6-8BAB-45B4-9724-375C2E96B993}"/>
              </a:ext>
            </a:extLst>
          </p:cNvPr>
          <p:cNvSpPr/>
          <p:nvPr/>
        </p:nvSpPr>
        <p:spPr>
          <a:xfrm>
            <a:off x="8801970" y="2111419"/>
            <a:ext cx="2866056" cy="17710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b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</a:rPr>
              <a:t>Each country is a separate object in this map. 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You can find individually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named countries in the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Selection Pane</a:t>
            </a:r>
            <a:r>
              <a:rPr lang="en-US" sz="1200" dirty="0">
                <a:solidFill>
                  <a:schemeClr val="tx1"/>
                </a:solidFill>
              </a:rPr>
              <a:t>: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 dirty="0">
                <a:solidFill>
                  <a:schemeClr val="tx1"/>
                </a:solidFill>
              </a:rPr>
              <a:t>Home tab &gt; Arrange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&gt; Selection Pane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or by pressing </a:t>
            </a:r>
            <a:r>
              <a:rPr lang="en-US" sz="1200" b="1" dirty="0">
                <a:solidFill>
                  <a:schemeClr val="tx1"/>
                </a:solidFill>
              </a:rPr>
              <a:t>Alt + F10</a:t>
            </a:r>
          </a:p>
        </p:txBody>
      </p: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9DA81514-4A8E-C9C8-8264-28C511AED9CE}"/>
              </a:ext>
            </a:extLst>
          </p:cNvPr>
          <p:cNvGrpSpPr/>
          <p:nvPr/>
        </p:nvGrpSpPr>
        <p:grpSpPr>
          <a:xfrm>
            <a:off x="634074" y="1481678"/>
            <a:ext cx="7876805" cy="3894644"/>
            <a:chOff x="1834224" y="2055118"/>
            <a:chExt cx="8523555" cy="4214426"/>
          </a:xfrm>
        </p:grpSpPr>
        <p:grpSp>
          <p:nvGrpSpPr>
            <p:cNvPr id="189" name="Africa">
              <a:extLst>
                <a:ext uri="{FF2B5EF4-FFF2-40B4-BE49-F238E27FC236}">
                  <a16:creationId xmlns:a16="http://schemas.microsoft.com/office/drawing/2014/main" id="{457393F1-049E-3F9B-0A0A-4ABDCF38FAA7}"/>
                </a:ext>
              </a:extLst>
            </p:cNvPr>
            <p:cNvGrpSpPr/>
            <p:nvPr/>
          </p:nvGrpSpPr>
          <p:grpSpPr>
            <a:xfrm>
              <a:off x="5440456" y="3839737"/>
              <a:ext cx="1608526" cy="1803856"/>
              <a:chOff x="3916456" y="3374516"/>
              <a:chExt cx="1608526" cy="1803856"/>
            </a:xfrm>
            <a:solidFill>
              <a:schemeClr val="bg1">
                <a:lumMod val="75000"/>
              </a:schemeClr>
            </a:solidFill>
          </p:grpSpPr>
          <p:sp>
            <p:nvSpPr>
              <p:cNvPr id="317" name="Egypt">
                <a:extLst>
                  <a:ext uri="{FF2B5EF4-FFF2-40B4-BE49-F238E27FC236}">
                    <a16:creationId xmlns:a16="http://schemas.microsoft.com/office/drawing/2014/main" id="{98494BFE-2E26-D21D-8622-5966D38A2A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1993" y="3521015"/>
                <a:ext cx="251563" cy="257482"/>
              </a:xfrm>
              <a:custGeom>
                <a:avLst/>
                <a:gdLst/>
                <a:ahLst/>
                <a:cxnLst>
                  <a:cxn ang="0">
                    <a:pos x="149" y="9"/>
                  </a:cxn>
                  <a:cxn ang="0">
                    <a:pos x="148" y="12"/>
                  </a:cxn>
                  <a:cxn ang="0">
                    <a:pos x="145" y="12"/>
                  </a:cxn>
                  <a:cxn ang="0">
                    <a:pos x="135" y="11"/>
                  </a:cxn>
                  <a:cxn ang="0">
                    <a:pos x="131" y="11"/>
                  </a:cxn>
                  <a:cxn ang="0">
                    <a:pos x="119" y="11"/>
                  </a:cxn>
                  <a:cxn ang="0">
                    <a:pos x="109" y="7"/>
                  </a:cxn>
                  <a:cxn ang="0">
                    <a:pos x="102" y="5"/>
                  </a:cxn>
                  <a:cxn ang="0">
                    <a:pos x="82" y="9"/>
                  </a:cxn>
                  <a:cxn ang="0">
                    <a:pos x="76" y="12"/>
                  </a:cxn>
                  <a:cxn ang="0">
                    <a:pos x="74" y="15"/>
                  </a:cxn>
                  <a:cxn ang="0">
                    <a:pos x="64" y="15"/>
                  </a:cxn>
                  <a:cxn ang="0">
                    <a:pos x="58" y="14"/>
                  </a:cxn>
                  <a:cxn ang="0">
                    <a:pos x="38" y="7"/>
                  </a:cxn>
                  <a:cxn ang="0">
                    <a:pos x="30" y="5"/>
                  </a:cxn>
                  <a:cxn ang="0">
                    <a:pos x="8" y="2"/>
                  </a:cxn>
                  <a:cxn ang="0">
                    <a:pos x="5" y="0"/>
                  </a:cxn>
                  <a:cxn ang="0">
                    <a:pos x="2" y="4"/>
                  </a:cxn>
                  <a:cxn ang="0">
                    <a:pos x="2" y="15"/>
                  </a:cxn>
                  <a:cxn ang="0">
                    <a:pos x="1" y="24"/>
                  </a:cxn>
                  <a:cxn ang="0">
                    <a:pos x="0" y="28"/>
                  </a:cxn>
                  <a:cxn ang="0">
                    <a:pos x="1" y="39"/>
                  </a:cxn>
                  <a:cxn ang="0">
                    <a:pos x="1" y="48"/>
                  </a:cxn>
                  <a:cxn ang="0">
                    <a:pos x="99" y="172"/>
                  </a:cxn>
                  <a:cxn ang="0">
                    <a:pos x="105" y="167"/>
                  </a:cxn>
                  <a:cxn ang="0">
                    <a:pos x="108" y="167"/>
                  </a:cxn>
                  <a:cxn ang="0">
                    <a:pos x="112" y="170"/>
                  </a:cxn>
                  <a:cxn ang="0">
                    <a:pos x="133" y="170"/>
                  </a:cxn>
                  <a:cxn ang="0">
                    <a:pos x="139" y="174"/>
                  </a:cxn>
                  <a:cxn ang="0">
                    <a:pos x="142" y="174"/>
                  </a:cxn>
                  <a:cxn ang="0">
                    <a:pos x="145" y="172"/>
                  </a:cxn>
                  <a:cxn ang="0">
                    <a:pos x="152" y="167"/>
                  </a:cxn>
                  <a:cxn ang="0">
                    <a:pos x="153" y="167"/>
                  </a:cxn>
                  <a:cxn ang="0">
                    <a:pos x="158" y="162"/>
                  </a:cxn>
                  <a:cxn ang="0">
                    <a:pos x="160" y="156"/>
                  </a:cxn>
                  <a:cxn ang="0">
                    <a:pos x="162" y="156"/>
                  </a:cxn>
                  <a:cxn ang="0">
                    <a:pos x="170" y="150"/>
                  </a:cxn>
                  <a:cxn ang="0">
                    <a:pos x="170" y="149"/>
                  </a:cxn>
                  <a:cxn ang="0">
                    <a:pos x="170" y="143"/>
                  </a:cxn>
                  <a:cxn ang="0">
                    <a:pos x="170" y="139"/>
                  </a:cxn>
                  <a:cxn ang="0">
                    <a:pos x="166" y="132"/>
                  </a:cxn>
                  <a:cxn ang="0">
                    <a:pos x="163" y="125"/>
                  </a:cxn>
                  <a:cxn ang="0">
                    <a:pos x="153" y="108"/>
                  </a:cxn>
                  <a:cxn ang="0">
                    <a:pos x="146" y="92"/>
                  </a:cxn>
                  <a:cxn ang="0">
                    <a:pos x="145" y="88"/>
                  </a:cxn>
                  <a:cxn ang="0">
                    <a:pos x="139" y="81"/>
                  </a:cxn>
                  <a:cxn ang="0">
                    <a:pos x="139" y="76"/>
                  </a:cxn>
                  <a:cxn ang="0">
                    <a:pos x="136" y="69"/>
                  </a:cxn>
                  <a:cxn ang="0">
                    <a:pos x="128" y="58"/>
                  </a:cxn>
                  <a:cxn ang="0">
                    <a:pos x="121" y="41"/>
                  </a:cxn>
                  <a:cxn ang="0">
                    <a:pos x="121" y="29"/>
                  </a:cxn>
                  <a:cxn ang="0">
                    <a:pos x="122" y="31"/>
                  </a:cxn>
                  <a:cxn ang="0">
                    <a:pos x="131" y="49"/>
                  </a:cxn>
                  <a:cxn ang="0">
                    <a:pos x="138" y="62"/>
                  </a:cxn>
                  <a:cxn ang="0">
                    <a:pos x="145" y="71"/>
                  </a:cxn>
                  <a:cxn ang="0">
                    <a:pos x="148" y="71"/>
                  </a:cxn>
                  <a:cxn ang="0">
                    <a:pos x="150" y="66"/>
                  </a:cxn>
                  <a:cxn ang="0">
                    <a:pos x="155" y="51"/>
                  </a:cxn>
                  <a:cxn ang="0">
                    <a:pos x="158" y="48"/>
                  </a:cxn>
                  <a:cxn ang="0">
                    <a:pos x="158" y="45"/>
                  </a:cxn>
                </a:cxnLst>
                <a:rect l="0" t="0" r="r" b="b"/>
                <a:pathLst>
                  <a:path w="170" h="174">
                    <a:moveTo>
                      <a:pt x="160" y="38"/>
                    </a:moveTo>
                    <a:lnTo>
                      <a:pt x="149" y="9"/>
                    </a:lnTo>
                    <a:lnTo>
                      <a:pt x="149" y="9"/>
                    </a:lnTo>
                    <a:lnTo>
                      <a:pt x="148" y="12"/>
                    </a:lnTo>
                    <a:lnTo>
                      <a:pt x="148" y="12"/>
                    </a:lnTo>
                    <a:lnTo>
                      <a:pt x="145" y="12"/>
                    </a:lnTo>
                    <a:lnTo>
                      <a:pt x="140" y="12"/>
                    </a:lnTo>
                    <a:lnTo>
                      <a:pt x="135" y="11"/>
                    </a:lnTo>
                    <a:lnTo>
                      <a:pt x="131" y="11"/>
                    </a:lnTo>
                    <a:lnTo>
                      <a:pt x="131" y="11"/>
                    </a:lnTo>
                    <a:lnTo>
                      <a:pt x="125" y="12"/>
                    </a:lnTo>
                    <a:lnTo>
                      <a:pt x="119" y="11"/>
                    </a:lnTo>
                    <a:lnTo>
                      <a:pt x="109" y="7"/>
                    </a:lnTo>
                    <a:lnTo>
                      <a:pt x="109" y="7"/>
                    </a:lnTo>
                    <a:lnTo>
                      <a:pt x="106" y="7"/>
                    </a:lnTo>
                    <a:lnTo>
                      <a:pt x="102" y="5"/>
                    </a:lnTo>
                    <a:lnTo>
                      <a:pt x="92" y="7"/>
                    </a:lnTo>
                    <a:lnTo>
                      <a:pt x="82" y="9"/>
                    </a:lnTo>
                    <a:lnTo>
                      <a:pt x="78" y="11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74" y="15"/>
                    </a:lnTo>
                    <a:lnTo>
                      <a:pt x="69" y="17"/>
                    </a:lnTo>
                    <a:lnTo>
                      <a:pt x="64" y="15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45" y="9"/>
                    </a:lnTo>
                    <a:lnTo>
                      <a:pt x="38" y="7"/>
                    </a:lnTo>
                    <a:lnTo>
                      <a:pt x="30" y="5"/>
                    </a:lnTo>
                    <a:lnTo>
                      <a:pt x="30" y="5"/>
                    </a:lnTo>
                    <a:lnTo>
                      <a:pt x="12" y="4"/>
                    </a:lnTo>
                    <a:lnTo>
                      <a:pt x="8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11"/>
                    </a:lnTo>
                    <a:lnTo>
                      <a:pt x="2" y="15"/>
                    </a:lnTo>
                    <a:lnTo>
                      <a:pt x="2" y="19"/>
                    </a:lnTo>
                    <a:lnTo>
                      <a:pt x="1" y="24"/>
                    </a:lnTo>
                    <a:lnTo>
                      <a:pt x="1" y="24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1" y="39"/>
                    </a:lnTo>
                    <a:lnTo>
                      <a:pt x="1" y="48"/>
                    </a:lnTo>
                    <a:lnTo>
                      <a:pt x="1" y="48"/>
                    </a:lnTo>
                    <a:lnTo>
                      <a:pt x="1" y="172"/>
                    </a:lnTo>
                    <a:lnTo>
                      <a:pt x="99" y="172"/>
                    </a:lnTo>
                    <a:lnTo>
                      <a:pt x="99" y="172"/>
                    </a:lnTo>
                    <a:lnTo>
                      <a:pt x="105" y="167"/>
                    </a:lnTo>
                    <a:lnTo>
                      <a:pt x="105" y="167"/>
                    </a:lnTo>
                    <a:lnTo>
                      <a:pt x="108" y="167"/>
                    </a:lnTo>
                    <a:lnTo>
                      <a:pt x="109" y="167"/>
                    </a:lnTo>
                    <a:lnTo>
                      <a:pt x="112" y="170"/>
                    </a:lnTo>
                    <a:lnTo>
                      <a:pt x="133" y="170"/>
                    </a:lnTo>
                    <a:lnTo>
                      <a:pt x="133" y="170"/>
                    </a:lnTo>
                    <a:lnTo>
                      <a:pt x="136" y="173"/>
                    </a:lnTo>
                    <a:lnTo>
                      <a:pt x="139" y="174"/>
                    </a:lnTo>
                    <a:lnTo>
                      <a:pt x="142" y="174"/>
                    </a:lnTo>
                    <a:lnTo>
                      <a:pt x="142" y="174"/>
                    </a:lnTo>
                    <a:lnTo>
                      <a:pt x="145" y="173"/>
                    </a:lnTo>
                    <a:lnTo>
                      <a:pt x="145" y="172"/>
                    </a:lnTo>
                    <a:lnTo>
                      <a:pt x="148" y="169"/>
                    </a:lnTo>
                    <a:lnTo>
                      <a:pt x="152" y="167"/>
                    </a:lnTo>
                    <a:lnTo>
                      <a:pt x="152" y="167"/>
                    </a:lnTo>
                    <a:lnTo>
                      <a:pt x="153" y="167"/>
                    </a:lnTo>
                    <a:lnTo>
                      <a:pt x="155" y="166"/>
                    </a:lnTo>
                    <a:lnTo>
                      <a:pt x="158" y="162"/>
                    </a:lnTo>
                    <a:lnTo>
                      <a:pt x="159" y="157"/>
                    </a:lnTo>
                    <a:lnTo>
                      <a:pt x="160" y="156"/>
                    </a:lnTo>
                    <a:lnTo>
                      <a:pt x="162" y="156"/>
                    </a:lnTo>
                    <a:lnTo>
                      <a:pt x="162" y="156"/>
                    </a:lnTo>
                    <a:lnTo>
                      <a:pt x="166" y="156"/>
                    </a:lnTo>
                    <a:lnTo>
                      <a:pt x="170" y="150"/>
                    </a:lnTo>
                    <a:lnTo>
                      <a:pt x="170" y="150"/>
                    </a:lnTo>
                    <a:lnTo>
                      <a:pt x="170" y="149"/>
                    </a:lnTo>
                    <a:lnTo>
                      <a:pt x="170" y="149"/>
                    </a:lnTo>
                    <a:lnTo>
                      <a:pt x="170" y="143"/>
                    </a:lnTo>
                    <a:lnTo>
                      <a:pt x="170" y="143"/>
                    </a:lnTo>
                    <a:lnTo>
                      <a:pt x="170" y="139"/>
                    </a:lnTo>
                    <a:lnTo>
                      <a:pt x="169" y="135"/>
                    </a:lnTo>
                    <a:lnTo>
                      <a:pt x="166" y="132"/>
                    </a:lnTo>
                    <a:lnTo>
                      <a:pt x="163" y="125"/>
                    </a:lnTo>
                    <a:lnTo>
                      <a:pt x="163" y="125"/>
                    </a:lnTo>
                    <a:lnTo>
                      <a:pt x="159" y="116"/>
                    </a:lnTo>
                    <a:lnTo>
                      <a:pt x="153" y="108"/>
                    </a:lnTo>
                    <a:lnTo>
                      <a:pt x="149" y="99"/>
                    </a:lnTo>
                    <a:lnTo>
                      <a:pt x="146" y="92"/>
                    </a:lnTo>
                    <a:lnTo>
                      <a:pt x="146" y="92"/>
                    </a:lnTo>
                    <a:lnTo>
                      <a:pt x="145" y="88"/>
                    </a:lnTo>
                    <a:lnTo>
                      <a:pt x="142" y="85"/>
                    </a:lnTo>
                    <a:lnTo>
                      <a:pt x="139" y="81"/>
                    </a:lnTo>
                    <a:lnTo>
                      <a:pt x="139" y="76"/>
                    </a:lnTo>
                    <a:lnTo>
                      <a:pt x="139" y="76"/>
                    </a:lnTo>
                    <a:lnTo>
                      <a:pt x="138" y="72"/>
                    </a:lnTo>
                    <a:lnTo>
                      <a:pt x="136" y="69"/>
                    </a:lnTo>
                    <a:lnTo>
                      <a:pt x="128" y="58"/>
                    </a:lnTo>
                    <a:lnTo>
                      <a:pt x="128" y="58"/>
                    </a:lnTo>
                    <a:lnTo>
                      <a:pt x="123" y="49"/>
                    </a:lnTo>
                    <a:lnTo>
                      <a:pt x="121" y="41"/>
                    </a:lnTo>
                    <a:lnTo>
                      <a:pt x="119" y="32"/>
                    </a:lnTo>
                    <a:lnTo>
                      <a:pt x="121" y="29"/>
                    </a:lnTo>
                    <a:lnTo>
                      <a:pt x="121" y="29"/>
                    </a:lnTo>
                    <a:lnTo>
                      <a:pt x="122" y="31"/>
                    </a:lnTo>
                    <a:lnTo>
                      <a:pt x="126" y="36"/>
                    </a:lnTo>
                    <a:lnTo>
                      <a:pt x="131" y="49"/>
                    </a:lnTo>
                    <a:lnTo>
                      <a:pt x="131" y="49"/>
                    </a:lnTo>
                    <a:lnTo>
                      <a:pt x="138" y="62"/>
                    </a:lnTo>
                    <a:lnTo>
                      <a:pt x="142" y="68"/>
                    </a:lnTo>
                    <a:lnTo>
                      <a:pt x="145" y="71"/>
                    </a:lnTo>
                    <a:lnTo>
                      <a:pt x="148" y="71"/>
                    </a:lnTo>
                    <a:lnTo>
                      <a:pt x="148" y="71"/>
                    </a:lnTo>
                    <a:lnTo>
                      <a:pt x="149" y="69"/>
                    </a:lnTo>
                    <a:lnTo>
                      <a:pt x="150" y="66"/>
                    </a:lnTo>
                    <a:lnTo>
                      <a:pt x="153" y="59"/>
                    </a:lnTo>
                    <a:lnTo>
                      <a:pt x="155" y="51"/>
                    </a:lnTo>
                    <a:lnTo>
                      <a:pt x="158" y="48"/>
                    </a:lnTo>
                    <a:lnTo>
                      <a:pt x="158" y="48"/>
                    </a:lnTo>
                    <a:lnTo>
                      <a:pt x="158" y="49"/>
                    </a:lnTo>
                    <a:lnTo>
                      <a:pt x="158" y="45"/>
                    </a:lnTo>
                    <a:lnTo>
                      <a:pt x="160" y="38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18" name="Tunisia">
                <a:extLst>
                  <a:ext uri="{FF2B5EF4-FFF2-40B4-BE49-F238E27FC236}">
                    <a16:creationId xmlns:a16="http://schemas.microsoft.com/office/drawing/2014/main" id="{5114A8DE-D55D-BC6C-B4D2-3A6647CBDC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0971" y="3374516"/>
                <a:ext cx="99146" cy="192372"/>
              </a:xfrm>
              <a:custGeom>
                <a:avLst/>
                <a:gdLst/>
                <a:ahLst/>
                <a:cxnLst>
                  <a:cxn ang="0">
                    <a:pos x="17" y="32"/>
                  </a:cxn>
                  <a:cxn ang="0">
                    <a:pos x="17" y="42"/>
                  </a:cxn>
                  <a:cxn ang="0">
                    <a:pos x="13" y="49"/>
                  </a:cxn>
                  <a:cxn ang="0">
                    <a:pos x="10" y="52"/>
                  </a:cxn>
                  <a:cxn ang="0">
                    <a:pos x="5" y="59"/>
                  </a:cxn>
                  <a:cxn ang="0">
                    <a:pos x="2" y="60"/>
                  </a:cxn>
                  <a:cxn ang="0">
                    <a:pos x="0" y="62"/>
                  </a:cxn>
                  <a:cxn ang="0">
                    <a:pos x="5" y="73"/>
                  </a:cxn>
                  <a:cxn ang="0">
                    <a:pos x="9" y="77"/>
                  </a:cxn>
                  <a:cxn ang="0">
                    <a:pos x="15" y="81"/>
                  </a:cxn>
                  <a:cxn ang="0">
                    <a:pos x="16" y="87"/>
                  </a:cxn>
                  <a:cxn ang="0">
                    <a:pos x="20" y="91"/>
                  </a:cxn>
                  <a:cxn ang="0">
                    <a:pos x="27" y="97"/>
                  </a:cxn>
                  <a:cxn ang="0">
                    <a:pos x="30" y="101"/>
                  </a:cxn>
                  <a:cxn ang="0">
                    <a:pos x="34" y="118"/>
                  </a:cxn>
                  <a:cxn ang="0">
                    <a:pos x="36" y="126"/>
                  </a:cxn>
                  <a:cxn ang="0">
                    <a:pos x="37" y="130"/>
                  </a:cxn>
                  <a:cxn ang="0">
                    <a:pos x="43" y="123"/>
                  </a:cxn>
                  <a:cxn ang="0">
                    <a:pos x="46" y="116"/>
                  </a:cxn>
                  <a:cxn ang="0">
                    <a:pos x="46" y="110"/>
                  </a:cxn>
                  <a:cxn ang="0">
                    <a:pos x="47" y="103"/>
                  </a:cxn>
                  <a:cxn ang="0">
                    <a:pos x="54" y="97"/>
                  </a:cxn>
                  <a:cxn ang="0">
                    <a:pos x="60" y="91"/>
                  </a:cxn>
                  <a:cxn ang="0">
                    <a:pos x="66" y="90"/>
                  </a:cxn>
                  <a:cxn ang="0">
                    <a:pos x="67" y="87"/>
                  </a:cxn>
                  <a:cxn ang="0">
                    <a:pos x="67" y="79"/>
                  </a:cxn>
                  <a:cxn ang="0">
                    <a:pos x="62" y="71"/>
                  </a:cxn>
                  <a:cxn ang="0">
                    <a:pos x="60" y="69"/>
                  </a:cxn>
                  <a:cxn ang="0">
                    <a:pos x="56" y="66"/>
                  </a:cxn>
                  <a:cxn ang="0">
                    <a:pos x="54" y="66"/>
                  </a:cxn>
                  <a:cxn ang="0">
                    <a:pos x="47" y="67"/>
                  </a:cxn>
                  <a:cxn ang="0">
                    <a:pos x="42" y="60"/>
                  </a:cxn>
                  <a:cxn ang="0">
                    <a:pos x="43" y="57"/>
                  </a:cxn>
                  <a:cxn ang="0">
                    <a:pos x="50" y="53"/>
                  </a:cxn>
                  <a:cxn ang="0">
                    <a:pos x="54" y="50"/>
                  </a:cxn>
                  <a:cxn ang="0">
                    <a:pos x="60" y="39"/>
                  </a:cxn>
                  <a:cxn ang="0">
                    <a:pos x="54" y="27"/>
                  </a:cxn>
                  <a:cxn ang="0">
                    <a:pos x="52" y="25"/>
                  </a:cxn>
                  <a:cxn ang="0">
                    <a:pos x="54" y="17"/>
                  </a:cxn>
                  <a:cxn ang="0">
                    <a:pos x="57" y="15"/>
                  </a:cxn>
                  <a:cxn ang="0">
                    <a:pos x="60" y="9"/>
                  </a:cxn>
                  <a:cxn ang="0">
                    <a:pos x="56" y="9"/>
                  </a:cxn>
                  <a:cxn ang="0">
                    <a:pos x="53" y="10"/>
                  </a:cxn>
                  <a:cxn ang="0">
                    <a:pos x="49" y="9"/>
                  </a:cxn>
                  <a:cxn ang="0">
                    <a:pos x="49" y="6"/>
                  </a:cxn>
                  <a:cxn ang="0">
                    <a:pos x="44" y="2"/>
                  </a:cxn>
                  <a:cxn ang="0">
                    <a:pos x="32" y="2"/>
                  </a:cxn>
                  <a:cxn ang="0">
                    <a:pos x="26" y="5"/>
                  </a:cxn>
                  <a:cxn ang="0">
                    <a:pos x="17" y="7"/>
                  </a:cxn>
                  <a:cxn ang="0">
                    <a:pos x="16" y="22"/>
                  </a:cxn>
                  <a:cxn ang="0">
                    <a:pos x="17" y="32"/>
                  </a:cxn>
                </a:cxnLst>
                <a:rect l="0" t="0" r="r" b="b"/>
                <a:pathLst>
                  <a:path w="67" h="130">
                    <a:moveTo>
                      <a:pt x="17" y="32"/>
                    </a:moveTo>
                    <a:lnTo>
                      <a:pt x="17" y="32"/>
                    </a:lnTo>
                    <a:lnTo>
                      <a:pt x="19" y="37"/>
                    </a:lnTo>
                    <a:lnTo>
                      <a:pt x="17" y="42"/>
                    </a:lnTo>
                    <a:lnTo>
                      <a:pt x="16" y="46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0" y="52"/>
                    </a:lnTo>
                    <a:lnTo>
                      <a:pt x="7" y="54"/>
                    </a:lnTo>
                    <a:lnTo>
                      <a:pt x="5" y="59"/>
                    </a:lnTo>
                    <a:lnTo>
                      <a:pt x="2" y="60"/>
                    </a:lnTo>
                    <a:lnTo>
                      <a:pt x="2" y="60"/>
                    </a:lnTo>
                    <a:lnTo>
                      <a:pt x="0" y="60"/>
                    </a:lnTo>
                    <a:lnTo>
                      <a:pt x="0" y="62"/>
                    </a:lnTo>
                    <a:lnTo>
                      <a:pt x="2" y="67"/>
                    </a:lnTo>
                    <a:lnTo>
                      <a:pt x="5" y="73"/>
                    </a:lnTo>
                    <a:lnTo>
                      <a:pt x="9" y="77"/>
                    </a:lnTo>
                    <a:lnTo>
                      <a:pt x="9" y="77"/>
                    </a:lnTo>
                    <a:lnTo>
                      <a:pt x="13" y="79"/>
                    </a:lnTo>
                    <a:lnTo>
                      <a:pt x="15" y="81"/>
                    </a:lnTo>
                    <a:lnTo>
                      <a:pt x="16" y="87"/>
                    </a:lnTo>
                    <a:lnTo>
                      <a:pt x="16" y="87"/>
                    </a:lnTo>
                    <a:lnTo>
                      <a:pt x="17" y="89"/>
                    </a:lnTo>
                    <a:lnTo>
                      <a:pt x="20" y="91"/>
                    </a:lnTo>
                    <a:lnTo>
                      <a:pt x="25" y="94"/>
                    </a:lnTo>
                    <a:lnTo>
                      <a:pt x="27" y="97"/>
                    </a:lnTo>
                    <a:lnTo>
                      <a:pt x="27" y="97"/>
                    </a:lnTo>
                    <a:lnTo>
                      <a:pt x="30" y="101"/>
                    </a:lnTo>
                    <a:lnTo>
                      <a:pt x="33" y="110"/>
                    </a:lnTo>
                    <a:lnTo>
                      <a:pt x="34" y="118"/>
                    </a:lnTo>
                    <a:lnTo>
                      <a:pt x="36" y="126"/>
                    </a:lnTo>
                    <a:lnTo>
                      <a:pt x="36" y="126"/>
                    </a:lnTo>
                    <a:lnTo>
                      <a:pt x="37" y="130"/>
                    </a:lnTo>
                    <a:lnTo>
                      <a:pt x="37" y="130"/>
                    </a:lnTo>
                    <a:lnTo>
                      <a:pt x="40" y="127"/>
                    </a:lnTo>
                    <a:lnTo>
                      <a:pt x="43" y="123"/>
                    </a:lnTo>
                    <a:lnTo>
                      <a:pt x="43" y="123"/>
                    </a:lnTo>
                    <a:lnTo>
                      <a:pt x="46" y="116"/>
                    </a:lnTo>
                    <a:lnTo>
                      <a:pt x="46" y="110"/>
                    </a:lnTo>
                    <a:lnTo>
                      <a:pt x="46" y="110"/>
                    </a:lnTo>
                    <a:lnTo>
                      <a:pt x="46" y="107"/>
                    </a:lnTo>
                    <a:lnTo>
                      <a:pt x="47" y="103"/>
                    </a:lnTo>
                    <a:lnTo>
                      <a:pt x="47" y="103"/>
                    </a:lnTo>
                    <a:lnTo>
                      <a:pt x="54" y="97"/>
                    </a:lnTo>
                    <a:lnTo>
                      <a:pt x="60" y="91"/>
                    </a:lnTo>
                    <a:lnTo>
                      <a:pt x="60" y="91"/>
                    </a:lnTo>
                    <a:lnTo>
                      <a:pt x="64" y="91"/>
                    </a:lnTo>
                    <a:lnTo>
                      <a:pt x="66" y="90"/>
                    </a:lnTo>
                    <a:lnTo>
                      <a:pt x="67" y="87"/>
                    </a:lnTo>
                    <a:lnTo>
                      <a:pt x="67" y="87"/>
                    </a:lnTo>
                    <a:lnTo>
                      <a:pt x="67" y="79"/>
                    </a:lnTo>
                    <a:lnTo>
                      <a:pt x="67" y="79"/>
                    </a:lnTo>
                    <a:lnTo>
                      <a:pt x="63" y="74"/>
                    </a:lnTo>
                    <a:lnTo>
                      <a:pt x="62" y="71"/>
                    </a:lnTo>
                    <a:lnTo>
                      <a:pt x="62" y="71"/>
                    </a:lnTo>
                    <a:lnTo>
                      <a:pt x="60" y="69"/>
                    </a:lnTo>
                    <a:lnTo>
                      <a:pt x="59" y="67"/>
                    </a:lnTo>
                    <a:lnTo>
                      <a:pt x="56" y="66"/>
                    </a:lnTo>
                    <a:lnTo>
                      <a:pt x="54" y="66"/>
                    </a:lnTo>
                    <a:lnTo>
                      <a:pt x="54" y="66"/>
                    </a:lnTo>
                    <a:lnTo>
                      <a:pt x="52" y="67"/>
                    </a:lnTo>
                    <a:lnTo>
                      <a:pt x="47" y="67"/>
                    </a:lnTo>
                    <a:lnTo>
                      <a:pt x="44" y="64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3" y="57"/>
                    </a:lnTo>
                    <a:lnTo>
                      <a:pt x="46" y="54"/>
                    </a:lnTo>
                    <a:lnTo>
                      <a:pt x="50" y="53"/>
                    </a:lnTo>
                    <a:lnTo>
                      <a:pt x="54" y="50"/>
                    </a:lnTo>
                    <a:lnTo>
                      <a:pt x="54" y="50"/>
                    </a:lnTo>
                    <a:lnTo>
                      <a:pt x="59" y="44"/>
                    </a:lnTo>
                    <a:lnTo>
                      <a:pt x="60" y="39"/>
                    </a:lnTo>
                    <a:lnTo>
                      <a:pt x="59" y="33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2" y="25"/>
                    </a:lnTo>
                    <a:lnTo>
                      <a:pt x="52" y="20"/>
                    </a:lnTo>
                    <a:lnTo>
                      <a:pt x="54" y="17"/>
                    </a:lnTo>
                    <a:lnTo>
                      <a:pt x="57" y="15"/>
                    </a:lnTo>
                    <a:lnTo>
                      <a:pt x="57" y="15"/>
                    </a:lnTo>
                    <a:lnTo>
                      <a:pt x="60" y="10"/>
                    </a:lnTo>
                    <a:lnTo>
                      <a:pt x="60" y="9"/>
                    </a:lnTo>
                    <a:lnTo>
                      <a:pt x="57" y="7"/>
                    </a:lnTo>
                    <a:lnTo>
                      <a:pt x="56" y="9"/>
                    </a:lnTo>
                    <a:lnTo>
                      <a:pt x="56" y="9"/>
                    </a:lnTo>
                    <a:lnTo>
                      <a:pt x="53" y="10"/>
                    </a:lnTo>
                    <a:lnTo>
                      <a:pt x="52" y="10"/>
                    </a:lnTo>
                    <a:lnTo>
                      <a:pt x="49" y="9"/>
                    </a:lnTo>
                    <a:lnTo>
                      <a:pt x="49" y="6"/>
                    </a:lnTo>
                    <a:lnTo>
                      <a:pt x="49" y="6"/>
                    </a:lnTo>
                    <a:lnTo>
                      <a:pt x="47" y="3"/>
                    </a:lnTo>
                    <a:lnTo>
                      <a:pt x="44" y="2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6" y="5"/>
                    </a:lnTo>
                    <a:lnTo>
                      <a:pt x="26" y="5"/>
                    </a:lnTo>
                    <a:lnTo>
                      <a:pt x="22" y="6"/>
                    </a:lnTo>
                    <a:lnTo>
                      <a:pt x="17" y="7"/>
                    </a:lnTo>
                    <a:lnTo>
                      <a:pt x="17" y="7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7" y="32"/>
                    </a:lnTo>
                    <a:lnTo>
                      <a:pt x="17" y="32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19" name="Morocco">
                <a:extLst>
                  <a:ext uri="{FF2B5EF4-FFF2-40B4-BE49-F238E27FC236}">
                    <a16:creationId xmlns:a16="http://schemas.microsoft.com/office/drawing/2014/main" id="{D37534FA-AD99-98DF-770E-0B92671754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1162" y="3414471"/>
                <a:ext cx="285599" cy="227887"/>
              </a:xfrm>
              <a:custGeom>
                <a:avLst/>
                <a:gdLst/>
                <a:ahLst/>
                <a:cxnLst>
                  <a:cxn ang="0">
                    <a:pos x="71" y="131"/>
                  </a:cxn>
                  <a:cxn ang="0">
                    <a:pos x="82" y="123"/>
                  </a:cxn>
                  <a:cxn ang="0">
                    <a:pos x="99" y="114"/>
                  </a:cxn>
                  <a:cxn ang="0">
                    <a:pos x="107" y="111"/>
                  </a:cxn>
                  <a:cxn ang="0">
                    <a:pos x="108" y="110"/>
                  </a:cxn>
                  <a:cxn ang="0">
                    <a:pos x="121" y="108"/>
                  </a:cxn>
                  <a:cxn ang="0">
                    <a:pos x="129" y="103"/>
                  </a:cxn>
                  <a:cxn ang="0">
                    <a:pos x="131" y="97"/>
                  </a:cxn>
                  <a:cxn ang="0">
                    <a:pos x="142" y="94"/>
                  </a:cxn>
                  <a:cxn ang="0">
                    <a:pos x="148" y="91"/>
                  </a:cxn>
                  <a:cxn ang="0">
                    <a:pos x="151" y="90"/>
                  </a:cxn>
                  <a:cxn ang="0">
                    <a:pos x="151" y="80"/>
                  </a:cxn>
                  <a:cxn ang="0">
                    <a:pos x="156" y="76"/>
                  </a:cxn>
                  <a:cxn ang="0">
                    <a:pos x="165" y="73"/>
                  </a:cxn>
                  <a:cxn ang="0">
                    <a:pos x="166" y="70"/>
                  </a:cxn>
                  <a:cxn ang="0">
                    <a:pos x="189" y="69"/>
                  </a:cxn>
                  <a:cxn ang="0">
                    <a:pos x="192" y="67"/>
                  </a:cxn>
                  <a:cxn ang="0">
                    <a:pos x="191" y="57"/>
                  </a:cxn>
                  <a:cxn ang="0">
                    <a:pos x="186" y="52"/>
                  </a:cxn>
                  <a:cxn ang="0">
                    <a:pos x="186" y="37"/>
                  </a:cxn>
                  <a:cxn ang="0">
                    <a:pos x="183" y="25"/>
                  </a:cxn>
                  <a:cxn ang="0">
                    <a:pos x="178" y="16"/>
                  </a:cxn>
                  <a:cxn ang="0">
                    <a:pos x="169" y="13"/>
                  </a:cxn>
                  <a:cxn ang="0">
                    <a:pos x="159" y="12"/>
                  </a:cxn>
                  <a:cxn ang="0">
                    <a:pos x="135" y="10"/>
                  </a:cxn>
                  <a:cxn ang="0">
                    <a:pos x="128" y="5"/>
                  </a:cxn>
                  <a:cxn ang="0">
                    <a:pos x="118" y="2"/>
                  </a:cxn>
                  <a:cxn ang="0">
                    <a:pos x="109" y="16"/>
                  </a:cxn>
                  <a:cxn ang="0">
                    <a:pos x="99" y="35"/>
                  </a:cxn>
                  <a:cxn ang="0">
                    <a:pos x="81" y="44"/>
                  </a:cxn>
                  <a:cxn ang="0">
                    <a:pos x="74" y="46"/>
                  </a:cxn>
                  <a:cxn ang="0">
                    <a:pos x="67" y="56"/>
                  </a:cxn>
                  <a:cxn ang="0">
                    <a:pos x="61" y="63"/>
                  </a:cxn>
                  <a:cxn ang="0">
                    <a:pos x="54" y="74"/>
                  </a:cxn>
                  <a:cxn ang="0">
                    <a:pos x="51" y="80"/>
                  </a:cxn>
                  <a:cxn ang="0">
                    <a:pos x="54" y="100"/>
                  </a:cxn>
                  <a:cxn ang="0">
                    <a:pos x="54" y="106"/>
                  </a:cxn>
                  <a:cxn ang="0">
                    <a:pos x="35" y="126"/>
                  </a:cxn>
                  <a:cxn ang="0">
                    <a:pos x="25" y="134"/>
                  </a:cxn>
                  <a:cxn ang="0">
                    <a:pos x="13" y="141"/>
                  </a:cxn>
                  <a:cxn ang="0">
                    <a:pos x="0" y="147"/>
                  </a:cxn>
                  <a:cxn ang="0">
                    <a:pos x="67" y="148"/>
                  </a:cxn>
                  <a:cxn ang="0">
                    <a:pos x="71" y="154"/>
                  </a:cxn>
                </a:cxnLst>
                <a:rect l="0" t="0" r="r" b="b"/>
                <a:pathLst>
                  <a:path w="193" h="154">
                    <a:moveTo>
                      <a:pt x="71" y="154"/>
                    </a:moveTo>
                    <a:lnTo>
                      <a:pt x="71" y="154"/>
                    </a:lnTo>
                    <a:lnTo>
                      <a:pt x="71" y="131"/>
                    </a:lnTo>
                    <a:lnTo>
                      <a:pt x="71" y="131"/>
                    </a:lnTo>
                    <a:lnTo>
                      <a:pt x="75" y="128"/>
                    </a:lnTo>
                    <a:lnTo>
                      <a:pt x="82" y="123"/>
                    </a:lnTo>
                    <a:lnTo>
                      <a:pt x="97" y="114"/>
                    </a:lnTo>
                    <a:lnTo>
                      <a:pt x="97" y="114"/>
                    </a:lnTo>
                    <a:lnTo>
                      <a:pt x="99" y="114"/>
                    </a:lnTo>
                    <a:lnTo>
                      <a:pt x="104" y="114"/>
                    </a:lnTo>
                    <a:lnTo>
                      <a:pt x="107" y="114"/>
                    </a:lnTo>
                    <a:lnTo>
                      <a:pt x="107" y="111"/>
                    </a:lnTo>
                    <a:lnTo>
                      <a:pt x="107" y="111"/>
                    </a:lnTo>
                    <a:lnTo>
                      <a:pt x="108" y="110"/>
                    </a:lnTo>
                    <a:lnTo>
                      <a:pt x="108" y="110"/>
                    </a:lnTo>
                    <a:lnTo>
                      <a:pt x="112" y="108"/>
                    </a:lnTo>
                    <a:lnTo>
                      <a:pt x="121" y="108"/>
                    </a:lnTo>
                    <a:lnTo>
                      <a:pt x="121" y="108"/>
                    </a:lnTo>
                    <a:lnTo>
                      <a:pt x="125" y="107"/>
                    </a:lnTo>
                    <a:lnTo>
                      <a:pt x="128" y="106"/>
                    </a:lnTo>
                    <a:lnTo>
                      <a:pt x="129" y="103"/>
                    </a:lnTo>
                    <a:lnTo>
                      <a:pt x="129" y="99"/>
                    </a:lnTo>
                    <a:lnTo>
                      <a:pt x="129" y="99"/>
                    </a:lnTo>
                    <a:lnTo>
                      <a:pt x="131" y="97"/>
                    </a:lnTo>
                    <a:lnTo>
                      <a:pt x="134" y="96"/>
                    </a:lnTo>
                    <a:lnTo>
                      <a:pt x="142" y="94"/>
                    </a:lnTo>
                    <a:lnTo>
                      <a:pt x="142" y="94"/>
                    </a:lnTo>
                    <a:lnTo>
                      <a:pt x="145" y="94"/>
                    </a:lnTo>
                    <a:lnTo>
                      <a:pt x="146" y="93"/>
                    </a:lnTo>
                    <a:lnTo>
                      <a:pt x="148" y="91"/>
                    </a:lnTo>
                    <a:lnTo>
                      <a:pt x="149" y="90"/>
                    </a:lnTo>
                    <a:lnTo>
                      <a:pt x="149" y="90"/>
                    </a:lnTo>
                    <a:lnTo>
                      <a:pt x="151" y="90"/>
                    </a:lnTo>
                    <a:lnTo>
                      <a:pt x="151" y="87"/>
                    </a:lnTo>
                    <a:lnTo>
                      <a:pt x="151" y="80"/>
                    </a:lnTo>
                    <a:lnTo>
                      <a:pt x="151" y="80"/>
                    </a:lnTo>
                    <a:lnTo>
                      <a:pt x="152" y="76"/>
                    </a:lnTo>
                    <a:lnTo>
                      <a:pt x="156" y="76"/>
                    </a:lnTo>
                    <a:lnTo>
                      <a:pt x="156" y="76"/>
                    </a:lnTo>
                    <a:lnTo>
                      <a:pt x="159" y="76"/>
                    </a:lnTo>
                    <a:lnTo>
                      <a:pt x="163" y="74"/>
                    </a:lnTo>
                    <a:lnTo>
                      <a:pt x="165" y="73"/>
                    </a:lnTo>
                    <a:lnTo>
                      <a:pt x="166" y="70"/>
                    </a:lnTo>
                    <a:lnTo>
                      <a:pt x="166" y="70"/>
                    </a:lnTo>
                    <a:lnTo>
                      <a:pt x="166" y="70"/>
                    </a:lnTo>
                    <a:lnTo>
                      <a:pt x="169" y="69"/>
                    </a:lnTo>
                    <a:lnTo>
                      <a:pt x="176" y="69"/>
                    </a:lnTo>
                    <a:lnTo>
                      <a:pt x="189" y="69"/>
                    </a:lnTo>
                    <a:lnTo>
                      <a:pt x="189" y="69"/>
                    </a:lnTo>
                    <a:lnTo>
                      <a:pt x="192" y="69"/>
                    </a:lnTo>
                    <a:lnTo>
                      <a:pt x="192" y="67"/>
                    </a:lnTo>
                    <a:lnTo>
                      <a:pt x="193" y="63"/>
                    </a:lnTo>
                    <a:lnTo>
                      <a:pt x="193" y="63"/>
                    </a:lnTo>
                    <a:lnTo>
                      <a:pt x="191" y="57"/>
                    </a:lnTo>
                    <a:lnTo>
                      <a:pt x="189" y="53"/>
                    </a:lnTo>
                    <a:lnTo>
                      <a:pt x="186" y="52"/>
                    </a:lnTo>
                    <a:lnTo>
                      <a:pt x="186" y="52"/>
                    </a:lnTo>
                    <a:lnTo>
                      <a:pt x="185" y="50"/>
                    </a:lnTo>
                    <a:lnTo>
                      <a:pt x="185" y="47"/>
                    </a:lnTo>
                    <a:lnTo>
                      <a:pt x="186" y="37"/>
                    </a:lnTo>
                    <a:lnTo>
                      <a:pt x="186" y="37"/>
                    </a:lnTo>
                    <a:lnTo>
                      <a:pt x="185" y="29"/>
                    </a:lnTo>
                    <a:lnTo>
                      <a:pt x="183" y="25"/>
                    </a:lnTo>
                    <a:lnTo>
                      <a:pt x="181" y="20"/>
                    </a:lnTo>
                    <a:lnTo>
                      <a:pt x="181" y="20"/>
                    </a:lnTo>
                    <a:lnTo>
                      <a:pt x="178" y="16"/>
                    </a:lnTo>
                    <a:lnTo>
                      <a:pt x="178" y="16"/>
                    </a:lnTo>
                    <a:lnTo>
                      <a:pt x="173" y="15"/>
                    </a:lnTo>
                    <a:lnTo>
                      <a:pt x="169" y="13"/>
                    </a:lnTo>
                    <a:lnTo>
                      <a:pt x="165" y="12"/>
                    </a:lnTo>
                    <a:lnTo>
                      <a:pt x="159" y="12"/>
                    </a:lnTo>
                    <a:lnTo>
                      <a:pt x="159" y="12"/>
                    </a:lnTo>
                    <a:lnTo>
                      <a:pt x="145" y="13"/>
                    </a:lnTo>
                    <a:lnTo>
                      <a:pt x="138" y="12"/>
                    </a:lnTo>
                    <a:lnTo>
                      <a:pt x="135" y="10"/>
                    </a:lnTo>
                    <a:lnTo>
                      <a:pt x="132" y="9"/>
                    </a:lnTo>
                    <a:lnTo>
                      <a:pt x="132" y="9"/>
                    </a:lnTo>
                    <a:lnTo>
                      <a:pt x="128" y="5"/>
                    </a:lnTo>
                    <a:lnTo>
                      <a:pt x="124" y="2"/>
                    </a:lnTo>
                    <a:lnTo>
                      <a:pt x="121" y="0"/>
                    </a:lnTo>
                    <a:lnTo>
                      <a:pt x="118" y="2"/>
                    </a:lnTo>
                    <a:lnTo>
                      <a:pt x="118" y="2"/>
                    </a:lnTo>
                    <a:lnTo>
                      <a:pt x="114" y="6"/>
                    </a:lnTo>
                    <a:lnTo>
                      <a:pt x="109" y="16"/>
                    </a:lnTo>
                    <a:lnTo>
                      <a:pt x="104" y="26"/>
                    </a:lnTo>
                    <a:lnTo>
                      <a:pt x="99" y="35"/>
                    </a:lnTo>
                    <a:lnTo>
                      <a:pt x="99" y="35"/>
                    </a:lnTo>
                    <a:lnTo>
                      <a:pt x="95" y="39"/>
                    </a:lnTo>
                    <a:lnTo>
                      <a:pt x="88" y="43"/>
                    </a:lnTo>
                    <a:lnTo>
                      <a:pt x="81" y="44"/>
                    </a:lnTo>
                    <a:lnTo>
                      <a:pt x="75" y="46"/>
                    </a:lnTo>
                    <a:lnTo>
                      <a:pt x="75" y="46"/>
                    </a:lnTo>
                    <a:lnTo>
                      <a:pt x="74" y="46"/>
                    </a:lnTo>
                    <a:lnTo>
                      <a:pt x="71" y="47"/>
                    </a:lnTo>
                    <a:lnTo>
                      <a:pt x="70" y="52"/>
                    </a:lnTo>
                    <a:lnTo>
                      <a:pt x="67" y="56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1" y="63"/>
                    </a:lnTo>
                    <a:lnTo>
                      <a:pt x="60" y="67"/>
                    </a:lnTo>
                    <a:lnTo>
                      <a:pt x="58" y="72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3" y="77"/>
                    </a:lnTo>
                    <a:lnTo>
                      <a:pt x="51" y="80"/>
                    </a:lnTo>
                    <a:lnTo>
                      <a:pt x="51" y="87"/>
                    </a:lnTo>
                    <a:lnTo>
                      <a:pt x="53" y="94"/>
                    </a:lnTo>
                    <a:lnTo>
                      <a:pt x="54" y="100"/>
                    </a:lnTo>
                    <a:lnTo>
                      <a:pt x="54" y="100"/>
                    </a:lnTo>
                    <a:lnTo>
                      <a:pt x="55" y="101"/>
                    </a:lnTo>
                    <a:lnTo>
                      <a:pt x="54" y="106"/>
                    </a:lnTo>
                    <a:lnTo>
                      <a:pt x="50" y="113"/>
                    </a:lnTo>
                    <a:lnTo>
                      <a:pt x="43" y="120"/>
                    </a:lnTo>
                    <a:lnTo>
                      <a:pt x="35" y="126"/>
                    </a:lnTo>
                    <a:lnTo>
                      <a:pt x="35" y="126"/>
                    </a:lnTo>
                    <a:lnTo>
                      <a:pt x="30" y="130"/>
                    </a:lnTo>
                    <a:lnTo>
                      <a:pt x="25" y="134"/>
                    </a:lnTo>
                    <a:lnTo>
                      <a:pt x="20" y="138"/>
                    </a:lnTo>
                    <a:lnTo>
                      <a:pt x="13" y="141"/>
                    </a:lnTo>
                    <a:lnTo>
                      <a:pt x="13" y="141"/>
                    </a:lnTo>
                    <a:lnTo>
                      <a:pt x="6" y="144"/>
                    </a:lnTo>
                    <a:lnTo>
                      <a:pt x="0" y="147"/>
                    </a:lnTo>
                    <a:lnTo>
                      <a:pt x="0" y="147"/>
                    </a:lnTo>
                    <a:lnTo>
                      <a:pt x="60" y="147"/>
                    </a:lnTo>
                    <a:lnTo>
                      <a:pt x="60" y="147"/>
                    </a:lnTo>
                    <a:lnTo>
                      <a:pt x="67" y="148"/>
                    </a:lnTo>
                    <a:lnTo>
                      <a:pt x="70" y="150"/>
                    </a:lnTo>
                    <a:lnTo>
                      <a:pt x="71" y="154"/>
                    </a:lnTo>
                    <a:lnTo>
                      <a:pt x="71" y="15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20" name="Swaziland">
                <a:extLst>
                  <a:ext uri="{FF2B5EF4-FFF2-40B4-BE49-F238E27FC236}">
                    <a16:creationId xmlns:a16="http://schemas.microsoft.com/office/drawing/2014/main" id="{EC4A5D7D-FD1F-7972-BE95-91717A6245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3692" y="4938648"/>
                <a:ext cx="32555" cy="3995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9" y="3"/>
                  </a:cxn>
                  <a:cxn ang="0">
                    <a:pos x="5" y="6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3" y="20"/>
                  </a:cxn>
                  <a:cxn ang="0">
                    <a:pos x="7" y="26"/>
                  </a:cxn>
                  <a:cxn ang="0">
                    <a:pos x="10" y="27"/>
                  </a:cxn>
                  <a:cxn ang="0">
                    <a:pos x="10" y="27"/>
                  </a:cxn>
                  <a:cxn ang="0">
                    <a:pos x="17" y="27"/>
                  </a:cxn>
                  <a:cxn ang="0">
                    <a:pos x="19" y="26"/>
                  </a:cxn>
                  <a:cxn ang="0">
                    <a:pos x="20" y="23"/>
                  </a:cxn>
                  <a:cxn ang="0">
                    <a:pos x="20" y="23"/>
                  </a:cxn>
                  <a:cxn ang="0">
                    <a:pos x="20" y="22"/>
                  </a:cxn>
                  <a:cxn ang="0">
                    <a:pos x="22" y="19"/>
                  </a:cxn>
                  <a:cxn ang="0">
                    <a:pos x="22" y="19"/>
                  </a:cxn>
                  <a:cxn ang="0">
                    <a:pos x="20" y="6"/>
                  </a:cxn>
                  <a:cxn ang="0">
                    <a:pos x="20" y="6"/>
                  </a:cxn>
                  <a:cxn ang="0">
                    <a:pos x="16" y="3"/>
                  </a:cxn>
                  <a:cxn ang="0">
                    <a:pos x="12" y="0"/>
                  </a:cxn>
                  <a:cxn ang="0">
                    <a:pos x="12" y="0"/>
                  </a:cxn>
                </a:cxnLst>
                <a:rect l="0" t="0" r="r" b="b"/>
                <a:pathLst>
                  <a:path w="22" h="27">
                    <a:moveTo>
                      <a:pt x="12" y="0"/>
                    </a:moveTo>
                    <a:lnTo>
                      <a:pt x="12" y="0"/>
                    </a:lnTo>
                    <a:lnTo>
                      <a:pt x="9" y="3"/>
                    </a:lnTo>
                    <a:lnTo>
                      <a:pt x="5" y="6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3" y="20"/>
                    </a:lnTo>
                    <a:lnTo>
                      <a:pt x="7" y="26"/>
                    </a:lnTo>
                    <a:lnTo>
                      <a:pt x="10" y="27"/>
                    </a:lnTo>
                    <a:lnTo>
                      <a:pt x="10" y="27"/>
                    </a:lnTo>
                    <a:lnTo>
                      <a:pt x="17" y="27"/>
                    </a:lnTo>
                    <a:lnTo>
                      <a:pt x="19" y="26"/>
                    </a:lnTo>
                    <a:lnTo>
                      <a:pt x="20" y="23"/>
                    </a:lnTo>
                    <a:lnTo>
                      <a:pt x="20" y="23"/>
                    </a:lnTo>
                    <a:lnTo>
                      <a:pt x="20" y="22"/>
                    </a:lnTo>
                    <a:lnTo>
                      <a:pt x="22" y="19"/>
                    </a:lnTo>
                    <a:lnTo>
                      <a:pt x="22" y="19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3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21" name="Lesotho">
                <a:extLst>
                  <a:ext uri="{FF2B5EF4-FFF2-40B4-BE49-F238E27FC236}">
                    <a16:creationId xmlns:a16="http://schemas.microsoft.com/office/drawing/2014/main" id="{8F4B8B9C-F38A-9243-C155-A88E9F7ACB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9345" y="5011157"/>
                <a:ext cx="53273" cy="54753"/>
              </a:xfrm>
              <a:custGeom>
                <a:avLst/>
                <a:gdLst/>
                <a:ahLst/>
                <a:cxnLst>
                  <a:cxn ang="0">
                    <a:pos x="26" y="1"/>
                  </a:cxn>
                  <a:cxn ang="0">
                    <a:pos x="26" y="1"/>
                  </a:cxn>
                  <a:cxn ang="0">
                    <a:pos x="25" y="1"/>
                  </a:cxn>
                  <a:cxn ang="0">
                    <a:pos x="22" y="0"/>
                  </a:cxn>
                  <a:cxn ang="0">
                    <a:pos x="17" y="3"/>
                  </a:cxn>
                  <a:cxn ang="0">
                    <a:pos x="12" y="5"/>
                  </a:cxn>
                  <a:cxn ang="0">
                    <a:pos x="9" y="8"/>
                  </a:cxn>
                  <a:cxn ang="0">
                    <a:pos x="9" y="8"/>
                  </a:cxn>
                  <a:cxn ang="0">
                    <a:pos x="0" y="22"/>
                  </a:cxn>
                  <a:cxn ang="0">
                    <a:pos x="9" y="35"/>
                  </a:cxn>
                  <a:cxn ang="0">
                    <a:pos x="16" y="37"/>
                  </a:cxn>
                  <a:cxn ang="0">
                    <a:pos x="16" y="37"/>
                  </a:cxn>
                  <a:cxn ang="0">
                    <a:pos x="20" y="28"/>
                  </a:cxn>
                  <a:cxn ang="0">
                    <a:pos x="20" y="28"/>
                  </a:cxn>
                  <a:cxn ang="0">
                    <a:pos x="22" y="27"/>
                  </a:cxn>
                  <a:cxn ang="0">
                    <a:pos x="26" y="27"/>
                  </a:cxn>
                  <a:cxn ang="0">
                    <a:pos x="29" y="27"/>
                  </a:cxn>
                  <a:cxn ang="0">
                    <a:pos x="30" y="27"/>
                  </a:cxn>
                  <a:cxn ang="0">
                    <a:pos x="30" y="25"/>
                  </a:cxn>
                  <a:cxn ang="0">
                    <a:pos x="30" y="25"/>
                  </a:cxn>
                  <a:cxn ang="0">
                    <a:pos x="30" y="22"/>
                  </a:cxn>
                  <a:cxn ang="0">
                    <a:pos x="33" y="20"/>
                  </a:cxn>
                  <a:cxn ang="0">
                    <a:pos x="34" y="17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4" y="11"/>
                  </a:cxn>
                  <a:cxn ang="0">
                    <a:pos x="32" y="8"/>
                  </a:cxn>
                  <a:cxn ang="0">
                    <a:pos x="27" y="4"/>
                  </a:cxn>
                  <a:cxn ang="0">
                    <a:pos x="26" y="1"/>
                  </a:cxn>
                  <a:cxn ang="0">
                    <a:pos x="26" y="1"/>
                  </a:cxn>
                </a:cxnLst>
                <a:rect l="0" t="0" r="r" b="b"/>
                <a:pathLst>
                  <a:path w="36" h="37">
                    <a:moveTo>
                      <a:pt x="26" y="1"/>
                    </a:moveTo>
                    <a:lnTo>
                      <a:pt x="26" y="1"/>
                    </a:lnTo>
                    <a:lnTo>
                      <a:pt x="25" y="1"/>
                    </a:lnTo>
                    <a:lnTo>
                      <a:pt x="22" y="0"/>
                    </a:lnTo>
                    <a:lnTo>
                      <a:pt x="17" y="3"/>
                    </a:lnTo>
                    <a:lnTo>
                      <a:pt x="12" y="5"/>
                    </a:lnTo>
                    <a:lnTo>
                      <a:pt x="9" y="8"/>
                    </a:lnTo>
                    <a:lnTo>
                      <a:pt x="9" y="8"/>
                    </a:lnTo>
                    <a:lnTo>
                      <a:pt x="0" y="22"/>
                    </a:lnTo>
                    <a:lnTo>
                      <a:pt x="9" y="35"/>
                    </a:lnTo>
                    <a:lnTo>
                      <a:pt x="16" y="37"/>
                    </a:lnTo>
                    <a:lnTo>
                      <a:pt x="16" y="37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2" y="27"/>
                    </a:lnTo>
                    <a:lnTo>
                      <a:pt x="26" y="27"/>
                    </a:lnTo>
                    <a:lnTo>
                      <a:pt x="29" y="27"/>
                    </a:lnTo>
                    <a:lnTo>
                      <a:pt x="30" y="27"/>
                    </a:lnTo>
                    <a:lnTo>
                      <a:pt x="30" y="25"/>
                    </a:lnTo>
                    <a:lnTo>
                      <a:pt x="30" y="25"/>
                    </a:lnTo>
                    <a:lnTo>
                      <a:pt x="30" y="22"/>
                    </a:lnTo>
                    <a:lnTo>
                      <a:pt x="33" y="20"/>
                    </a:lnTo>
                    <a:lnTo>
                      <a:pt x="34" y="17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11"/>
                    </a:lnTo>
                    <a:lnTo>
                      <a:pt x="32" y="8"/>
                    </a:lnTo>
                    <a:lnTo>
                      <a:pt x="27" y="4"/>
                    </a:lnTo>
                    <a:lnTo>
                      <a:pt x="26" y="1"/>
                    </a:lnTo>
                    <a:lnTo>
                      <a:pt x="26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22" name="Rwanda">
                <a:extLst>
                  <a:ext uri="{FF2B5EF4-FFF2-40B4-BE49-F238E27FC236}">
                    <a16:creationId xmlns:a16="http://schemas.microsoft.com/office/drawing/2014/main" id="{ED48F533-A631-22CF-152D-E31034796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3739" y="4336375"/>
                <a:ext cx="44394" cy="3847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6" y="0"/>
                  </a:cxn>
                  <a:cxn ang="0">
                    <a:pos x="17" y="3"/>
                  </a:cxn>
                  <a:cxn ang="0">
                    <a:pos x="17" y="3"/>
                  </a:cxn>
                  <a:cxn ang="0">
                    <a:pos x="13" y="5"/>
                  </a:cxn>
                  <a:cxn ang="0">
                    <a:pos x="9" y="5"/>
                  </a:cxn>
                  <a:cxn ang="0">
                    <a:pos x="9" y="5"/>
                  </a:cxn>
                  <a:cxn ang="0">
                    <a:pos x="7" y="6"/>
                  </a:cxn>
                  <a:cxn ang="0">
                    <a:pos x="7" y="6"/>
                  </a:cxn>
                  <a:cxn ang="0">
                    <a:pos x="4" y="8"/>
                  </a:cxn>
                  <a:cxn ang="0">
                    <a:pos x="3" y="12"/>
                  </a:cxn>
                  <a:cxn ang="0">
                    <a:pos x="3" y="16"/>
                  </a:cxn>
                  <a:cxn ang="0">
                    <a:pos x="3" y="16"/>
                  </a:cxn>
                  <a:cxn ang="0">
                    <a:pos x="2" y="18"/>
                  </a:cxn>
                  <a:cxn ang="0">
                    <a:pos x="0" y="19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5"/>
                  </a:cxn>
                  <a:cxn ang="0">
                    <a:pos x="3" y="26"/>
                  </a:cxn>
                  <a:cxn ang="0">
                    <a:pos x="3" y="26"/>
                  </a:cxn>
                  <a:cxn ang="0">
                    <a:pos x="9" y="26"/>
                  </a:cxn>
                  <a:cxn ang="0">
                    <a:pos x="9" y="26"/>
                  </a:cxn>
                  <a:cxn ang="0">
                    <a:pos x="13" y="26"/>
                  </a:cxn>
                  <a:cxn ang="0">
                    <a:pos x="16" y="25"/>
                  </a:cxn>
                  <a:cxn ang="0">
                    <a:pos x="17" y="22"/>
                  </a:cxn>
                  <a:cxn ang="0">
                    <a:pos x="17" y="22"/>
                  </a:cxn>
                  <a:cxn ang="0">
                    <a:pos x="17" y="22"/>
                  </a:cxn>
                  <a:cxn ang="0">
                    <a:pos x="23" y="20"/>
                  </a:cxn>
                  <a:cxn ang="0">
                    <a:pos x="29" y="20"/>
                  </a:cxn>
                  <a:cxn ang="0">
                    <a:pos x="30" y="19"/>
                  </a:cxn>
                  <a:cxn ang="0">
                    <a:pos x="30" y="18"/>
                  </a:cxn>
                  <a:cxn ang="0">
                    <a:pos x="30" y="18"/>
                  </a:cxn>
                  <a:cxn ang="0">
                    <a:pos x="30" y="15"/>
                  </a:cxn>
                  <a:cxn ang="0">
                    <a:pos x="30" y="10"/>
                  </a:cxn>
                  <a:cxn ang="0">
                    <a:pos x="29" y="8"/>
                  </a:cxn>
                  <a:cxn ang="0">
                    <a:pos x="26" y="0"/>
                  </a:cxn>
                </a:cxnLst>
                <a:rect l="0" t="0" r="r" b="b"/>
                <a:pathLst>
                  <a:path w="30" h="26">
                    <a:moveTo>
                      <a:pt x="26" y="0"/>
                    </a:moveTo>
                    <a:lnTo>
                      <a:pt x="26" y="0"/>
                    </a:lnTo>
                    <a:lnTo>
                      <a:pt x="17" y="3"/>
                    </a:lnTo>
                    <a:lnTo>
                      <a:pt x="17" y="3"/>
                    </a:lnTo>
                    <a:lnTo>
                      <a:pt x="13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7" y="6"/>
                    </a:lnTo>
                    <a:lnTo>
                      <a:pt x="7" y="6"/>
                    </a:lnTo>
                    <a:lnTo>
                      <a:pt x="4" y="8"/>
                    </a:lnTo>
                    <a:lnTo>
                      <a:pt x="3" y="12"/>
                    </a:lnTo>
                    <a:lnTo>
                      <a:pt x="3" y="16"/>
                    </a:lnTo>
                    <a:lnTo>
                      <a:pt x="3" y="16"/>
                    </a:lnTo>
                    <a:lnTo>
                      <a:pt x="2" y="18"/>
                    </a:lnTo>
                    <a:lnTo>
                      <a:pt x="0" y="19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5"/>
                    </a:lnTo>
                    <a:lnTo>
                      <a:pt x="3" y="26"/>
                    </a:lnTo>
                    <a:lnTo>
                      <a:pt x="3" y="26"/>
                    </a:lnTo>
                    <a:lnTo>
                      <a:pt x="9" y="26"/>
                    </a:lnTo>
                    <a:lnTo>
                      <a:pt x="9" y="26"/>
                    </a:lnTo>
                    <a:lnTo>
                      <a:pt x="13" y="26"/>
                    </a:lnTo>
                    <a:lnTo>
                      <a:pt x="16" y="25"/>
                    </a:lnTo>
                    <a:lnTo>
                      <a:pt x="17" y="22"/>
                    </a:lnTo>
                    <a:lnTo>
                      <a:pt x="17" y="22"/>
                    </a:lnTo>
                    <a:lnTo>
                      <a:pt x="17" y="22"/>
                    </a:lnTo>
                    <a:lnTo>
                      <a:pt x="23" y="20"/>
                    </a:lnTo>
                    <a:lnTo>
                      <a:pt x="29" y="20"/>
                    </a:lnTo>
                    <a:lnTo>
                      <a:pt x="30" y="19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0"/>
                    </a:lnTo>
                    <a:lnTo>
                      <a:pt x="29" y="8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23" name="Somalia">
                <a:extLst>
                  <a:ext uri="{FF2B5EF4-FFF2-40B4-BE49-F238E27FC236}">
                    <a16:creationId xmlns:a16="http://schemas.microsoft.com/office/drawing/2014/main" id="{6A8DE241-F5C8-7624-77EB-50FF8BE8E7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0817" y="4021182"/>
                <a:ext cx="244165" cy="328512"/>
              </a:xfrm>
              <a:custGeom>
                <a:avLst/>
                <a:gdLst/>
                <a:ahLst/>
                <a:cxnLst>
                  <a:cxn ang="0">
                    <a:pos x="38" y="40"/>
                  </a:cxn>
                  <a:cxn ang="0">
                    <a:pos x="47" y="48"/>
                  </a:cxn>
                  <a:cxn ang="0">
                    <a:pos x="48" y="50"/>
                  </a:cxn>
                  <a:cxn ang="0">
                    <a:pos x="81" y="61"/>
                  </a:cxn>
                  <a:cxn ang="0">
                    <a:pos x="95" y="66"/>
                  </a:cxn>
                  <a:cxn ang="0">
                    <a:pos x="104" y="66"/>
                  </a:cxn>
                  <a:cxn ang="0">
                    <a:pos x="109" y="68"/>
                  </a:cxn>
                  <a:cxn ang="0">
                    <a:pos x="109" y="70"/>
                  </a:cxn>
                  <a:cxn ang="0">
                    <a:pos x="67" y="112"/>
                  </a:cxn>
                  <a:cxn ang="0">
                    <a:pos x="59" y="115"/>
                  </a:cxn>
                  <a:cxn ang="0">
                    <a:pos x="48" y="115"/>
                  </a:cxn>
                  <a:cxn ang="0">
                    <a:pos x="41" y="117"/>
                  </a:cxn>
                  <a:cxn ang="0">
                    <a:pos x="30" y="125"/>
                  </a:cxn>
                  <a:cxn ang="0">
                    <a:pos x="27" y="127"/>
                  </a:cxn>
                  <a:cxn ang="0">
                    <a:pos x="7" y="139"/>
                  </a:cxn>
                  <a:cxn ang="0">
                    <a:pos x="0" y="209"/>
                  </a:cxn>
                  <a:cxn ang="0">
                    <a:pos x="8" y="222"/>
                  </a:cxn>
                  <a:cxn ang="0">
                    <a:pos x="44" y="184"/>
                  </a:cxn>
                  <a:cxn ang="0">
                    <a:pos x="52" y="175"/>
                  </a:cxn>
                  <a:cxn ang="0">
                    <a:pos x="72" y="162"/>
                  </a:cxn>
                  <a:cxn ang="0">
                    <a:pos x="79" y="157"/>
                  </a:cxn>
                  <a:cxn ang="0">
                    <a:pos x="101" y="135"/>
                  </a:cxn>
                  <a:cxn ang="0">
                    <a:pos x="112" y="124"/>
                  </a:cxn>
                  <a:cxn ang="0">
                    <a:pos x="128" y="100"/>
                  </a:cxn>
                  <a:cxn ang="0">
                    <a:pos x="131" y="94"/>
                  </a:cxn>
                  <a:cxn ang="0">
                    <a:pos x="135" y="81"/>
                  </a:cxn>
                  <a:cxn ang="0">
                    <a:pos x="145" y="68"/>
                  </a:cxn>
                  <a:cxn ang="0">
                    <a:pos x="153" y="53"/>
                  </a:cxn>
                  <a:cxn ang="0">
                    <a:pos x="159" y="37"/>
                  </a:cxn>
                  <a:cxn ang="0">
                    <a:pos x="160" y="31"/>
                  </a:cxn>
                  <a:cxn ang="0">
                    <a:pos x="163" y="17"/>
                  </a:cxn>
                  <a:cxn ang="0">
                    <a:pos x="165" y="9"/>
                  </a:cxn>
                  <a:cxn ang="0">
                    <a:pos x="163" y="3"/>
                  </a:cxn>
                  <a:cxn ang="0">
                    <a:pos x="158" y="0"/>
                  </a:cxn>
                  <a:cxn ang="0">
                    <a:pos x="155" y="3"/>
                  </a:cxn>
                  <a:cxn ang="0">
                    <a:pos x="149" y="7"/>
                  </a:cxn>
                  <a:cxn ang="0">
                    <a:pos x="129" y="13"/>
                  </a:cxn>
                  <a:cxn ang="0">
                    <a:pos x="118" y="13"/>
                  </a:cxn>
                  <a:cxn ang="0">
                    <a:pos x="96" y="16"/>
                  </a:cxn>
                  <a:cxn ang="0">
                    <a:pos x="92" y="19"/>
                  </a:cxn>
                  <a:cxn ang="0">
                    <a:pos x="88" y="21"/>
                  </a:cxn>
                  <a:cxn ang="0">
                    <a:pos x="77" y="21"/>
                  </a:cxn>
                  <a:cxn ang="0">
                    <a:pos x="72" y="23"/>
                  </a:cxn>
                  <a:cxn ang="0">
                    <a:pos x="67" y="26"/>
                  </a:cxn>
                  <a:cxn ang="0">
                    <a:pos x="55" y="27"/>
                  </a:cxn>
                  <a:cxn ang="0">
                    <a:pos x="48" y="24"/>
                  </a:cxn>
                  <a:cxn ang="0">
                    <a:pos x="45" y="21"/>
                  </a:cxn>
                  <a:cxn ang="0">
                    <a:pos x="37" y="11"/>
                  </a:cxn>
                  <a:cxn ang="0">
                    <a:pos x="31" y="20"/>
                  </a:cxn>
                  <a:cxn ang="0">
                    <a:pos x="28" y="26"/>
                  </a:cxn>
                  <a:cxn ang="0">
                    <a:pos x="32" y="34"/>
                  </a:cxn>
                  <a:cxn ang="0">
                    <a:pos x="38" y="40"/>
                  </a:cxn>
                </a:cxnLst>
                <a:rect l="0" t="0" r="r" b="b"/>
                <a:pathLst>
                  <a:path w="165" h="222">
                    <a:moveTo>
                      <a:pt x="38" y="40"/>
                    </a:moveTo>
                    <a:lnTo>
                      <a:pt x="38" y="40"/>
                    </a:lnTo>
                    <a:lnTo>
                      <a:pt x="44" y="46"/>
                    </a:lnTo>
                    <a:lnTo>
                      <a:pt x="47" y="48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62" y="54"/>
                    </a:lnTo>
                    <a:lnTo>
                      <a:pt x="81" y="61"/>
                    </a:lnTo>
                    <a:lnTo>
                      <a:pt x="81" y="61"/>
                    </a:lnTo>
                    <a:lnTo>
                      <a:pt x="95" y="66"/>
                    </a:lnTo>
                    <a:lnTo>
                      <a:pt x="104" y="66"/>
                    </a:lnTo>
                    <a:lnTo>
                      <a:pt x="104" y="66"/>
                    </a:lnTo>
                    <a:lnTo>
                      <a:pt x="108" y="67"/>
                    </a:lnTo>
                    <a:lnTo>
                      <a:pt x="109" y="68"/>
                    </a:lnTo>
                    <a:lnTo>
                      <a:pt x="109" y="70"/>
                    </a:lnTo>
                    <a:lnTo>
                      <a:pt x="109" y="70"/>
                    </a:lnTo>
                    <a:lnTo>
                      <a:pt x="67" y="112"/>
                    </a:lnTo>
                    <a:lnTo>
                      <a:pt x="67" y="112"/>
                    </a:lnTo>
                    <a:lnTo>
                      <a:pt x="62" y="115"/>
                    </a:lnTo>
                    <a:lnTo>
                      <a:pt x="59" y="115"/>
                    </a:lnTo>
                    <a:lnTo>
                      <a:pt x="48" y="115"/>
                    </a:lnTo>
                    <a:lnTo>
                      <a:pt x="48" y="115"/>
                    </a:lnTo>
                    <a:lnTo>
                      <a:pt x="44" y="117"/>
                    </a:lnTo>
                    <a:lnTo>
                      <a:pt x="41" y="117"/>
                    </a:lnTo>
                    <a:lnTo>
                      <a:pt x="35" y="121"/>
                    </a:lnTo>
                    <a:lnTo>
                      <a:pt x="30" y="125"/>
                    </a:lnTo>
                    <a:lnTo>
                      <a:pt x="27" y="127"/>
                    </a:lnTo>
                    <a:lnTo>
                      <a:pt x="27" y="127"/>
                    </a:lnTo>
                    <a:lnTo>
                      <a:pt x="14" y="128"/>
                    </a:lnTo>
                    <a:lnTo>
                      <a:pt x="7" y="139"/>
                    </a:lnTo>
                    <a:lnTo>
                      <a:pt x="0" y="151"/>
                    </a:lnTo>
                    <a:lnTo>
                      <a:pt x="0" y="209"/>
                    </a:lnTo>
                    <a:lnTo>
                      <a:pt x="8" y="222"/>
                    </a:lnTo>
                    <a:lnTo>
                      <a:pt x="8" y="222"/>
                    </a:lnTo>
                    <a:lnTo>
                      <a:pt x="24" y="205"/>
                    </a:lnTo>
                    <a:lnTo>
                      <a:pt x="44" y="184"/>
                    </a:lnTo>
                    <a:lnTo>
                      <a:pt x="44" y="184"/>
                    </a:lnTo>
                    <a:lnTo>
                      <a:pt x="52" y="175"/>
                    </a:lnTo>
                    <a:lnTo>
                      <a:pt x="59" y="169"/>
                    </a:lnTo>
                    <a:lnTo>
                      <a:pt x="72" y="162"/>
                    </a:lnTo>
                    <a:lnTo>
                      <a:pt x="72" y="162"/>
                    </a:lnTo>
                    <a:lnTo>
                      <a:pt x="79" y="157"/>
                    </a:lnTo>
                    <a:lnTo>
                      <a:pt x="89" y="148"/>
                    </a:lnTo>
                    <a:lnTo>
                      <a:pt x="101" y="135"/>
                    </a:lnTo>
                    <a:lnTo>
                      <a:pt x="112" y="124"/>
                    </a:lnTo>
                    <a:lnTo>
                      <a:pt x="112" y="124"/>
                    </a:lnTo>
                    <a:lnTo>
                      <a:pt x="123" y="107"/>
                    </a:lnTo>
                    <a:lnTo>
                      <a:pt x="128" y="100"/>
                    </a:lnTo>
                    <a:lnTo>
                      <a:pt x="131" y="94"/>
                    </a:lnTo>
                    <a:lnTo>
                      <a:pt x="131" y="94"/>
                    </a:lnTo>
                    <a:lnTo>
                      <a:pt x="132" y="87"/>
                    </a:lnTo>
                    <a:lnTo>
                      <a:pt x="135" y="81"/>
                    </a:lnTo>
                    <a:lnTo>
                      <a:pt x="145" y="68"/>
                    </a:lnTo>
                    <a:lnTo>
                      <a:pt x="145" y="68"/>
                    </a:lnTo>
                    <a:lnTo>
                      <a:pt x="149" y="61"/>
                    </a:lnTo>
                    <a:lnTo>
                      <a:pt x="153" y="53"/>
                    </a:lnTo>
                    <a:lnTo>
                      <a:pt x="158" y="43"/>
                    </a:lnTo>
                    <a:lnTo>
                      <a:pt x="159" y="37"/>
                    </a:lnTo>
                    <a:lnTo>
                      <a:pt x="159" y="37"/>
                    </a:lnTo>
                    <a:lnTo>
                      <a:pt x="160" y="31"/>
                    </a:lnTo>
                    <a:lnTo>
                      <a:pt x="162" y="24"/>
                    </a:lnTo>
                    <a:lnTo>
                      <a:pt x="163" y="17"/>
                    </a:lnTo>
                    <a:lnTo>
                      <a:pt x="165" y="9"/>
                    </a:lnTo>
                    <a:lnTo>
                      <a:pt x="165" y="9"/>
                    </a:lnTo>
                    <a:lnTo>
                      <a:pt x="165" y="6"/>
                    </a:lnTo>
                    <a:lnTo>
                      <a:pt x="163" y="3"/>
                    </a:lnTo>
                    <a:lnTo>
                      <a:pt x="160" y="0"/>
                    </a:lnTo>
                    <a:lnTo>
                      <a:pt x="158" y="0"/>
                    </a:lnTo>
                    <a:lnTo>
                      <a:pt x="155" y="3"/>
                    </a:lnTo>
                    <a:lnTo>
                      <a:pt x="155" y="3"/>
                    </a:lnTo>
                    <a:lnTo>
                      <a:pt x="152" y="6"/>
                    </a:lnTo>
                    <a:lnTo>
                      <a:pt x="149" y="7"/>
                    </a:lnTo>
                    <a:lnTo>
                      <a:pt x="141" y="10"/>
                    </a:lnTo>
                    <a:lnTo>
                      <a:pt x="129" y="13"/>
                    </a:lnTo>
                    <a:lnTo>
                      <a:pt x="118" y="13"/>
                    </a:lnTo>
                    <a:lnTo>
                      <a:pt x="118" y="13"/>
                    </a:lnTo>
                    <a:lnTo>
                      <a:pt x="102" y="14"/>
                    </a:lnTo>
                    <a:lnTo>
                      <a:pt x="96" y="16"/>
                    </a:lnTo>
                    <a:lnTo>
                      <a:pt x="92" y="19"/>
                    </a:lnTo>
                    <a:lnTo>
                      <a:pt x="92" y="19"/>
                    </a:lnTo>
                    <a:lnTo>
                      <a:pt x="91" y="20"/>
                    </a:lnTo>
                    <a:lnTo>
                      <a:pt x="88" y="21"/>
                    </a:lnTo>
                    <a:lnTo>
                      <a:pt x="82" y="21"/>
                    </a:lnTo>
                    <a:lnTo>
                      <a:pt x="77" y="21"/>
                    </a:lnTo>
                    <a:lnTo>
                      <a:pt x="74" y="21"/>
                    </a:lnTo>
                    <a:lnTo>
                      <a:pt x="72" y="23"/>
                    </a:lnTo>
                    <a:lnTo>
                      <a:pt x="72" y="23"/>
                    </a:lnTo>
                    <a:lnTo>
                      <a:pt x="67" y="26"/>
                    </a:lnTo>
                    <a:lnTo>
                      <a:pt x="59" y="29"/>
                    </a:lnTo>
                    <a:lnTo>
                      <a:pt x="55" y="27"/>
                    </a:lnTo>
                    <a:lnTo>
                      <a:pt x="51" y="27"/>
                    </a:lnTo>
                    <a:lnTo>
                      <a:pt x="48" y="24"/>
                    </a:lnTo>
                    <a:lnTo>
                      <a:pt x="45" y="21"/>
                    </a:lnTo>
                    <a:lnTo>
                      <a:pt x="45" y="21"/>
                    </a:lnTo>
                    <a:lnTo>
                      <a:pt x="41" y="16"/>
                    </a:lnTo>
                    <a:lnTo>
                      <a:pt x="37" y="11"/>
                    </a:lnTo>
                    <a:lnTo>
                      <a:pt x="37" y="11"/>
                    </a:lnTo>
                    <a:lnTo>
                      <a:pt x="31" y="20"/>
                    </a:lnTo>
                    <a:lnTo>
                      <a:pt x="28" y="23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32" y="34"/>
                    </a:lnTo>
                    <a:lnTo>
                      <a:pt x="35" y="37"/>
                    </a:lnTo>
                    <a:lnTo>
                      <a:pt x="38" y="40"/>
                    </a:lnTo>
                    <a:lnTo>
                      <a:pt x="38" y="4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24" name="Central African Republic">
                <a:extLst>
                  <a:ext uri="{FF2B5EF4-FFF2-40B4-BE49-F238E27FC236}">
                    <a16:creationId xmlns:a16="http://schemas.microsoft.com/office/drawing/2014/main" id="{6D908A1E-9B02-ED45-2586-01A39ED96A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5227" y="4044859"/>
                <a:ext cx="292998" cy="204210"/>
              </a:xfrm>
              <a:custGeom>
                <a:avLst/>
                <a:gdLst/>
                <a:ahLst/>
                <a:cxnLst>
                  <a:cxn ang="0">
                    <a:pos x="182" y="72"/>
                  </a:cxn>
                  <a:cxn ang="0">
                    <a:pos x="177" y="67"/>
                  </a:cxn>
                  <a:cxn ang="0">
                    <a:pos x="167" y="58"/>
                  </a:cxn>
                  <a:cxn ang="0">
                    <a:pos x="165" y="54"/>
                  </a:cxn>
                  <a:cxn ang="0">
                    <a:pos x="157" y="44"/>
                  </a:cxn>
                  <a:cxn ang="0">
                    <a:pos x="145" y="37"/>
                  </a:cxn>
                  <a:cxn ang="0">
                    <a:pos x="137" y="34"/>
                  </a:cxn>
                  <a:cxn ang="0">
                    <a:pos x="140" y="30"/>
                  </a:cxn>
                  <a:cxn ang="0">
                    <a:pos x="143" y="22"/>
                  </a:cxn>
                  <a:cxn ang="0">
                    <a:pos x="134" y="8"/>
                  </a:cxn>
                  <a:cxn ang="0">
                    <a:pos x="125" y="0"/>
                  </a:cxn>
                  <a:cxn ang="0">
                    <a:pos x="118" y="1"/>
                  </a:cxn>
                  <a:cxn ang="0">
                    <a:pos x="110" y="7"/>
                  </a:cxn>
                  <a:cxn ang="0">
                    <a:pos x="108" y="13"/>
                  </a:cxn>
                  <a:cxn ang="0">
                    <a:pos x="93" y="30"/>
                  </a:cxn>
                  <a:cxn ang="0">
                    <a:pos x="89" y="32"/>
                  </a:cxn>
                  <a:cxn ang="0">
                    <a:pos x="70" y="34"/>
                  </a:cxn>
                  <a:cxn ang="0">
                    <a:pos x="69" y="38"/>
                  </a:cxn>
                  <a:cxn ang="0">
                    <a:pos x="70" y="42"/>
                  </a:cxn>
                  <a:cxn ang="0">
                    <a:pos x="56" y="50"/>
                  </a:cxn>
                  <a:cxn ang="0">
                    <a:pos x="37" y="55"/>
                  </a:cxn>
                  <a:cxn ang="0">
                    <a:pos x="34" y="57"/>
                  </a:cxn>
                  <a:cxn ang="0">
                    <a:pos x="29" y="54"/>
                  </a:cxn>
                  <a:cxn ang="0">
                    <a:pos x="24" y="58"/>
                  </a:cxn>
                  <a:cxn ang="0">
                    <a:pos x="19" y="59"/>
                  </a:cxn>
                  <a:cxn ang="0">
                    <a:pos x="17" y="57"/>
                  </a:cxn>
                  <a:cxn ang="0">
                    <a:pos x="9" y="67"/>
                  </a:cxn>
                  <a:cxn ang="0">
                    <a:pos x="2" y="81"/>
                  </a:cxn>
                  <a:cxn ang="0">
                    <a:pos x="2" y="89"/>
                  </a:cxn>
                  <a:cxn ang="0">
                    <a:pos x="5" y="104"/>
                  </a:cxn>
                  <a:cxn ang="0">
                    <a:pos x="9" y="112"/>
                  </a:cxn>
                  <a:cxn ang="0">
                    <a:pos x="10" y="119"/>
                  </a:cxn>
                  <a:cxn ang="0">
                    <a:pos x="19" y="129"/>
                  </a:cxn>
                  <a:cxn ang="0">
                    <a:pos x="24" y="135"/>
                  </a:cxn>
                  <a:cxn ang="0">
                    <a:pos x="27" y="138"/>
                  </a:cxn>
                  <a:cxn ang="0">
                    <a:pos x="30" y="132"/>
                  </a:cxn>
                  <a:cxn ang="0">
                    <a:pos x="40" y="122"/>
                  </a:cxn>
                  <a:cxn ang="0">
                    <a:pos x="60" y="111"/>
                  </a:cxn>
                  <a:cxn ang="0">
                    <a:pos x="71" y="99"/>
                  </a:cxn>
                  <a:cxn ang="0">
                    <a:pos x="77" y="98"/>
                  </a:cxn>
                  <a:cxn ang="0">
                    <a:pos x="90" y="106"/>
                  </a:cxn>
                  <a:cxn ang="0">
                    <a:pos x="123" y="108"/>
                  </a:cxn>
                  <a:cxn ang="0">
                    <a:pos x="125" y="102"/>
                  </a:cxn>
                  <a:cxn ang="0">
                    <a:pos x="135" y="102"/>
                  </a:cxn>
                  <a:cxn ang="0">
                    <a:pos x="145" y="99"/>
                  </a:cxn>
                  <a:cxn ang="0">
                    <a:pos x="155" y="96"/>
                  </a:cxn>
                  <a:cxn ang="0">
                    <a:pos x="168" y="95"/>
                  </a:cxn>
                  <a:cxn ang="0">
                    <a:pos x="172" y="92"/>
                  </a:cxn>
                  <a:cxn ang="0">
                    <a:pos x="198" y="95"/>
                  </a:cxn>
                  <a:cxn ang="0">
                    <a:pos x="188" y="82"/>
                  </a:cxn>
                  <a:cxn ang="0">
                    <a:pos x="182" y="77"/>
                  </a:cxn>
                </a:cxnLst>
                <a:rect l="0" t="0" r="r" b="b"/>
                <a:pathLst>
                  <a:path w="198" h="138">
                    <a:moveTo>
                      <a:pt x="182" y="77"/>
                    </a:moveTo>
                    <a:lnTo>
                      <a:pt x="182" y="77"/>
                    </a:lnTo>
                    <a:lnTo>
                      <a:pt x="182" y="72"/>
                    </a:lnTo>
                    <a:lnTo>
                      <a:pt x="181" y="69"/>
                    </a:lnTo>
                    <a:lnTo>
                      <a:pt x="177" y="67"/>
                    </a:lnTo>
                    <a:lnTo>
                      <a:pt x="177" y="67"/>
                    </a:lnTo>
                    <a:lnTo>
                      <a:pt x="170" y="61"/>
                    </a:lnTo>
                    <a:lnTo>
                      <a:pt x="168" y="59"/>
                    </a:lnTo>
                    <a:lnTo>
                      <a:pt x="167" y="58"/>
                    </a:lnTo>
                    <a:lnTo>
                      <a:pt x="167" y="58"/>
                    </a:lnTo>
                    <a:lnTo>
                      <a:pt x="167" y="55"/>
                    </a:lnTo>
                    <a:lnTo>
                      <a:pt x="165" y="54"/>
                    </a:lnTo>
                    <a:lnTo>
                      <a:pt x="160" y="48"/>
                    </a:lnTo>
                    <a:lnTo>
                      <a:pt x="160" y="48"/>
                    </a:lnTo>
                    <a:lnTo>
                      <a:pt x="157" y="44"/>
                    </a:lnTo>
                    <a:lnTo>
                      <a:pt x="153" y="42"/>
                    </a:lnTo>
                    <a:lnTo>
                      <a:pt x="147" y="41"/>
                    </a:lnTo>
                    <a:lnTo>
                      <a:pt x="145" y="37"/>
                    </a:lnTo>
                    <a:lnTo>
                      <a:pt x="138" y="35"/>
                    </a:lnTo>
                    <a:lnTo>
                      <a:pt x="138" y="35"/>
                    </a:lnTo>
                    <a:lnTo>
                      <a:pt x="137" y="34"/>
                    </a:lnTo>
                    <a:lnTo>
                      <a:pt x="138" y="32"/>
                    </a:lnTo>
                    <a:lnTo>
                      <a:pt x="140" y="30"/>
                    </a:lnTo>
                    <a:lnTo>
                      <a:pt x="140" y="30"/>
                    </a:lnTo>
                    <a:lnTo>
                      <a:pt x="143" y="28"/>
                    </a:lnTo>
                    <a:lnTo>
                      <a:pt x="143" y="27"/>
                    </a:lnTo>
                    <a:lnTo>
                      <a:pt x="143" y="22"/>
                    </a:lnTo>
                    <a:lnTo>
                      <a:pt x="140" y="15"/>
                    </a:lnTo>
                    <a:lnTo>
                      <a:pt x="140" y="15"/>
                    </a:lnTo>
                    <a:lnTo>
                      <a:pt x="134" y="8"/>
                    </a:lnTo>
                    <a:lnTo>
                      <a:pt x="128" y="1"/>
                    </a:lnTo>
                    <a:lnTo>
                      <a:pt x="128" y="1"/>
                    </a:lnTo>
                    <a:lnTo>
                      <a:pt x="125" y="0"/>
                    </a:lnTo>
                    <a:lnTo>
                      <a:pt x="125" y="0"/>
                    </a:lnTo>
                    <a:lnTo>
                      <a:pt x="123" y="0"/>
                    </a:lnTo>
                    <a:lnTo>
                      <a:pt x="118" y="1"/>
                    </a:lnTo>
                    <a:lnTo>
                      <a:pt x="113" y="5"/>
                    </a:lnTo>
                    <a:lnTo>
                      <a:pt x="113" y="5"/>
                    </a:lnTo>
                    <a:lnTo>
                      <a:pt x="110" y="7"/>
                    </a:lnTo>
                    <a:lnTo>
                      <a:pt x="110" y="10"/>
                    </a:lnTo>
                    <a:lnTo>
                      <a:pt x="110" y="11"/>
                    </a:lnTo>
                    <a:lnTo>
                      <a:pt x="108" y="13"/>
                    </a:lnTo>
                    <a:lnTo>
                      <a:pt x="108" y="13"/>
                    </a:lnTo>
                    <a:lnTo>
                      <a:pt x="101" y="20"/>
                    </a:lnTo>
                    <a:lnTo>
                      <a:pt x="93" y="30"/>
                    </a:lnTo>
                    <a:lnTo>
                      <a:pt x="93" y="30"/>
                    </a:lnTo>
                    <a:lnTo>
                      <a:pt x="91" y="31"/>
                    </a:lnTo>
                    <a:lnTo>
                      <a:pt x="89" y="32"/>
                    </a:lnTo>
                    <a:lnTo>
                      <a:pt x="81" y="32"/>
                    </a:lnTo>
                    <a:lnTo>
                      <a:pt x="74" y="32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69" y="35"/>
                    </a:lnTo>
                    <a:lnTo>
                      <a:pt x="69" y="38"/>
                    </a:lnTo>
                    <a:lnTo>
                      <a:pt x="70" y="41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3" y="47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46" y="51"/>
                    </a:lnTo>
                    <a:lnTo>
                      <a:pt x="42" y="52"/>
                    </a:lnTo>
                    <a:lnTo>
                      <a:pt x="37" y="55"/>
                    </a:lnTo>
                    <a:lnTo>
                      <a:pt x="37" y="55"/>
                    </a:lnTo>
                    <a:lnTo>
                      <a:pt x="36" y="57"/>
                    </a:lnTo>
                    <a:lnTo>
                      <a:pt x="34" y="57"/>
                    </a:lnTo>
                    <a:lnTo>
                      <a:pt x="33" y="55"/>
                    </a:lnTo>
                    <a:lnTo>
                      <a:pt x="30" y="54"/>
                    </a:lnTo>
                    <a:lnTo>
                      <a:pt x="29" y="54"/>
                    </a:lnTo>
                    <a:lnTo>
                      <a:pt x="27" y="55"/>
                    </a:lnTo>
                    <a:lnTo>
                      <a:pt x="27" y="55"/>
                    </a:lnTo>
                    <a:lnTo>
                      <a:pt x="24" y="58"/>
                    </a:lnTo>
                    <a:lnTo>
                      <a:pt x="22" y="59"/>
                    </a:lnTo>
                    <a:lnTo>
                      <a:pt x="20" y="59"/>
                    </a:lnTo>
                    <a:lnTo>
                      <a:pt x="19" y="59"/>
                    </a:lnTo>
                    <a:lnTo>
                      <a:pt x="19" y="59"/>
                    </a:lnTo>
                    <a:lnTo>
                      <a:pt x="17" y="57"/>
                    </a:lnTo>
                    <a:lnTo>
                      <a:pt x="17" y="57"/>
                    </a:lnTo>
                    <a:lnTo>
                      <a:pt x="12" y="62"/>
                    </a:lnTo>
                    <a:lnTo>
                      <a:pt x="9" y="67"/>
                    </a:lnTo>
                    <a:lnTo>
                      <a:pt x="9" y="67"/>
                    </a:lnTo>
                    <a:lnTo>
                      <a:pt x="6" y="72"/>
                    </a:lnTo>
                    <a:lnTo>
                      <a:pt x="5" y="77"/>
                    </a:lnTo>
                    <a:lnTo>
                      <a:pt x="2" y="81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2" y="89"/>
                    </a:lnTo>
                    <a:lnTo>
                      <a:pt x="3" y="96"/>
                    </a:lnTo>
                    <a:lnTo>
                      <a:pt x="3" y="96"/>
                    </a:lnTo>
                    <a:lnTo>
                      <a:pt x="5" y="104"/>
                    </a:lnTo>
                    <a:lnTo>
                      <a:pt x="7" y="109"/>
                    </a:lnTo>
                    <a:lnTo>
                      <a:pt x="7" y="109"/>
                    </a:lnTo>
                    <a:lnTo>
                      <a:pt x="9" y="112"/>
                    </a:lnTo>
                    <a:lnTo>
                      <a:pt x="10" y="115"/>
                    </a:lnTo>
                    <a:lnTo>
                      <a:pt x="10" y="119"/>
                    </a:lnTo>
                    <a:lnTo>
                      <a:pt x="10" y="119"/>
                    </a:lnTo>
                    <a:lnTo>
                      <a:pt x="13" y="123"/>
                    </a:lnTo>
                    <a:lnTo>
                      <a:pt x="13" y="123"/>
                    </a:lnTo>
                    <a:lnTo>
                      <a:pt x="19" y="129"/>
                    </a:lnTo>
                    <a:lnTo>
                      <a:pt x="22" y="132"/>
                    </a:lnTo>
                    <a:lnTo>
                      <a:pt x="24" y="135"/>
                    </a:lnTo>
                    <a:lnTo>
                      <a:pt x="24" y="135"/>
                    </a:lnTo>
                    <a:lnTo>
                      <a:pt x="24" y="136"/>
                    </a:lnTo>
                    <a:lnTo>
                      <a:pt x="27" y="138"/>
                    </a:lnTo>
                    <a:lnTo>
                      <a:pt x="27" y="138"/>
                    </a:lnTo>
                    <a:lnTo>
                      <a:pt x="27" y="135"/>
                    </a:lnTo>
                    <a:lnTo>
                      <a:pt x="27" y="135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0" y="123"/>
                    </a:lnTo>
                    <a:lnTo>
                      <a:pt x="40" y="122"/>
                    </a:lnTo>
                    <a:lnTo>
                      <a:pt x="46" y="119"/>
                    </a:lnTo>
                    <a:lnTo>
                      <a:pt x="60" y="122"/>
                    </a:lnTo>
                    <a:lnTo>
                      <a:pt x="60" y="111"/>
                    </a:lnTo>
                    <a:lnTo>
                      <a:pt x="60" y="111"/>
                    </a:lnTo>
                    <a:lnTo>
                      <a:pt x="66" y="105"/>
                    </a:lnTo>
                    <a:lnTo>
                      <a:pt x="71" y="99"/>
                    </a:lnTo>
                    <a:lnTo>
                      <a:pt x="74" y="98"/>
                    </a:lnTo>
                    <a:lnTo>
                      <a:pt x="77" y="98"/>
                    </a:lnTo>
                    <a:lnTo>
                      <a:pt x="77" y="98"/>
                    </a:lnTo>
                    <a:lnTo>
                      <a:pt x="81" y="99"/>
                    </a:lnTo>
                    <a:lnTo>
                      <a:pt x="86" y="102"/>
                    </a:lnTo>
                    <a:lnTo>
                      <a:pt x="90" y="106"/>
                    </a:lnTo>
                    <a:lnTo>
                      <a:pt x="121" y="114"/>
                    </a:lnTo>
                    <a:lnTo>
                      <a:pt x="121" y="114"/>
                    </a:lnTo>
                    <a:lnTo>
                      <a:pt x="123" y="108"/>
                    </a:lnTo>
                    <a:lnTo>
                      <a:pt x="124" y="105"/>
                    </a:lnTo>
                    <a:lnTo>
                      <a:pt x="125" y="102"/>
                    </a:lnTo>
                    <a:lnTo>
                      <a:pt x="125" y="102"/>
                    </a:lnTo>
                    <a:lnTo>
                      <a:pt x="128" y="101"/>
                    </a:lnTo>
                    <a:lnTo>
                      <a:pt x="131" y="102"/>
                    </a:lnTo>
                    <a:lnTo>
                      <a:pt x="135" y="102"/>
                    </a:lnTo>
                    <a:lnTo>
                      <a:pt x="138" y="102"/>
                    </a:lnTo>
                    <a:lnTo>
                      <a:pt x="138" y="102"/>
                    </a:lnTo>
                    <a:lnTo>
                      <a:pt x="145" y="99"/>
                    </a:lnTo>
                    <a:lnTo>
                      <a:pt x="150" y="98"/>
                    </a:lnTo>
                    <a:lnTo>
                      <a:pt x="155" y="96"/>
                    </a:lnTo>
                    <a:lnTo>
                      <a:pt x="155" y="96"/>
                    </a:lnTo>
                    <a:lnTo>
                      <a:pt x="162" y="98"/>
                    </a:lnTo>
                    <a:lnTo>
                      <a:pt x="165" y="98"/>
                    </a:lnTo>
                    <a:lnTo>
                      <a:pt x="168" y="95"/>
                    </a:lnTo>
                    <a:lnTo>
                      <a:pt x="168" y="95"/>
                    </a:lnTo>
                    <a:lnTo>
                      <a:pt x="170" y="94"/>
                    </a:lnTo>
                    <a:lnTo>
                      <a:pt x="172" y="92"/>
                    </a:lnTo>
                    <a:lnTo>
                      <a:pt x="178" y="94"/>
                    </a:lnTo>
                    <a:lnTo>
                      <a:pt x="185" y="96"/>
                    </a:lnTo>
                    <a:lnTo>
                      <a:pt x="198" y="95"/>
                    </a:lnTo>
                    <a:lnTo>
                      <a:pt x="194" y="85"/>
                    </a:lnTo>
                    <a:lnTo>
                      <a:pt x="194" y="85"/>
                    </a:lnTo>
                    <a:lnTo>
                      <a:pt x="188" y="82"/>
                    </a:lnTo>
                    <a:lnTo>
                      <a:pt x="185" y="79"/>
                    </a:lnTo>
                    <a:lnTo>
                      <a:pt x="182" y="77"/>
                    </a:lnTo>
                    <a:lnTo>
                      <a:pt x="182" y="77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25" name="Republic of the Congo">
                <a:extLst>
                  <a:ext uri="{FF2B5EF4-FFF2-40B4-BE49-F238E27FC236}">
                    <a16:creationId xmlns:a16="http://schemas.microsoft.com/office/drawing/2014/main" id="{644D5EDD-5617-2D8D-BCCC-23A21A8C63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8278" y="4220952"/>
                <a:ext cx="165735" cy="210129"/>
              </a:xfrm>
              <a:custGeom>
                <a:avLst/>
                <a:gdLst/>
                <a:ahLst/>
                <a:cxnLst>
                  <a:cxn ang="0">
                    <a:pos x="35" y="137"/>
                  </a:cxn>
                  <a:cxn ang="0">
                    <a:pos x="41" y="135"/>
                  </a:cxn>
                  <a:cxn ang="0">
                    <a:pos x="54" y="134"/>
                  </a:cxn>
                  <a:cxn ang="0">
                    <a:pos x="55" y="138"/>
                  </a:cxn>
                  <a:cxn ang="0">
                    <a:pos x="61" y="135"/>
                  </a:cxn>
                  <a:cxn ang="0">
                    <a:pos x="71" y="131"/>
                  </a:cxn>
                  <a:cxn ang="0">
                    <a:pos x="72" y="121"/>
                  </a:cxn>
                  <a:cxn ang="0">
                    <a:pos x="76" y="114"/>
                  </a:cxn>
                  <a:cxn ang="0">
                    <a:pos x="78" y="87"/>
                  </a:cxn>
                  <a:cxn ang="0">
                    <a:pos x="85" y="80"/>
                  </a:cxn>
                  <a:cxn ang="0">
                    <a:pos x="92" y="70"/>
                  </a:cxn>
                  <a:cxn ang="0">
                    <a:pos x="98" y="54"/>
                  </a:cxn>
                  <a:cxn ang="0">
                    <a:pos x="104" y="36"/>
                  </a:cxn>
                  <a:cxn ang="0">
                    <a:pos x="109" y="19"/>
                  </a:cxn>
                  <a:cxn ang="0">
                    <a:pos x="112" y="7"/>
                  </a:cxn>
                  <a:cxn ang="0">
                    <a:pos x="98" y="0"/>
                  </a:cxn>
                  <a:cxn ang="0">
                    <a:pos x="82" y="4"/>
                  </a:cxn>
                  <a:cxn ang="0">
                    <a:pos x="79" y="16"/>
                  </a:cxn>
                  <a:cxn ang="0">
                    <a:pos x="75" y="26"/>
                  </a:cxn>
                  <a:cxn ang="0">
                    <a:pos x="65" y="29"/>
                  </a:cxn>
                  <a:cxn ang="0">
                    <a:pos x="52" y="24"/>
                  </a:cxn>
                  <a:cxn ang="0">
                    <a:pos x="31" y="41"/>
                  </a:cxn>
                  <a:cxn ang="0">
                    <a:pos x="34" y="41"/>
                  </a:cxn>
                  <a:cxn ang="0">
                    <a:pos x="45" y="40"/>
                  </a:cxn>
                  <a:cxn ang="0">
                    <a:pos x="49" y="44"/>
                  </a:cxn>
                  <a:cxn ang="0">
                    <a:pos x="45" y="54"/>
                  </a:cxn>
                  <a:cxn ang="0">
                    <a:pos x="42" y="60"/>
                  </a:cxn>
                  <a:cxn ang="0">
                    <a:pos x="48" y="67"/>
                  </a:cxn>
                  <a:cxn ang="0">
                    <a:pos x="52" y="84"/>
                  </a:cxn>
                  <a:cxn ang="0">
                    <a:pos x="51" y="100"/>
                  </a:cxn>
                  <a:cxn ang="0">
                    <a:pos x="48" y="103"/>
                  </a:cxn>
                  <a:cxn ang="0">
                    <a:pos x="38" y="101"/>
                  </a:cxn>
                  <a:cxn ang="0">
                    <a:pos x="34" y="100"/>
                  </a:cxn>
                  <a:cxn ang="0">
                    <a:pos x="30" y="93"/>
                  </a:cxn>
                  <a:cxn ang="0">
                    <a:pos x="24" y="93"/>
                  </a:cxn>
                  <a:cxn ang="0">
                    <a:pos x="21" y="100"/>
                  </a:cxn>
                  <a:cxn ang="0">
                    <a:pos x="15" y="100"/>
                  </a:cxn>
                  <a:cxn ang="0">
                    <a:pos x="10" y="107"/>
                  </a:cxn>
                  <a:cxn ang="0">
                    <a:pos x="12" y="115"/>
                  </a:cxn>
                  <a:cxn ang="0">
                    <a:pos x="8" y="120"/>
                  </a:cxn>
                  <a:cxn ang="0">
                    <a:pos x="0" y="124"/>
                  </a:cxn>
                  <a:cxn ang="0">
                    <a:pos x="10" y="134"/>
                  </a:cxn>
                  <a:cxn ang="0">
                    <a:pos x="25" y="137"/>
                  </a:cxn>
                </a:cxnLst>
                <a:rect l="0" t="0" r="r" b="b"/>
                <a:pathLst>
                  <a:path w="112" h="142">
                    <a:moveTo>
                      <a:pt x="31" y="134"/>
                    </a:moveTo>
                    <a:lnTo>
                      <a:pt x="31" y="134"/>
                    </a:lnTo>
                    <a:lnTo>
                      <a:pt x="35" y="137"/>
                    </a:lnTo>
                    <a:lnTo>
                      <a:pt x="38" y="137"/>
                    </a:lnTo>
                    <a:lnTo>
                      <a:pt x="41" y="135"/>
                    </a:lnTo>
                    <a:lnTo>
                      <a:pt x="41" y="135"/>
                    </a:lnTo>
                    <a:lnTo>
                      <a:pt x="47" y="133"/>
                    </a:lnTo>
                    <a:lnTo>
                      <a:pt x="51" y="133"/>
                    </a:lnTo>
                    <a:lnTo>
                      <a:pt x="54" y="134"/>
                    </a:lnTo>
                    <a:lnTo>
                      <a:pt x="54" y="137"/>
                    </a:lnTo>
                    <a:lnTo>
                      <a:pt x="54" y="137"/>
                    </a:lnTo>
                    <a:lnTo>
                      <a:pt x="55" y="138"/>
                    </a:lnTo>
                    <a:lnTo>
                      <a:pt x="57" y="140"/>
                    </a:lnTo>
                    <a:lnTo>
                      <a:pt x="61" y="135"/>
                    </a:lnTo>
                    <a:lnTo>
                      <a:pt x="61" y="135"/>
                    </a:lnTo>
                    <a:lnTo>
                      <a:pt x="65" y="133"/>
                    </a:lnTo>
                    <a:lnTo>
                      <a:pt x="68" y="133"/>
                    </a:lnTo>
                    <a:lnTo>
                      <a:pt x="71" y="131"/>
                    </a:lnTo>
                    <a:lnTo>
                      <a:pt x="71" y="127"/>
                    </a:lnTo>
                    <a:lnTo>
                      <a:pt x="71" y="127"/>
                    </a:lnTo>
                    <a:lnTo>
                      <a:pt x="72" y="121"/>
                    </a:lnTo>
                    <a:lnTo>
                      <a:pt x="74" y="121"/>
                    </a:lnTo>
                    <a:lnTo>
                      <a:pt x="76" y="120"/>
                    </a:lnTo>
                    <a:lnTo>
                      <a:pt x="76" y="114"/>
                    </a:lnTo>
                    <a:lnTo>
                      <a:pt x="76" y="114"/>
                    </a:lnTo>
                    <a:lnTo>
                      <a:pt x="78" y="87"/>
                    </a:lnTo>
                    <a:lnTo>
                      <a:pt x="78" y="87"/>
                    </a:lnTo>
                    <a:lnTo>
                      <a:pt x="79" y="86"/>
                    </a:lnTo>
                    <a:lnTo>
                      <a:pt x="81" y="84"/>
                    </a:lnTo>
                    <a:lnTo>
                      <a:pt x="85" y="80"/>
                    </a:lnTo>
                    <a:lnTo>
                      <a:pt x="89" y="76"/>
                    </a:lnTo>
                    <a:lnTo>
                      <a:pt x="92" y="73"/>
                    </a:lnTo>
                    <a:lnTo>
                      <a:pt x="92" y="70"/>
                    </a:lnTo>
                    <a:lnTo>
                      <a:pt x="92" y="70"/>
                    </a:lnTo>
                    <a:lnTo>
                      <a:pt x="94" y="63"/>
                    </a:lnTo>
                    <a:lnTo>
                      <a:pt x="98" y="54"/>
                    </a:lnTo>
                    <a:lnTo>
                      <a:pt x="102" y="44"/>
                    </a:lnTo>
                    <a:lnTo>
                      <a:pt x="104" y="36"/>
                    </a:lnTo>
                    <a:lnTo>
                      <a:pt x="104" y="36"/>
                    </a:lnTo>
                    <a:lnTo>
                      <a:pt x="105" y="30"/>
                    </a:lnTo>
                    <a:lnTo>
                      <a:pt x="106" y="26"/>
                    </a:lnTo>
                    <a:lnTo>
                      <a:pt x="109" y="19"/>
                    </a:lnTo>
                    <a:lnTo>
                      <a:pt x="109" y="19"/>
                    </a:lnTo>
                    <a:lnTo>
                      <a:pt x="112" y="12"/>
                    </a:lnTo>
                    <a:lnTo>
                      <a:pt x="112" y="7"/>
                    </a:lnTo>
                    <a:lnTo>
                      <a:pt x="112" y="3"/>
                    </a:lnTo>
                    <a:lnTo>
                      <a:pt x="112" y="3"/>
                    </a:lnTo>
                    <a:lnTo>
                      <a:pt x="98" y="0"/>
                    </a:lnTo>
                    <a:lnTo>
                      <a:pt x="92" y="3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9"/>
                    </a:lnTo>
                    <a:lnTo>
                      <a:pt x="82" y="13"/>
                    </a:lnTo>
                    <a:lnTo>
                      <a:pt x="79" y="16"/>
                    </a:lnTo>
                    <a:lnTo>
                      <a:pt x="79" y="16"/>
                    </a:lnTo>
                    <a:lnTo>
                      <a:pt x="78" y="22"/>
                    </a:lnTo>
                    <a:lnTo>
                      <a:pt x="75" y="26"/>
                    </a:lnTo>
                    <a:lnTo>
                      <a:pt x="75" y="33"/>
                    </a:lnTo>
                    <a:lnTo>
                      <a:pt x="75" y="33"/>
                    </a:lnTo>
                    <a:lnTo>
                      <a:pt x="65" y="29"/>
                    </a:lnTo>
                    <a:lnTo>
                      <a:pt x="58" y="26"/>
                    </a:lnTo>
                    <a:lnTo>
                      <a:pt x="52" y="24"/>
                    </a:lnTo>
                    <a:lnTo>
                      <a:pt x="52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1" y="41"/>
                    </a:lnTo>
                    <a:lnTo>
                      <a:pt x="31" y="41"/>
                    </a:lnTo>
                    <a:lnTo>
                      <a:pt x="32" y="41"/>
                    </a:lnTo>
                    <a:lnTo>
                      <a:pt x="34" y="41"/>
                    </a:lnTo>
                    <a:lnTo>
                      <a:pt x="38" y="41"/>
                    </a:lnTo>
                    <a:lnTo>
                      <a:pt x="42" y="40"/>
                    </a:lnTo>
                    <a:lnTo>
                      <a:pt x="45" y="40"/>
                    </a:lnTo>
                    <a:lnTo>
                      <a:pt x="48" y="41"/>
                    </a:lnTo>
                    <a:lnTo>
                      <a:pt x="48" y="41"/>
                    </a:lnTo>
                    <a:lnTo>
                      <a:pt x="49" y="44"/>
                    </a:lnTo>
                    <a:lnTo>
                      <a:pt x="51" y="47"/>
                    </a:lnTo>
                    <a:lnTo>
                      <a:pt x="49" y="51"/>
                    </a:lnTo>
                    <a:lnTo>
                      <a:pt x="45" y="54"/>
                    </a:lnTo>
                    <a:lnTo>
                      <a:pt x="45" y="54"/>
                    </a:lnTo>
                    <a:lnTo>
                      <a:pt x="42" y="57"/>
                    </a:lnTo>
                    <a:lnTo>
                      <a:pt x="42" y="60"/>
                    </a:lnTo>
                    <a:lnTo>
                      <a:pt x="45" y="64"/>
                    </a:lnTo>
                    <a:lnTo>
                      <a:pt x="48" y="67"/>
                    </a:lnTo>
                    <a:lnTo>
                      <a:pt x="48" y="67"/>
                    </a:lnTo>
                    <a:lnTo>
                      <a:pt x="51" y="70"/>
                    </a:lnTo>
                    <a:lnTo>
                      <a:pt x="52" y="73"/>
                    </a:lnTo>
                    <a:lnTo>
                      <a:pt x="52" y="84"/>
                    </a:lnTo>
                    <a:lnTo>
                      <a:pt x="52" y="84"/>
                    </a:lnTo>
                    <a:lnTo>
                      <a:pt x="52" y="96"/>
                    </a:lnTo>
                    <a:lnTo>
                      <a:pt x="51" y="100"/>
                    </a:lnTo>
                    <a:lnTo>
                      <a:pt x="49" y="101"/>
                    </a:lnTo>
                    <a:lnTo>
                      <a:pt x="48" y="103"/>
                    </a:lnTo>
                    <a:lnTo>
                      <a:pt x="48" y="103"/>
                    </a:lnTo>
                    <a:lnTo>
                      <a:pt x="44" y="103"/>
                    </a:lnTo>
                    <a:lnTo>
                      <a:pt x="41" y="101"/>
                    </a:lnTo>
                    <a:lnTo>
                      <a:pt x="38" y="101"/>
                    </a:lnTo>
                    <a:lnTo>
                      <a:pt x="35" y="101"/>
                    </a:lnTo>
                    <a:lnTo>
                      <a:pt x="35" y="101"/>
                    </a:lnTo>
                    <a:lnTo>
                      <a:pt x="34" y="100"/>
                    </a:lnTo>
                    <a:lnTo>
                      <a:pt x="32" y="100"/>
                    </a:lnTo>
                    <a:lnTo>
                      <a:pt x="31" y="96"/>
                    </a:lnTo>
                    <a:lnTo>
                      <a:pt x="30" y="93"/>
                    </a:lnTo>
                    <a:lnTo>
                      <a:pt x="27" y="91"/>
                    </a:lnTo>
                    <a:lnTo>
                      <a:pt x="27" y="91"/>
                    </a:lnTo>
                    <a:lnTo>
                      <a:pt x="24" y="93"/>
                    </a:lnTo>
                    <a:lnTo>
                      <a:pt x="24" y="96"/>
                    </a:lnTo>
                    <a:lnTo>
                      <a:pt x="22" y="98"/>
                    </a:lnTo>
                    <a:lnTo>
                      <a:pt x="21" y="100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5" y="100"/>
                    </a:lnTo>
                    <a:lnTo>
                      <a:pt x="11" y="100"/>
                    </a:lnTo>
                    <a:lnTo>
                      <a:pt x="10" y="103"/>
                    </a:lnTo>
                    <a:lnTo>
                      <a:pt x="10" y="107"/>
                    </a:lnTo>
                    <a:lnTo>
                      <a:pt x="10" y="107"/>
                    </a:lnTo>
                    <a:lnTo>
                      <a:pt x="12" y="111"/>
                    </a:lnTo>
                    <a:lnTo>
                      <a:pt x="12" y="115"/>
                    </a:lnTo>
                    <a:lnTo>
                      <a:pt x="12" y="118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3" y="121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3" y="125"/>
                    </a:lnTo>
                    <a:lnTo>
                      <a:pt x="3" y="125"/>
                    </a:lnTo>
                    <a:lnTo>
                      <a:pt x="10" y="134"/>
                    </a:lnTo>
                    <a:lnTo>
                      <a:pt x="15" y="142"/>
                    </a:lnTo>
                    <a:lnTo>
                      <a:pt x="15" y="142"/>
                    </a:lnTo>
                    <a:lnTo>
                      <a:pt x="25" y="137"/>
                    </a:lnTo>
                    <a:lnTo>
                      <a:pt x="31" y="134"/>
                    </a:lnTo>
                    <a:lnTo>
                      <a:pt x="31" y="13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26" name="Djibouti">
                <a:extLst>
                  <a:ext uri="{FF2B5EF4-FFF2-40B4-BE49-F238E27FC236}">
                    <a16:creationId xmlns:a16="http://schemas.microsoft.com/office/drawing/2014/main" id="{3661780B-27B5-FBC2-89AD-2E991636D6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8574" y="4004904"/>
                <a:ext cx="41434" cy="45874"/>
              </a:xfrm>
              <a:custGeom>
                <a:avLst/>
                <a:gdLst/>
                <a:ahLst/>
                <a:cxnLst>
                  <a:cxn ang="0">
                    <a:pos x="10" y="4"/>
                  </a:cxn>
                  <a:cxn ang="0">
                    <a:pos x="10" y="4"/>
                  </a:cxn>
                  <a:cxn ang="0">
                    <a:pos x="2" y="15"/>
                  </a:cxn>
                  <a:cxn ang="0">
                    <a:pos x="2" y="15"/>
                  </a:cxn>
                  <a:cxn ang="0">
                    <a:pos x="0" y="18"/>
                  </a:cxn>
                  <a:cxn ang="0">
                    <a:pos x="0" y="22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3" y="30"/>
                  </a:cxn>
                  <a:cxn ang="0">
                    <a:pos x="6" y="30"/>
                  </a:cxn>
                  <a:cxn ang="0">
                    <a:pos x="10" y="28"/>
                  </a:cxn>
                  <a:cxn ang="0">
                    <a:pos x="10" y="28"/>
                  </a:cxn>
                  <a:cxn ang="0">
                    <a:pos x="12" y="27"/>
                  </a:cxn>
                  <a:cxn ang="0">
                    <a:pos x="15" y="28"/>
                  </a:cxn>
                  <a:cxn ang="0">
                    <a:pos x="19" y="31"/>
                  </a:cxn>
                  <a:cxn ang="0">
                    <a:pos x="19" y="31"/>
                  </a:cxn>
                  <a:cxn ang="0">
                    <a:pos x="25" y="22"/>
                  </a:cxn>
                  <a:cxn ang="0">
                    <a:pos x="25" y="22"/>
                  </a:cxn>
                  <a:cxn ang="0">
                    <a:pos x="16" y="20"/>
                  </a:cxn>
                  <a:cxn ang="0">
                    <a:pos x="16" y="20"/>
                  </a:cxn>
                  <a:cxn ang="0">
                    <a:pos x="16" y="17"/>
                  </a:cxn>
                  <a:cxn ang="0">
                    <a:pos x="19" y="15"/>
                  </a:cxn>
                  <a:cxn ang="0">
                    <a:pos x="26" y="11"/>
                  </a:cxn>
                  <a:cxn ang="0">
                    <a:pos x="26" y="11"/>
                  </a:cxn>
                  <a:cxn ang="0">
                    <a:pos x="28" y="10"/>
                  </a:cxn>
                  <a:cxn ang="0">
                    <a:pos x="28" y="8"/>
                  </a:cxn>
                  <a:cxn ang="0">
                    <a:pos x="26" y="5"/>
                  </a:cxn>
                  <a:cxn ang="0">
                    <a:pos x="25" y="3"/>
                  </a:cxn>
                  <a:cxn ang="0">
                    <a:pos x="25" y="3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5" y="4"/>
                  </a:cxn>
                  <a:cxn ang="0">
                    <a:pos x="10" y="4"/>
                  </a:cxn>
                  <a:cxn ang="0">
                    <a:pos x="10" y="4"/>
                  </a:cxn>
                </a:cxnLst>
                <a:rect l="0" t="0" r="r" b="b"/>
                <a:pathLst>
                  <a:path w="28" h="31">
                    <a:moveTo>
                      <a:pt x="10" y="4"/>
                    </a:moveTo>
                    <a:lnTo>
                      <a:pt x="10" y="4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0" y="18"/>
                    </a:lnTo>
                    <a:lnTo>
                      <a:pt x="0" y="22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3" y="30"/>
                    </a:lnTo>
                    <a:lnTo>
                      <a:pt x="6" y="30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2" y="27"/>
                    </a:lnTo>
                    <a:lnTo>
                      <a:pt x="15" y="28"/>
                    </a:lnTo>
                    <a:lnTo>
                      <a:pt x="19" y="31"/>
                    </a:lnTo>
                    <a:lnTo>
                      <a:pt x="19" y="31"/>
                    </a:lnTo>
                    <a:lnTo>
                      <a:pt x="25" y="22"/>
                    </a:lnTo>
                    <a:lnTo>
                      <a:pt x="25" y="22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17"/>
                    </a:lnTo>
                    <a:lnTo>
                      <a:pt x="19" y="15"/>
                    </a:lnTo>
                    <a:lnTo>
                      <a:pt x="26" y="11"/>
                    </a:lnTo>
                    <a:lnTo>
                      <a:pt x="26" y="11"/>
                    </a:lnTo>
                    <a:lnTo>
                      <a:pt x="28" y="10"/>
                    </a:lnTo>
                    <a:lnTo>
                      <a:pt x="28" y="8"/>
                    </a:lnTo>
                    <a:lnTo>
                      <a:pt x="26" y="5"/>
                    </a:lnTo>
                    <a:lnTo>
                      <a:pt x="25" y="3"/>
                    </a:lnTo>
                    <a:lnTo>
                      <a:pt x="25" y="3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5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27" name="Uganda">
                <a:extLst>
                  <a:ext uri="{FF2B5EF4-FFF2-40B4-BE49-F238E27FC236}">
                    <a16:creationId xmlns:a16="http://schemas.microsoft.com/office/drawing/2014/main" id="{D13D8E60-622B-4C88-EE28-3A16247023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7057" y="4210594"/>
                <a:ext cx="130221" cy="133181"/>
              </a:xfrm>
              <a:custGeom>
                <a:avLst/>
                <a:gdLst/>
                <a:ahLst/>
                <a:cxnLst>
                  <a:cxn ang="0">
                    <a:pos x="79" y="6"/>
                  </a:cxn>
                  <a:cxn ang="0">
                    <a:pos x="72" y="0"/>
                  </a:cxn>
                  <a:cxn ang="0">
                    <a:pos x="67" y="4"/>
                  </a:cxn>
                  <a:cxn ang="0">
                    <a:pos x="65" y="6"/>
                  </a:cxn>
                  <a:cxn ang="0">
                    <a:pos x="57" y="6"/>
                  </a:cxn>
                  <a:cxn ang="0">
                    <a:pos x="54" y="4"/>
                  </a:cxn>
                  <a:cxn ang="0">
                    <a:pos x="45" y="9"/>
                  </a:cxn>
                  <a:cxn ang="0">
                    <a:pos x="42" y="10"/>
                  </a:cxn>
                  <a:cxn ang="0">
                    <a:pos x="38" y="6"/>
                  </a:cxn>
                  <a:cxn ang="0">
                    <a:pos x="35" y="6"/>
                  </a:cxn>
                  <a:cxn ang="0">
                    <a:pos x="23" y="9"/>
                  </a:cxn>
                  <a:cxn ang="0">
                    <a:pos x="21" y="23"/>
                  </a:cxn>
                  <a:cxn ang="0">
                    <a:pos x="23" y="26"/>
                  </a:cxn>
                  <a:cxn ang="0">
                    <a:pos x="25" y="29"/>
                  </a:cxn>
                  <a:cxn ang="0">
                    <a:pos x="27" y="31"/>
                  </a:cxn>
                  <a:cxn ang="0">
                    <a:pos x="24" y="36"/>
                  </a:cxn>
                  <a:cxn ang="0">
                    <a:pos x="23" y="39"/>
                  </a:cxn>
                  <a:cxn ang="0">
                    <a:pos x="15" y="44"/>
                  </a:cxn>
                  <a:cxn ang="0">
                    <a:pos x="13" y="46"/>
                  </a:cxn>
                  <a:cxn ang="0">
                    <a:pos x="11" y="50"/>
                  </a:cxn>
                  <a:cxn ang="0">
                    <a:pos x="10" y="53"/>
                  </a:cxn>
                  <a:cxn ang="0">
                    <a:pos x="7" y="57"/>
                  </a:cxn>
                  <a:cxn ang="0">
                    <a:pos x="5" y="64"/>
                  </a:cxn>
                  <a:cxn ang="0">
                    <a:pos x="3" y="78"/>
                  </a:cxn>
                  <a:cxn ang="0">
                    <a:pos x="1" y="84"/>
                  </a:cxn>
                  <a:cxn ang="0">
                    <a:pos x="0" y="90"/>
                  </a:cxn>
                  <a:cxn ang="0">
                    <a:pos x="8" y="88"/>
                  </a:cxn>
                  <a:cxn ang="0">
                    <a:pos x="17" y="85"/>
                  </a:cxn>
                  <a:cxn ang="0">
                    <a:pos x="38" y="83"/>
                  </a:cxn>
                  <a:cxn ang="0">
                    <a:pos x="42" y="71"/>
                  </a:cxn>
                  <a:cxn ang="0">
                    <a:pos x="50" y="64"/>
                  </a:cxn>
                  <a:cxn ang="0">
                    <a:pos x="55" y="64"/>
                  </a:cxn>
                  <a:cxn ang="0">
                    <a:pos x="71" y="66"/>
                  </a:cxn>
                  <a:cxn ang="0">
                    <a:pos x="75" y="56"/>
                  </a:cxn>
                  <a:cxn ang="0">
                    <a:pos x="82" y="47"/>
                  </a:cxn>
                  <a:cxn ang="0">
                    <a:pos x="87" y="37"/>
                  </a:cxn>
                  <a:cxn ang="0">
                    <a:pos x="88" y="23"/>
                  </a:cxn>
                </a:cxnLst>
                <a:rect l="0" t="0" r="r" b="b"/>
                <a:pathLst>
                  <a:path w="88" h="90">
                    <a:moveTo>
                      <a:pt x="81" y="17"/>
                    </a:moveTo>
                    <a:lnTo>
                      <a:pt x="79" y="6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68" y="2"/>
                    </a:lnTo>
                    <a:lnTo>
                      <a:pt x="67" y="4"/>
                    </a:lnTo>
                    <a:lnTo>
                      <a:pt x="67" y="4"/>
                    </a:lnTo>
                    <a:lnTo>
                      <a:pt x="65" y="6"/>
                    </a:lnTo>
                    <a:lnTo>
                      <a:pt x="62" y="6"/>
                    </a:lnTo>
                    <a:lnTo>
                      <a:pt x="57" y="6"/>
                    </a:lnTo>
                    <a:lnTo>
                      <a:pt x="57" y="6"/>
                    </a:lnTo>
                    <a:lnTo>
                      <a:pt x="54" y="4"/>
                    </a:lnTo>
                    <a:lnTo>
                      <a:pt x="50" y="6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2" y="10"/>
                    </a:lnTo>
                    <a:lnTo>
                      <a:pt x="41" y="9"/>
                    </a:lnTo>
                    <a:lnTo>
                      <a:pt x="38" y="6"/>
                    </a:lnTo>
                    <a:lnTo>
                      <a:pt x="35" y="6"/>
                    </a:lnTo>
                    <a:lnTo>
                      <a:pt x="35" y="6"/>
                    </a:lnTo>
                    <a:lnTo>
                      <a:pt x="27" y="7"/>
                    </a:lnTo>
                    <a:lnTo>
                      <a:pt x="23" y="9"/>
                    </a:lnTo>
                    <a:lnTo>
                      <a:pt x="23" y="9"/>
                    </a:lnTo>
                    <a:lnTo>
                      <a:pt x="21" y="23"/>
                    </a:lnTo>
                    <a:lnTo>
                      <a:pt x="21" y="23"/>
                    </a:lnTo>
                    <a:lnTo>
                      <a:pt x="23" y="26"/>
                    </a:lnTo>
                    <a:lnTo>
                      <a:pt x="24" y="27"/>
                    </a:lnTo>
                    <a:lnTo>
                      <a:pt x="25" y="29"/>
                    </a:lnTo>
                    <a:lnTo>
                      <a:pt x="27" y="31"/>
                    </a:lnTo>
                    <a:lnTo>
                      <a:pt x="27" y="31"/>
                    </a:lnTo>
                    <a:lnTo>
                      <a:pt x="25" y="33"/>
                    </a:lnTo>
                    <a:lnTo>
                      <a:pt x="24" y="36"/>
                    </a:lnTo>
                    <a:lnTo>
                      <a:pt x="23" y="39"/>
                    </a:lnTo>
                    <a:lnTo>
                      <a:pt x="23" y="39"/>
                    </a:lnTo>
                    <a:lnTo>
                      <a:pt x="20" y="41"/>
                    </a:lnTo>
                    <a:lnTo>
                      <a:pt x="15" y="44"/>
                    </a:lnTo>
                    <a:lnTo>
                      <a:pt x="15" y="44"/>
                    </a:lnTo>
                    <a:lnTo>
                      <a:pt x="13" y="46"/>
                    </a:lnTo>
                    <a:lnTo>
                      <a:pt x="13" y="48"/>
                    </a:lnTo>
                    <a:lnTo>
                      <a:pt x="11" y="50"/>
                    </a:lnTo>
                    <a:lnTo>
                      <a:pt x="10" y="53"/>
                    </a:lnTo>
                    <a:lnTo>
                      <a:pt x="10" y="53"/>
                    </a:lnTo>
                    <a:lnTo>
                      <a:pt x="7" y="54"/>
                    </a:lnTo>
                    <a:lnTo>
                      <a:pt x="7" y="57"/>
                    </a:lnTo>
                    <a:lnTo>
                      <a:pt x="5" y="64"/>
                    </a:lnTo>
                    <a:lnTo>
                      <a:pt x="5" y="64"/>
                    </a:lnTo>
                    <a:lnTo>
                      <a:pt x="3" y="71"/>
                    </a:lnTo>
                    <a:lnTo>
                      <a:pt x="3" y="78"/>
                    </a:lnTo>
                    <a:lnTo>
                      <a:pt x="3" y="78"/>
                    </a:lnTo>
                    <a:lnTo>
                      <a:pt x="1" y="84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4" y="90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17" y="85"/>
                    </a:lnTo>
                    <a:lnTo>
                      <a:pt x="24" y="83"/>
                    </a:lnTo>
                    <a:lnTo>
                      <a:pt x="38" y="83"/>
                    </a:lnTo>
                    <a:lnTo>
                      <a:pt x="38" y="83"/>
                    </a:lnTo>
                    <a:lnTo>
                      <a:pt x="42" y="71"/>
                    </a:lnTo>
                    <a:lnTo>
                      <a:pt x="47" y="67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5" y="64"/>
                    </a:lnTo>
                    <a:lnTo>
                      <a:pt x="60" y="64"/>
                    </a:lnTo>
                    <a:lnTo>
                      <a:pt x="71" y="66"/>
                    </a:lnTo>
                    <a:lnTo>
                      <a:pt x="71" y="66"/>
                    </a:lnTo>
                    <a:lnTo>
                      <a:pt x="75" y="56"/>
                    </a:lnTo>
                    <a:lnTo>
                      <a:pt x="75" y="56"/>
                    </a:lnTo>
                    <a:lnTo>
                      <a:pt x="82" y="47"/>
                    </a:lnTo>
                    <a:lnTo>
                      <a:pt x="85" y="41"/>
                    </a:lnTo>
                    <a:lnTo>
                      <a:pt x="87" y="37"/>
                    </a:lnTo>
                    <a:lnTo>
                      <a:pt x="87" y="37"/>
                    </a:lnTo>
                    <a:lnTo>
                      <a:pt x="88" y="23"/>
                    </a:lnTo>
                    <a:lnTo>
                      <a:pt x="81" y="17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28" name="Burundi">
                <a:extLst>
                  <a:ext uri="{FF2B5EF4-FFF2-40B4-BE49-F238E27FC236}">
                    <a16:creationId xmlns:a16="http://schemas.microsoft.com/office/drawing/2014/main" id="{0F2CC216-0C0F-2017-D36E-0A0B1CC14B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8178" y="4365971"/>
                <a:ext cx="38474" cy="51792"/>
              </a:xfrm>
              <a:custGeom>
                <a:avLst/>
                <a:gdLst/>
                <a:ahLst/>
                <a:cxnLst>
                  <a:cxn ang="0">
                    <a:pos x="1" y="17"/>
                  </a:cxn>
                  <a:cxn ang="0">
                    <a:pos x="1" y="17"/>
                  </a:cxn>
                  <a:cxn ang="0">
                    <a:pos x="6" y="35"/>
                  </a:cxn>
                  <a:cxn ang="0">
                    <a:pos x="6" y="35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17" y="27"/>
                  </a:cxn>
                  <a:cxn ang="0">
                    <a:pos x="21" y="20"/>
                  </a:cxn>
                  <a:cxn ang="0">
                    <a:pos x="26" y="12"/>
                  </a:cxn>
                  <a:cxn ang="0">
                    <a:pos x="21" y="9"/>
                  </a:cxn>
                  <a:cxn ang="0">
                    <a:pos x="21" y="9"/>
                  </a:cxn>
                  <a:cxn ang="0">
                    <a:pos x="21" y="7"/>
                  </a:cxn>
                  <a:cxn ang="0">
                    <a:pos x="21" y="0"/>
                  </a:cxn>
                  <a:cxn ang="0">
                    <a:pos x="21" y="0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13" y="5"/>
                  </a:cxn>
                  <a:cxn ang="0">
                    <a:pos x="10" y="6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1" y="6"/>
                  </a:cxn>
                  <a:cxn ang="0">
                    <a:pos x="1" y="17"/>
                  </a:cxn>
                </a:cxnLst>
                <a:rect l="0" t="0" r="r" b="b"/>
                <a:pathLst>
                  <a:path w="26" h="35">
                    <a:moveTo>
                      <a:pt x="1" y="17"/>
                    </a:moveTo>
                    <a:lnTo>
                      <a:pt x="1" y="17"/>
                    </a:lnTo>
                    <a:lnTo>
                      <a:pt x="6" y="35"/>
                    </a:lnTo>
                    <a:lnTo>
                      <a:pt x="6" y="35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17" y="27"/>
                    </a:lnTo>
                    <a:lnTo>
                      <a:pt x="21" y="20"/>
                    </a:lnTo>
                    <a:lnTo>
                      <a:pt x="26" y="12"/>
                    </a:lnTo>
                    <a:lnTo>
                      <a:pt x="21" y="9"/>
                    </a:lnTo>
                    <a:lnTo>
                      <a:pt x="21" y="9"/>
                    </a:lnTo>
                    <a:lnTo>
                      <a:pt x="21" y="7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3" y="5"/>
                    </a:lnTo>
                    <a:lnTo>
                      <a:pt x="10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6"/>
                    </a:lnTo>
                    <a:lnTo>
                      <a:pt x="1" y="17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29" name="Malawi">
                <a:extLst>
                  <a:ext uri="{FF2B5EF4-FFF2-40B4-BE49-F238E27FC236}">
                    <a16:creationId xmlns:a16="http://schemas.microsoft.com/office/drawing/2014/main" id="{A2E6D7F5-CF4C-F036-8185-2383C92643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4006" y="4540586"/>
                <a:ext cx="73989" cy="182014"/>
              </a:xfrm>
              <a:custGeom>
                <a:avLst/>
                <a:gdLst/>
                <a:ahLst/>
                <a:cxnLst>
                  <a:cxn ang="0">
                    <a:pos x="49" y="82"/>
                  </a:cxn>
                  <a:cxn ang="0">
                    <a:pos x="39" y="72"/>
                  </a:cxn>
                  <a:cxn ang="0">
                    <a:pos x="37" y="74"/>
                  </a:cxn>
                  <a:cxn ang="0">
                    <a:pos x="33" y="74"/>
                  </a:cxn>
                  <a:cxn ang="0">
                    <a:pos x="23" y="59"/>
                  </a:cxn>
                  <a:cxn ang="0">
                    <a:pos x="20" y="50"/>
                  </a:cxn>
                  <a:cxn ang="0">
                    <a:pos x="23" y="35"/>
                  </a:cxn>
                  <a:cxn ang="0">
                    <a:pos x="23" y="25"/>
                  </a:cxn>
                  <a:cxn ang="0">
                    <a:pos x="22" y="22"/>
                  </a:cxn>
                  <a:cxn ang="0">
                    <a:pos x="17" y="3"/>
                  </a:cxn>
                  <a:cxn ang="0">
                    <a:pos x="19" y="0"/>
                  </a:cxn>
                  <a:cxn ang="0">
                    <a:pos x="8" y="0"/>
                  </a:cxn>
                  <a:cxn ang="0">
                    <a:pos x="15" y="16"/>
                  </a:cxn>
                  <a:cxn ang="0">
                    <a:pos x="13" y="18"/>
                  </a:cxn>
                  <a:cxn ang="0">
                    <a:pos x="10" y="18"/>
                  </a:cxn>
                  <a:cxn ang="0">
                    <a:pos x="9" y="19"/>
                  </a:cxn>
                  <a:cxn ang="0">
                    <a:pos x="8" y="33"/>
                  </a:cxn>
                  <a:cxn ang="0">
                    <a:pos x="9" y="46"/>
                  </a:cxn>
                  <a:cxn ang="0">
                    <a:pos x="10" y="46"/>
                  </a:cxn>
                  <a:cxn ang="0">
                    <a:pos x="8" y="47"/>
                  </a:cxn>
                  <a:cxn ang="0">
                    <a:pos x="2" y="50"/>
                  </a:cxn>
                  <a:cxn ang="0">
                    <a:pos x="2" y="59"/>
                  </a:cxn>
                  <a:cxn ang="0">
                    <a:pos x="0" y="66"/>
                  </a:cxn>
                  <a:cxn ang="0">
                    <a:pos x="0" y="67"/>
                  </a:cxn>
                  <a:cxn ang="0">
                    <a:pos x="3" y="73"/>
                  </a:cxn>
                  <a:cxn ang="0">
                    <a:pos x="3" y="73"/>
                  </a:cxn>
                  <a:cxn ang="0">
                    <a:pos x="12" y="79"/>
                  </a:cxn>
                  <a:cxn ang="0">
                    <a:pos x="15" y="80"/>
                  </a:cxn>
                  <a:cxn ang="0">
                    <a:pos x="25" y="79"/>
                  </a:cxn>
                  <a:cxn ang="0">
                    <a:pos x="27" y="82"/>
                  </a:cxn>
                  <a:cxn ang="0">
                    <a:pos x="26" y="87"/>
                  </a:cxn>
                  <a:cxn ang="0">
                    <a:pos x="23" y="99"/>
                  </a:cxn>
                  <a:cxn ang="0">
                    <a:pos x="23" y="103"/>
                  </a:cxn>
                  <a:cxn ang="0">
                    <a:pos x="36" y="120"/>
                  </a:cxn>
                  <a:cxn ang="0">
                    <a:pos x="39" y="123"/>
                  </a:cxn>
                  <a:cxn ang="0">
                    <a:pos x="37" y="116"/>
                  </a:cxn>
                  <a:cxn ang="0">
                    <a:pos x="40" y="107"/>
                  </a:cxn>
                  <a:cxn ang="0">
                    <a:pos x="43" y="106"/>
                  </a:cxn>
                  <a:cxn ang="0">
                    <a:pos x="47" y="103"/>
                  </a:cxn>
                  <a:cxn ang="0">
                    <a:pos x="49" y="97"/>
                  </a:cxn>
                  <a:cxn ang="0">
                    <a:pos x="50" y="87"/>
                  </a:cxn>
                  <a:cxn ang="0">
                    <a:pos x="49" y="82"/>
                  </a:cxn>
                </a:cxnLst>
                <a:rect l="0" t="0" r="r" b="b"/>
                <a:pathLst>
                  <a:path w="50" h="123">
                    <a:moveTo>
                      <a:pt x="49" y="82"/>
                    </a:moveTo>
                    <a:lnTo>
                      <a:pt x="49" y="82"/>
                    </a:lnTo>
                    <a:lnTo>
                      <a:pt x="39" y="72"/>
                    </a:lnTo>
                    <a:lnTo>
                      <a:pt x="39" y="72"/>
                    </a:lnTo>
                    <a:lnTo>
                      <a:pt x="37" y="74"/>
                    </a:lnTo>
                    <a:lnTo>
                      <a:pt x="37" y="74"/>
                    </a:lnTo>
                    <a:lnTo>
                      <a:pt x="36" y="76"/>
                    </a:lnTo>
                    <a:lnTo>
                      <a:pt x="33" y="74"/>
                    </a:lnTo>
                    <a:lnTo>
                      <a:pt x="27" y="69"/>
                    </a:lnTo>
                    <a:lnTo>
                      <a:pt x="23" y="59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42"/>
                    </a:lnTo>
                    <a:lnTo>
                      <a:pt x="23" y="35"/>
                    </a:lnTo>
                    <a:lnTo>
                      <a:pt x="23" y="29"/>
                    </a:lnTo>
                    <a:lnTo>
                      <a:pt x="23" y="25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7" y="9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9"/>
                    </a:lnTo>
                    <a:lnTo>
                      <a:pt x="15" y="16"/>
                    </a:lnTo>
                    <a:lnTo>
                      <a:pt x="15" y="16"/>
                    </a:lnTo>
                    <a:lnTo>
                      <a:pt x="13" y="18"/>
                    </a:lnTo>
                    <a:lnTo>
                      <a:pt x="12" y="18"/>
                    </a:lnTo>
                    <a:lnTo>
                      <a:pt x="10" y="18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8" y="25"/>
                    </a:lnTo>
                    <a:lnTo>
                      <a:pt x="8" y="33"/>
                    </a:lnTo>
                    <a:lnTo>
                      <a:pt x="8" y="40"/>
                    </a:lnTo>
                    <a:lnTo>
                      <a:pt x="9" y="46"/>
                    </a:lnTo>
                    <a:lnTo>
                      <a:pt x="9" y="46"/>
                    </a:lnTo>
                    <a:lnTo>
                      <a:pt x="10" y="46"/>
                    </a:lnTo>
                    <a:lnTo>
                      <a:pt x="9" y="47"/>
                    </a:lnTo>
                    <a:lnTo>
                      <a:pt x="8" y="47"/>
                    </a:lnTo>
                    <a:lnTo>
                      <a:pt x="5" y="49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59"/>
                    </a:lnTo>
                    <a:lnTo>
                      <a:pt x="2" y="63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7"/>
                    </a:lnTo>
                    <a:lnTo>
                      <a:pt x="3" y="73"/>
                    </a:lnTo>
                    <a:lnTo>
                      <a:pt x="3" y="73"/>
                    </a:lnTo>
                    <a:lnTo>
                      <a:pt x="3" y="73"/>
                    </a:lnTo>
                    <a:lnTo>
                      <a:pt x="3" y="73"/>
                    </a:lnTo>
                    <a:lnTo>
                      <a:pt x="8" y="76"/>
                    </a:lnTo>
                    <a:lnTo>
                      <a:pt x="12" y="79"/>
                    </a:lnTo>
                    <a:lnTo>
                      <a:pt x="15" y="80"/>
                    </a:lnTo>
                    <a:lnTo>
                      <a:pt x="15" y="80"/>
                    </a:lnTo>
                    <a:lnTo>
                      <a:pt x="20" y="79"/>
                    </a:lnTo>
                    <a:lnTo>
                      <a:pt x="25" y="79"/>
                    </a:lnTo>
                    <a:lnTo>
                      <a:pt x="26" y="80"/>
                    </a:lnTo>
                    <a:lnTo>
                      <a:pt x="27" y="82"/>
                    </a:lnTo>
                    <a:lnTo>
                      <a:pt x="27" y="82"/>
                    </a:lnTo>
                    <a:lnTo>
                      <a:pt x="26" y="87"/>
                    </a:lnTo>
                    <a:lnTo>
                      <a:pt x="25" y="94"/>
                    </a:lnTo>
                    <a:lnTo>
                      <a:pt x="23" y="99"/>
                    </a:lnTo>
                    <a:lnTo>
                      <a:pt x="23" y="103"/>
                    </a:lnTo>
                    <a:lnTo>
                      <a:pt x="23" y="103"/>
                    </a:lnTo>
                    <a:lnTo>
                      <a:pt x="30" y="114"/>
                    </a:lnTo>
                    <a:lnTo>
                      <a:pt x="36" y="120"/>
                    </a:lnTo>
                    <a:lnTo>
                      <a:pt x="37" y="123"/>
                    </a:lnTo>
                    <a:lnTo>
                      <a:pt x="39" y="123"/>
                    </a:lnTo>
                    <a:lnTo>
                      <a:pt x="39" y="123"/>
                    </a:lnTo>
                    <a:lnTo>
                      <a:pt x="37" y="116"/>
                    </a:lnTo>
                    <a:lnTo>
                      <a:pt x="37" y="111"/>
                    </a:lnTo>
                    <a:lnTo>
                      <a:pt x="40" y="107"/>
                    </a:lnTo>
                    <a:lnTo>
                      <a:pt x="40" y="107"/>
                    </a:lnTo>
                    <a:lnTo>
                      <a:pt x="43" y="106"/>
                    </a:lnTo>
                    <a:lnTo>
                      <a:pt x="46" y="106"/>
                    </a:lnTo>
                    <a:lnTo>
                      <a:pt x="47" y="103"/>
                    </a:lnTo>
                    <a:lnTo>
                      <a:pt x="49" y="97"/>
                    </a:lnTo>
                    <a:lnTo>
                      <a:pt x="49" y="97"/>
                    </a:lnTo>
                    <a:lnTo>
                      <a:pt x="49" y="90"/>
                    </a:lnTo>
                    <a:lnTo>
                      <a:pt x="50" y="87"/>
                    </a:lnTo>
                    <a:lnTo>
                      <a:pt x="50" y="84"/>
                    </a:lnTo>
                    <a:lnTo>
                      <a:pt x="49" y="82"/>
                    </a:lnTo>
                    <a:lnTo>
                      <a:pt x="49" y="82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30" name="Ethiopia">
                <a:extLst>
                  <a:ext uri="{FF2B5EF4-FFF2-40B4-BE49-F238E27FC236}">
                    <a16:creationId xmlns:a16="http://schemas.microsoft.com/office/drawing/2014/main" id="{AD811BB9-53C2-DF0D-9EAB-3654E9387D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1404" y="3951632"/>
                <a:ext cx="350709" cy="275240"/>
              </a:xfrm>
              <a:custGeom>
                <a:avLst/>
                <a:gdLst/>
                <a:ahLst/>
                <a:cxnLst>
                  <a:cxn ang="0">
                    <a:pos x="17" y="127"/>
                  </a:cxn>
                  <a:cxn ang="0">
                    <a:pos x="28" y="141"/>
                  </a:cxn>
                  <a:cxn ang="0">
                    <a:pos x="35" y="150"/>
                  </a:cxn>
                  <a:cxn ang="0">
                    <a:pos x="44" y="152"/>
                  </a:cxn>
                  <a:cxn ang="0">
                    <a:pos x="44" y="167"/>
                  </a:cxn>
                  <a:cxn ang="0">
                    <a:pos x="48" y="169"/>
                  </a:cxn>
                  <a:cxn ang="0">
                    <a:pos x="65" y="172"/>
                  </a:cxn>
                  <a:cxn ang="0">
                    <a:pos x="79" y="182"/>
                  </a:cxn>
                  <a:cxn ang="0">
                    <a:pos x="94" y="184"/>
                  </a:cxn>
                  <a:cxn ang="0">
                    <a:pos x="104" y="185"/>
                  </a:cxn>
                  <a:cxn ang="0">
                    <a:pos x="112" y="178"/>
                  </a:cxn>
                  <a:cxn ang="0">
                    <a:pos x="125" y="174"/>
                  </a:cxn>
                  <a:cxn ang="0">
                    <a:pos x="129" y="178"/>
                  </a:cxn>
                  <a:cxn ang="0">
                    <a:pos x="135" y="178"/>
                  </a:cxn>
                  <a:cxn ang="0">
                    <a:pos x="155" y="174"/>
                  </a:cxn>
                  <a:cxn ang="0">
                    <a:pos x="163" y="168"/>
                  </a:cxn>
                  <a:cxn ang="0">
                    <a:pos x="176" y="162"/>
                  </a:cxn>
                  <a:cxn ang="0">
                    <a:pos x="190" y="162"/>
                  </a:cxn>
                  <a:cxn ang="0">
                    <a:pos x="237" y="117"/>
                  </a:cxn>
                  <a:cxn ang="0">
                    <a:pos x="236" y="114"/>
                  </a:cxn>
                  <a:cxn ang="0">
                    <a:pos x="223" y="113"/>
                  </a:cxn>
                  <a:cxn ang="0">
                    <a:pos x="190" y="101"/>
                  </a:cxn>
                  <a:cxn ang="0">
                    <a:pos x="175" y="95"/>
                  </a:cxn>
                  <a:cxn ang="0">
                    <a:pos x="166" y="87"/>
                  </a:cxn>
                  <a:cxn ang="0">
                    <a:pos x="156" y="73"/>
                  </a:cxn>
                  <a:cxn ang="0">
                    <a:pos x="159" y="67"/>
                  </a:cxn>
                  <a:cxn ang="0">
                    <a:pos x="152" y="63"/>
                  </a:cxn>
                  <a:cxn ang="0">
                    <a:pos x="146" y="66"/>
                  </a:cxn>
                  <a:cxn ang="0">
                    <a:pos x="142" y="64"/>
                  </a:cxn>
                  <a:cxn ang="0">
                    <a:pos x="142" y="51"/>
                  </a:cxn>
                  <a:cxn ang="0">
                    <a:pos x="150" y="40"/>
                  </a:cxn>
                  <a:cxn ang="0">
                    <a:pos x="123" y="12"/>
                  </a:cxn>
                  <a:cxn ang="0">
                    <a:pos x="108" y="7"/>
                  </a:cxn>
                  <a:cxn ang="0">
                    <a:pos x="98" y="6"/>
                  </a:cxn>
                  <a:cxn ang="0">
                    <a:pos x="91" y="7"/>
                  </a:cxn>
                  <a:cxn ang="0">
                    <a:pos x="84" y="3"/>
                  </a:cxn>
                  <a:cxn ang="0">
                    <a:pos x="78" y="2"/>
                  </a:cxn>
                  <a:cxn ang="0">
                    <a:pos x="74" y="10"/>
                  </a:cxn>
                  <a:cxn ang="0">
                    <a:pos x="71" y="10"/>
                  </a:cxn>
                  <a:cxn ang="0">
                    <a:pos x="58" y="9"/>
                  </a:cxn>
                  <a:cxn ang="0">
                    <a:pos x="57" y="14"/>
                  </a:cxn>
                  <a:cxn ang="0">
                    <a:pos x="51" y="27"/>
                  </a:cxn>
                  <a:cxn ang="0">
                    <a:pos x="49" y="33"/>
                  </a:cxn>
                  <a:cxn ang="0">
                    <a:pos x="45" y="36"/>
                  </a:cxn>
                  <a:cxn ang="0">
                    <a:pos x="35" y="47"/>
                  </a:cxn>
                  <a:cxn ang="0">
                    <a:pos x="32" y="56"/>
                  </a:cxn>
                  <a:cxn ang="0">
                    <a:pos x="30" y="63"/>
                  </a:cxn>
                  <a:cxn ang="0">
                    <a:pos x="22" y="70"/>
                  </a:cxn>
                  <a:cxn ang="0">
                    <a:pos x="24" y="73"/>
                  </a:cxn>
                  <a:cxn ang="0">
                    <a:pos x="18" y="85"/>
                  </a:cxn>
                  <a:cxn ang="0">
                    <a:pos x="15" y="103"/>
                  </a:cxn>
                  <a:cxn ang="0">
                    <a:pos x="5" y="104"/>
                  </a:cxn>
                  <a:cxn ang="0">
                    <a:pos x="3" y="105"/>
                  </a:cxn>
                  <a:cxn ang="0">
                    <a:pos x="0" y="113"/>
                  </a:cxn>
                  <a:cxn ang="0">
                    <a:pos x="3" y="117"/>
                  </a:cxn>
                  <a:cxn ang="0">
                    <a:pos x="15" y="122"/>
                  </a:cxn>
                </a:cxnLst>
                <a:rect l="0" t="0" r="r" b="b"/>
                <a:pathLst>
                  <a:path w="237" h="186">
                    <a:moveTo>
                      <a:pt x="15" y="122"/>
                    </a:moveTo>
                    <a:lnTo>
                      <a:pt x="15" y="122"/>
                    </a:lnTo>
                    <a:lnTo>
                      <a:pt x="17" y="127"/>
                    </a:lnTo>
                    <a:lnTo>
                      <a:pt x="21" y="131"/>
                    </a:lnTo>
                    <a:lnTo>
                      <a:pt x="25" y="135"/>
                    </a:lnTo>
                    <a:lnTo>
                      <a:pt x="28" y="141"/>
                    </a:lnTo>
                    <a:lnTo>
                      <a:pt x="28" y="141"/>
                    </a:lnTo>
                    <a:lnTo>
                      <a:pt x="32" y="147"/>
                    </a:lnTo>
                    <a:lnTo>
                      <a:pt x="35" y="150"/>
                    </a:lnTo>
                    <a:lnTo>
                      <a:pt x="39" y="152"/>
                    </a:lnTo>
                    <a:lnTo>
                      <a:pt x="44" y="152"/>
                    </a:lnTo>
                    <a:lnTo>
                      <a:pt x="44" y="152"/>
                    </a:lnTo>
                    <a:lnTo>
                      <a:pt x="45" y="154"/>
                    </a:lnTo>
                    <a:lnTo>
                      <a:pt x="45" y="157"/>
                    </a:lnTo>
                    <a:lnTo>
                      <a:pt x="44" y="167"/>
                    </a:lnTo>
                    <a:lnTo>
                      <a:pt x="44" y="167"/>
                    </a:lnTo>
                    <a:lnTo>
                      <a:pt x="48" y="169"/>
                    </a:lnTo>
                    <a:lnTo>
                      <a:pt x="48" y="169"/>
                    </a:lnTo>
                    <a:lnTo>
                      <a:pt x="57" y="169"/>
                    </a:lnTo>
                    <a:lnTo>
                      <a:pt x="61" y="171"/>
                    </a:lnTo>
                    <a:lnTo>
                      <a:pt x="65" y="172"/>
                    </a:lnTo>
                    <a:lnTo>
                      <a:pt x="65" y="172"/>
                    </a:lnTo>
                    <a:lnTo>
                      <a:pt x="74" y="179"/>
                    </a:lnTo>
                    <a:lnTo>
                      <a:pt x="79" y="182"/>
                    </a:lnTo>
                    <a:lnTo>
                      <a:pt x="84" y="182"/>
                    </a:lnTo>
                    <a:lnTo>
                      <a:pt x="84" y="182"/>
                    </a:lnTo>
                    <a:lnTo>
                      <a:pt x="94" y="184"/>
                    </a:lnTo>
                    <a:lnTo>
                      <a:pt x="102" y="186"/>
                    </a:lnTo>
                    <a:lnTo>
                      <a:pt x="102" y="186"/>
                    </a:lnTo>
                    <a:lnTo>
                      <a:pt x="104" y="185"/>
                    </a:lnTo>
                    <a:lnTo>
                      <a:pt x="106" y="184"/>
                    </a:lnTo>
                    <a:lnTo>
                      <a:pt x="109" y="181"/>
                    </a:lnTo>
                    <a:lnTo>
                      <a:pt x="112" y="178"/>
                    </a:lnTo>
                    <a:lnTo>
                      <a:pt x="112" y="178"/>
                    </a:lnTo>
                    <a:lnTo>
                      <a:pt x="121" y="174"/>
                    </a:lnTo>
                    <a:lnTo>
                      <a:pt x="125" y="174"/>
                    </a:lnTo>
                    <a:lnTo>
                      <a:pt x="126" y="175"/>
                    </a:lnTo>
                    <a:lnTo>
                      <a:pt x="126" y="175"/>
                    </a:lnTo>
                    <a:lnTo>
                      <a:pt x="129" y="178"/>
                    </a:lnTo>
                    <a:lnTo>
                      <a:pt x="132" y="178"/>
                    </a:lnTo>
                    <a:lnTo>
                      <a:pt x="135" y="178"/>
                    </a:lnTo>
                    <a:lnTo>
                      <a:pt x="135" y="178"/>
                    </a:lnTo>
                    <a:lnTo>
                      <a:pt x="142" y="175"/>
                    </a:lnTo>
                    <a:lnTo>
                      <a:pt x="142" y="175"/>
                    </a:lnTo>
                    <a:lnTo>
                      <a:pt x="155" y="174"/>
                    </a:lnTo>
                    <a:lnTo>
                      <a:pt x="155" y="174"/>
                    </a:lnTo>
                    <a:lnTo>
                      <a:pt x="158" y="172"/>
                    </a:lnTo>
                    <a:lnTo>
                      <a:pt x="163" y="168"/>
                    </a:lnTo>
                    <a:lnTo>
                      <a:pt x="169" y="164"/>
                    </a:lnTo>
                    <a:lnTo>
                      <a:pt x="172" y="164"/>
                    </a:lnTo>
                    <a:lnTo>
                      <a:pt x="176" y="162"/>
                    </a:lnTo>
                    <a:lnTo>
                      <a:pt x="176" y="162"/>
                    </a:lnTo>
                    <a:lnTo>
                      <a:pt x="187" y="162"/>
                    </a:lnTo>
                    <a:lnTo>
                      <a:pt x="190" y="162"/>
                    </a:lnTo>
                    <a:lnTo>
                      <a:pt x="195" y="159"/>
                    </a:lnTo>
                    <a:lnTo>
                      <a:pt x="195" y="159"/>
                    </a:lnTo>
                    <a:lnTo>
                      <a:pt x="237" y="117"/>
                    </a:lnTo>
                    <a:lnTo>
                      <a:pt x="237" y="117"/>
                    </a:lnTo>
                    <a:lnTo>
                      <a:pt x="237" y="115"/>
                    </a:lnTo>
                    <a:lnTo>
                      <a:pt x="236" y="114"/>
                    </a:lnTo>
                    <a:lnTo>
                      <a:pt x="232" y="113"/>
                    </a:lnTo>
                    <a:lnTo>
                      <a:pt x="232" y="113"/>
                    </a:lnTo>
                    <a:lnTo>
                      <a:pt x="223" y="113"/>
                    </a:lnTo>
                    <a:lnTo>
                      <a:pt x="209" y="108"/>
                    </a:lnTo>
                    <a:lnTo>
                      <a:pt x="209" y="108"/>
                    </a:lnTo>
                    <a:lnTo>
                      <a:pt x="190" y="101"/>
                    </a:lnTo>
                    <a:lnTo>
                      <a:pt x="176" y="97"/>
                    </a:lnTo>
                    <a:lnTo>
                      <a:pt x="176" y="97"/>
                    </a:lnTo>
                    <a:lnTo>
                      <a:pt x="175" y="95"/>
                    </a:lnTo>
                    <a:lnTo>
                      <a:pt x="172" y="93"/>
                    </a:lnTo>
                    <a:lnTo>
                      <a:pt x="166" y="87"/>
                    </a:lnTo>
                    <a:lnTo>
                      <a:pt x="166" y="87"/>
                    </a:lnTo>
                    <a:lnTo>
                      <a:pt x="163" y="84"/>
                    </a:lnTo>
                    <a:lnTo>
                      <a:pt x="160" y="81"/>
                    </a:lnTo>
                    <a:lnTo>
                      <a:pt x="156" y="73"/>
                    </a:lnTo>
                    <a:lnTo>
                      <a:pt x="156" y="73"/>
                    </a:lnTo>
                    <a:lnTo>
                      <a:pt x="156" y="70"/>
                    </a:lnTo>
                    <a:lnTo>
                      <a:pt x="159" y="67"/>
                    </a:lnTo>
                    <a:lnTo>
                      <a:pt x="159" y="67"/>
                    </a:lnTo>
                    <a:lnTo>
                      <a:pt x="155" y="64"/>
                    </a:lnTo>
                    <a:lnTo>
                      <a:pt x="152" y="63"/>
                    </a:lnTo>
                    <a:lnTo>
                      <a:pt x="150" y="64"/>
                    </a:lnTo>
                    <a:lnTo>
                      <a:pt x="150" y="64"/>
                    </a:lnTo>
                    <a:lnTo>
                      <a:pt x="146" y="66"/>
                    </a:lnTo>
                    <a:lnTo>
                      <a:pt x="143" y="66"/>
                    </a:lnTo>
                    <a:lnTo>
                      <a:pt x="142" y="64"/>
                    </a:lnTo>
                    <a:lnTo>
                      <a:pt x="142" y="64"/>
                    </a:lnTo>
                    <a:lnTo>
                      <a:pt x="140" y="58"/>
                    </a:lnTo>
                    <a:lnTo>
                      <a:pt x="140" y="54"/>
                    </a:lnTo>
                    <a:lnTo>
                      <a:pt x="142" y="51"/>
                    </a:lnTo>
                    <a:lnTo>
                      <a:pt x="142" y="51"/>
                    </a:lnTo>
                    <a:lnTo>
                      <a:pt x="148" y="44"/>
                    </a:lnTo>
                    <a:lnTo>
                      <a:pt x="150" y="40"/>
                    </a:lnTo>
                    <a:lnTo>
                      <a:pt x="150" y="40"/>
                    </a:lnTo>
                    <a:lnTo>
                      <a:pt x="135" y="23"/>
                    </a:lnTo>
                    <a:lnTo>
                      <a:pt x="123" y="12"/>
                    </a:lnTo>
                    <a:lnTo>
                      <a:pt x="116" y="6"/>
                    </a:lnTo>
                    <a:lnTo>
                      <a:pt x="116" y="6"/>
                    </a:lnTo>
                    <a:lnTo>
                      <a:pt x="108" y="7"/>
                    </a:lnTo>
                    <a:lnTo>
                      <a:pt x="101" y="6"/>
                    </a:lnTo>
                    <a:lnTo>
                      <a:pt x="101" y="6"/>
                    </a:lnTo>
                    <a:lnTo>
                      <a:pt x="98" y="6"/>
                    </a:lnTo>
                    <a:lnTo>
                      <a:pt x="94" y="6"/>
                    </a:lnTo>
                    <a:lnTo>
                      <a:pt x="94" y="6"/>
                    </a:lnTo>
                    <a:lnTo>
                      <a:pt x="91" y="7"/>
                    </a:lnTo>
                    <a:lnTo>
                      <a:pt x="88" y="6"/>
                    </a:lnTo>
                    <a:lnTo>
                      <a:pt x="84" y="3"/>
                    </a:lnTo>
                    <a:lnTo>
                      <a:pt x="84" y="3"/>
                    </a:lnTo>
                    <a:lnTo>
                      <a:pt x="81" y="2"/>
                    </a:lnTo>
                    <a:lnTo>
                      <a:pt x="79" y="0"/>
                    </a:lnTo>
                    <a:lnTo>
                      <a:pt x="78" y="2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4" y="10"/>
                    </a:lnTo>
                    <a:lnTo>
                      <a:pt x="72" y="10"/>
                    </a:lnTo>
                    <a:lnTo>
                      <a:pt x="71" y="10"/>
                    </a:lnTo>
                    <a:lnTo>
                      <a:pt x="71" y="10"/>
                    </a:lnTo>
                    <a:lnTo>
                      <a:pt x="67" y="9"/>
                    </a:lnTo>
                    <a:lnTo>
                      <a:pt x="58" y="9"/>
                    </a:lnTo>
                    <a:lnTo>
                      <a:pt x="58" y="9"/>
                    </a:lnTo>
                    <a:lnTo>
                      <a:pt x="58" y="9"/>
                    </a:lnTo>
                    <a:lnTo>
                      <a:pt x="58" y="9"/>
                    </a:lnTo>
                    <a:lnTo>
                      <a:pt x="57" y="14"/>
                    </a:lnTo>
                    <a:lnTo>
                      <a:pt x="55" y="20"/>
                    </a:lnTo>
                    <a:lnTo>
                      <a:pt x="52" y="24"/>
                    </a:lnTo>
                    <a:lnTo>
                      <a:pt x="51" y="27"/>
                    </a:lnTo>
                    <a:lnTo>
                      <a:pt x="51" y="27"/>
                    </a:lnTo>
                    <a:lnTo>
                      <a:pt x="51" y="30"/>
                    </a:lnTo>
                    <a:lnTo>
                      <a:pt x="49" y="33"/>
                    </a:lnTo>
                    <a:lnTo>
                      <a:pt x="47" y="36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2" y="37"/>
                    </a:lnTo>
                    <a:lnTo>
                      <a:pt x="39" y="40"/>
                    </a:lnTo>
                    <a:lnTo>
                      <a:pt x="35" y="47"/>
                    </a:lnTo>
                    <a:lnTo>
                      <a:pt x="35" y="47"/>
                    </a:lnTo>
                    <a:lnTo>
                      <a:pt x="32" y="51"/>
                    </a:lnTo>
                    <a:lnTo>
                      <a:pt x="32" y="56"/>
                    </a:lnTo>
                    <a:lnTo>
                      <a:pt x="31" y="60"/>
                    </a:lnTo>
                    <a:lnTo>
                      <a:pt x="30" y="63"/>
                    </a:lnTo>
                    <a:lnTo>
                      <a:pt x="30" y="63"/>
                    </a:lnTo>
                    <a:lnTo>
                      <a:pt x="24" y="67"/>
                    </a:lnTo>
                    <a:lnTo>
                      <a:pt x="22" y="68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4" y="71"/>
                    </a:lnTo>
                    <a:lnTo>
                      <a:pt x="24" y="73"/>
                    </a:lnTo>
                    <a:lnTo>
                      <a:pt x="21" y="77"/>
                    </a:lnTo>
                    <a:lnTo>
                      <a:pt x="20" y="81"/>
                    </a:lnTo>
                    <a:lnTo>
                      <a:pt x="18" y="85"/>
                    </a:lnTo>
                    <a:lnTo>
                      <a:pt x="18" y="85"/>
                    </a:lnTo>
                    <a:lnTo>
                      <a:pt x="17" y="95"/>
                    </a:lnTo>
                    <a:lnTo>
                      <a:pt x="15" y="103"/>
                    </a:lnTo>
                    <a:lnTo>
                      <a:pt x="15" y="103"/>
                    </a:lnTo>
                    <a:lnTo>
                      <a:pt x="10" y="103"/>
                    </a:lnTo>
                    <a:lnTo>
                      <a:pt x="5" y="104"/>
                    </a:lnTo>
                    <a:lnTo>
                      <a:pt x="4" y="104"/>
                    </a:lnTo>
                    <a:lnTo>
                      <a:pt x="3" y="105"/>
                    </a:lnTo>
                    <a:lnTo>
                      <a:pt x="3" y="105"/>
                    </a:lnTo>
                    <a:lnTo>
                      <a:pt x="3" y="110"/>
                    </a:lnTo>
                    <a:lnTo>
                      <a:pt x="1" y="111"/>
                    </a:lnTo>
                    <a:lnTo>
                      <a:pt x="0" y="113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3" y="117"/>
                    </a:lnTo>
                    <a:lnTo>
                      <a:pt x="7" y="118"/>
                    </a:lnTo>
                    <a:lnTo>
                      <a:pt x="12" y="120"/>
                    </a:lnTo>
                    <a:lnTo>
                      <a:pt x="15" y="122"/>
                    </a:lnTo>
                    <a:lnTo>
                      <a:pt x="15" y="122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31" name="Botswana">
                <a:extLst>
                  <a:ext uri="{FF2B5EF4-FFF2-40B4-BE49-F238E27FC236}">
                    <a16:creationId xmlns:a16="http://schemas.microsoft.com/office/drawing/2014/main" id="{FD073884-9806-4AAC-184F-55A7F78AEA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5089" y="4741837"/>
                <a:ext cx="211609" cy="226408"/>
              </a:xfrm>
              <a:custGeom>
                <a:avLst/>
                <a:gdLst/>
                <a:ahLst/>
                <a:cxnLst>
                  <a:cxn ang="0">
                    <a:pos x="131" y="64"/>
                  </a:cxn>
                  <a:cxn ang="0">
                    <a:pos x="124" y="59"/>
                  </a:cxn>
                  <a:cxn ang="0">
                    <a:pos x="121" y="52"/>
                  </a:cxn>
                  <a:cxn ang="0">
                    <a:pos x="120" y="48"/>
                  </a:cxn>
                  <a:cxn ang="0">
                    <a:pos x="116" y="42"/>
                  </a:cxn>
                  <a:cxn ang="0">
                    <a:pos x="114" y="39"/>
                  </a:cxn>
                  <a:cxn ang="0">
                    <a:pos x="109" y="34"/>
                  </a:cxn>
                  <a:cxn ang="0">
                    <a:pos x="99" y="28"/>
                  </a:cxn>
                  <a:cxn ang="0">
                    <a:pos x="94" y="25"/>
                  </a:cxn>
                  <a:cxn ang="0">
                    <a:pos x="91" y="12"/>
                  </a:cxn>
                  <a:cxn ang="0">
                    <a:pos x="90" y="10"/>
                  </a:cxn>
                  <a:cxn ang="0">
                    <a:pos x="80" y="0"/>
                  </a:cxn>
                  <a:cxn ang="0">
                    <a:pos x="70" y="2"/>
                  </a:cxn>
                  <a:cxn ang="0">
                    <a:pos x="66" y="2"/>
                  </a:cxn>
                  <a:cxn ang="0">
                    <a:pos x="59" y="10"/>
                  </a:cxn>
                  <a:cxn ang="0">
                    <a:pos x="56" y="10"/>
                  </a:cxn>
                  <a:cxn ang="0">
                    <a:pos x="50" y="4"/>
                  </a:cxn>
                  <a:cxn ang="0">
                    <a:pos x="46" y="4"/>
                  </a:cxn>
                  <a:cxn ang="0">
                    <a:pos x="32" y="8"/>
                  </a:cxn>
                  <a:cxn ang="0">
                    <a:pos x="16" y="11"/>
                  </a:cxn>
                  <a:cxn ang="0">
                    <a:pos x="16" y="65"/>
                  </a:cxn>
                  <a:cxn ang="0">
                    <a:pos x="16" y="68"/>
                  </a:cxn>
                  <a:cxn ang="0">
                    <a:pos x="9" y="69"/>
                  </a:cxn>
                  <a:cxn ang="0">
                    <a:pos x="0" y="71"/>
                  </a:cxn>
                  <a:cxn ang="0">
                    <a:pos x="0" y="72"/>
                  </a:cxn>
                  <a:cxn ang="0">
                    <a:pos x="0" y="119"/>
                  </a:cxn>
                  <a:cxn ang="0">
                    <a:pos x="8" y="123"/>
                  </a:cxn>
                  <a:cxn ang="0">
                    <a:pos x="12" y="133"/>
                  </a:cxn>
                  <a:cxn ang="0">
                    <a:pos x="13" y="142"/>
                  </a:cxn>
                  <a:cxn ang="0">
                    <a:pos x="12" y="143"/>
                  </a:cxn>
                  <a:cxn ang="0">
                    <a:pos x="10" y="145"/>
                  </a:cxn>
                  <a:cxn ang="0">
                    <a:pos x="10" y="146"/>
                  </a:cxn>
                  <a:cxn ang="0">
                    <a:pos x="10" y="152"/>
                  </a:cxn>
                  <a:cxn ang="0">
                    <a:pos x="13" y="153"/>
                  </a:cxn>
                  <a:cxn ang="0">
                    <a:pos x="26" y="153"/>
                  </a:cxn>
                  <a:cxn ang="0">
                    <a:pos x="29" y="152"/>
                  </a:cxn>
                  <a:cxn ang="0">
                    <a:pos x="42" y="139"/>
                  </a:cxn>
                  <a:cxn ang="0">
                    <a:pos x="43" y="135"/>
                  </a:cxn>
                  <a:cxn ang="0">
                    <a:pos x="46" y="128"/>
                  </a:cxn>
                  <a:cxn ang="0">
                    <a:pos x="49" y="125"/>
                  </a:cxn>
                  <a:cxn ang="0">
                    <a:pos x="54" y="126"/>
                  </a:cxn>
                  <a:cxn ang="0">
                    <a:pos x="63" y="132"/>
                  </a:cxn>
                  <a:cxn ang="0">
                    <a:pos x="73" y="133"/>
                  </a:cxn>
                  <a:cxn ang="0">
                    <a:pos x="80" y="132"/>
                  </a:cxn>
                  <a:cxn ang="0">
                    <a:pos x="87" y="129"/>
                  </a:cxn>
                  <a:cxn ang="0">
                    <a:pos x="89" y="126"/>
                  </a:cxn>
                  <a:cxn ang="0">
                    <a:pos x="91" y="115"/>
                  </a:cxn>
                  <a:cxn ang="0">
                    <a:pos x="94" y="113"/>
                  </a:cxn>
                  <a:cxn ang="0">
                    <a:pos x="104" y="111"/>
                  </a:cxn>
                  <a:cxn ang="0">
                    <a:pos x="109" y="103"/>
                  </a:cxn>
                  <a:cxn ang="0">
                    <a:pos x="109" y="101"/>
                  </a:cxn>
                  <a:cxn ang="0">
                    <a:pos x="113" y="93"/>
                  </a:cxn>
                  <a:cxn ang="0">
                    <a:pos x="116" y="93"/>
                  </a:cxn>
                  <a:cxn ang="0">
                    <a:pos x="123" y="91"/>
                  </a:cxn>
                  <a:cxn ang="0">
                    <a:pos x="128" y="84"/>
                  </a:cxn>
                  <a:cxn ang="0">
                    <a:pos x="130" y="81"/>
                  </a:cxn>
                  <a:cxn ang="0">
                    <a:pos x="136" y="79"/>
                  </a:cxn>
                  <a:cxn ang="0">
                    <a:pos x="138" y="78"/>
                  </a:cxn>
                  <a:cxn ang="0">
                    <a:pos x="143" y="69"/>
                  </a:cxn>
                  <a:cxn ang="0">
                    <a:pos x="143" y="69"/>
                  </a:cxn>
                  <a:cxn ang="0">
                    <a:pos x="141" y="65"/>
                  </a:cxn>
                  <a:cxn ang="0">
                    <a:pos x="131" y="64"/>
                  </a:cxn>
                </a:cxnLst>
                <a:rect l="0" t="0" r="r" b="b"/>
                <a:pathLst>
                  <a:path w="143" h="153">
                    <a:moveTo>
                      <a:pt x="131" y="64"/>
                    </a:moveTo>
                    <a:lnTo>
                      <a:pt x="131" y="64"/>
                    </a:lnTo>
                    <a:lnTo>
                      <a:pt x="128" y="62"/>
                    </a:lnTo>
                    <a:lnTo>
                      <a:pt x="124" y="59"/>
                    </a:lnTo>
                    <a:lnTo>
                      <a:pt x="121" y="55"/>
                    </a:lnTo>
                    <a:lnTo>
                      <a:pt x="121" y="52"/>
                    </a:lnTo>
                    <a:lnTo>
                      <a:pt x="121" y="52"/>
                    </a:lnTo>
                    <a:lnTo>
                      <a:pt x="120" y="48"/>
                    </a:lnTo>
                    <a:lnTo>
                      <a:pt x="117" y="45"/>
                    </a:lnTo>
                    <a:lnTo>
                      <a:pt x="116" y="42"/>
                    </a:lnTo>
                    <a:lnTo>
                      <a:pt x="114" y="39"/>
                    </a:lnTo>
                    <a:lnTo>
                      <a:pt x="114" y="39"/>
                    </a:lnTo>
                    <a:lnTo>
                      <a:pt x="113" y="37"/>
                    </a:lnTo>
                    <a:lnTo>
                      <a:pt x="109" y="34"/>
                    </a:lnTo>
                    <a:lnTo>
                      <a:pt x="99" y="28"/>
                    </a:lnTo>
                    <a:lnTo>
                      <a:pt x="99" y="28"/>
                    </a:lnTo>
                    <a:lnTo>
                      <a:pt x="96" y="27"/>
                    </a:lnTo>
                    <a:lnTo>
                      <a:pt x="94" y="25"/>
                    </a:lnTo>
                    <a:lnTo>
                      <a:pt x="93" y="18"/>
                    </a:lnTo>
                    <a:lnTo>
                      <a:pt x="91" y="12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84" y="7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66" y="2"/>
                    </a:lnTo>
                    <a:lnTo>
                      <a:pt x="63" y="5"/>
                    </a:lnTo>
                    <a:lnTo>
                      <a:pt x="59" y="10"/>
                    </a:lnTo>
                    <a:lnTo>
                      <a:pt x="59" y="10"/>
                    </a:lnTo>
                    <a:lnTo>
                      <a:pt x="56" y="10"/>
                    </a:lnTo>
                    <a:lnTo>
                      <a:pt x="54" y="8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46" y="4"/>
                    </a:lnTo>
                    <a:lnTo>
                      <a:pt x="40" y="5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16" y="11"/>
                    </a:lnTo>
                    <a:lnTo>
                      <a:pt x="16" y="11"/>
                    </a:lnTo>
                    <a:lnTo>
                      <a:pt x="16" y="65"/>
                    </a:lnTo>
                    <a:lnTo>
                      <a:pt x="16" y="65"/>
                    </a:lnTo>
                    <a:lnTo>
                      <a:pt x="16" y="68"/>
                    </a:lnTo>
                    <a:lnTo>
                      <a:pt x="13" y="68"/>
                    </a:lnTo>
                    <a:lnTo>
                      <a:pt x="9" y="69"/>
                    </a:lnTo>
                    <a:lnTo>
                      <a:pt x="3" y="69"/>
                    </a:lnTo>
                    <a:lnTo>
                      <a:pt x="0" y="71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119"/>
                    </a:lnTo>
                    <a:lnTo>
                      <a:pt x="0" y="119"/>
                    </a:lnTo>
                    <a:lnTo>
                      <a:pt x="5" y="121"/>
                    </a:lnTo>
                    <a:lnTo>
                      <a:pt x="8" y="123"/>
                    </a:lnTo>
                    <a:lnTo>
                      <a:pt x="8" y="123"/>
                    </a:lnTo>
                    <a:lnTo>
                      <a:pt x="12" y="133"/>
                    </a:lnTo>
                    <a:lnTo>
                      <a:pt x="13" y="139"/>
                    </a:lnTo>
                    <a:lnTo>
                      <a:pt x="13" y="142"/>
                    </a:lnTo>
                    <a:lnTo>
                      <a:pt x="13" y="142"/>
                    </a:lnTo>
                    <a:lnTo>
                      <a:pt x="12" y="143"/>
                    </a:lnTo>
                    <a:lnTo>
                      <a:pt x="10" y="143"/>
                    </a:lnTo>
                    <a:lnTo>
                      <a:pt x="10" y="145"/>
                    </a:lnTo>
                    <a:lnTo>
                      <a:pt x="10" y="146"/>
                    </a:lnTo>
                    <a:lnTo>
                      <a:pt x="10" y="146"/>
                    </a:lnTo>
                    <a:lnTo>
                      <a:pt x="9" y="150"/>
                    </a:lnTo>
                    <a:lnTo>
                      <a:pt x="10" y="152"/>
                    </a:lnTo>
                    <a:lnTo>
                      <a:pt x="13" y="153"/>
                    </a:lnTo>
                    <a:lnTo>
                      <a:pt x="13" y="153"/>
                    </a:lnTo>
                    <a:lnTo>
                      <a:pt x="22" y="153"/>
                    </a:lnTo>
                    <a:lnTo>
                      <a:pt x="26" y="153"/>
                    </a:lnTo>
                    <a:lnTo>
                      <a:pt x="29" y="152"/>
                    </a:lnTo>
                    <a:lnTo>
                      <a:pt x="29" y="152"/>
                    </a:lnTo>
                    <a:lnTo>
                      <a:pt x="37" y="143"/>
                    </a:lnTo>
                    <a:lnTo>
                      <a:pt x="42" y="139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4" y="132"/>
                    </a:lnTo>
                    <a:lnTo>
                      <a:pt x="46" y="128"/>
                    </a:lnTo>
                    <a:lnTo>
                      <a:pt x="47" y="126"/>
                    </a:lnTo>
                    <a:lnTo>
                      <a:pt x="49" y="125"/>
                    </a:lnTo>
                    <a:lnTo>
                      <a:pt x="52" y="125"/>
                    </a:lnTo>
                    <a:lnTo>
                      <a:pt x="54" y="126"/>
                    </a:lnTo>
                    <a:lnTo>
                      <a:pt x="54" y="126"/>
                    </a:lnTo>
                    <a:lnTo>
                      <a:pt x="63" y="132"/>
                    </a:lnTo>
                    <a:lnTo>
                      <a:pt x="67" y="132"/>
                    </a:lnTo>
                    <a:lnTo>
                      <a:pt x="73" y="133"/>
                    </a:lnTo>
                    <a:lnTo>
                      <a:pt x="73" y="133"/>
                    </a:lnTo>
                    <a:lnTo>
                      <a:pt x="80" y="132"/>
                    </a:lnTo>
                    <a:lnTo>
                      <a:pt x="84" y="132"/>
                    </a:lnTo>
                    <a:lnTo>
                      <a:pt x="87" y="129"/>
                    </a:lnTo>
                    <a:lnTo>
                      <a:pt x="89" y="126"/>
                    </a:lnTo>
                    <a:lnTo>
                      <a:pt x="89" y="126"/>
                    </a:lnTo>
                    <a:lnTo>
                      <a:pt x="90" y="118"/>
                    </a:lnTo>
                    <a:lnTo>
                      <a:pt x="91" y="115"/>
                    </a:lnTo>
                    <a:lnTo>
                      <a:pt x="94" y="113"/>
                    </a:lnTo>
                    <a:lnTo>
                      <a:pt x="94" y="113"/>
                    </a:lnTo>
                    <a:lnTo>
                      <a:pt x="100" y="113"/>
                    </a:lnTo>
                    <a:lnTo>
                      <a:pt x="104" y="111"/>
                    </a:lnTo>
                    <a:lnTo>
                      <a:pt x="107" y="108"/>
                    </a:lnTo>
                    <a:lnTo>
                      <a:pt x="109" y="103"/>
                    </a:lnTo>
                    <a:lnTo>
                      <a:pt x="109" y="103"/>
                    </a:lnTo>
                    <a:lnTo>
                      <a:pt x="109" y="101"/>
                    </a:lnTo>
                    <a:lnTo>
                      <a:pt x="110" y="96"/>
                    </a:lnTo>
                    <a:lnTo>
                      <a:pt x="113" y="93"/>
                    </a:lnTo>
                    <a:lnTo>
                      <a:pt x="116" y="93"/>
                    </a:lnTo>
                    <a:lnTo>
                      <a:pt x="116" y="93"/>
                    </a:lnTo>
                    <a:lnTo>
                      <a:pt x="118" y="92"/>
                    </a:lnTo>
                    <a:lnTo>
                      <a:pt x="123" y="91"/>
                    </a:lnTo>
                    <a:lnTo>
                      <a:pt x="126" y="86"/>
                    </a:lnTo>
                    <a:lnTo>
                      <a:pt x="128" y="84"/>
                    </a:lnTo>
                    <a:lnTo>
                      <a:pt x="128" y="84"/>
                    </a:lnTo>
                    <a:lnTo>
                      <a:pt x="130" y="81"/>
                    </a:lnTo>
                    <a:lnTo>
                      <a:pt x="133" y="79"/>
                    </a:lnTo>
                    <a:lnTo>
                      <a:pt x="136" y="79"/>
                    </a:lnTo>
                    <a:lnTo>
                      <a:pt x="138" y="78"/>
                    </a:lnTo>
                    <a:lnTo>
                      <a:pt x="138" y="78"/>
                    </a:lnTo>
                    <a:lnTo>
                      <a:pt x="143" y="69"/>
                    </a:lnTo>
                    <a:lnTo>
                      <a:pt x="143" y="69"/>
                    </a:lnTo>
                    <a:lnTo>
                      <a:pt x="143" y="69"/>
                    </a:lnTo>
                    <a:lnTo>
                      <a:pt x="143" y="69"/>
                    </a:lnTo>
                    <a:lnTo>
                      <a:pt x="143" y="68"/>
                    </a:lnTo>
                    <a:lnTo>
                      <a:pt x="141" y="65"/>
                    </a:lnTo>
                    <a:lnTo>
                      <a:pt x="138" y="64"/>
                    </a:lnTo>
                    <a:lnTo>
                      <a:pt x="131" y="64"/>
                    </a:lnTo>
                    <a:lnTo>
                      <a:pt x="131" y="6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32" name="Zimbabwe">
                <a:extLst>
                  <a:ext uri="{FF2B5EF4-FFF2-40B4-BE49-F238E27FC236}">
                    <a16:creationId xmlns:a16="http://schemas.microsoft.com/office/drawing/2014/main" id="{7C6C250C-A710-711D-5246-2799AC01BB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3472" y="4688564"/>
                <a:ext cx="187933" cy="165735"/>
              </a:xfrm>
              <a:custGeom>
                <a:avLst/>
                <a:gdLst/>
                <a:ahLst/>
                <a:cxnLst>
                  <a:cxn ang="0">
                    <a:pos x="83" y="0"/>
                  </a:cxn>
                  <a:cxn ang="0">
                    <a:pos x="70" y="1"/>
                  </a:cxn>
                  <a:cxn ang="0">
                    <a:pos x="61" y="4"/>
                  </a:cxn>
                  <a:cxn ang="0">
                    <a:pos x="60" y="9"/>
                  </a:cxn>
                  <a:cxn ang="0">
                    <a:pos x="58" y="11"/>
                  </a:cxn>
                  <a:cxn ang="0">
                    <a:pos x="50" y="19"/>
                  </a:cxn>
                  <a:cxn ang="0">
                    <a:pos x="46" y="20"/>
                  </a:cxn>
                  <a:cxn ang="0">
                    <a:pos x="36" y="30"/>
                  </a:cxn>
                  <a:cxn ang="0">
                    <a:pos x="29" y="38"/>
                  </a:cxn>
                  <a:cxn ang="0">
                    <a:pos x="24" y="38"/>
                  </a:cxn>
                  <a:cxn ang="0">
                    <a:pos x="9" y="36"/>
                  </a:cxn>
                  <a:cxn ang="0">
                    <a:pos x="0" y="36"/>
                  </a:cxn>
                  <a:cxn ang="0">
                    <a:pos x="4" y="43"/>
                  </a:cxn>
                  <a:cxn ang="0">
                    <a:pos x="10" y="46"/>
                  </a:cxn>
                  <a:cxn ang="0">
                    <a:pos x="13" y="54"/>
                  </a:cxn>
                  <a:cxn ang="0">
                    <a:pos x="16" y="63"/>
                  </a:cxn>
                  <a:cxn ang="0">
                    <a:pos x="19" y="64"/>
                  </a:cxn>
                  <a:cxn ang="0">
                    <a:pos x="33" y="73"/>
                  </a:cxn>
                  <a:cxn ang="0">
                    <a:pos x="34" y="75"/>
                  </a:cxn>
                  <a:cxn ang="0">
                    <a:pos x="37" y="81"/>
                  </a:cxn>
                  <a:cxn ang="0">
                    <a:pos x="41" y="88"/>
                  </a:cxn>
                  <a:cxn ang="0">
                    <a:pos x="41" y="91"/>
                  </a:cxn>
                  <a:cxn ang="0">
                    <a:pos x="48" y="98"/>
                  </a:cxn>
                  <a:cxn ang="0">
                    <a:pos x="51" y="100"/>
                  </a:cxn>
                  <a:cxn ang="0">
                    <a:pos x="61" y="101"/>
                  </a:cxn>
                  <a:cxn ang="0">
                    <a:pos x="63" y="105"/>
                  </a:cxn>
                  <a:cxn ang="0">
                    <a:pos x="64" y="107"/>
                  </a:cxn>
                  <a:cxn ang="0">
                    <a:pos x="70" y="107"/>
                  </a:cxn>
                  <a:cxn ang="0">
                    <a:pos x="78" y="108"/>
                  </a:cxn>
                  <a:cxn ang="0">
                    <a:pos x="81" y="110"/>
                  </a:cxn>
                  <a:cxn ang="0">
                    <a:pos x="93" y="111"/>
                  </a:cxn>
                  <a:cxn ang="0">
                    <a:pos x="97" y="112"/>
                  </a:cxn>
                  <a:cxn ang="0">
                    <a:pos x="112" y="95"/>
                  </a:cxn>
                  <a:cxn ang="0">
                    <a:pos x="115" y="91"/>
                  </a:cxn>
                  <a:cxn ang="0">
                    <a:pos x="115" y="83"/>
                  </a:cxn>
                  <a:cxn ang="0">
                    <a:pos x="117" y="80"/>
                  </a:cxn>
                  <a:cxn ang="0">
                    <a:pos x="127" y="70"/>
                  </a:cxn>
                  <a:cxn ang="0">
                    <a:pos x="125" y="68"/>
                  </a:cxn>
                  <a:cxn ang="0">
                    <a:pos x="124" y="67"/>
                  </a:cxn>
                  <a:cxn ang="0">
                    <a:pos x="122" y="60"/>
                  </a:cxn>
                  <a:cxn ang="0">
                    <a:pos x="121" y="56"/>
                  </a:cxn>
                  <a:cxn ang="0">
                    <a:pos x="120" y="53"/>
                  </a:cxn>
                  <a:cxn ang="0">
                    <a:pos x="124" y="47"/>
                  </a:cxn>
                  <a:cxn ang="0">
                    <a:pos x="125" y="41"/>
                  </a:cxn>
                  <a:cxn ang="0">
                    <a:pos x="125" y="20"/>
                  </a:cxn>
                  <a:cxn ang="0">
                    <a:pos x="124" y="17"/>
                  </a:cxn>
                  <a:cxn ang="0">
                    <a:pos x="111" y="13"/>
                  </a:cxn>
                  <a:cxn ang="0">
                    <a:pos x="105" y="10"/>
                  </a:cxn>
                  <a:cxn ang="0">
                    <a:pos x="93" y="7"/>
                  </a:cxn>
                  <a:cxn ang="0">
                    <a:pos x="85" y="6"/>
                  </a:cxn>
                </a:cxnLst>
                <a:rect l="0" t="0" r="r" b="b"/>
                <a:pathLst>
                  <a:path w="127" h="112">
                    <a:moveTo>
                      <a:pt x="85" y="6"/>
                    </a:moveTo>
                    <a:lnTo>
                      <a:pt x="83" y="0"/>
                    </a:lnTo>
                    <a:lnTo>
                      <a:pt x="70" y="1"/>
                    </a:lnTo>
                    <a:lnTo>
                      <a:pt x="70" y="1"/>
                    </a:lnTo>
                    <a:lnTo>
                      <a:pt x="64" y="3"/>
                    </a:lnTo>
                    <a:lnTo>
                      <a:pt x="61" y="4"/>
                    </a:lnTo>
                    <a:lnTo>
                      <a:pt x="60" y="7"/>
                    </a:lnTo>
                    <a:lnTo>
                      <a:pt x="60" y="9"/>
                    </a:lnTo>
                    <a:lnTo>
                      <a:pt x="60" y="9"/>
                    </a:lnTo>
                    <a:lnTo>
                      <a:pt x="58" y="11"/>
                    </a:lnTo>
                    <a:lnTo>
                      <a:pt x="56" y="14"/>
                    </a:lnTo>
                    <a:lnTo>
                      <a:pt x="50" y="19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1" y="24"/>
                    </a:lnTo>
                    <a:lnTo>
                      <a:pt x="36" y="30"/>
                    </a:lnTo>
                    <a:lnTo>
                      <a:pt x="33" y="36"/>
                    </a:lnTo>
                    <a:lnTo>
                      <a:pt x="29" y="38"/>
                    </a:lnTo>
                    <a:lnTo>
                      <a:pt x="29" y="38"/>
                    </a:lnTo>
                    <a:lnTo>
                      <a:pt x="24" y="38"/>
                    </a:lnTo>
                    <a:lnTo>
                      <a:pt x="19" y="37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43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1" y="48"/>
                    </a:lnTo>
                    <a:lnTo>
                      <a:pt x="13" y="54"/>
                    </a:lnTo>
                    <a:lnTo>
                      <a:pt x="14" y="61"/>
                    </a:lnTo>
                    <a:lnTo>
                      <a:pt x="16" y="63"/>
                    </a:lnTo>
                    <a:lnTo>
                      <a:pt x="19" y="64"/>
                    </a:lnTo>
                    <a:lnTo>
                      <a:pt x="19" y="64"/>
                    </a:lnTo>
                    <a:lnTo>
                      <a:pt x="29" y="70"/>
                    </a:lnTo>
                    <a:lnTo>
                      <a:pt x="33" y="73"/>
                    </a:lnTo>
                    <a:lnTo>
                      <a:pt x="34" y="75"/>
                    </a:lnTo>
                    <a:lnTo>
                      <a:pt x="34" y="75"/>
                    </a:lnTo>
                    <a:lnTo>
                      <a:pt x="36" y="78"/>
                    </a:lnTo>
                    <a:lnTo>
                      <a:pt x="37" y="81"/>
                    </a:lnTo>
                    <a:lnTo>
                      <a:pt x="40" y="84"/>
                    </a:lnTo>
                    <a:lnTo>
                      <a:pt x="41" y="88"/>
                    </a:lnTo>
                    <a:lnTo>
                      <a:pt x="41" y="88"/>
                    </a:lnTo>
                    <a:lnTo>
                      <a:pt x="41" y="91"/>
                    </a:lnTo>
                    <a:lnTo>
                      <a:pt x="44" y="95"/>
                    </a:lnTo>
                    <a:lnTo>
                      <a:pt x="48" y="98"/>
                    </a:lnTo>
                    <a:lnTo>
                      <a:pt x="51" y="100"/>
                    </a:lnTo>
                    <a:lnTo>
                      <a:pt x="51" y="100"/>
                    </a:lnTo>
                    <a:lnTo>
                      <a:pt x="58" y="100"/>
                    </a:lnTo>
                    <a:lnTo>
                      <a:pt x="61" y="101"/>
                    </a:lnTo>
                    <a:lnTo>
                      <a:pt x="63" y="104"/>
                    </a:lnTo>
                    <a:lnTo>
                      <a:pt x="63" y="105"/>
                    </a:lnTo>
                    <a:lnTo>
                      <a:pt x="63" y="105"/>
                    </a:lnTo>
                    <a:lnTo>
                      <a:pt x="64" y="107"/>
                    </a:lnTo>
                    <a:lnTo>
                      <a:pt x="65" y="107"/>
                    </a:lnTo>
                    <a:lnTo>
                      <a:pt x="70" y="107"/>
                    </a:lnTo>
                    <a:lnTo>
                      <a:pt x="75" y="108"/>
                    </a:lnTo>
                    <a:lnTo>
                      <a:pt x="78" y="108"/>
                    </a:lnTo>
                    <a:lnTo>
                      <a:pt x="78" y="108"/>
                    </a:lnTo>
                    <a:lnTo>
                      <a:pt x="81" y="110"/>
                    </a:lnTo>
                    <a:lnTo>
                      <a:pt x="87" y="111"/>
                    </a:lnTo>
                    <a:lnTo>
                      <a:pt x="93" y="111"/>
                    </a:lnTo>
                    <a:lnTo>
                      <a:pt x="97" y="112"/>
                    </a:lnTo>
                    <a:lnTo>
                      <a:pt x="97" y="112"/>
                    </a:lnTo>
                    <a:lnTo>
                      <a:pt x="105" y="104"/>
                    </a:lnTo>
                    <a:lnTo>
                      <a:pt x="112" y="95"/>
                    </a:lnTo>
                    <a:lnTo>
                      <a:pt x="112" y="95"/>
                    </a:lnTo>
                    <a:lnTo>
                      <a:pt x="115" y="91"/>
                    </a:lnTo>
                    <a:lnTo>
                      <a:pt x="115" y="87"/>
                    </a:lnTo>
                    <a:lnTo>
                      <a:pt x="115" y="83"/>
                    </a:lnTo>
                    <a:lnTo>
                      <a:pt x="117" y="80"/>
                    </a:lnTo>
                    <a:lnTo>
                      <a:pt x="117" y="80"/>
                    </a:lnTo>
                    <a:lnTo>
                      <a:pt x="124" y="74"/>
                    </a:lnTo>
                    <a:lnTo>
                      <a:pt x="127" y="70"/>
                    </a:lnTo>
                    <a:lnTo>
                      <a:pt x="127" y="68"/>
                    </a:lnTo>
                    <a:lnTo>
                      <a:pt x="125" y="68"/>
                    </a:lnTo>
                    <a:lnTo>
                      <a:pt x="125" y="68"/>
                    </a:lnTo>
                    <a:lnTo>
                      <a:pt x="124" y="67"/>
                    </a:lnTo>
                    <a:lnTo>
                      <a:pt x="124" y="64"/>
                    </a:lnTo>
                    <a:lnTo>
                      <a:pt x="122" y="60"/>
                    </a:lnTo>
                    <a:lnTo>
                      <a:pt x="121" y="56"/>
                    </a:lnTo>
                    <a:lnTo>
                      <a:pt x="121" y="56"/>
                    </a:lnTo>
                    <a:lnTo>
                      <a:pt x="120" y="54"/>
                    </a:lnTo>
                    <a:lnTo>
                      <a:pt x="120" y="53"/>
                    </a:lnTo>
                    <a:lnTo>
                      <a:pt x="121" y="50"/>
                    </a:lnTo>
                    <a:lnTo>
                      <a:pt x="124" y="47"/>
                    </a:lnTo>
                    <a:lnTo>
                      <a:pt x="125" y="41"/>
                    </a:lnTo>
                    <a:lnTo>
                      <a:pt x="125" y="41"/>
                    </a:lnTo>
                    <a:lnTo>
                      <a:pt x="125" y="27"/>
                    </a:lnTo>
                    <a:lnTo>
                      <a:pt x="125" y="20"/>
                    </a:lnTo>
                    <a:lnTo>
                      <a:pt x="124" y="17"/>
                    </a:lnTo>
                    <a:lnTo>
                      <a:pt x="124" y="17"/>
                    </a:lnTo>
                    <a:lnTo>
                      <a:pt x="117" y="14"/>
                    </a:lnTo>
                    <a:lnTo>
                      <a:pt x="111" y="13"/>
                    </a:lnTo>
                    <a:lnTo>
                      <a:pt x="105" y="10"/>
                    </a:lnTo>
                    <a:lnTo>
                      <a:pt x="105" y="10"/>
                    </a:lnTo>
                    <a:lnTo>
                      <a:pt x="100" y="9"/>
                    </a:lnTo>
                    <a:lnTo>
                      <a:pt x="93" y="7"/>
                    </a:lnTo>
                    <a:lnTo>
                      <a:pt x="85" y="6"/>
                    </a:lnTo>
                    <a:lnTo>
                      <a:pt x="85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33" name="Mozambique">
                <a:extLst>
                  <a:ext uri="{FF2B5EF4-FFF2-40B4-BE49-F238E27FC236}">
                    <a16:creationId xmlns:a16="http://schemas.microsoft.com/office/drawing/2014/main" id="{BD226E44-EBCA-F874-F780-145633E60E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3334" y="4562783"/>
                <a:ext cx="250084" cy="408421"/>
              </a:xfrm>
              <a:custGeom>
                <a:avLst/>
                <a:gdLst/>
                <a:ahLst/>
                <a:cxnLst>
                  <a:cxn ang="0">
                    <a:pos x="165" y="47"/>
                  </a:cxn>
                  <a:cxn ang="0">
                    <a:pos x="164" y="1"/>
                  </a:cxn>
                  <a:cxn ang="0">
                    <a:pos x="152" y="5"/>
                  </a:cxn>
                  <a:cxn ang="0">
                    <a:pos x="141" y="11"/>
                  </a:cxn>
                  <a:cxn ang="0">
                    <a:pos x="132" y="14"/>
                  </a:cxn>
                  <a:cxn ang="0">
                    <a:pos x="124" y="12"/>
                  </a:cxn>
                  <a:cxn ang="0">
                    <a:pos x="120" y="20"/>
                  </a:cxn>
                  <a:cxn ang="0">
                    <a:pos x="104" y="20"/>
                  </a:cxn>
                  <a:cxn ang="0">
                    <a:pos x="94" y="20"/>
                  </a:cxn>
                  <a:cxn ang="0">
                    <a:pos x="88" y="15"/>
                  </a:cxn>
                  <a:cxn ang="0">
                    <a:pos x="73" y="17"/>
                  </a:cxn>
                  <a:cxn ang="0">
                    <a:pos x="71" y="27"/>
                  </a:cxn>
                  <a:cxn ang="0">
                    <a:pos x="80" y="57"/>
                  </a:cxn>
                  <a:cxn ang="0">
                    <a:pos x="91" y="69"/>
                  </a:cxn>
                  <a:cxn ang="0">
                    <a:pos x="90" y="82"/>
                  </a:cxn>
                  <a:cxn ang="0">
                    <a:pos x="81" y="92"/>
                  </a:cxn>
                  <a:cxn ang="0">
                    <a:pos x="80" y="108"/>
                  </a:cxn>
                  <a:cxn ang="0">
                    <a:pos x="71" y="99"/>
                  </a:cxn>
                  <a:cxn ang="0">
                    <a:pos x="66" y="79"/>
                  </a:cxn>
                  <a:cxn ang="0">
                    <a:pos x="67" y="65"/>
                  </a:cxn>
                  <a:cxn ang="0">
                    <a:pos x="56" y="65"/>
                  </a:cxn>
                  <a:cxn ang="0">
                    <a:pos x="44" y="58"/>
                  </a:cxn>
                  <a:cxn ang="0">
                    <a:pos x="4" y="91"/>
                  </a:cxn>
                  <a:cxn ang="0">
                    <a:pos x="24" y="95"/>
                  </a:cxn>
                  <a:cxn ang="0">
                    <a:pos x="43" y="102"/>
                  </a:cxn>
                  <a:cxn ang="0">
                    <a:pos x="44" y="126"/>
                  </a:cxn>
                  <a:cxn ang="0">
                    <a:pos x="39" y="138"/>
                  </a:cxn>
                  <a:cxn ang="0">
                    <a:pos x="41" y="145"/>
                  </a:cxn>
                  <a:cxn ang="0">
                    <a:pos x="44" y="153"/>
                  </a:cxn>
                  <a:cxn ang="0">
                    <a:pos x="36" y="165"/>
                  </a:cxn>
                  <a:cxn ang="0">
                    <a:pos x="34" y="176"/>
                  </a:cxn>
                  <a:cxn ang="0">
                    <a:pos x="16" y="197"/>
                  </a:cxn>
                  <a:cxn ang="0">
                    <a:pos x="20" y="213"/>
                  </a:cxn>
                  <a:cxn ang="0">
                    <a:pos x="26" y="227"/>
                  </a:cxn>
                  <a:cxn ang="0">
                    <a:pos x="27" y="257"/>
                  </a:cxn>
                  <a:cxn ang="0">
                    <a:pos x="41" y="274"/>
                  </a:cxn>
                  <a:cxn ang="0">
                    <a:pos x="41" y="263"/>
                  </a:cxn>
                  <a:cxn ang="0">
                    <a:pos x="36" y="260"/>
                  </a:cxn>
                  <a:cxn ang="0">
                    <a:pos x="51" y="246"/>
                  </a:cxn>
                  <a:cxn ang="0">
                    <a:pos x="80" y="233"/>
                  </a:cxn>
                  <a:cxn ang="0">
                    <a:pos x="81" y="217"/>
                  </a:cxn>
                  <a:cxn ang="0">
                    <a:pos x="83" y="202"/>
                  </a:cxn>
                  <a:cxn ang="0">
                    <a:pos x="78" y="179"/>
                  </a:cxn>
                  <a:cxn ang="0">
                    <a:pos x="73" y="165"/>
                  </a:cxn>
                  <a:cxn ang="0">
                    <a:pos x="74" y="153"/>
                  </a:cxn>
                  <a:cxn ang="0">
                    <a:pos x="83" y="145"/>
                  </a:cxn>
                  <a:cxn ang="0">
                    <a:pos x="91" y="139"/>
                  </a:cxn>
                  <a:cxn ang="0">
                    <a:pos x="103" y="128"/>
                  </a:cxn>
                  <a:cxn ang="0">
                    <a:pos x="120" y="113"/>
                  </a:cxn>
                  <a:cxn ang="0">
                    <a:pos x="144" y="104"/>
                  </a:cxn>
                  <a:cxn ang="0">
                    <a:pos x="169" y="74"/>
                  </a:cxn>
                </a:cxnLst>
                <a:rect l="0" t="0" r="r" b="b"/>
                <a:pathLst>
                  <a:path w="169" h="276">
                    <a:moveTo>
                      <a:pt x="169" y="71"/>
                    </a:moveTo>
                    <a:lnTo>
                      <a:pt x="169" y="71"/>
                    </a:lnTo>
                    <a:lnTo>
                      <a:pt x="167" y="57"/>
                    </a:lnTo>
                    <a:lnTo>
                      <a:pt x="165" y="47"/>
                    </a:lnTo>
                    <a:lnTo>
                      <a:pt x="165" y="40"/>
                    </a:lnTo>
                    <a:lnTo>
                      <a:pt x="165" y="40"/>
                    </a:lnTo>
                    <a:lnTo>
                      <a:pt x="165" y="21"/>
                    </a:lnTo>
                    <a:lnTo>
                      <a:pt x="164" y="1"/>
                    </a:lnTo>
                    <a:lnTo>
                      <a:pt x="164" y="1"/>
                    </a:lnTo>
                    <a:lnTo>
                      <a:pt x="164" y="0"/>
                    </a:lnTo>
                    <a:lnTo>
                      <a:pt x="164" y="0"/>
                    </a:lnTo>
                    <a:lnTo>
                      <a:pt x="152" y="5"/>
                    </a:lnTo>
                    <a:lnTo>
                      <a:pt x="147" y="10"/>
                    </a:lnTo>
                    <a:lnTo>
                      <a:pt x="147" y="10"/>
                    </a:lnTo>
                    <a:lnTo>
                      <a:pt x="145" y="11"/>
                    </a:lnTo>
                    <a:lnTo>
                      <a:pt x="141" y="11"/>
                    </a:lnTo>
                    <a:lnTo>
                      <a:pt x="138" y="11"/>
                    </a:lnTo>
                    <a:lnTo>
                      <a:pt x="135" y="12"/>
                    </a:lnTo>
                    <a:lnTo>
                      <a:pt x="135" y="12"/>
                    </a:lnTo>
                    <a:lnTo>
                      <a:pt x="132" y="14"/>
                    </a:lnTo>
                    <a:lnTo>
                      <a:pt x="130" y="14"/>
                    </a:lnTo>
                    <a:lnTo>
                      <a:pt x="125" y="12"/>
                    </a:lnTo>
                    <a:lnTo>
                      <a:pt x="125" y="12"/>
                    </a:lnTo>
                    <a:lnTo>
                      <a:pt x="124" y="12"/>
                    </a:lnTo>
                    <a:lnTo>
                      <a:pt x="122" y="14"/>
                    </a:lnTo>
                    <a:lnTo>
                      <a:pt x="121" y="18"/>
                    </a:lnTo>
                    <a:lnTo>
                      <a:pt x="121" y="18"/>
                    </a:lnTo>
                    <a:lnTo>
                      <a:pt x="120" y="20"/>
                    </a:lnTo>
                    <a:lnTo>
                      <a:pt x="117" y="20"/>
                    </a:lnTo>
                    <a:lnTo>
                      <a:pt x="111" y="20"/>
                    </a:lnTo>
                    <a:lnTo>
                      <a:pt x="111" y="20"/>
                    </a:lnTo>
                    <a:lnTo>
                      <a:pt x="104" y="20"/>
                    </a:lnTo>
                    <a:lnTo>
                      <a:pt x="97" y="21"/>
                    </a:lnTo>
                    <a:lnTo>
                      <a:pt x="97" y="21"/>
                    </a:lnTo>
                    <a:lnTo>
                      <a:pt x="95" y="21"/>
                    </a:lnTo>
                    <a:lnTo>
                      <a:pt x="94" y="20"/>
                    </a:lnTo>
                    <a:lnTo>
                      <a:pt x="94" y="18"/>
                    </a:lnTo>
                    <a:lnTo>
                      <a:pt x="93" y="17"/>
                    </a:lnTo>
                    <a:lnTo>
                      <a:pt x="93" y="17"/>
                    </a:lnTo>
                    <a:lnTo>
                      <a:pt x="88" y="15"/>
                    </a:lnTo>
                    <a:lnTo>
                      <a:pt x="87" y="17"/>
                    </a:lnTo>
                    <a:lnTo>
                      <a:pt x="83" y="18"/>
                    </a:lnTo>
                    <a:lnTo>
                      <a:pt x="83" y="18"/>
                    </a:lnTo>
                    <a:lnTo>
                      <a:pt x="73" y="17"/>
                    </a:lnTo>
                    <a:lnTo>
                      <a:pt x="73" y="17"/>
                    </a:lnTo>
                    <a:lnTo>
                      <a:pt x="73" y="22"/>
                    </a:lnTo>
                    <a:lnTo>
                      <a:pt x="73" y="22"/>
                    </a:lnTo>
                    <a:lnTo>
                      <a:pt x="71" y="27"/>
                    </a:lnTo>
                    <a:lnTo>
                      <a:pt x="73" y="31"/>
                    </a:lnTo>
                    <a:lnTo>
                      <a:pt x="74" y="40"/>
                    </a:lnTo>
                    <a:lnTo>
                      <a:pt x="77" y="49"/>
                    </a:lnTo>
                    <a:lnTo>
                      <a:pt x="80" y="57"/>
                    </a:lnTo>
                    <a:lnTo>
                      <a:pt x="80" y="57"/>
                    </a:lnTo>
                    <a:lnTo>
                      <a:pt x="90" y="67"/>
                    </a:lnTo>
                    <a:lnTo>
                      <a:pt x="90" y="67"/>
                    </a:lnTo>
                    <a:lnTo>
                      <a:pt x="91" y="69"/>
                    </a:lnTo>
                    <a:lnTo>
                      <a:pt x="91" y="72"/>
                    </a:lnTo>
                    <a:lnTo>
                      <a:pt x="90" y="75"/>
                    </a:lnTo>
                    <a:lnTo>
                      <a:pt x="90" y="82"/>
                    </a:lnTo>
                    <a:lnTo>
                      <a:pt x="90" y="82"/>
                    </a:lnTo>
                    <a:lnTo>
                      <a:pt x="88" y="88"/>
                    </a:lnTo>
                    <a:lnTo>
                      <a:pt x="87" y="91"/>
                    </a:lnTo>
                    <a:lnTo>
                      <a:pt x="84" y="91"/>
                    </a:lnTo>
                    <a:lnTo>
                      <a:pt x="81" y="92"/>
                    </a:lnTo>
                    <a:lnTo>
                      <a:pt x="81" y="92"/>
                    </a:lnTo>
                    <a:lnTo>
                      <a:pt x="78" y="96"/>
                    </a:lnTo>
                    <a:lnTo>
                      <a:pt x="78" y="101"/>
                    </a:lnTo>
                    <a:lnTo>
                      <a:pt x="80" y="108"/>
                    </a:lnTo>
                    <a:lnTo>
                      <a:pt x="80" y="108"/>
                    </a:lnTo>
                    <a:lnTo>
                      <a:pt x="78" y="108"/>
                    </a:lnTo>
                    <a:lnTo>
                      <a:pt x="77" y="105"/>
                    </a:lnTo>
                    <a:lnTo>
                      <a:pt x="71" y="99"/>
                    </a:lnTo>
                    <a:lnTo>
                      <a:pt x="64" y="88"/>
                    </a:lnTo>
                    <a:lnTo>
                      <a:pt x="64" y="88"/>
                    </a:lnTo>
                    <a:lnTo>
                      <a:pt x="64" y="84"/>
                    </a:lnTo>
                    <a:lnTo>
                      <a:pt x="66" y="79"/>
                    </a:lnTo>
                    <a:lnTo>
                      <a:pt x="67" y="72"/>
                    </a:lnTo>
                    <a:lnTo>
                      <a:pt x="68" y="67"/>
                    </a:lnTo>
                    <a:lnTo>
                      <a:pt x="68" y="67"/>
                    </a:lnTo>
                    <a:lnTo>
                      <a:pt x="67" y="65"/>
                    </a:lnTo>
                    <a:lnTo>
                      <a:pt x="66" y="64"/>
                    </a:lnTo>
                    <a:lnTo>
                      <a:pt x="61" y="64"/>
                    </a:lnTo>
                    <a:lnTo>
                      <a:pt x="56" y="65"/>
                    </a:lnTo>
                    <a:lnTo>
                      <a:pt x="56" y="65"/>
                    </a:lnTo>
                    <a:lnTo>
                      <a:pt x="53" y="64"/>
                    </a:lnTo>
                    <a:lnTo>
                      <a:pt x="49" y="61"/>
                    </a:lnTo>
                    <a:lnTo>
                      <a:pt x="44" y="58"/>
                    </a:lnTo>
                    <a:lnTo>
                      <a:pt x="44" y="58"/>
                    </a:lnTo>
                    <a:lnTo>
                      <a:pt x="0" y="74"/>
                    </a:lnTo>
                    <a:lnTo>
                      <a:pt x="3" y="85"/>
                    </a:lnTo>
                    <a:lnTo>
                      <a:pt x="2" y="85"/>
                    </a:lnTo>
                    <a:lnTo>
                      <a:pt x="4" y="91"/>
                    </a:lnTo>
                    <a:lnTo>
                      <a:pt x="4" y="91"/>
                    </a:lnTo>
                    <a:lnTo>
                      <a:pt x="12" y="92"/>
                    </a:lnTo>
                    <a:lnTo>
                      <a:pt x="19" y="94"/>
                    </a:lnTo>
                    <a:lnTo>
                      <a:pt x="24" y="95"/>
                    </a:lnTo>
                    <a:lnTo>
                      <a:pt x="24" y="95"/>
                    </a:lnTo>
                    <a:lnTo>
                      <a:pt x="30" y="98"/>
                    </a:lnTo>
                    <a:lnTo>
                      <a:pt x="36" y="99"/>
                    </a:lnTo>
                    <a:lnTo>
                      <a:pt x="43" y="102"/>
                    </a:lnTo>
                    <a:lnTo>
                      <a:pt x="43" y="102"/>
                    </a:lnTo>
                    <a:lnTo>
                      <a:pt x="44" y="105"/>
                    </a:lnTo>
                    <a:lnTo>
                      <a:pt x="44" y="112"/>
                    </a:lnTo>
                    <a:lnTo>
                      <a:pt x="44" y="126"/>
                    </a:lnTo>
                    <a:lnTo>
                      <a:pt x="44" y="126"/>
                    </a:lnTo>
                    <a:lnTo>
                      <a:pt x="43" y="132"/>
                    </a:lnTo>
                    <a:lnTo>
                      <a:pt x="40" y="135"/>
                    </a:lnTo>
                    <a:lnTo>
                      <a:pt x="39" y="138"/>
                    </a:lnTo>
                    <a:lnTo>
                      <a:pt x="39" y="139"/>
                    </a:lnTo>
                    <a:lnTo>
                      <a:pt x="40" y="141"/>
                    </a:lnTo>
                    <a:lnTo>
                      <a:pt x="40" y="141"/>
                    </a:lnTo>
                    <a:lnTo>
                      <a:pt x="41" y="145"/>
                    </a:lnTo>
                    <a:lnTo>
                      <a:pt x="43" y="149"/>
                    </a:lnTo>
                    <a:lnTo>
                      <a:pt x="43" y="152"/>
                    </a:lnTo>
                    <a:lnTo>
                      <a:pt x="44" y="153"/>
                    </a:lnTo>
                    <a:lnTo>
                      <a:pt x="44" y="153"/>
                    </a:lnTo>
                    <a:lnTo>
                      <a:pt x="46" y="153"/>
                    </a:lnTo>
                    <a:lnTo>
                      <a:pt x="46" y="155"/>
                    </a:lnTo>
                    <a:lnTo>
                      <a:pt x="43" y="159"/>
                    </a:lnTo>
                    <a:lnTo>
                      <a:pt x="36" y="165"/>
                    </a:lnTo>
                    <a:lnTo>
                      <a:pt x="36" y="165"/>
                    </a:lnTo>
                    <a:lnTo>
                      <a:pt x="34" y="168"/>
                    </a:lnTo>
                    <a:lnTo>
                      <a:pt x="34" y="172"/>
                    </a:lnTo>
                    <a:lnTo>
                      <a:pt x="34" y="176"/>
                    </a:lnTo>
                    <a:lnTo>
                      <a:pt x="31" y="180"/>
                    </a:lnTo>
                    <a:lnTo>
                      <a:pt x="31" y="180"/>
                    </a:lnTo>
                    <a:lnTo>
                      <a:pt x="24" y="189"/>
                    </a:lnTo>
                    <a:lnTo>
                      <a:pt x="16" y="197"/>
                    </a:lnTo>
                    <a:lnTo>
                      <a:pt x="16" y="197"/>
                    </a:lnTo>
                    <a:lnTo>
                      <a:pt x="16" y="197"/>
                    </a:lnTo>
                    <a:lnTo>
                      <a:pt x="16" y="197"/>
                    </a:lnTo>
                    <a:lnTo>
                      <a:pt x="20" y="213"/>
                    </a:lnTo>
                    <a:lnTo>
                      <a:pt x="23" y="222"/>
                    </a:lnTo>
                    <a:lnTo>
                      <a:pt x="24" y="226"/>
                    </a:lnTo>
                    <a:lnTo>
                      <a:pt x="26" y="227"/>
                    </a:lnTo>
                    <a:lnTo>
                      <a:pt x="26" y="227"/>
                    </a:lnTo>
                    <a:lnTo>
                      <a:pt x="27" y="229"/>
                    </a:lnTo>
                    <a:lnTo>
                      <a:pt x="29" y="233"/>
                    </a:lnTo>
                    <a:lnTo>
                      <a:pt x="29" y="243"/>
                    </a:lnTo>
                    <a:lnTo>
                      <a:pt x="27" y="257"/>
                    </a:lnTo>
                    <a:lnTo>
                      <a:pt x="27" y="257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41" y="274"/>
                    </a:lnTo>
                    <a:lnTo>
                      <a:pt x="41" y="274"/>
                    </a:lnTo>
                    <a:lnTo>
                      <a:pt x="43" y="266"/>
                    </a:lnTo>
                    <a:lnTo>
                      <a:pt x="43" y="266"/>
                    </a:lnTo>
                    <a:lnTo>
                      <a:pt x="41" y="263"/>
                    </a:lnTo>
                    <a:lnTo>
                      <a:pt x="40" y="261"/>
                    </a:lnTo>
                    <a:lnTo>
                      <a:pt x="37" y="261"/>
                    </a:lnTo>
                    <a:lnTo>
                      <a:pt x="36" y="260"/>
                    </a:lnTo>
                    <a:lnTo>
                      <a:pt x="36" y="260"/>
                    </a:lnTo>
                    <a:lnTo>
                      <a:pt x="36" y="259"/>
                    </a:lnTo>
                    <a:lnTo>
                      <a:pt x="37" y="256"/>
                    </a:lnTo>
                    <a:lnTo>
                      <a:pt x="43" y="251"/>
                    </a:lnTo>
                    <a:lnTo>
                      <a:pt x="51" y="246"/>
                    </a:lnTo>
                    <a:lnTo>
                      <a:pt x="61" y="242"/>
                    </a:lnTo>
                    <a:lnTo>
                      <a:pt x="61" y="242"/>
                    </a:lnTo>
                    <a:lnTo>
                      <a:pt x="76" y="236"/>
                    </a:lnTo>
                    <a:lnTo>
                      <a:pt x="80" y="233"/>
                    </a:lnTo>
                    <a:lnTo>
                      <a:pt x="81" y="229"/>
                    </a:lnTo>
                    <a:lnTo>
                      <a:pt x="81" y="229"/>
                    </a:lnTo>
                    <a:lnTo>
                      <a:pt x="81" y="224"/>
                    </a:lnTo>
                    <a:lnTo>
                      <a:pt x="81" y="217"/>
                    </a:lnTo>
                    <a:lnTo>
                      <a:pt x="81" y="212"/>
                    </a:lnTo>
                    <a:lnTo>
                      <a:pt x="83" y="206"/>
                    </a:lnTo>
                    <a:lnTo>
                      <a:pt x="83" y="206"/>
                    </a:lnTo>
                    <a:lnTo>
                      <a:pt x="83" y="202"/>
                    </a:lnTo>
                    <a:lnTo>
                      <a:pt x="83" y="199"/>
                    </a:lnTo>
                    <a:lnTo>
                      <a:pt x="80" y="186"/>
                    </a:lnTo>
                    <a:lnTo>
                      <a:pt x="80" y="186"/>
                    </a:lnTo>
                    <a:lnTo>
                      <a:pt x="78" y="179"/>
                    </a:lnTo>
                    <a:lnTo>
                      <a:pt x="76" y="173"/>
                    </a:lnTo>
                    <a:lnTo>
                      <a:pt x="74" y="169"/>
                    </a:lnTo>
                    <a:lnTo>
                      <a:pt x="73" y="165"/>
                    </a:lnTo>
                    <a:lnTo>
                      <a:pt x="73" y="165"/>
                    </a:lnTo>
                    <a:lnTo>
                      <a:pt x="71" y="160"/>
                    </a:lnTo>
                    <a:lnTo>
                      <a:pt x="71" y="156"/>
                    </a:lnTo>
                    <a:lnTo>
                      <a:pt x="73" y="155"/>
                    </a:lnTo>
                    <a:lnTo>
                      <a:pt x="74" y="153"/>
                    </a:lnTo>
                    <a:lnTo>
                      <a:pt x="74" y="153"/>
                    </a:lnTo>
                    <a:lnTo>
                      <a:pt x="77" y="153"/>
                    </a:lnTo>
                    <a:lnTo>
                      <a:pt x="78" y="152"/>
                    </a:lnTo>
                    <a:lnTo>
                      <a:pt x="83" y="145"/>
                    </a:lnTo>
                    <a:lnTo>
                      <a:pt x="83" y="145"/>
                    </a:lnTo>
                    <a:lnTo>
                      <a:pt x="84" y="142"/>
                    </a:lnTo>
                    <a:lnTo>
                      <a:pt x="87" y="139"/>
                    </a:lnTo>
                    <a:lnTo>
                      <a:pt x="91" y="139"/>
                    </a:lnTo>
                    <a:lnTo>
                      <a:pt x="95" y="136"/>
                    </a:lnTo>
                    <a:lnTo>
                      <a:pt x="95" y="136"/>
                    </a:lnTo>
                    <a:lnTo>
                      <a:pt x="100" y="132"/>
                    </a:lnTo>
                    <a:lnTo>
                      <a:pt x="103" y="128"/>
                    </a:lnTo>
                    <a:lnTo>
                      <a:pt x="107" y="123"/>
                    </a:lnTo>
                    <a:lnTo>
                      <a:pt x="113" y="118"/>
                    </a:lnTo>
                    <a:lnTo>
                      <a:pt x="113" y="118"/>
                    </a:lnTo>
                    <a:lnTo>
                      <a:pt x="120" y="113"/>
                    </a:lnTo>
                    <a:lnTo>
                      <a:pt x="128" y="111"/>
                    </a:lnTo>
                    <a:lnTo>
                      <a:pt x="135" y="108"/>
                    </a:lnTo>
                    <a:lnTo>
                      <a:pt x="144" y="104"/>
                    </a:lnTo>
                    <a:lnTo>
                      <a:pt x="144" y="104"/>
                    </a:lnTo>
                    <a:lnTo>
                      <a:pt x="152" y="96"/>
                    </a:lnTo>
                    <a:lnTo>
                      <a:pt x="161" y="86"/>
                    </a:lnTo>
                    <a:lnTo>
                      <a:pt x="167" y="76"/>
                    </a:lnTo>
                    <a:lnTo>
                      <a:pt x="169" y="74"/>
                    </a:lnTo>
                    <a:lnTo>
                      <a:pt x="169" y="71"/>
                    </a:lnTo>
                    <a:lnTo>
                      <a:pt x="169" y="71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34" name="Zambia">
                <a:extLst>
                  <a:ext uri="{FF2B5EF4-FFF2-40B4-BE49-F238E27FC236}">
                    <a16:creationId xmlns:a16="http://schemas.microsoft.com/office/drawing/2014/main" id="{AA2EF9EB-9034-E59F-2FF1-C697C1A207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2442" y="4508030"/>
                <a:ext cx="273761" cy="236766"/>
              </a:xfrm>
              <a:custGeom>
                <a:avLst/>
                <a:gdLst/>
                <a:ahLst/>
                <a:cxnLst>
                  <a:cxn ang="0">
                    <a:pos x="136" y="4"/>
                  </a:cxn>
                  <a:cxn ang="0">
                    <a:pos x="126" y="1"/>
                  </a:cxn>
                  <a:cxn ang="0">
                    <a:pos x="111" y="3"/>
                  </a:cxn>
                  <a:cxn ang="0">
                    <a:pos x="108" y="7"/>
                  </a:cxn>
                  <a:cxn ang="0">
                    <a:pos x="106" y="12"/>
                  </a:cxn>
                  <a:cxn ang="0">
                    <a:pos x="102" y="20"/>
                  </a:cxn>
                  <a:cxn ang="0">
                    <a:pos x="105" y="24"/>
                  </a:cxn>
                  <a:cxn ang="0">
                    <a:pos x="104" y="40"/>
                  </a:cxn>
                  <a:cxn ang="0">
                    <a:pos x="99" y="52"/>
                  </a:cxn>
                  <a:cxn ang="0">
                    <a:pos x="104" y="61"/>
                  </a:cxn>
                  <a:cxn ang="0">
                    <a:pos x="111" y="67"/>
                  </a:cxn>
                  <a:cxn ang="0">
                    <a:pos x="121" y="64"/>
                  </a:cxn>
                  <a:cxn ang="0">
                    <a:pos x="123" y="68"/>
                  </a:cxn>
                  <a:cxn ang="0">
                    <a:pos x="123" y="78"/>
                  </a:cxn>
                  <a:cxn ang="0">
                    <a:pos x="121" y="82"/>
                  </a:cxn>
                  <a:cxn ang="0">
                    <a:pos x="109" y="82"/>
                  </a:cxn>
                  <a:cxn ang="0">
                    <a:pos x="105" y="75"/>
                  </a:cxn>
                  <a:cxn ang="0">
                    <a:pos x="101" y="67"/>
                  </a:cxn>
                  <a:cxn ang="0">
                    <a:pos x="91" y="65"/>
                  </a:cxn>
                  <a:cxn ang="0">
                    <a:pos x="82" y="57"/>
                  </a:cxn>
                  <a:cxn ang="0">
                    <a:pos x="78" y="57"/>
                  </a:cxn>
                  <a:cxn ang="0">
                    <a:pos x="77" y="59"/>
                  </a:cxn>
                  <a:cxn ang="0">
                    <a:pos x="69" y="61"/>
                  </a:cxn>
                  <a:cxn ang="0">
                    <a:pos x="62" y="59"/>
                  </a:cxn>
                  <a:cxn ang="0">
                    <a:pos x="55" y="57"/>
                  </a:cxn>
                  <a:cxn ang="0">
                    <a:pos x="51" y="52"/>
                  </a:cxn>
                  <a:cxn ang="0">
                    <a:pos x="49" y="48"/>
                  </a:cxn>
                  <a:cxn ang="0">
                    <a:pos x="41" y="49"/>
                  </a:cxn>
                  <a:cxn ang="0">
                    <a:pos x="37" y="47"/>
                  </a:cxn>
                  <a:cxn ang="0">
                    <a:pos x="32" y="42"/>
                  </a:cxn>
                  <a:cxn ang="0">
                    <a:pos x="1" y="78"/>
                  </a:cxn>
                  <a:cxn ang="0">
                    <a:pos x="18" y="156"/>
                  </a:cxn>
                  <a:cxn ang="0">
                    <a:pos x="47" y="153"/>
                  </a:cxn>
                  <a:cxn ang="0">
                    <a:pos x="48" y="158"/>
                  </a:cxn>
                  <a:cxn ang="0">
                    <a:pos x="57" y="158"/>
                  </a:cxn>
                  <a:cxn ang="0">
                    <a:pos x="77" y="160"/>
                  </a:cxn>
                  <a:cxn ang="0">
                    <a:pos x="84" y="152"/>
                  </a:cxn>
                  <a:cxn ang="0">
                    <a:pos x="94" y="142"/>
                  </a:cxn>
                  <a:cxn ang="0">
                    <a:pos x="106" y="133"/>
                  </a:cxn>
                  <a:cxn ang="0">
                    <a:pos x="108" y="129"/>
                  </a:cxn>
                  <a:cxn ang="0">
                    <a:pos x="118" y="123"/>
                  </a:cxn>
                  <a:cxn ang="0">
                    <a:pos x="129" y="111"/>
                  </a:cxn>
                  <a:cxn ang="0">
                    <a:pos x="173" y="95"/>
                  </a:cxn>
                  <a:cxn ang="0">
                    <a:pos x="170" y="88"/>
                  </a:cxn>
                  <a:cxn ang="0">
                    <a:pos x="172" y="72"/>
                  </a:cxn>
                  <a:cxn ang="0">
                    <a:pos x="178" y="69"/>
                  </a:cxn>
                  <a:cxn ang="0">
                    <a:pos x="179" y="68"/>
                  </a:cxn>
                  <a:cxn ang="0">
                    <a:pos x="178" y="55"/>
                  </a:cxn>
                  <a:cxn ang="0">
                    <a:pos x="179" y="41"/>
                  </a:cxn>
                  <a:cxn ang="0">
                    <a:pos x="183" y="40"/>
                  </a:cxn>
                  <a:cxn ang="0">
                    <a:pos x="182" y="30"/>
                  </a:cxn>
                  <a:cxn ang="0">
                    <a:pos x="173" y="18"/>
                  </a:cxn>
                  <a:cxn ang="0">
                    <a:pos x="156" y="12"/>
                  </a:cxn>
                  <a:cxn ang="0">
                    <a:pos x="142" y="7"/>
                  </a:cxn>
                </a:cxnLst>
                <a:rect l="0" t="0" r="r" b="b"/>
                <a:pathLst>
                  <a:path w="185" h="160">
                    <a:moveTo>
                      <a:pt x="142" y="7"/>
                    </a:moveTo>
                    <a:lnTo>
                      <a:pt x="142" y="7"/>
                    </a:lnTo>
                    <a:lnTo>
                      <a:pt x="136" y="4"/>
                    </a:lnTo>
                    <a:lnTo>
                      <a:pt x="129" y="0"/>
                    </a:lnTo>
                    <a:lnTo>
                      <a:pt x="129" y="0"/>
                    </a:lnTo>
                    <a:lnTo>
                      <a:pt x="126" y="1"/>
                    </a:lnTo>
                    <a:lnTo>
                      <a:pt x="121" y="3"/>
                    </a:lnTo>
                    <a:lnTo>
                      <a:pt x="111" y="3"/>
                    </a:lnTo>
                    <a:lnTo>
                      <a:pt x="111" y="3"/>
                    </a:lnTo>
                    <a:lnTo>
                      <a:pt x="109" y="3"/>
                    </a:lnTo>
                    <a:lnTo>
                      <a:pt x="108" y="4"/>
                    </a:lnTo>
                    <a:lnTo>
                      <a:pt x="108" y="7"/>
                    </a:lnTo>
                    <a:lnTo>
                      <a:pt x="108" y="10"/>
                    </a:lnTo>
                    <a:lnTo>
                      <a:pt x="106" y="12"/>
                    </a:lnTo>
                    <a:lnTo>
                      <a:pt x="106" y="12"/>
                    </a:lnTo>
                    <a:lnTo>
                      <a:pt x="104" y="15"/>
                    </a:lnTo>
                    <a:lnTo>
                      <a:pt x="102" y="18"/>
                    </a:lnTo>
                    <a:lnTo>
                      <a:pt x="102" y="20"/>
                    </a:lnTo>
                    <a:lnTo>
                      <a:pt x="104" y="21"/>
                    </a:lnTo>
                    <a:lnTo>
                      <a:pt x="104" y="21"/>
                    </a:lnTo>
                    <a:lnTo>
                      <a:pt x="105" y="24"/>
                    </a:lnTo>
                    <a:lnTo>
                      <a:pt x="105" y="3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2" y="44"/>
                    </a:lnTo>
                    <a:lnTo>
                      <a:pt x="101" y="48"/>
                    </a:lnTo>
                    <a:lnTo>
                      <a:pt x="99" y="52"/>
                    </a:lnTo>
                    <a:lnTo>
                      <a:pt x="99" y="54"/>
                    </a:lnTo>
                    <a:lnTo>
                      <a:pt x="99" y="54"/>
                    </a:lnTo>
                    <a:lnTo>
                      <a:pt x="104" y="61"/>
                    </a:lnTo>
                    <a:lnTo>
                      <a:pt x="106" y="65"/>
                    </a:lnTo>
                    <a:lnTo>
                      <a:pt x="111" y="67"/>
                    </a:lnTo>
                    <a:lnTo>
                      <a:pt x="111" y="67"/>
                    </a:lnTo>
                    <a:lnTo>
                      <a:pt x="113" y="67"/>
                    </a:lnTo>
                    <a:lnTo>
                      <a:pt x="116" y="67"/>
                    </a:lnTo>
                    <a:lnTo>
                      <a:pt x="121" y="64"/>
                    </a:lnTo>
                    <a:lnTo>
                      <a:pt x="121" y="64"/>
                    </a:lnTo>
                    <a:lnTo>
                      <a:pt x="122" y="65"/>
                    </a:lnTo>
                    <a:lnTo>
                      <a:pt x="123" y="68"/>
                    </a:lnTo>
                    <a:lnTo>
                      <a:pt x="123" y="75"/>
                    </a:lnTo>
                    <a:lnTo>
                      <a:pt x="123" y="75"/>
                    </a:lnTo>
                    <a:lnTo>
                      <a:pt x="123" y="78"/>
                    </a:lnTo>
                    <a:lnTo>
                      <a:pt x="122" y="81"/>
                    </a:lnTo>
                    <a:lnTo>
                      <a:pt x="121" y="82"/>
                    </a:lnTo>
                    <a:lnTo>
                      <a:pt x="121" y="82"/>
                    </a:lnTo>
                    <a:lnTo>
                      <a:pt x="116" y="84"/>
                    </a:lnTo>
                    <a:lnTo>
                      <a:pt x="112" y="84"/>
                    </a:lnTo>
                    <a:lnTo>
                      <a:pt x="109" y="82"/>
                    </a:lnTo>
                    <a:lnTo>
                      <a:pt x="109" y="82"/>
                    </a:lnTo>
                    <a:lnTo>
                      <a:pt x="106" y="79"/>
                    </a:lnTo>
                    <a:lnTo>
                      <a:pt x="105" y="75"/>
                    </a:lnTo>
                    <a:lnTo>
                      <a:pt x="102" y="68"/>
                    </a:lnTo>
                    <a:lnTo>
                      <a:pt x="102" y="68"/>
                    </a:lnTo>
                    <a:lnTo>
                      <a:pt x="101" y="67"/>
                    </a:lnTo>
                    <a:lnTo>
                      <a:pt x="98" y="67"/>
                    </a:lnTo>
                    <a:lnTo>
                      <a:pt x="91" y="65"/>
                    </a:lnTo>
                    <a:lnTo>
                      <a:pt x="91" y="65"/>
                    </a:lnTo>
                    <a:lnTo>
                      <a:pt x="88" y="65"/>
                    </a:lnTo>
                    <a:lnTo>
                      <a:pt x="85" y="62"/>
                    </a:lnTo>
                    <a:lnTo>
                      <a:pt x="82" y="57"/>
                    </a:lnTo>
                    <a:lnTo>
                      <a:pt x="82" y="57"/>
                    </a:lnTo>
                    <a:lnTo>
                      <a:pt x="81" y="55"/>
                    </a:lnTo>
                    <a:lnTo>
                      <a:pt x="78" y="57"/>
                    </a:lnTo>
                    <a:lnTo>
                      <a:pt x="77" y="58"/>
                    </a:lnTo>
                    <a:lnTo>
                      <a:pt x="77" y="59"/>
                    </a:lnTo>
                    <a:lnTo>
                      <a:pt x="77" y="59"/>
                    </a:lnTo>
                    <a:lnTo>
                      <a:pt x="75" y="61"/>
                    </a:lnTo>
                    <a:lnTo>
                      <a:pt x="74" y="61"/>
                    </a:lnTo>
                    <a:lnTo>
                      <a:pt x="69" y="61"/>
                    </a:lnTo>
                    <a:lnTo>
                      <a:pt x="69" y="61"/>
                    </a:lnTo>
                    <a:lnTo>
                      <a:pt x="67" y="61"/>
                    </a:lnTo>
                    <a:lnTo>
                      <a:pt x="62" y="59"/>
                    </a:lnTo>
                    <a:lnTo>
                      <a:pt x="58" y="57"/>
                    </a:lnTo>
                    <a:lnTo>
                      <a:pt x="55" y="57"/>
                    </a:lnTo>
                    <a:lnTo>
                      <a:pt x="55" y="57"/>
                    </a:lnTo>
                    <a:lnTo>
                      <a:pt x="54" y="57"/>
                    </a:lnTo>
                    <a:lnTo>
                      <a:pt x="52" y="55"/>
                    </a:lnTo>
                    <a:lnTo>
                      <a:pt x="51" y="52"/>
                    </a:lnTo>
                    <a:lnTo>
                      <a:pt x="51" y="49"/>
                    </a:lnTo>
                    <a:lnTo>
                      <a:pt x="51" y="49"/>
                    </a:lnTo>
                    <a:lnTo>
                      <a:pt x="49" y="48"/>
                    </a:lnTo>
                    <a:lnTo>
                      <a:pt x="47" y="48"/>
                    </a:lnTo>
                    <a:lnTo>
                      <a:pt x="41" y="49"/>
                    </a:lnTo>
                    <a:lnTo>
                      <a:pt x="41" y="49"/>
                    </a:lnTo>
                    <a:lnTo>
                      <a:pt x="40" y="49"/>
                    </a:lnTo>
                    <a:lnTo>
                      <a:pt x="38" y="49"/>
                    </a:lnTo>
                    <a:lnTo>
                      <a:pt x="37" y="47"/>
                    </a:lnTo>
                    <a:lnTo>
                      <a:pt x="37" y="47"/>
                    </a:lnTo>
                    <a:lnTo>
                      <a:pt x="35" y="45"/>
                    </a:lnTo>
                    <a:lnTo>
                      <a:pt x="32" y="42"/>
                    </a:lnTo>
                    <a:lnTo>
                      <a:pt x="30" y="74"/>
                    </a:lnTo>
                    <a:lnTo>
                      <a:pt x="25" y="78"/>
                    </a:lnTo>
                    <a:lnTo>
                      <a:pt x="1" y="78"/>
                    </a:lnTo>
                    <a:lnTo>
                      <a:pt x="0" y="131"/>
                    </a:lnTo>
                    <a:lnTo>
                      <a:pt x="18" y="156"/>
                    </a:lnTo>
                    <a:lnTo>
                      <a:pt x="18" y="156"/>
                    </a:lnTo>
                    <a:lnTo>
                      <a:pt x="35" y="153"/>
                    </a:lnTo>
                    <a:lnTo>
                      <a:pt x="44" y="153"/>
                    </a:lnTo>
                    <a:lnTo>
                      <a:pt x="47" y="153"/>
                    </a:lnTo>
                    <a:lnTo>
                      <a:pt x="47" y="155"/>
                    </a:lnTo>
                    <a:lnTo>
                      <a:pt x="47" y="155"/>
                    </a:lnTo>
                    <a:lnTo>
                      <a:pt x="48" y="158"/>
                    </a:lnTo>
                    <a:lnTo>
                      <a:pt x="48" y="158"/>
                    </a:lnTo>
                    <a:lnTo>
                      <a:pt x="57" y="158"/>
                    </a:lnTo>
                    <a:lnTo>
                      <a:pt x="57" y="158"/>
                    </a:lnTo>
                    <a:lnTo>
                      <a:pt x="67" y="159"/>
                    </a:lnTo>
                    <a:lnTo>
                      <a:pt x="72" y="160"/>
                    </a:lnTo>
                    <a:lnTo>
                      <a:pt x="77" y="160"/>
                    </a:lnTo>
                    <a:lnTo>
                      <a:pt x="77" y="160"/>
                    </a:lnTo>
                    <a:lnTo>
                      <a:pt x="81" y="158"/>
                    </a:lnTo>
                    <a:lnTo>
                      <a:pt x="84" y="152"/>
                    </a:lnTo>
                    <a:lnTo>
                      <a:pt x="89" y="146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8" y="141"/>
                    </a:lnTo>
                    <a:lnTo>
                      <a:pt x="104" y="136"/>
                    </a:lnTo>
                    <a:lnTo>
                      <a:pt x="106" y="133"/>
                    </a:lnTo>
                    <a:lnTo>
                      <a:pt x="108" y="131"/>
                    </a:lnTo>
                    <a:lnTo>
                      <a:pt x="108" y="131"/>
                    </a:lnTo>
                    <a:lnTo>
                      <a:pt x="108" y="129"/>
                    </a:lnTo>
                    <a:lnTo>
                      <a:pt x="109" y="126"/>
                    </a:lnTo>
                    <a:lnTo>
                      <a:pt x="112" y="125"/>
                    </a:lnTo>
                    <a:lnTo>
                      <a:pt x="118" y="123"/>
                    </a:lnTo>
                    <a:lnTo>
                      <a:pt x="131" y="122"/>
                    </a:lnTo>
                    <a:lnTo>
                      <a:pt x="132" y="122"/>
                    </a:lnTo>
                    <a:lnTo>
                      <a:pt x="129" y="111"/>
                    </a:lnTo>
                    <a:lnTo>
                      <a:pt x="129" y="111"/>
                    </a:lnTo>
                    <a:lnTo>
                      <a:pt x="173" y="95"/>
                    </a:lnTo>
                    <a:lnTo>
                      <a:pt x="173" y="95"/>
                    </a:lnTo>
                    <a:lnTo>
                      <a:pt x="170" y="89"/>
                    </a:lnTo>
                    <a:lnTo>
                      <a:pt x="170" y="88"/>
                    </a:lnTo>
                    <a:lnTo>
                      <a:pt x="170" y="88"/>
                    </a:lnTo>
                    <a:lnTo>
                      <a:pt x="172" y="85"/>
                    </a:lnTo>
                    <a:lnTo>
                      <a:pt x="172" y="81"/>
                    </a:lnTo>
                    <a:lnTo>
                      <a:pt x="172" y="72"/>
                    </a:lnTo>
                    <a:lnTo>
                      <a:pt x="172" y="72"/>
                    </a:lnTo>
                    <a:lnTo>
                      <a:pt x="175" y="71"/>
                    </a:lnTo>
                    <a:lnTo>
                      <a:pt x="178" y="69"/>
                    </a:lnTo>
                    <a:lnTo>
                      <a:pt x="179" y="69"/>
                    </a:lnTo>
                    <a:lnTo>
                      <a:pt x="180" y="68"/>
                    </a:lnTo>
                    <a:lnTo>
                      <a:pt x="179" y="68"/>
                    </a:lnTo>
                    <a:lnTo>
                      <a:pt x="179" y="68"/>
                    </a:lnTo>
                    <a:lnTo>
                      <a:pt x="178" y="62"/>
                    </a:lnTo>
                    <a:lnTo>
                      <a:pt x="178" y="55"/>
                    </a:lnTo>
                    <a:lnTo>
                      <a:pt x="178" y="47"/>
                    </a:lnTo>
                    <a:lnTo>
                      <a:pt x="179" y="41"/>
                    </a:lnTo>
                    <a:lnTo>
                      <a:pt x="179" y="41"/>
                    </a:lnTo>
                    <a:lnTo>
                      <a:pt x="180" y="40"/>
                    </a:lnTo>
                    <a:lnTo>
                      <a:pt x="182" y="40"/>
                    </a:lnTo>
                    <a:lnTo>
                      <a:pt x="183" y="40"/>
                    </a:lnTo>
                    <a:lnTo>
                      <a:pt x="185" y="38"/>
                    </a:lnTo>
                    <a:lnTo>
                      <a:pt x="185" y="38"/>
                    </a:lnTo>
                    <a:lnTo>
                      <a:pt x="182" y="30"/>
                    </a:lnTo>
                    <a:lnTo>
                      <a:pt x="176" y="21"/>
                    </a:lnTo>
                    <a:lnTo>
                      <a:pt x="176" y="21"/>
                    </a:lnTo>
                    <a:lnTo>
                      <a:pt x="173" y="18"/>
                    </a:lnTo>
                    <a:lnTo>
                      <a:pt x="168" y="15"/>
                    </a:lnTo>
                    <a:lnTo>
                      <a:pt x="156" y="12"/>
                    </a:lnTo>
                    <a:lnTo>
                      <a:pt x="156" y="12"/>
                    </a:lnTo>
                    <a:lnTo>
                      <a:pt x="149" y="8"/>
                    </a:lnTo>
                    <a:lnTo>
                      <a:pt x="145" y="7"/>
                    </a:lnTo>
                    <a:lnTo>
                      <a:pt x="142" y="7"/>
                    </a:lnTo>
                    <a:lnTo>
                      <a:pt x="142" y="7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35" name="Namibia">
                <a:extLst>
                  <a:ext uri="{FF2B5EF4-FFF2-40B4-BE49-F238E27FC236}">
                    <a16:creationId xmlns:a16="http://schemas.microsoft.com/office/drawing/2014/main" id="{14B82F6D-F145-8C39-341B-3EDE0C1E9F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3076" y="4722600"/>
                <a:ext cx="300396" cy="298916"/>
              </a:xfrm>
              <a:custGeom>
                <a:avLst/>
                <a:gdLst/>
                <a:ahLst/>
                <a:cxnLst>
                  <a:cxn ang="0">
                    <a:pos x="75" y="195"/>
                  </a:cxn>
                  <a:cxn ang="0">
                    <a:pos x="78" y="189"/>
                  </a:cxn>
                  <a:cxn ang="0">
                    <a:pos x="82" y="189"/>
                  </a:cxn>
                  <a:cxn ang="0">
                    <a:pos x="84" y="190"/>
                  </a:cxn>
                  <a:cxn ang="0">
                    <a:pos x="86" y="198"/>
                  </a:cxn>
                  <a:cxn ang="0">
                    <a:pos x="92" y="202"/>
                  </a:cxn>
                  <a:cxn ang="0">
                    <a:pos x="105" y="202"/>
                  </a:cxn>
                  <a:cxn ang="0">
                    <a:pos x="113" y="200"/>
                  </a:cxn>
                  <a:cxn ang="0">
                    <a:pos x="115" y="199"/>
                  </a:cxn>
                  <a:cxn ang="0">
                    <a:pos x="122" y="193"/>
                  </a:cxn>
                  <a:cxn ang="0">
                    <a:pos x="123" y="190"/>
                  </a:cxn>
                  <a:cxn ang="0">
                    <a:pos x="123" y="85"/>
                  </a:cxn>
                  <a:cxn ang="0">
                    <a:pos x="126" y="82"/>
                  </a:cxn>
                  <a:cxn ang="0">
                    <a:pos x="136" y="81"/>
                  </a:cxn>
                  <a:cxn ang="0">
                    <a:pos x="139" y="78"/>
                  </a:cxn>
                  <a:cxn ang="0">
                    <a:pos x="139" y="24"/>
                  </a:cxn>
                  <a:cxn ang="0">
                    <a:pos x="155" y="21"/>
                  </a:cxn>
                  <a:cxn ang="0">
                    <a:pos x="163" y="18"/>
                  </a:cxn>
                  <a:cxn ang="0">
                    <a:pos x="173" y="17"/>
                  </a:cxn>
                  <a:cxn ang="0">
                    <a:pos x="177" y="21"/>
                  </a:cxn>
                  <a:cxn ang="0">
                    <a:pos x="182" y="23"/>
                  </a:cxn>
                  <a:cxn ang="0">
                    <a:pos x="186" y="18"/>
                  </a:cxn>
                  <a:cxn ang="0">
                    <a:pos x="193" y="15"/>
                  </a:cxn>
                  <a:cxn ang="0">
                    <a:pos x="203" y="13"/>
                  </a:cxn>
                  <a:cxn ang="0">
                    <a:pos x="202" y="10"/>
                  </a:cxn>
                  <a:cxn ang="0">
                    <a:pos x="200" y="8"/>
                  </a:cxn>
                  <a:cxn ang="0">
                    <a:pos x="187" y="8"/>
                  </a:cxn>
                  <a:cxn ang="0">
                    <a:pos x="169" y="13"/>
                  </a:cxn>
                  <a:cxn ang="0">
                    <a:pos x="149" y="14"/>
                  </a:cxn>
                  <a:cxn ang="0">
                    <a:pos x="143" y="14"/>
                  </a:cxn>
                  <a:cxn ang="0">
                    <a:pos x="123" y="13"/>
                  </a:cxn>
                  <a:cxn ang="0">
                    <a:pos x="102" y="8"/>
                  </a:cxn>
                  <a:cxn ang="0">
                    <a:pos x="47" y="8"/>
                  </a:cxn>
                  <a:cxn ang="0">
                    <a:pos x="39" y="7"/>
                  </a:cxn>
                  <a:cxn ang="0">
                    <a:pos x="32" y="4"/>
                  </a:cxn>
                  <a:cxn ang="0">
                    <a:pos x="25" y="1"/>
                  </a:cxn>
                  <a:cxn ang="0">
                    <a:pos x="18" y="3"/>
                  </a:cxn>
                  <a:cxn ang="0">
                    <a:pos x="14" y="4"/>
                  </a:cxn>
                  <a:cxn ang="0">
                    <a:pos x="12" y="1"/>
                  </a:cxn>
                  <a:cxn ang="0">
                    <a:pos x="10" y="0"/>
                  </a:cxn>
                  <a:cxn ang="0">
                    <a:pos x="5" y="3"/>
                  </a:cxn>
                  <a:cxn ang="0">
                    <a:pos x="0" y="5"/>
                  </a:cxn>
                  <a:cxn ang="0">
                    <a:pos x="0" y="10"/>
                  </a:cxn>
                  <a:cxn ang="0">
                    <a:pos x="8" y="27"/>
                  </a:cxn>
                  <a:cxn ang="0">
                    <a:pos x="17" y="41"/>
                  </a:cxn>
                  <a:cxn ang="0">
                    <a:pos x="24" y="60"/>
                  </a:cxn>
                  <a:cxn ang="0">
                    <a:pos x="32" y="77"/>
                  </a:cxn>
                  <a:cxn ang="0">
                    <a:pos x="41" y="92"/>
                  </a:cxn>
                  <a:cxn ang="0">
                    <a:pos x="41" y="99"/>
                  </a:cxn>
                  <a:cxn ang="0">
                    <a:pos x="41" y="114"/>
                  </a:cxn>
                  <a:cxn ang="0">
                    <a:pos x="41" y="119"/>
                  </a:cxn>
                  <a:cxn ang="0">
                    <a:pos x="47" y="145"/>
                  </a:cxn>
                  <a:cxn ang="0">
                    <a:pos x="49" y="165"/>
                  </a:cxn>
                  <a:cxn ang="0">
                    <a:pos x="55" y="179"/>
                  </a:cxn>
                  <a:cxn ang="0">
                    <a:pos x="58" y="183"/>
                  </a:cxn>
                  <a:cxn ang="0">
                    <a:pos x="68" y="196"/>
                  </a:cxn>
                  <a:cxn ang="0">
                    <a:pos x="72" y="196"/>
                  </a:cxn>
                  <a:cxn ang="0">
                    <a:pos x="75" y="195"/>
                  </a:cxn>
                </a:cxnLst>
                <a:rect l="0" t="0" r="r" b="b"/>
                <a:pathLst>
                  <a:path w="203" h="202">
                    <a:moveTo>
                      <a:pt x="75" y="195"/>
                    </a:moveTo>
                    <a:lnTo>
                      <a:pt x="75" y="195"/>
                    </a:lnTo>
                    <a:lnTo>
                      <a:pt x="76" y="192"/>
                    </a:lnTo>
                    <a:lnTo>
                      <a:pt x="78" y="189"/>
                    </a:lnTo>
                    <a:lnTo>
                      <a:pt x="81" y="188"/>
                    </a:lnTo>
                    <a:lnTo>
                      <a:pt x="82" y="189"/>
                    </a:lnTo>
                    <a:lnTo>
                      <a:pt x="84" y="190"/>
                    </a:lnTo>
                    <a:lnTo>
                      <a:pt x="84" y="190"/>
                    </a:lnTo>
                    <a:lnTo>
                      <a:pt x="85" y="193"/>
                    </a:lnTo>
                    <a:lnTo>
                      <a:pt x="86" y="198"/>
                    </a:lnTo>
                    <a:lnTo>
                      <a:pt x="89" y="200"/>
                    </a:lnTo>
                    <a:lnTo>
                      <a:pt x="92" y="202"/>
                    </a:lnTo>
                    <a:lnTo>
                      <a:pt x="92" y="202"/>
                    </a:lnTo>
                    <a:lnTo>
                      <a:pt x="105" y="202"/>
                    </a:lnTo>
                    <a:lnTo>
                      <a:pt x="109" y="202"/>
                    </a:lnTo>
                    <a:lnTo>
                      <a:pt x="113" y="200"/>
                    </a:lnTo>
                    <a:lnTo>
                      <a:pt x="113" y="200"/>
                    </a:lnTo>
                    <a:lnTo>
                      <a:pt x="115" y="199"/>
                    </a:lnTo>
                    <a:lnTo>
                      <a:pt x="119" y="196"/>
                    </a:lnTo>
                    <a:lnTo>
                      <a:pt x="122" y="193"/>
                    </a:lnTo>
                    <a:lnTo>
                      <a:pt x="123" y="190"/>
                    </a:lnTo>
                    <a:lnTo>
                      <a:pt x="123" y="190"/>
                    </a:lnTo>
                    <a:lnTo>
                      <a:pt x="123" y="85"/>
                    </a:lnTo>
                    <a:lnTo>
                      <a:pt x="123" y="85"/>
                    </a:lnTo>
                    <a:lnTo>
                      <a:pt x="123" y="84"/>
                    </a:lnTo>
                    <a:lnTo>
                      <a:pt x="126" y="82"/>
                    </a:lnTo>
                    <a:lnTo>
                      <a:pt x="132" y="82"/>
                    </a:lnTo>
                    <a:lnTo>
                      <a:pt x="136" y="81"/>
                    </a:lnTo>
                    <a:lnTo>
                      <a:pt x="139" y="81"/>
                    </a:lnTo>
                    <a:lnTo>
                      <a:pt x="139" y="78"/>
                    </a:lnTo>
                    <a:lnTo>
                      <a:pt x="139" y="78"/>
                    </a:lnTo>
                    <a:lnTo>
                      <a:pt x="139" y="24"/>
                    </a:lnTo>
                    <a:lnTo>
                      <a:pt x="139" y="24"/>
                    </a:lnTo>
                    <a:lnTo>
                      <a:pt x="155" y="21"/>
                    </a:lnTo>
                    <a:lnTo>
                      <a:pt x="155" y="21"/>
                    </a:lnTo>
                    <a:lnTo>
                      <a:pt x="163" y="18"/>
                    </a:lnTo>
                    <a:lnTo>
                      <a:pt x="169" y="17"/>
                    </a:lnTo>
                    <a:lnTo>
                      <a:pt x="173" y="17"/>
                    </a:lnTo>
                    <a:lnTo>
                      <a:pt x="173" y="17"/>
                    </a:lnTo>
                    <a:lnTo>
                      <a:pt x="177" y="21"/>
                    </a:lnTo>
                    <a:lnTo>
                      <a:pt x="179" y="23"/>
                    </a:lnTo>
                    <a:lnTo>
                      <a:pt x="182" y="23"/>
                    </a:lnTo>
                    <a:lnTo>
                      <a:pt x="182" y="23"/>
                    </a:lnTo>
                    <a:lnTo>
                      <a:pt x="186" y="18"/>
                    </a:lnTo>
                    <a:lnTo>
                      <a:pt x="189" y="15"/>
                    </a:lnTo>
                    <a:lnTo>
                      <a:pt x="193" y="15"/>
                    </a:lnTo>
                    <a:lnTo>
                      <a:pt x="193" y="15"/>
                    </a:lnTo>
                    <a:lnTo>
                      <a:pt x="203" y="13"/>
                    </a:lnTo>
                    <a:lnTo>
                      <a:pt x="203" y="13"/>
                    </a:lnTo>
                    <a:lnTo>
                      <a:pt x="202" y="10"/>
                    </a:lnTo>
                    <a:lnTo>
                      <a:pt x="202" y="10"/>
                    </a:lnTo>
                    <a:lnTo>
                      <a:pt x="200" y="8"/>
                    </a:lnTo>
                    <a:lnTo>
                      <a:pt x="197" y="8"/>
                    </a:lnTo>
                    <a:lnTo>
                      <a:pt x="187" y="8"/>
                    </a:lnTo>
                    <a:lnTo>
                      <a:pt x="169" y="13"/>
                    </a:lnTo>
                    <a:lnTo>
                      <a:pt x="169" y="13"/>
                    </a:lnTo>
                    <a:lnTo>
                      <a:pt x="156" y="14"/>
                    </a:lnTo>
                    <a:lnTo>
                      <a:pt x="149" y="14"/>
                    </a:lnTo>
                    <a:lnTo>
                      <a:pt x="143" y="14"/>
                    </a:lnTo>
                    <a:lnTo>
                      <a:pt x="143" y="14"/>
                    </a:lnTo>
                    <a:lnTo>
                      <a:pt x="136" y="13"/>
                    </a:lnTo>
                    <a:lnTo>
                      <a:pt x="123" y="13"/>
                    </a:lnTo>
                    <a:lnTo>
                      <a:pt x="108" y="14"/>
                    </a:lnTo>
                    <a:lnTo>
                      <a:pt x="102" y="8"/>
                    </a:lnTo>
                    <a:lnTo>
                      <a:pt x="102" y="8"/>
                    </a:lnTo>
                    <a:lnTo>
                      <a:pt x="47" y="8"/>
                    </a:lnTo>
                    <a:lnTo>
                      <a:pt x="47" y="8"/>
                    </a:lnTo>
                    <a:lnTo>
                      <a:pt x="39" y="7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0" y="3"/>
                    </a:lnTo>
                    <a:lnTo>
                      <a:pt x="25" y="1"/>
                    </a:lnTo>
                    <a:lnTo>
                      <a:pt x="21" y="1"/>
                    </a:lnTo>
                    <a:lnTo>
                      <a:pt x="18" y="3"/>
                    </a:lnTo>
                    <a:lnTo>
                      <a:pt x="18" y="3"/>
                    </a:lnTo>
                    <a:lnTo>
                      <a:pt x="14" y="4"/>
                    </a:lnTo>
                    <a:lnTo>
                      <a:pt x="14" y="3"/>
                    </a:lnTo>
                    <a:lnTo>
                      <a:pt x="12" y="1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1"/>
                    </a:lnTo>
                    <a:lnTo>
                      <a:pt x="5" y="3"/>
                    </a:lnTo>
                    <a:lnTo>
                      <a:pt x="5" y="4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2" y="15"/>
                    </a:lnTo>
                    <a:lnTo>
                      <a:pt x="8" y="27"/>
                    </a:lnTo>
                    <a:lnTo>
                      <a:pt x="8" y="27"/>
                    </a:lnTo>
                    <a:lnTo>
                      <a:pt x="17" y="41"/>
                    </a:lnTo>
                    <a:lnTo>
                      <a:pt x="24" y="60"/>
                    </a:lnTo>
                    <a:lnTo>
                      <a:pt x="24" y="60"/>
                    </a:lnTo>
                    <a:lnTo>
                      <a:pt x="28" y="68"/>
                    </a:lnTo>
                    <a:lnTo>
                      <a:pt x="32" y="77"/>
                    </a:lnTo>
                    <a:lnTo>
                      <a:pt x="38" y="85"/>
                    </a:lnTo>
                    <a:lnTo>
                      <a:pt x="41" y="92"/>
                    </a:lnTo>
                    <a:lnTo>
                      <a:pt x="41" y="92"/>
                    </a:lnTo>
                    <a:lnTo>
                      <a:pt x="41" y="99"/>
                    </a:lnTo>
                    <a:lnTo>
                      <a:pt x="41" y="106"/>
                    </a:lnTo>
                    <a:lnTo>
                      <a:pt x="41" y="114"/>
                    </a:lnTo>
                    <a:lnTo>
                      <a:pt x="41" y="119"/>
                    </a:lnTo>
                    <a:lnTo>
                      <a:pt x="41" y="119"/>
                    </a:lnTo>
                    <a:lnTo>
                      <a:pt x="45" y="131"/>
                    </a:lnTo>
                    <a:lnTo>
                      <a:pt x="47" y="145"/>
                    </a:lnTo>
                    <a:lnTo>
                      <a:pt x="47" y="145"/>
                    </a:lnTo>
                    <a:lnTo>
                      <a:pt x="49" y="165"/>
                    </a:lnTo>
                    <a:lnTo>
                      <a:pt x="52" y="175"/>
                    </a:lnTo>
                    <a:lnTo>
                      <a:pt x="55" y="179"/>
                    </a:lnTo>
                    <a:lnTo>
                      <a:pt x="58" y="183"/>
                    </a:lnTo>
                    <a:lnTo>
                      <a:pt x="58" y="183"/>
                    </a:lnTo>
                    <a:lnTo>
                      <a:pt x="64" y="189"/>
                    </a:lnTo>
                    <a:lnTo>
                      <a:pt x="68" y="196"/>
                    </a:lnTo>
                    <a:lnTo>
                      <a:pt x="68" y="196"/>
                    </a:lnTo>
                    <a:lnTo>
                      <a:pt x="72" y="196"/>
                    </a:lnTo>
                    <a:lnTo>
                      <a:pt x="74" y="196"/>
                    </a:lnTo>
                    <a:lnTo>
                      <a:pt x="75" y="195"/>
                    </a:lnTo>
                    <a:lnTo>
                      <a:pt x="75" y="195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36" name="Kenya">
                <a:extLst>
                  <a:ext uri="{FF2B5EF4-FFF2-40B4-BE49-F238E27FC236}">
                    <a16:creationId xmlns:a16="http://schemas.microsoft.com/office/drawing/2014/main" id="{60982BE4-30D4-A452-8C2E-7BE08B75BB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2122" y="4191357"/>
                <a:ext cx="189412" cy="232326"/>
              </a:xfrm>
              <a:custGeom>
                <a:avLst/>
                <a:gdLst/>
                <a:ahLst/>
                <a:cxnLst>
                  <a:cxn ang="0">
                    <a:pos x="121" y="24"/>
                  </a:cxn>
                  <a:cxn ang="0">
                    <a:pos x="128" y="13"/>
                  </a:cxn>
                  <a:cxn ang="0">
                    <a:pos x="121" y="16"/>
                  </a:cxn>
                  <a:cxn ang="0">
                    <a:pos x="115" y="16"/>
                  </a:cxn>
                  <a:cxn ang="0">
                    <a:pos x="112" y="13"/>
                  </a:cxn>
                  <a:cxn ang="0">
                    <a:pos x="107" y="12"/>
                  </a:cxn>
                  <a:cxn ang="0">
                    <a:pos x="98" y="16"/>
                  </a:cxn>
                  <a:cxn ang="0">
                    <a:pos x="92" y="22"/>
                  </a:cxn>
                  <a:cxn ang="0">
                    <a:pos x="88" y="24"/>
                  </a:cxn>
                  <a:cxn ang="0">
                    <a:pos x="80" y="22"/>
                  </a:cxn>
                  <a:cxn ang="0">
                    <a:pos x="70" y="20"/>
                  </a:cxn>
                  <a:cxn ang="0">
                    <a:pos x="60" y="17"/>
                  </a:cxn>
                  <a:cxn ang="0">
                    <a:pos x="51" y="10"/>
                  </a:cxn>
                  <a:cxn ang="0">
                    <a:pos x="43" y="7"/>
                  </a:cxn>
                  <a:cxn ang="0">
                    <a:pos x="34" y="7"/>
                  </a:cxn>
                  <a:cxn ang="0">
                    <a:pos x="25" y="2"/>
                  </a:cxn>
                  <a:cxn ang="0">
                    <a:pos x="24" y="2"/>
                  </a:cxn>
                  <a:cxn ang="0">
                    <a:pos x="16" y="2"/>
                  </a:cxn>
                  <a:cxn ang="0">
                    <a:pos x="8" y="5"/>
                  </a:cxn>
                  <a:cxn ang="0">
                    <a:pos x="3" y="10"/>
                  </a:cxn>
                  <a:cxn ang="0">
                    <a:pos x="1" y="13"/>
                  </a:cxn>
                  <a:cxn ang="0">
                    <a:pos x="10" y="30"/>
                  </a:cxn>
                  <a:cxn ang="0">
                    <a:pos x="17" y="36"/>
                  </a:cxn>
                  <a:cxn ang="0">
                    <a:pos x="16" y="50"/>
                  </a:cxn>
                  <a:cxn ang="0">
                    <a:pos x="11" y="60"/>
                  </a:cxn>
                  <a:cxn ang="0">
                    <a:pos x="4" y="69"/>
                  </a:cxn>
                  <a:cxn ang="0">
                    <a:pos x="0" y="79"/>
                  </a:cxn>
                  <a:cxn ang="0">
                    <a:pos x="10" y="83"/>
                  </a:cxn>
                  <a:cxn ang="0">
                    <a:pos x="11" y="84"/>
                  </a:cxn>
                  <a:cxn ang="0">
                    <a:pos x="4" y="87"/>
                  </a:cxn>
                  <a:cxn ang="0">
                    <a:pos x="0" y="91"/>
                  </a:cxn>
                  <a:cxn ang="0">
                    <a:pos x="0" y="94"/>
                  </a:cxn>
                  <a:cxn ang="0">
                    <a:pos x="60" y="128"/>
                  </a:cxn>
                  <a:cxn ang="0">
                    <a:pos x="60" y="138"/>
                  </a:cxn>
                  <a:cxn ang="0">
                    <a:pos x="85" y="157"/>
                  </a:cxn>
                  <a:cxn ang="0">
                    <a:pos x="102" y="123"/>
                  </a:cxn>
                  <a:cxn ang="0">
                    <a:pos x="104" y="120"/>
                  </a:cxn>
                  <a:cxn ang="0">
                    <a:pos x="109" y="116"/>
                  </a:cxn>
                  <a:cxn ang="0">
                    <a:pos x="112" y="114"/>
                  </a:cxn>
                  <a:cxn ang="0">
                    <a:pos x="115" y="113"/>
                  </a:cxn>
                  <a:cxn ang="0">
                    <a:pos x="121" y="108"/>
                  </a:cxn>
                  <a:cxn ang="0">
                    <a:pos x="122" y="107"/>
                  </a:cxn>
                  <a:cxn ang="0">
                    <a:pos x="114" y="36"/>
                  </a:cxn>
                </a:cxnLst>
                <a:rect l="0" t="0" r="r" b="b"/>
                <a:pathLst>
                  <a:path w="128" h="157">
                    <a:moveTo>
                      <a:pt x="114" y="36"/>
                    </a:moveTo>
                    <a:lnTo>
                      <a:pt x="121" y="24"/>
                    </a:lnTo>
                    <a:lnTo>
                      <a:pt x="128" y="13"/>
                    </a:lnTo>
                    <a:lnTo>
                      <a:pt x="128" y="13"/>
                    </a:lnTo>
                    <a:lnTo>
                      <a:pt x="121" y="16"/>
                    </a:lnTo>
                    <a:lnTo>
                      <a:pt x="121" y="16"/>
                    </a:lnTo>
                    <a:lnTo>
                      <a:pt x="118" y="16"/>
                    </a:lnTo>
                    <a:lnTo>
                      <a:pt x="115" y="16"/>
                    </a:lnTo>
                    <a:lnTo>
                      <a:pt x="112" y="13"/>
                    </a:lnTo>
                    <a:lnTo>
                      <a:pt x="112" y="13"/>
                    </a:lnTo>
                    <a:lnTo>
                      <a:pt x="111" y="12"/>
                    </a:lnTo>
                    <a:lnTo>
                      <a:pt x="107" y="12"/>
                    </a:lnTo>
                    <a:lnTo>
                      <a:pt x="98" y="16"/>
                    </a:lnTo>
                    <a:lnTo>
                      <a:pt x="98" y="16"/>
                    </a:lnTo>
                    <a:lnTo>
                      <a:pt x="95" y="19"/>
                    </a:lnTo>
                    <a:lnTo>
                      <a:pt x="92" y="22"/>
                    </a:lnTo>
                    <a:lnTo>
                      <a:pt x="90" y="23"/>
                    </a:lnTo>
                    <a:lnTo>
                      <a:pt x="88" y="24"/>
                    </a:lnTo>
                    <a:lnTo>
                      <a:pt x="88" y="24"/>
                    </a:lnTo>
                    <a:lnTo>
                      <a:pt x="80" y="22"/>
                    </a:lnTo>
                    <a:lnTo>
                      <a:pt x="70" y="20"/>
                    </a:lnTo>
                    <a:lnTo>
                      <a:pt x="70" y="20"/>
                    </a:lnTo>
                    <a:lnTo>
                      <a:pt x="65" y="20"/>
                    </a:lnTo>
                    <a:lnTo>
                      <a:pt x="60" y="17"/>
                    </a:lnTo>
                    <a:lnTo>
                      <a:pt x="51" y="10"/>
                    </a:lnTo>
                    <a:lnTo>
                      <a:pt x="51" y="10"/>
                    </a:lnTo>
                    <a:lnTo>
                      <a:pt x="47" y="9"/>
                    </a:lnTo>
                    <a:lnTo>
                      <a:pt x="43" y="7"/>
                    </a:lnTo>
                    <a:lnTo>
                      <a:pt x="34" y="7"/>
                    </a:lnTo>
                    <a:lnTo>
                      <a:pt x="34" y="7"/>
                    </a:lnTo>
                    <a:lnTo>
                      <a:pt x="30" y="5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24" y="2"/>
                    </a:lnTo>
                    <a:lnTo>
                      <a:pt x="21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8" y="5"/>
                    </a:lnTo>
                    <a:lnTo>
                      <a:pt x="4" y="7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1" y="13"/>
                    </a:lnTo>
                    <a:lnTo>
                      <a:pt x="8" y="19"/>
                    </a:lnTo>
                    <a:lnTo>
                      <a:pt x="10" y="30"/>
                    </a:lnTo>
                    <a:lnTo>
                      <a:pt x="17" y="36"/>
                    </a:lnTo>
                    <a:lnTo>
                      <a:pt x="17" y="36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4" y="54"/>
                    </a:lnTo>
                    <a:lnTo>
                      <a:pt x="11" y="60"/>
                    </a:lnTo>
                    <a:lnTo>
                      <a:pt x="4" y="69"/>
                    </a:lnTo>
                    <a:lnTo>
                      <a:pt x="4" y="69"/>
                    </a:lnTo>
                    <a:lnTo>
                      <a:pt x="0" y="79"/>
                    </a:lnTo>
                    <a:lnTo>
                      <a:pt x="0" y="79"/>
                    </a:lnTo>
                    <a:lnTo>
                      <a:pt x="8" y="81"/>
                    </a:lnTo>
                    <a:lnTo>
                      <a:pt x="10" y="83"/>
                    </a:lnTo>
                    <a:lnTo>
                      <a:pt x="11" y="84"/>
                    </a:lnTo>
                    <a:lnTo>
                      <a:pt x="11" y="84"/>
                    </a:lnTo>
                    <a:lnTo>
                      <a:pt x="8" y="86"/>
                    </a:lnTo>
                    <a:lnTo>
                      <a:pt x="4" y="87"/>
                    </a:lnTo>
                    <a:lnTo>
                      <a:pt x="1" y="90"/>
                    </a:lnTo>
                    <a:lnTo>
                      <a:pt x="0" y="91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0" y="96"/>
                    </a:lnTo>
                    <a:lnTo>
                      <a:pt x="60" y="12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85" y="157"/>
                    </a:lnTo>
                    <a:lnTo>
                      <a:pt x="85" y="157"/>
                    </a:lnTo>
                    <a:lnTo>
                      <a:pt x="95" y="135"/>
                    </a:lnTo>
                    <a:lnTo>
                      <a:pt x="102" y="123"/>
                    </a:lnTo>
                    <a:lnTo>
                      <a:pt x="102" y="123"/>
                    </a:lnTo>
                    <a:lnTo>
                      <a:pt x="104" y="120"/>
                    </a:lnTo>
                    <a:lnTo>
                      <a:pt x="107" y="117"/>
                    </a:lnTo>
                    <a:lnTo>
                      <a:pt x="109" y="116"/>
                    </a:lnTo>
                    <a:lnTo>
                      <a:pt x="112" y="114"/>
                    </a:lnTo>
                    <a:lnTo>
                      <a:pt x="112" y="114"/>
                    </a:lnTo>
                    <a:lnTo>
                      <a:pt x="114" y="113"/>
                    </a:lnTo>
                    <a:lnTo>
                      <a:pt x="115" y="113"/>
                    </a:lnTo>
                    <a:lnTo>
                      <a:pt x="118" y="111"/>
                    </a:lnTo>
                    <a:lnTo>
                      <a:pt x="121" y="108"/>
                    </a:lnTo>
                    <a:lnTo>
                      <a:pt x="121" y="108"/>
                    </a:lnTo>
                    <a:lnTo>
                      <a:pt x="122" y="107"/>
                    </a:lnTo>
                    <a:lnTo>
                      <a:pt x="114" y="94"/>
                    </a:lnTo>
                    <a:lnTo>
                      <a:pt x="114" y="36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37" name="Angola">
                <a:extLst>
                  <a:ext uri="{FF2B5EF4-FFF2-40B4-BE49-F238E27FC236}">
                    <a16:creationId xmlns:a16="http://schemas.microsoft.com/office/drawing/2014/main" id="{636A1B0B-372C-0D33-2D3A-94A80058FB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3076" y="4453279"/>
                <a:ext cx="276720" cy="290037"/>
              </a:xfrm>
              <a:custGeom>
                <a:avLst/>
                <a:gdLst/>
                <a:ahLst/>
                <a:cxnLst>
                  <a:cxn ang="0">
                    <a:pos x="12" y="183"/>
                  </a:cxn>
                  <a:cxn ang="0">
                    <a:pos x="18" y="185"/>
                  </a:cxn>
                  <a:cxn ang="0">
                    <a:pos x="25" y="183"/>
                  </a:cxn>
                  <a:cxn ang="0">
                    <a:pos x="32" y="186"/>
                  </a:cxn>
                  <a:cxn ang="0">
                    <a:pos x="47" y="190"/>
                  </a:cxn>
                  <a:cxn ang="0">
                    <a:pos x="108" y="196"/>
                  </a:cxn>
                  <a:cxn ang="0">
                    <a:pos x="143" y="196"/>
                  </a:cxn>
                  <a:cxn ang="0">
                    <a:pos x="156" y="196"/>
                  </a:cxn>
                  <a:cxn ang="0">
                    <a:pos x="173" y="193"/>
                  </a:cxn>
                  <a:cxn ang="0">
                    <a:pos x="180" y="115"/>
                  </a:cxn>
                  <a:cxn ang="0">
                    <a:pos x="187" y="79"/>
                  </a:cxn>
                  <a:cxn ang="0">
                    <a:pos x="183" y="79"/>
                  </a:cxn>
                  <a:cxn ang="0">
                    <a:pos x="169" y="81"/>
                  </a:cxn>
                  <a:cxn ang="0">
                    <a:pos x="162" y="85"/>
                  </a:cxn>
                  <a:cxn ang="0">
                    <a:pos x="159" y="84"/>
                  </a:cxn>
                  <a:cxn ang="0">
                    <a:pos x="160" y="72"/>
                  </a:cxn>
                  <a:cxn ang="0">
                    <a:pos x="152" y="59"/>
                  </a:cxn>
                  <a:cxn ang="0">
                    <a:pos x="152" y="55"/>
                  </a:cxn>
                  <a:cxn ang="0">
                    <a:pos x="155" y="37"/>
                  </a:cxn>
                  <a:cxn ang="0">
                    <a:pos x="152" y="31"/>
                  </a:cxn>
                  <a:cxn ang="0">
                    <a:pos x="150" y="21"/>
                  </a:cxn>
                  <a:cxn ang="0">
                    <a:pos x="140" y="21"/>
                  </a:cxn>
                  <a:cxn ang="0">
                    <a:pos x="133" y="18"/>
                  </a:cxn>
                  <a:cxn ang="0">
                    <a:pos x="125" y="17"/>
                  </a:cxn>
                  <a:cxn ang="0">
                    <a:pos x="118" y="21"/>
                  </a:cxn>
                  <a:cxn ang="0">
                    <a:pos x="115" y="32"/>
                  </a:cxn>
                  <a:cxn ang="0">
                    <a:pos x="106" y="32"/>
                  </a:cxn>
                  <a:cxn ang="0">
                    <a:pos x="91" y="35"/>
                  </a:cxn>
                  <a:cxn ang="0">
                    <a:pos x="82" y="25"/>
                  </a:cxn>
                  <a:cxn ang="0">
                    <a:pos x="76" y="18"/>
                  </a:cxn>
                  <a:cxn ang="0">
                    <a:pos x="75" y="13"/>
                  </a:cxn>
                  <a:cxn ang="0">
                    <a:pos x="72" y="0"/>
                  </a:cxn>
                  <a:cxn ang="0">
                    <a:pos x="21" y="0"/>
                  </a:cxn>
                  <a:cxn ang="0">
                    <a:pos x="11" y="4"/>
                  </a:cxn>
                  <a:cxn ang="0">
                    <a:pos x="20" y="24"/>
                  </a:cxn>
                  <a:cxn ang="0">
                    <a:pos x="27" y="41"/>
                  </a:cxn>
                  <a:cxn ang="0">
                    <a:pos x="24" y="55"/>
                  </a:cxn>
                  <a:cxn ang="0">
                    <a:pos x="28" y="71"/>
                  </a:cxn>
                  <a:cxn ang="0">
                    <a:pos x="34" y="88"/>
                  </a:cxn>
                  <a:cxn ang="0">
                    <a:pos x="22" y="112"/>
                  </a:cxn>
                  <a:cxn ang="0">
                    <a:pos x="14" y="126"/>
                  </a:cxn>
                  <a:cxn ang="0">
                    <a:pos x="10" y="142"/>
                  </a:cxn>
                  <a:cxn ang="0">
                    <a:pos x="2" y="160"/>
                  </a:cxn>
                  <a:cxn ang="0">
                    <a:pos x="1" y="176"/>
                  </a:cxn>
                  <a:cxn ang="0">
                    <a:pos x="0" y="187"/>
                  </a:cxn>
                  <a:cxn ang="0">
                    <a:pos x="5" y="185"/>
                  </a:cxn>
                  <a:cxn ang="0">
                    <a:pos x="10" y="182"/>
                  </a:cxn>
                </a:cxnLst>
                <a:rect l="0" t="0" r="r" b="b"/>
                <a:pathLst>
                  <a:path w="187" h="196">
                    <a:moveTo>
                      <a:pt x="10" y="182"/>
                    </a:moveTo>
                    <a:lnTo>
                      <a:pt x="10" y="182"/>
                    </a:lnTo>
                    <a:lnTo>
                      <a:pt x="12" y="183"/>
                    </a:lnTo>
                    <a:lnTo>
                      <a:pt x="14" y="185"/>
                    </a:lnTo>
                    <a:lnTo>
                      <a:pt x="14" y="186"/>
                    </a:lnTo>
                    <a:lnTo>
                      <a:pt x="18" y="185"/>
                    </a:lnTo>
                    <a:lnTo>
                      <a:pt x="18" y="185"/>
                    </a:lnTo>
                    <a:lnTo>
                      <a:pt x="21" y="183"/>
                    </a:lnTo>
                    <a:lnTo>
                      <a:pt x="25" y="183"/>
                    </a:lnTo>
                    <a:lnTo>
                      <a:pt x="30" y="185"/>
                    </a:lnTo>
                    <a:lnTo>
                      <a:pt x="32" y="186"/>
                    </a:lnTo>
                    <a:lnTo>
                      <a:pt x="32" y="186"/>
                    </a:lnTo>
                    <a:lnTo>
                      <a:pt x="39" y="189"/>
                    </a:lnTo>
                    <a:lnTo>
                      <a:pt x="47" y="190"/>
                    </a:lnTo>
                    <a:lnTo>
                      <a:pt x="47" y="190"/>
                    </a:lnTo>
                    <a:lnTo>
                      <a:pt x="102" y="190"/>
                    </a:lnTo>
                    <a:lnTo>
                      <a:pt x="108" y="196"/>
                    </a:lnTo>
                    <a:lnTo>
                      <a:pt x="108" y="196"/>
                    </a:lnTo>
                    <a:lnTo>
                      <a:pt x="123" y="195"/>
                    </a:lnTo>
                    <a:lnTo>
                      <a:pt x="136" y="195"/>
                    </a:lnTo>
                    <a:lnTo>
                      <a:pt x="143" y="196"/>
                    </a:lnTo>
                    <a:lnTo>
                      <a:pt x="143" y="196"/>
                    </a:lnTo>
                    <a:lnTo>
                      <a:pt x="149" y="196"/>
                    </a:lnTo>
                    <a:lnTo>
                      <a:pt x="156" y="196"/>
                    </a:lnTo>
                    <a:lnTo>
                      <a:pt x="169" y="195"/>
                    </a:lnTo>
                    <a:lnTo>
                      <a:pt x="169" y="195"/>
                    </a:lnTo>
                    <a:lnTo>
                      <a:pt x="173" y="193"/>
                    </a:lnTo>
                    <a:lnTo>
                      <a:pt x="155" y="168"/>
                    </a:lnTo>
                    <a:lnTo>
                      <a:pt x="156" y="115"/>
                    </a:lnTo>
                    <a:lnTo>
                      <a:pt x="180" y="115"/>
                    </a:lnTo>
                    <a:lnTo>
                      <a:pt x="185" y="111"/>
                    </a:lnTo>
                    <a:lnTo>
                      <a:pt x="187" y="79"/>
                    </a:lnTo>
                    <a:lnTo>
                      <a:pt x="187" y="79"/>
                    </a:lnTo>
                    <a:lnTo>
                      <a:pt x="185" y="79"/>
                    </a:lnTo>
                    <a:lnTo>
                      <a:pt x="183" y="79"/>
                    </a:lnTo>
                    <a:lnTo>
                      <a:pt x="183" y="79"/>
                    </a:lnTo>
                    <a:lnTo>
                      <a:pt x="176" y="81"/>
                    </a:lnTo>
                    <a:lnTo>
                      <a:pt x="169" y="81"/>
                    </a:lnTo>
                    <a:lnTo>
                      <a:pt x="169" y="81"/>
                    </a:lnTo>
                    <a:lnTo>
                      <a:pt x="166" y="81"/>
                    </a:lnTo>
                    <a:lnTo>
                      <a:pt x="163" y="84"/>
                    </a:lnTo>
                    <a:lnTo>
                      <a:pt x="162" y="85"/>
                    </a:lnTo>
                    <a:lnTo>
                      <a:pt x="160" y="85"/>
                    </a:lnTo>
                    <a:lnTo>
                      <a:pt x="160" y="85"/>
                    </a:lnTo>
                    <a:lnTo>
                      <a:pt x="159" y="84"/>
                    </a:lnTo>
                    <a:lnTo>
                      <a:pt x="159" y="79"/>
                    </a:lnTo>
                    <a:lnTo>
                      <a:pt x="160" y="72"/>
                    </a:lnTo>
                    <a:lnTo>
                      <a:pt x="160" y="72"/>
                    </a:lnTo>
                    <a:lnTo>
                      <a:pt x="160" y="69"/>
                    </a:lnTo>
                    <a:lnTo>
                      <a:pt x="158" y="65"/>
                    </a:lnTo>
                    <a:lnTo>
                      <a:pt x="152" y="59"/>
                    </a:lnTo>
                    <a:lnTo>
                      <a:pt x="152" y="59"/>
                    </a:lnTo>
                    <a:lnTo>
                      <a:pt x="152" y="58"/>
                    </a:lnTo>
                    <a:lnTo>
                      <a:pt x="152" y="55"/>
                    </a:lnTo>
                    <a:lnTo>
                      <a:pt x="153" y="48"/>
                    </a:lnTo>
                    <a:lnTo>
                      <a:pt x="155" y="41"/>
                    </a:lnTo>
                    <a:lnTo>
                      <a:pt x="155" y="37"/>
                    </a:lnTo>
                    <a:lnTo>
                      <a:pt x="155" y="37"/>
                    </a:lnTo>
                    <a:lnTo>
                      <a:pt x="153" y="34"/>
                    </a:lnTo>
                    <a:lnTo>
                      <a:pt x="152" y="31"/>
                    </a:lnTo>
                    <a:lnTo>
                      <a:pt x="152" y="24"/>
                    </a:lnTo>
                    <a:lnTo>
                      <a:pt x="152" y="24"/>
                    </a:lnTo>
                    <a:lnTo>
                      <a:pt x="150" y="21"/>
                    </a:lnTo>
                    <a:lnTo>
                      <a:pt x="149" y="21"/>
                    </a:lnTo>
                    <a:lnTo>
                      <a:pt x="140" y="21"/>
                    </a:lnTo>
                    <a:lnTo>
                      <a:pt x="140" y="21"/>
                    </a:lnTo>
                    <a:lnTo>
                      <a:pt x="136" y="21"/>
                    </a:lnTo>
                    <a:lnTo>
                      <a:pt x="135" y="20"/>
                    </a:lnTo>
                    <a:lnTo>
                      <a:pt x="133" y="18"/>
                    </a:lnTo>
                    <a:lnTo>
                      <a:pt x="133" y="18"/>
                    </a:lnTo>
                    <a:lnTo>
                      <a:pt x="128" y="17"/>
                    </a:lnTo>
                    <a:lnTo>
                      <a:pt x="125" y="17"/>
                    </a:lnTo>
                    <a:lnTo>
                      <a:pt x="121" y="18"/>
                    </a:lnTo>
                    <a:lnTo>
                      <a:pt x="121" y="18"/>
                    </a:lnTo>
                    <a:lnTo>
                      <a:pt x="118" y="21"/>
                    </a:lnTo>
                    <a:lnTo>
                      <a:pt x="116" y="27"/>
                    </a:lnTo>
                    <a:lnTo>
                      <a:pt x="115" y="31"/>
                    </a:lnTo>
                    <a:lnTo>
                      <a:pt x="115" y="32"/>
                    </a:lnTo>
                    <a:lnTo>
                      <a:pt x="113" y="32"/>
                    </a:lnTo>
                    <a:lnTo>
                      <a:pt x="113" y="32"/>
                    </a:lnTo>
                    <a:lnTo>
                      <a:pt x="106" y="32"/>
                    </a:lnTo>
                    <a:lnTo>
                      <a:pt x="95" y="35"/>
                    </a:lnTo>
                    <a:lnTo>
                      <a:pt x="95" y="35"/>
                    </a:lnTo>
                    <a:lnTo>
                      <a:pt x="91" y="35"/>
                    </a:lnTo>
                    <a:lnTo>
                      <a:pt x="88" y="34"/>
                    </a:lnTo>
                    <a:lnTo>
                      <a:pt x="85" y="31"/>
                    </a:lnTo>
                    <a:lnTo>
                      <a:pt x="82" y="25"/>
                    </a:lnTo>
                    <a:lnTo>
                      <a:pt x="82" y="25"/>
                    </a:lnTo>
                    <a:lnTo>
                      <a:pt x="79" y="21"/>
                    </a:lnTo>
                    <a:lnTo>
                      <a:pt x="76" y="18"/>
                    </a:lnTo>
                    <a:lnTo>
                      <a:pt x="75" y="17"/>
                    </a:lnTo>
                    <a:lnTo>
                      <a:pt x="75" y="13"/>
                    </a:lnTo>
                    <a:lnTo>
                      <a:pt x="75" y="13"/>
                    </a:lnTo>
                    <a:lnTo>
                      <a:pt x="75" y="8"/>
                    </a:lnTo>
                    <a:lnTo>
                      <a:pt x="75" y="4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48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7" y="1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15" y="14"/>
                    </a:lnTo>
                    <a:lnTo>
                      <a:pt x="20" y="24"/>
                    </a:lnTo>
                    <a:lnTo>
                      <a:pt x="25" y="38"/>
                    </a:lnTo>
                    <a:lnTo>
                      <a:pt x="25" y="38"/>
                    </a:lnTo>
                    <a:lnTo>
                      <a:pt x="27" y="41"/>
                    </a:lnTo>
                    <a:lnTo>
                      <a:pt x="25" y="45"/>
                    </a:lnTo>
                    <a:lnTo>
                      <a:pt x="24" y="49"/>
                    </a:lnTo>
                    <a:lnTo>
                      <a:pt x="24" y="55"/>
                    </a:lnTo>
                    <a:lnTo>
                      <a:pt x="24" y="55"/>
                    </a:lnTo>
                    <a:lnTo>
                      <a:pt x="25" y="62"/>
                    </a:lnTo>
                    <a:lnTo>
                      <a:pt x="28" y="71"/>
                    </a:lnTo>
                    <a:lnTo>
                      <a:pt x="31" y="81"/>
                    </a:lnTo>
                    <a:lnTo>
                      <a:pt x="34" y="88"/>
                    </a:lnTo>
                    <a:lnTo>
                      <a:pt x="34" y="88"/>
                    </a:lnTo>
                    <a:lnTo>
                      <a:pt x="32" y="95"/>
                    </a:lnTo>
                    <a:lnTo>
                      <a:pt x="30" y="10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18" y="118"/>
                    </a:lnTo>
                    <a:lnTo>
                      <a:pt x="14" y="126"/>
                    </a:lnTo>
                    <a:lnTo>
                      <a:pt x="11" y="135"/>
                    </a:lnTo>
                    <a:lnTo>
                      <a:pt x="10" y="142"/>
                    </a:lnTo>
                    <a:lnTo>
                      <a:pt x="10" y="142"/>
                    </a:lnTo>
                    <a:lnTo>
                      <a:pt x="8" y="149"/>
                    </a:lnTo>
                    <a:lnTo>
                      <a:pt x="5" y="156"/>
                    </a:lnTo>
                    <a:lnTo>
                      <a:pt x="2" y="160"/>
                    </a:lnTo>
                    <a:lnTo>
                      <a:pt x="2" y="165"/>
                    </a:lnTo>
                    <a:lnTo>
                      <a:pt x="2" y="165"/>
                    </a:lnTo>
                    <a:lnTo>
                      <a:pt x="1" y="176"/>
                    </a:lnTo>
                    <a:lnTo>
                      <a:pt x="0" y="186"/>
                    </a:lnTo>
                    <a:lnTo>
                      <a:pt x="0" y="186"/>
                    </a:lnTo>
                    <a:lnTo>
                      <a:pt x="0" y="187"/>
                    </a:lnTo>
                    <a:lnTo>
                      <a:pt x="5" y="186"/>
                    </a:lnTo>
                    <a:lnTo>
                      <a:pt x="5" y="186"/>
                    </a:lnTo>
                    <a:lnTo>
                      <a:pt x="5" y="185"/>
                    </a:lnTo>
                    <a:lnTo>
                      <a:pt x="8" y="183"/>
                    </a:lnTo>
                    <a:lnTo>
                      <a:pt x="10" y="182"/>
                    </a:lnTo>
                    <a:lnTo>
                      <a:pt x="10" y="182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38" name="Tanzania">
                <a:extLst>
                  <a:ext uri="{FF2B5EF4-FFF2-40B4-BE49-F238E27FC236}">
                    <a16:creationId xmlns:a16="http://schemas.microsoft.com/office/drawing/2014/main" id="{2E84E2B6-6CDD-C6FC-BE3E-A2B7FC8995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7057" y="4333416"/>
                <a:ext cx="258962" cy="260442"/>
              </a:xfrm>
              <a:custGeom>
                <a:avLst/>
                <a:gdLst/>
                <a:ahLst/>
                <a:cxnLst>
                  <a:cxn ang="0">
                    <a:pos x="162" y="135"/>
                  </a:cxn>
                  <a:cxn ang="0">
                    <a:pos x="158" y="125"/>
                  </a:cxn>
                  <a:cxn ang="0">
                    <a:pos x="156" y="112"/>
                  </a:cxn>
                  <a:cxn ang="0">
                    <a:pos x="155" y="109"/>
                  </a:cxn>
                  <a:cxn ang="0">
                    <a:pos x="159" y="99"/>
                  </a:cxn>
                  <a:cxn ang="0">
                    <a:pos x="156" y="94"/>
                  </a:cxn>
                  <a:cxn ang="0">
                    <a:pos x="151" y="85"/>
                  </a:cxn>
                  <a:cxn ang="0">
                    <a:pos x="156" y="61"/>
                  </a:cxn>
                  <a:cxn ang="0">
                    <a:pos x="131" y="32"/>
                  </a:cxn>
                  <a:cxn ang="0">
                    <a:pos x="69" y="5"/>
                  </a:cxn>
                  <a:cxn ang="0">
                    <a:pos x="62" y="15"/>
                  </a:cxn>
                  <a:cxn ang="0">
                    <a:pos x="61" y="18"/>
                  </a:cxn>
                  <a:cxn ang="0">
                    <a:pos x="65" y="24"/>
                  </a:cxn>
                  <a:cxn ang="0">
                    <a:pos x="58" y="25"/>
                  </a:cxn>
                  <a:cxn ang="0">
                    <a:pos x="38" y="24"/>
                  </a:cxn>
                  <a:cxn ang="0">
                    <a:pos x="34" y="22"/>
                  </a:cxn>
                  <a:cxn ang="0">
                    <a:pos x="38" y="0"/>
                  </a:cxn>
                  <a:cxn ang="0">
                    <a:pos x="17" y="2"/>
                  </a:cxn>
                  <a:cxn ang="0">
                    <a:pos x="21" y="12"/>
                  </a:cxn>
                  <a:cxn ang="0">
                    <a:pos x="21" y="20"/>
                  </a:cxn>
                  <a:cxn ang="0">
                    <a:pos x="15" y="22"/>
                  </a:cxn>
                  <a:cxn ang="0">
                    <a:pos x="20" y="34"/>
                  </a:cxn>
                  <a:cxn ang="0">
                    <a:pos x="11" y="49"/>
                  </a:cxn>
                  <a:cxn ang="0">
                    <a:pos x="0" y="57"/>
                  </a:cxn>
                  <a:cxn ang="0">
                    <a:pos x="7" y="82"/>
                  </a:cxn>
                  <a:cxn ang="0">
                    <a:pos x="14" y="94"/>
                  </a:cxn>
                  <a:cxn ang="0">
                    <a:pos x="18" y="108"/>
                  </a:cxn>
                  <a:cxn ang="0">
                    <a:pos x="24" y="121"/>
                  </a:cxn>
                  <a:cxn ang="0">
                    <a:pos x="20" y="122"/>
                  </a:cxn>
                  <a:cxn ang="0">
                    <a:pos x="14" y="115"/>
                  </a:cxn>
                  <a:cxn ang="0">
                    <a:pos x="11" y="118"/>
                  </a:cxn>
                  <a:cxn ang="0">
                    <a:pos x="24" y="125"/>
                  </a:cxn>
                  <a:cxn ang="0">
                    <a:pos x="31" y="126"/>
                  </a:cxn>
                  <a:cxn ang="0">
                    <a:pos x="50" y="133"/>
                  </a:cxn>
                  <a:cxn ang="0">
                    <a:pos x="58" y="139"/>
                  </a:cxn>
                  <a:cxn ang="0">
                    <a:pos x="71" y="140"/>
                  </a:cxn>
                  <a:cxn ang="0">
                    <a:pos x="72" y="139"/>
                  </a:cxn>
                  <a:cxn ang="0">
                    <a:pos x="81" y="152"/>
                  </a:cxn>
                  <a:cxn ang="0">
                    <a:pos x="84" y="172"/>
                  </a:cxn>
                  <a:cxn ang="0">
                    <a:pos x="98" y="172"/>
                  </a:cxn>
                  <a:cxn ang="0">
                    <a:pos x="104" y="172"/>
                  </a:cxn>
                  <a:cxn ang="0">
                    <a:pos x="106" y="176"/>
                  </a:cxn>
                  <a:cxn ang="0">
                    <a:pos x="115" y="175"/>
                  </a:cxn>
                  <a:cxn ang="0">
                    <a:pos x="128" y="175"/>
                  </a:cxn>
                  <a:cxn ang="0">
                    <a:pos x="132" y="173"/>
                  </a:cxn>
                  <a:cxn ang="0">
                    <a:pos x="136" y="167"/>
                  </a:cxn>
                  <a:cxn ang="0">
                    <a:pos x="143" y="169"/>
                  </a:cxn>
                  <a:cxn ang="0">
                    <a:pos x="149" y="166"/>
                  </a:cxn>
                  <a:cxn ang="0">
                    <a:pos x="158" y="165"/>
                  </a:cxn>
                  <a:cxn ang="0">
                    <a:pos x="175" y="155"/>
                  </a:cxn>
                  <a:cxn ang="0">
                    <a:pos x="172" y="150"/>
                  </a:cxn>
                  <a:cxn ang="0">
                    <a:pos x="163" y="143"/>
                  </a:cxn>
                </a:cxnLst>
                <a:rect l="0" t="0" r="r" b="b"/>
                <a:pathLst>
                  <a:path w="175" h="176">
                    <a:moveTo>
                      <a:pt x="163" y="140"/>
                    </a:moveTo>
                    <a:lnTo>
                      <a:pt x="163" y="140"/>
                    </a:lnTo>
                    <a:lnTo>
                      <a:pt x="162" y="135"/>
                    </a:lnTo>
                    <a:lnTo>
                      <a:pt x="161" y="132"/>
                    </a:lnTo>
                    <a:lnTo>
                      <a:pt x="158" y="129"/>
                    </a:lnTo>
                    <a:lnTo>
                      <a:pt x="158" y="125"/>
                    </a:lnTo>
                    <a:lnTo>
                      <a:pt x="158" y="125"/>
                    </a:lnTo>
                    <a:lnTo>
                      <a:pt x="158" y="116"/>
                    </a:lnTo>
                    <a:lnTo>
                      <a:pt x="156" y="112"/>
                    </a:lnTo>
                    <a:lnTo>
                      <a:pt x="156" y="111"/>
                    </a:lnTo>
                    <a:lnTo>
                      <a:pt x="156" y="111"/>
                    </a:lnTo>
                    <a:lnTo>
                      <a:pt x="155" y="109"/>
                    </a:lnTo>
                    <a:lnTo>
                      <a:pt x="155" y="106"/>
                    </a:lnTo>
                    <a:lnTo>
                      <a:pt x="159" y="99"/>
                    </a:lnTo>
                    <a:lnTo>
                      <a:pt x="159" y="99"/>
                    </a:lnTo>
                    <a:lnTo>
                      <a:pt x="159" y="98"/>
                    </a:lnTo>
                    <a:lnTo>
                      <a:pt x="159" y="95"/>
                    </a:lnTo>
                    <a:lnTo>
                      <a:pt x="156" y="94"/>
                    </a:lnTo>
                    <a:lnTo>
                      <a:pt x="152" y="89"/>
                    </a:lnTo>
                    <a:lnTo>
                      <a:pt x="151" y="85"/>
                    </a:lnTo>
                    <a:lnTo>
                      <a:pt x="151" y="85"/>
                    </a:lnTo>
                    <a:lnTo>
                      <a:pt x="151" y="82"/>
                    </a:lnTo>
                    <a:lnTo>
                      <a:pt x="152" y="76"/>
                    </a:lnTo>
                    <a:lnTo>
                      <a:pt x="156" y="61"/>
                    </a:lnTo>
                    <a:lnTo>
                      <a:pt x="156" y="61"/>
                    </a:lnTo>
                    <a:lnTo>
                      <a:pt x="131" y="42"/>
                    </a:lnTo>
                    <a:lnTo>
                      <a:pt x="131" y="32"/>
                    </a:lnTo>
                    <a:lnTo>
                      <a:pt x="71" y="0"/>
                    </a:lnTo>
                    <a:lnTo>
                      <a:pt x="71" y="0"/>
                    </a:lnTo>
                    <a:lnTo>
                      <a:pt x="69" y="5"/>
                    </a:lnTo>
                    <a:lnTo>
                      <a:pt x="68" y="10"/>
                    </a:lnTo>
                    <a:lnTo>
                      <a:pt x="65" y="12"/>
                    </a:lnTo>
                    <a:lnTo>
                      <a:pt x="62" y="15"/>
                    </a:lnTo>
                    <a:lnTo>
                      <a:pt x="62" y="15"/>
                    </a:lnTo>
                    <a:lnTo>
                      <a:pt x="61" y="17"/>
                    </a:lnTo>
                    <a:lnTo>
                      <a:pt x="61" y="18"/>
                    </a:lnTo>
                    <a:lnTo>
                      <a:pt x="64" y="21"/>
                    </a:lnTo>
                    <a:lnTo>
                      <a:pt x="65" y="24"/>
                    </a:lnTo>
                    <a:lnTo>
                      <a:pt x="65" y="24"/>
                    </a:lnTo>
                    <a:lnTo>
                      <a:pt x="64" y="25"/>
                    </a:lnTo>
                    <a:lnTo>
                      <a:pt x="64" y="25"/>
                    </a:lnTo>
                    <a:lnTo>
                      <a:pt x="58" y="25"/>
                    </a:lnTo>
                    <a:lnTo>
                      <a:pt x="52" y="24"/>
                    </a:lnTo>
                    <a:lnTo>
                      <a:pt x="44" y="22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5" y="24"/>
                    </a:lnTo>
                    <a:lnTo>
                      <a:pt x="34" y="22"/>
                    </a:lnTo>
                    <a:lnTo>
                      <a:pt x="34" y="17"/>
                    </a:lnTo>
                    <a:lnTo>
                      <a:pt x="35" y="8"/>
                    </a:lnTo>
                    <a:lnTo>
                      <a:pt x="38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7" y="2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1" y="12"/>
                    </a:lnTo>
                    <a:lnTo>
                      <a:pt x="21" y="17"/>
                    </a:lnTo>
                    <a:lnTo>
                      <a:pt x="21" y="20"/>
                    </a:lnTo>
                    <a:lnTo>
                      <a:pt x="21" y="20"/>
                    </a:lnTo>
                    <a:lnTo>
                      <a:pt x="20" y="22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15" y="29"/>
                    </a:lnTo>
                    <a:lnTo>
                      <a:pt x="15" y="31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15" y="42"/>
                    </a:lnTo>
                    <a:lnTo>
                      <a:pt x="11" y="49"/>
                    </a:lnTo>
                    <a:lnTo>
                      <a:pt x="7" y="52"/>
                    </a:lnTo>
                    <a:lnTo>
                      <a:pt x="7" y="52"/>
                    </a:lnTo>
                    <a:lnTo>
                      <a:pt x="0" y="57"/>
                    </a:lnTo>
                    <a:lnTo>
                      <a:pt x="0" y="57"/>
                    </a:lnTo>
                    <a:lnTo>
                      <a:pt x="4" y="75"/>
                    </a:lnTo>
                    <a:lnTo>
                      <a:pt x="7" y="82"/>
                    </a:lnTo>
                    <a:lnTo>
                      <a:pt x="10" y="88"/>
                    </a:lnTo>
                    <a:lnTo>
                      <a:pt x="10" y="88"/>
                    </a:lnTo>
                    <a:lnTo>
                      <a:pt x="14" y="94"/>
                    </a:lnTo>
                    <a:lnTo>
                      <a:pt x="17" y="99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23" y="116"/>
                    </a:lnTo>
                    <a:lnTo>
                      <a:pt x="24" y="119"/>
                    </a:lnTo>
                    <a:lnTo>
                      <a:pt x="24" y="121"/>
                    </a:lnTo>
                    <a:lnTo>
                      <a:pt x="23" y="121"/>
                    </a:lnTo>
                    <a:lnTo>
                      <a:pt x="23" y="121"/>
                    </a:lnTo>
                    <a:lnTo>
                      <a:pt x="20" y="122"/>
                    </a:lnTo>
                    <a:lnTo>
                      <a:pt x="18" y="121"/>
                    </a:lnTo>
                    <a:lnTo>
                      <a:pt x="14" y="115"/>
                    </a:lnTo>
                    <a:lnTo>
                      <a:pt x="14" y="115"/>
                    </a:lnTo>
                    <a:lnTo>
                      <a:pt x="13" y="116"/>
                    </a:lnTo>
                    <a:lnTo>
                      <a:pt x="13" y="116"/>
                    </a:lnTo>
                    <a:lnTo>
                      <a:pt x="11" y="118"/>
                    </a:lnTo>
                    <a:lnTo>
                      <a:pt x="11" y="118"/>
                    </a:lnTo>
                    <a:lnTo>
                      <a:pt x="18" y="122"/>
                    </a:lnTo>
                    <a:lnTo>
                      <a:pt x="24" y="125"/>
                    </a:lnTo>
                    <a:lnTo>
                      <a:pt x="24" y="125"/>
                    </a:lnTo>
                    <a:lnTo>
                      <a:pt x="27" y="125"/>
                    </a:lnTo>
                    <a:lnTo>
                      <a:pt x="31" y="126"/>
                    </a:lnTo>
                    <a:lnTo>
                      <a:pt x="38" y="130"/>
                    </a:lnTo>
                    <a:lnTo>
                      <a:pt x="38" y="130"/>
                    </a:lnTo>
                    <a:lnTo>
                      <a:pt x="50" y="133"/>
                    </a:lnTo>
                    <a:lnTo>
                      <a:pt x="55" y="136"/>
                    </a:lnTo>
                    <a:lnTo>
                      <a:pt x="58" y="139"/>
                    </a:lnTo>
                    <a:lnTo>
                      <a:pt x="58" y="139"/>
                    </a:lnTo>
                    <a:lnTo>
                      <a:pt x="60" y="140"/>
                    </a:lnTo>
                    <a:lnTo>
                      <a:pt x="60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5" y="140"/>
                    </a:lnTo>
                    <a:lnTo>
                      <a:pt x="77" y="143"/>
                    </a:lnTo>
                    <a:lnTo>
                      <a:pt x="81" y="152"/>
                    </a:lnTo>
                    <a:lnTo>
                      <a:pt x="84" y="162"/>
                    </a:lnTo>
                    <a:lnTo>
                      <a:pt x="84" y="172"/>
                    </a:lnTo>
                    <a:lnTo>
                      <a:pt x="84" y="172"/>
                    </a:lnTo>
                    <a:lnTo>
                      <a:pt x="94" y="173"/>
                    </a:lnTo>
                    <a:lnTo>
                      <a:pt x="94" y="173"/>
                    </a:lnTo>
                    <a:lnTo>
                      <a:pt x="98" y="172"/>
                    </a:lnTo>
                    <a:lnTo>
                      <a:pt x="99" y="170"/>
                    </a:lnTo>
                    <a:lnTo>
                      <a:pt x="104" y="172"/>
                    </a:lnTo>
                    <a:lnTo>
                      <a:pt x="104" y="172"/>
                    </a:lnTo>
                    <a:lnTo>
                      <a:pt x="105" y="173"/>
                    </a:lnTo>
                    <a:lnTo>
                      <a:pt x="105" y="175"/>
                    </a:lnTo>
                    <a:lnTo>
                      <a:pt x="106" y="176"/>
                    </a:lnTo>
                    <a:lnTo>
                      <a:pt x="108" y="176"/>
                    </a:lnTo>
                    <a:lnTo>
                      <a:pt x="108" y="176"/>
                    </a:lnTo>
                    <a:lnTo>
                      <a:pt x="115" y="175"/>
                    </a:lnTo>
                    <a:lnTo>
                      <a:pt x="122" y="175"/>
                    </a:lnTo>
                    <a:lnTo>
                      <a:pt x="122" y="175"/>
                    </a:lnTo>
                    <a:lnTo>
                      <a:pt x="128" y="175"/>
                    </a:lnTo>
                    <a:lnTo>
                      <a:pt x="131" y="175"/>
                    </a:lnTo>
                    <a:lnTo>
                      <a:pt x="132" y="173"/>
                    </a:lnTo>
                    <a:lnTo>
                      <a:pt x="132" y="173"/>
                    </a:lnTo>
                    <a:lnTo>
                      <a:pt x="133" y="169"/>
                    </a:lnTo>
                    <a:lnTo>
                      <a:pt x="135" y="167"/>
                    </a:lnTo>
                    <a:lnTo>
                      <a:pt x="136" y="167"/>
                    </a:lnTo>
                    <a:lnTo>
                      <a:pt x="136" y="167"/>
                    </a:lnTo>
                    <a:lnTo>
                      <a:pt x="141" y="169"/>
                    </a:lnTo>
                    <a:lnTo>
                      <a:pt x="143" y="169"/>
                    </a:lnTo>
                    <a:lnTo>
                      <a:pt x="146" y="167"/>
                    </a:lnTo>
                    <a:lnTo>
                      <a:pt x="146" y="167"/>
                    </a:lnTo>
                    <a:lnTo>
                      <a:pt x="149" y="166"/>
                    </a:lnTo>
                    <a:lnTo>
                      <a:pt x="152" y="166"/>
                    </a:lnTo>
                    <a:lnTo>
                      <a:pt x="156" y="166"/>
                    </a:lnTo>
                    <a:lnTo>
                      <a:pt x="158" y="165"/>
                    </a:lnTo>
                    <a:lnTo>
                      <a:pt x="158" y="165"/>
                    </a:lnTo>
                    <a:lnTo>
                      <a:pt x="163" y="160"/>
                    </a:lnTo>
                    <a:lnTo>
                      <a:pt x="175" y="155"/>
                    </a:lnTo>
                    <a:lnTo>
                      <a:pt x="175" y="155"/>
                    </a:lnTo>
                    <a:lnTo>
                      <a:pt x="173" y="152"/>
                    </a:lnTo>
                    <a:lnTo>
                      <a:pt x="172" y="150"/>
                    </a:lnTo>
                    <a:lnTo>
                      <a:pt x="169" y="148"/>
                    </a:lnTo>
                    <a:lnTo>
                      <a:pt x="165" y="146"/>
                    </a:lnTo>
                    <a:lnTo>
                      <a:pt x="163" y="143"/>
                    </a:lnTo>
                    <a:lnTo>
                      <a:pt x="163" y="140"/>
                    </a:lnTo>
                    <a:lnTo>
                      <a:pt x="163" y="14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39" name="DR Congo">
                <a:extLst>
                  <a:ext uri="{FF2B5EF4-FFF2-40B4-BE49-F238E27FC236}">
                    <a16:creationId xmlns:a16="http://schemas.microsoft.com/office/drawing/2014/main" id="{606AC513-63EF-154A-871D-F4D7745467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0474" y="4180999"/>
                <a:ext cx="436537" cy="451334"/>
              </a:xfrm>
              <a:custGeom>
                <a:avLst/>
                <a:gdLst/>
                <a:ahLst/>
                <a:cxnLst>
                  <a:cxn ang="0">
                    <a:pos x="261" y="151"/>
                  </a:cxn>
                  <a:cxn ang="0">
                    <a:pos x="263" y="131"/>
                  </a:cxn>
                  <a:cxn ang="0">
                    <a:pos x="259" y="124"/>
                  </a:cxn>
                  <a:cxn ang="0">
                    <a:pos x="266" y="111"/>
                  </a:cxn>
                  <a:cxn ang="0">
                    <a:pos x="271" y="98"/>
                  </a:cxn>
                  <a:cxn ang="0">
                    <a:pos x="278" y="73"/>
                  </a:cxn>
                  <a:cxn ang="0">
                    <a:pos x="283" y="64"/>
                  </a:cxn>
                  <a:cxn ang="0">
                    <a:pos x="295" y="51"/>
                  </a:cxn>
                  <a:cxn ang="0">
                    <a:pos x="289" y="43"/>
                  </a:cxn>
                  <a:cxn ang="0">
                    <a:pos x="272" y="13"/>
                  </a:cxn>
                  <a:cxn ang="0">
                    <a:pos x="259" y="13"/>
                  </a:cxn>
                  <a:cxn ang="0">
                    <a:pos x="245" y="14"/>
                  </a:cxn>
                  <a:cxn ang="0">
                    <a:pos x="235" y="3"/>
                  </a:cxn>
                  <a:cxn ang="0">
                    <a:pos x="207" y="2"/>
                  </a:cxn>
                  <a:cxn ang="0">
                    <a:pos x="192" y="4"/>
                  </a:cxn>
                  <a:cxn ang="0">
                    <a:pos x="168" y="10"/>
                  </a:cxn>
                  <a:cxn ang="0">
                    <a:pos x="158" y="22"/>
                  </a:cxn>
                  <a:cxn ang="0">
                    <a:pos x="114" y="6"/>
                  </a:cxn>
                  <a:cxn ang="0">
                    <a:pos x="97" y="30"/>
                  </a:cxn>
                  <a:cxn ang="0">
                    <a:pos x="90" y="57"/>
                  </a:cxn>
                  <a:cxn ang="0">
                    <a:pos x="77" y="97"/>
                  </a:cxn>
                  <a:cxn ang="0">
                    <a:pos x="64" y="113"/>
                  </a:cxn>
                  <a:cxn ang="0">
                    <a:pos x="59" y="148"/>
                  </a:cxn>
                  <a:cxn ang="0">
                    <a:pos x="50" y="160"/>
                  </a:cxn>
                  <a:cxn ang="0">
                    <a:pos x="39" y="164"/>
                  </a:cxn>
                  <a:cxn ang="0">
                    <a:pos x="23" y="164"/>
                  </a:cxn>
                  <a:cxn ang="0">
                    <a:pos x="0" y="169"/>
                  </a:cxn>
                  <a:cxn ang="0">
                    <a:pos x="12" y="185"/>
                  </a:cxn>
                  <a:cxn ang="0">
                    <a:pos x="70" y="188"/>
                  </a:cxn>
                  <a:cxn ang="0">
                    <a:pos x="74" y="205"/>
                  </a:cxn>
                  <a:cxn ang="0">
                    <a:pos x="90" y="219"/>
                  </a:cxn>
                  <a:cxn ang="0">
                    <a:pos x="110" y="215"/>
                  </a:cxn>
                  <a:cxn ang="0">
                    <a:pos x="123" y="201"/>
                  </a:cxn>
                  <a:cxn ang="0">
                    <a:pos x="135" y="205"/>
                  </a:cxn>
                  <a:cxn ang="0">
                    <a:pos x="148" y="218"/>
                  </a:cxn>
                  <a:cxn ang="0">
                    <a:pos x="147" y="242"/>
                  </a:cxn>
                  <a:cxn ang="0">
                    <a:pos x="155" y="256"/>
                  </a:cxn>
                  <a:cxn ang="0">
                    <a:pos x="158" y="268"/>
                  </a:cxn>
                  <a:cxn ang="0">
                    <a:pos x="178" y="263"/>
                  </a:cxn>
                  <a:cxn ang="0">
                    <a:pos x="187" y="268"/>
                  </a:cxn>
                  <a:cxn ang="0">
                    <a:pos x="199" y="269"/>
                  </a:cxn>
                  <a:cxn ang="0">
                    <a:pos x="205" y="278"/>
                  </a:cxn>
                  <a:cxn ang="0">
                    <a:pos x="219" y="282"/>
                  </a:cxn>
                  <a:cxn ang="0">
                    <a:pos x="228" y="278"/>
                  </a:cxn>
                  <a:cxn ang="0">
                    <a:pos x="241" y="286"/>
                  </a:cxn>
                  <a:cxn ang="0">
                    <a:pos x="255" y="296"/>
                  </a:cxn>
                  <a:cxn ang="0">
                    <a:pos x="271" y="303"/>
                  </a:cxn>
                  <a:cxn ang="0">
                    <a:pos x="273" y="289"/>
                  </a:cxn>
                  <a:cxn ang="0">
                    <a:pos x="261" y="288"/>
                  </a:cxn>
                  <a:cxn ang="0">
                    <a:pos x="249" y="273"/>
                  </a:cxn>
                  <a:cxn ang="0">
                    <a:pos x="255" y="245"/>
                  </a:cxn>
                  <a:cxn ang="0">
                    <a:pos x="256" y="233"/>
                  </a:cxn>
                  <a:cxn ang="0">
                    <a:pos x="261" y="224"/>
                  </a:cxn>
                  <a:cxn ang="0">
                    <a:pos x="281" y="219"/>
                  </a:cxn>
                  <a:cxn ang="0">
                    <a:pos x="269" y="201"/>
                  </a:cxn>
                </a:cxnLst>
                <a:rect l="0" t="0" r="r" b="b"/>
                <a:pathLst>
                  <a:path w="295" h="305">
                    <a:moveTo>
                      <a:pt x="269" y="201"/>
                    </a:moveTo>
                    <a:lnTo>
                      <a:pt x="269" y="201"/>
                    </a:lnTo>
                    <a:lnTo>
                      <a:pt x="266" y="198"/>
                    </a:lnTo>
                    <a:lnTo>
                      <a:pt x="265" y="191"/>
                    </a:lnTo>
                    <a:lnTo>
                      <a:pt x="262" y="171"/>
                    </a:lnTo>
                    <a:lnTo>
                      <a:pt x="261" y="151"/>
                    </a:lnTo>
                    <a:lnTo>
                      <a:pt x="262" y="144"/>
                    </a:lnTo>
                    <a:lnTo>
                      <a:pt x="262" y="141"/>
                    </a:lnTo>
                    <a:lnTo>
                      <a:pt x="262" y="141"/>
                    </a:lnTo>
                    <a:lnTo>
                      <a:pt x="263" y="142"/>
                    </a:lnTo>
                    <a:lnTo>
                      <a:pt x="263" y="131"/>
                    </a:lnTo>
                    <a:lnTo>
                      <a:pt x="263" y="131"/>
                    </a:lnTo>
                    <a:lnTo>
                      <a:pt x="262" y="131"/>
                    </a:lnTo>
                    <a:lnTo>
                      <a:pt x="262" y="131"/>
                    </a:lnTo>
                    <a:lnTo>
                      <a:pt x="261" y="130"/>
                    </a:lnTo>
                    <a:lnTo>
                      <a:pt x="259" y="125"/>
                    </a:lnTo>
                    <a:lnTo>
                      <a:pt x="259" y="125"/>
                    </a:lnTo>
                    <a:lnTo>
                      <a:pt x="259" y="124"/>
                    </a:lnTo>
                    <a:lnTo>
                      <a:pt x="261" y="123"/>
                    </a:lnTo>
                    <a:lnTo>
                      <a:pt x="262" y="121"/>
                    </a:lnTo>
                    <a:lnTo>
                      <a:pt x="262" y="121"/>
                    </a:lnTo>
                    <a:lnTo>
                      <a:pt x="262" y="117"/>
                    </a:lnTo>
                    <a:lnTo>
                      <a:pt x="263" y="113"/>
                    </a:lnTo>
                    <a:lnTo>
                      <a:pt x="266" y="111"/>
                    </a:lnTo>
                    <a:lnTo>
                      <a:pt x="266" y="111"/>
                    </a:lnTo>
                    <a:lnTo>
                      <a:pt x="268" y="110"/>
                    </a:lnTo>
                    <a:lnTo>
                      <a:pt x="268" y="110"/>
                    </a:lnTo>
                    <a:lnTo>
                      <a:pt x="269" y="104"/>
                    </a:lnTo>
                    <a:lnTo>
                      <a:pt x="271" y="98"/>
                    </a:lnTo>
                    <a:lnTo>
                      <a:pt x="271" y="98"/>
                    </a:lnTo>
                    <a:lnTo>
                      <a:pt x="271" y="91"/>
                    </a:lnTo>
                    <a:lnTo>
                      <a:pt x="273" y="84"/>
                    </a:lnTo>
                    <a:lnTo>
                      <a:pt x="273" y="84"/>
                    </a:lnTo>
                    <a:lnTo>
                      <a:pt x="275" y="77"/>
                    </a:lnTo>
                    <a:lnTo>
                      <a:pt x="275" y="74"/>
                    </a:lnTo>
                    <a:lnTo>
                      <a:pt x="278" y="73"/>
                    </a:lnTo>
                    <a:lnTo>
                      <a:pt x="278" y="73"/>
                    </a:lnTo>
                    <a:lnTo>
                      <a:pt x="279" y="70"/>
                    </a:lnTo>
                    <a:lnTo>
                      <a:pt x="281" y="68"/>
                    </a:lnTo>
                    <a:lnTo>
                      <a:pt x="281" y="66"/>
                    </a:lnTo>
                    <a:lnTo>
                      <a:pt x="283" y="64"/>
                    </a:lnTo>
                    <a:lnTo>
                      <a:pt x="283" y="64"/>
                    </a:lnTo>
                    <a:lnTo>
                      <a:pt x="288" y="61"/>
                    </a:lnTo>
                    <a:lnTo>
                      <a:pt x="291" y="59"/>
                    </a:lnTo>
                    <a:lnTo>
                      <a:pt x="291" y="59"/>
                    </a:lnTo>
                    <a:lnTo>
                      <a:pt x="292" y="56"/>
                    </a:lnTo>
                    <a:lnTo>
                      <a:pt x="293" y="53"/>
                    </a:lnTo>
                    <a:lnTo>
                      <a:pt x="295" y="51"/>
                    </a:lnTo>
                    <a:lnTo>
                      <a:pt x="295" y="51"/>
                    </a:lnTo>
                    <a:lnTo>
                      <a:pt x="293" y="49"/>
                    </a:lnTo>
                    <a:lnTo>
                      <a:pt x="292" y="47"/>
                    </a:lnTo>
                    <a:lnTo>
                      <a:pt x="291" y="46"/>
                    </a:lnTo>
                    <a:lnTo>
                      <a:pt x="289" y="43"/>
                    </a:lnTo>
                    <a:lnTo>
                      <a:pt x="289" y="43"/>
                    </a:lnTo>
                    <a:lnTo>
                      <a:pt x="291" y="29"/>
                    </a:lnTo>
                    <a:lnTo>
                      <a:pt x="291" y="29"/>
                    </a:lnTo>
                    <a:lnTo>
                      <a:pt x="291" y="29"/>
                    </a:lnTo>
                    <a:lnTo>
                      <a:pt x="291" y="29"/>
                    </a:lnTo>
                    <a:lnTo>
                      <a:pt x="272" y="13"/>
                    </a:lnTo>
                    <a:lnTo>
                      <a:pt x="272" y="13"/>
                    </a:lnTo>
                    <a:lnTo>
                      <a:pt x="269" y="13"/>
                    </a:lnTo>
                    <a:lnTo>
                      <a:pt x="268" y="14"/>
                    </a:lnTo>
                    <a:lnTo>
                      <a:pt x="265" y="16"/>
                    </a:lnTo>
                    <a:lnTo>
                      <a:pt x="265" y="16"/>
                    </a:lnTo>
                    <a:lnTo>
                      <a:pt x="262" y="13"/>
                    </a:lnTo>
                    <a:lnTo>
                      <a:pt x="259" y="13"/>
                    </a:lnTo>
                    <a:lnTo>
                      <a:pt x="255" y="14"/>
                    </a:lnTo>
                    <a:lnTo>
                      <a:pt x="255" y="14"/>
                    </a:lnTo>
                    <a:lnTo>
                      <a:pt x="252" y="16"/>
                    </a:lnTo>
                    <a:lnTo>
                      <a:pt x="249" y="16"/>
                    </a:lnTo>
                    <a:lnTo>
                      <a:pt x="245" y="14"/>
                    </a:lnTo>
                    <a:lnTo>
                      <a:pt x="245" y="14"/>
                    </a:lnTo>
                    <a:lnTo>
                      <a:pt x="244" y="13"/>
                    </a:lnTo>
                    <a:lnTo>
                      <a:pt x="241" y="10"/>
                    </a:lnTo>
                    <a:lnTo>
                      <a:pt x="239" y="6"/>
                    </a:lnTo>
                    <a:lnTo>
                      <a:pt x="239" y="6"/>
                    </a:lnTo>
                    <a:lnTo>
                      <a:pt x="236" y="4"/>
                    </a:lnTo>
                    <a:lnTo>
                      <a:pt x="235" y="3"/>
                    </a:lnTo>
                    <a:lnTo>
                      <a:pt x="235" y="3"/>
                    </a:lnTo>
                    <a:lnTo>
                      <a:pt x="222" y="4"/>
                    </a:lnTo>
                    <a:lnTo>
                      <a:pt x="222" y="4"/>
                    </a:lnTo>
                    <a:lnTo>
                      <a:pt x="215" y="2"/>
                    </a:lnTo>
                    <a:lnTo>
                      <a:pt x="209" y="0"/>
                    </a:lnTo>
                    <a:lnTo>
                      <a:pt x="207" y="2"/>
                    </a:lnTo>
                    <a:lnTo>
                      <a:pt x="205" y="3"/>
                    </a:lnTo>
                    <a:lnTo>
                      <a:pt x="205" y="3"/>
                    </a:lnTo>
                    <a:lnTo>
                      <a:pt x="202" y="6"/>
                    </a:lnTo>
                    <a:lnTo>
                      <a:pt x="199" y="6"/>
                    </a:lnTo>
                    <a:lnTo>
                      <a:pt x="192" y="4"/>
                    </a:lnTo>
                    <a:lnTo>
                      <a:pt x="192" y="4"/>
                    </a:lnTo>
                    <a:lnTo>
                      <a:pt x="187" y="6"/>
                    </a:lnTo>
                    <a:lnTo>
                      <a:pt x="182" y="7"/>
                    </a:lnTo>
                    <a:lnTo>
                      <a:pt x="175" y="10"/>
                    </a:lnTo>
                    <a:lnTo>
                      <a:pt x="175" y="10"/>
                    </a:lnTo>
                    <a:lnTo>
                      <a:pt x="172" y="10"/>
                    </a:lnTo>
                    <a:lnTo>
                      <a:pt x="168" y="10"/>
                    </a:lnTo>
                    <a:lnTo>
                      <a:pt x="165" y="9"/>
                    </a:lnTo>
                    <a:lnTo>
                      <a:pt x="162" y="10"/>
                    </a:lnTo>
                    <a:lnTo>
                      <a:pt x="162" y="10"/>
                    </a:lnTo>
                    <a:lnTo>
                      <a:pt x="161" y="13"/>
                    </a:lnTo>
                    <a:lnTo>
                      <a:pt x="160" y="16"/>
                    </a:lnTo>
                    <a:lnTo>
                      <a:pt x="158" y="22"/>
                    </a:lnTo>
                    <a:lnTo>
                      <a:pt x="127" y="14"/>
                    </a:lnTo>
                    <a:lnTo>
                      <a:pt x="127" y="14"/>
                    </a:lnTo>
                    <a:lnTo>
                      <a:pt x="123" y="10"/>
                    </a:lnTo>
                    <a:lnTo>
                      <a:pt x="118" y="7"/>
                    </a:lnTo>
                    <a:lnTo>
                      <a:pt x="114" y="6"/>
                    </a:lnTo>
                    <a:lnTo>
                      <a:pt x="114" y="6"/>
                    </a:lnTo>
                    <a:lnTo>
                      <a:pt x="111" y="6"/>
                    </a:lnTo>
                    <a:lnTo>
                      <a:pt x="108" y="7"/>
                    </a:lnTo>
                    <a:lnTo>
                      <a:pt x="103" y="13"/>
                    </a:lnTo>
                    <a:lnTo>
                      <a:pt x="97" y="19"/>
                    </a:lnTo>
                    <a:lnTo>
                      <a:pt x="97" y="30"/>
                    </a:lnTo>
                    <a:lnTo>
                      <a:pt x="97" y="30"/>
                    </a:lnTo>
                    <a:lnTo>
                      <a:pt x="97" y="34"/>
                    </a:lnTo>
                    <a:lnTo>
                      <a:pt x="97" y="39"/>
                    </a:lnTo>
                    <a:lnTo>
                      <a:pt x="94" y="46"/>
                    </a:lnTo>
                    <a:lnTo>
                      <a:pt x="94" y="46"/>
                    </a:lnTo>
                    <a:lnTo>
                      <a:pt x="91" y="53"/>
                    </a:lnTo>
                    <a:lnTo>
                      <a:pt x="90" y="57"/>
                    </a:lnTo>
                    <a:lnTo>
                      <a:pt x="89" y="63"/>
                    </a:lnTo>
                    <a:lnTo>
                      <a:pt x="89" y="63"/>
                    </a:lnTo>
                    <a:lnTo>
                      <a:pt x="87" y="71"/>
                    </a:lnTo>
                    <a:lnTo>
                      <a:pt x="83" y="81"/>
                    </a:lnTo>
                    <a:lnTo>
                      <a:pt x="79" y="90"/>
                    </a:lnTo>
                    <a:lnTo>
                      <a:pt x="77" y="97"/>
                    </a:lnTo>
                    <a:lnTo>
                      <a:pt x="77" y="97"/>
                    </a:lnTo>
                    <a:lnTo>
                      <a:pt x="77" y="100"/>
                    </a:lnTo>
                    <a:lnTo>
                      <a:pt x="74" y="103"/>
                    </a:lnTo>
                    <a:lnTo>
                      <a:pt x="70" y="107"/>
                    </a:lnTo>
                    <a:lnTo>
                      <a:pt x="66" y="111"/>
                    </a:lnTo>
                    <a:lnTo>
                      <a:pt x="64" y="113"/>
                    </a:lnTo>
                    <a:lnTo>
                      <a:pt x="63" y="114"/>
                    </a:lnTo>
                    <a:lnTo>
                      <a:pt x="63" y="114"/>
                    </a:lnTo>
                    <a:lnTo>
                      <a:pt x="61" y="141"/>
                    </a:lnTo>
                    <a:lnTo>
                      <a:pt x="61" y="141"/>
                    </a:lnTo>
                    <a:lnTo>
                      <a:pt x="61" y="147"/>
                    </a:lnTo>
                    <a:lnTo>
                      <a:pt x="59" y="148"/>
                    </a:lnTo>
                    <a:lnTo>
                      <a:pt x="57" y="148"/>
                    </a:lnTo>
                    <a:lnTo>
                      <a:pt x="56" y="154"/>
                    </a:lnTo>
                    <a:lnTo>
                      <a:pt x="56" y="154"/>
                    </a:lnTo>
                    <a:lnTo>
                      <a:pt x="56" y="158"/>
                    </a:lnTo>
                    <a:lnTo>
                      <a:pt x="53" y="160"/>
                    </a:lnTo>
                    <a:lnTo>
                      <a:pt x="50" y="160"/>
                    </a:lnTo>
                    <a:lnTo>
                      <a:pt x="46" y="162"/>
                    </a:lnTo>
                    <a:lnTo>
                      <a:pt x="46" y="162"/>
                    </a:lnTo>
                    <a:lnTo>
                      <a:pt x="42" y="167"/>
                    </a:lnTo>
                    <a:lnTo>
                      <a:pt x="40" y="165"/>
                    </a:lnTo>
                    <a:lnTo>
                      <a:pt x="39" y="164"/>
                    </a:lnTo>
                    <a:lnTo>
                      <a:pt x="39" y="164"/>
                    </a:lnTo>
                    <a:lnTo>
                      <a:pt x="39" y="161"/>
                    </a:lnTo>
                    <a:lnTo>
                      <a:pt x="36" y="160"/>
                    </a:lnTo>
                    <a:lnTo>
                      <a:pt x="32" y="160"/>
                    </a:lnTo>
                    <a:lnTo>
                      <a:pt x="26" y="162"/>
                    </a:lnTo>
                    <a:lnTo>
                      <a:pt x="26" y="162"/>
                    </a:lnTo>
                    <a:lnTo>
                      <a:pt x="23" y="164"/>
                    </a:lnTo>
                    <a:lnTo>
                      <a:pt x="20" y="164"/>
                    </a:lnTo>
                    <a:lnTo>
                      <a:pt x="16" y="161"/>
                    </a:lnTo>
                    <a:lnTo>
                      <a:pt x="16" y="161"/>
                    </a:lnTo>
                    <a:lnTo>
                      <a:pt x="10" y="164"/>
                    </a:lnTo>
                    <a:lnTo>
                      <a:pt x="0" y="169"/>
                    </a:lnTo>
                    <a:lnTo>
                      <a:pt x="0" y="169"/>
                    </a:lnTo>
                    <a:lnTo>
                      <a:pt x="5" y="178"/>
                    </a:lnTo>
                    <a:lnTo>
                      <a:pt x="6" y="187"/>
                    </a:lnTo>
                    <a:lnTo>
                      <a:pt x="6" y="187"/>
                    </a:lnTo>
                    <a:lnTo>
                      <a:pt x="6" y="188"/>
                    </a:lnTo>
                    <a:lnTo>
                      <a:pt x="6" y="188"/>
                    </a:lnTo>
                    <a:lnTo>
                      <a:pt x="12" y="185"/>
                    </a:lnTo>
                    <a:lnTo>
                      <a:pt x="16" y="184"/>
                    </a:lnTo>
                    <a:lnTo>
                      <a:pt x="16" y="184"/>
                    </a:lnTo>
                    <a:lnTo>
                      <a:pt x="43" y="184"/>
                    </a:lnTo>
                    <a:lnTo>
                      <a:pt x="67" y="184"/>
                    </a:lnTo>
                    <a:lnTo>
                      <a:pt x="67" y="184"/>
                    </a:lnTo>
                    <a:lnTo>
                      <a:pt x="70" y="188"/>
                    </a:lnTo>
                    <a:lnTo>
                      <a:pt x="70" y="192"/>
                    </a:lnTo>
                    <a:lnTo>
                      <a:pt x="70" y="197"/>
                    </a:lnTo>
                    <a:lnTo>
                      <a:pt x="70" y="197"/>
                    </a:lnTo>
                    <a:lnTo>
                      <a:pt x="70" y="201"/>
                    </a:lnTo>
                    <a:lnTo>
                      <a:pt x="71" y="202"/>
                    </a:lnTo>
                    <a:lnTo>
                      <a:pt x="74" y="205"/>
                    </a:lnTo>
                    <a:lnTo>
                      <a:pt x="77" y="209"/>
                    </a:lnTo>
                    <a:lnTo>
                      <a:pt x="77" y="209"/>
                    </a:lnTo>
                    <a:lnTo>
                      <a:pt x="80" y="215"/>
                    </a:lnTo>
                    <a:lnTo>
                      <a:pt x="83" y="218"/>
                    </a:lnTo>
                    <a:lnTo>
                      <a:pt x="86" y="219"/>
                    </a:lnTo>
                    <a:lnTo>
                      <a:pt x="90" y="219"/>
                    </a:lnTo>
                    <a:lnTo>
                      <a:pt x="90" y="219"/>
                    </a:lnTo>
                    <a:lnTo>
                      <a:pt x="101" y="216"/>
                    </a:lnTo>
                    <a:lnTo>
                      <a:pt x="108" y="216"/>
                    </a:lnTo>
                    <a:lnTo>
                      <a:pt x="108" y="216"/>
                    </a:lnTo>
                    <a:lnTo>
                      <a:pt x="110" y="216"/>
                    </a:lnTo>
                    <a:lnTo>
                      <a:pt x="110" y="215"/>
                    </a:lnTo>
                    <a:lnTo>
                      <a:pt x="111" y="211"/>
                    </a:lnTo>
                    <a:lnTo>
                      <a:pt x="113" y="205"/>
                    </a:lnTo>
                    <a:lnTo>
                      <a:pt x="116" y="202"/>
                    </a:lnTo>
                    <a:lnTo>
                      <a:pt x="116" y="202"/>
                    </a:lnTo>
                    <a:lnTo>
                      <a:pt x="120" y="201"/>
                    </a:lnTo>
                    <a:lnTo>
                      <a:pt x="123" y="201"/>
                    </a:lnTo>
                    <a:lnTo>
                      <a:pt x="128" y="202"/>
                    </a:lnTo>
                    <a:lnTo>
                      <a:pt x="128" y="202"/>
                    </a:lnTo>
                    <a:lnTo>
                      <a:pt x="130" y="204"/>
                    </a:lnTo>
                    <a:lnTo>
                      <a:pt x="131" y="205"/>
                    </a:lnTo>
                    <a:lnTo>
                      <a:pt x="135" y="205"/>
                    </a:lnTo>
                    <a:lnTo>
                      <a:pt x="135" y="205"/>
                    </a:lnTo>
                    <a:lnTo>
                      <a:pt x="144" y="205"/>
                    </a:lnTo>
                    <a:lnTo>
                      <a:pt x="145" y="205"/>
                    </a:lnTo>
                    <a:lnTo>
                      <a:pt x="147" y="208"/>
                    </a:lnTo>
                    <a:lnTo>
                      <a:pt x="147" y="208"/>
                    </a:lnTo>
                    <a:lnTo>
                      <a:pt x="147" y="215"/>
                    </a:lnTo>
                    <a:lnTo>
                      <a:pt x="148" y="218"/>
                    </a:lnTo>
                    <a:lnTo>
                      <a:pt x="150" y="221"/>
                    </a:lnTo>
                    <a:lnTo>
                      <a:pt x="150" y="221"/>
                    </a:lnTo>
                    <a:lnTo>
                      <a:pt x="150" y="225"/>
                    </a:lnTo>
                    <a:lnTo>
                      <a:pt x="148" y="232"/>
                    </a:lnTo>
                    <a:lnTo>
                      <a:pt x="147" y="239"/>
                    </a:lnTo>
                    <a:lnTo>
                      <a:pt x="147" y="242"/>
                    </a:lnTo>
                    <a:lnTo>
                      <a:pt x="147" y="243"/>
                    </a:lnTo>
                    <a:lnTo>
                      <a:pt x="147" y="243"/>
                    </a:lnTo>
                    <a:lnTo>
                      <a:pt x="153" y="249"/>
                    </a:lnTo>
                    <a:lnTo>
                      <a:pt x="155" y="253"/>
                    </a:lnTo>
                    <a:lnTo>
                      <a:pt x="155" y="256"/>
                    </a:lnTo>
                    <a:lnTo>
                      <a:pt x="155" y="256"/>
                    </a:lnTo>
                    <a:lnTo>
                      <a:pt x="154" y="263"/>
                    </a:lnTo>
                    <a:lnTo>
                      <a:pt x="154" y="268"/>
                    </a:lnTo>
                    <a:lnTo>
                      <a:pt x="155" y="269"/>
                    </a:lnTo>
                    <a:lnTo>
                      <a:pt x="155" y="269"/>
                    </a:lnTo>
                    <a:lnTo>
                      <a:pt x="157" y="269"/>
                    </a:lnTo>
                    <a:lnTo>
                      <a:pt x="158" y="268"/>
                    </a:lnTo>
                    <a:lnTo>
                      <a:pt x="161" y="265"/>
                    </a:lnTo>
                    <a:lnTo>
                      <a:pt x="164" y="265"/>
                    </a:lnTo>
                    <a:lnTo>
                      <a:pt x="164" y="265"/>
                    </a:lnTo>
                    <a:lnTo>
                      <a:pt x="171" y="265"/>
                    </a:lnTo>
                    <a:lnTo>
                      <a:pt x="178" y="263"/>
                    </a:lnTo>
                    <a:lnTo>
                      <a:pt x="178" y="263"/>
                    </a:lnTo>
                    <a:lnTo>
                      <a:pt x="180" y="263"/>
                    </a:lnTo>
                    <a:lnTo>
                      <a:pt x="182" y="263"/>
                    </a:lnTo>
                    <a:lnTo>
                      <a:pt x="182" y="263"/>
                    </a:lnTo>
                    <a:lnTo>
                      <a:pt x="185" y="266"/>
                    </a:lnTo>
                    <a:lnTo>
                      <a:pt x="187" y="268"/>
                    </a:lnTo>
                    <a:lnTo>
                      <a:pt x="187" y="268"/>
                    </a:lnTo>
                    <a:lnTo>
                      <a:pt x="188" y="270"/>
                    </a:lnTo>
                    <a:lnTo>
                      <a:pt x="190" y="270"/>
                    </a:lnTo>
                    <a:lnTo>
                      <a:pt x="191" y="270"/>
                    </a:lnTo>
                    <a:lnTo>
                      <a:pt x="191" y="270"/>
                    </a:lnTo>
                    <a:lnTo>
                      <a:pt x="197" y="269"/>
                    </a:lnTo>
                    <a:lnTo>
                      <a:pt x="199" y="269"/>
                    </a:lnTo>
                    <a:lnTo>
                      <a:pt x="201" y="270"/>
                    </a:lnTo>
                    <a:lnTo>
                      <a:pt x="201" y="270"/>
                    </a:lnTo>
                    <a:lnTo>
                      <a:pt x="201" y="273"/>
                    </a:lnTo>
                    <a:lnTo>
                      <a:pt x="202" y="276"/>
                    </a:lnTo>
                    <a:lnTo>
                      <a:pt x="204" y="278"/>
                    </a:lnTo>
                    <a:lnTo>
                      <a:pt x="205" y="278"/>
                    </a:lnTo>
                    <a:lnTo>
                      <a:pt x="205" y="278"/>
                    </a:lnTo>
                    <a:lnTo>
                      <a:pt x="208" y="278"/>
                    </a:lnTo>
                    <a:lnTo>
                      <a:pt x="212" y="280"/>
                    </a:lnTo>
                    <a:lnTo>
                      <a:pt x="217" y="282"/>
                    </a:lnTo>
                    <a:lnTo>
                      <a:pt x="219" y="282"/>
                    </a:lnTo>
                    <a:lnTo>
                      <a:pt x="219" y="282"/>
                    </a:lnTo>
                    <a:lnTo>
                      <a:pt x="224" y="282"/>
                    </a:lnTo>
                    <a:lnTo>
                      <a:pt x="225" y="282"/>
                    </a:lnTo>
                    <a:lnTo>
                      <a:pt x="227" y="280"/>
                    </a:lnTo>
                    <a:lnTo>
                      <a:pt x="227" y="280"/>
                    </a:lnTo>
                    <a:lnTo>
                      <a:pt x="227" y="279"/>
                    </a:lnTo>
                    <a:lnTo>
                      <a:pt x="228" y="278"/>
                    </a:lnTo>
                    <a:lnTo>
                      <a:pt x="231" y="276"/>
                    </a:lnTo>
                    <a:lnTo>
                      <a:pt x="232" y="278"/>
                    </a:lnTo>
                    <a:lnTo>
                      <a:pt x="232" y="278"/>
                    </a:lnTo>
                    <a:lnTo>
                      <a:pt x="235" y="283"/>
                    </a:lnTo>
                    <a:lnTo>
                      <a:pt x="238" y="286"/>
                    </a:lnTo>
                    <a:lnTo>
                      <a:pt x="241" y="286"/>
                    </a:lnTo>
                    <a:lnTo>
                      <a:pt x="241" y="286"/>
                    </a:lnTo>
                    <a:lnTo>
                      <a:pt x="248" y="288"/>
                    </a:lnTo>
                    <a:lnTo>
                      <a:pt x="251" y="288"/>
                    </a:lnTo>
                    <a:lnTo>
                      <a:pt x="252" y="289"/>
                    </a:lnTo>
                    <a:lnTo>
                      <a:pt x="252" y="289"/>
                    </a:lnTo>
                    <a:lnTo>
                      <a:pt x="255" y="296"/>
                    </a:lnTo>
                    <a:lnTo>
                      <a:pt x="256" y="300"/>
                    </a:lnTo>
                    <a:lnTo>
                      <a:pt x="259" y="303"/>
                    </a:lnTo>
                    <a:lnTo>
                      <a:pt x="259" y="303"/>
                    </a:lnTo>
                    <a:lnTo>
                      <a:pt x="262" y="305"/>
                    </a:lnTo>
                    <a:lnTo>
                      <a:pt x="266" y="305"/>
                    </a:lnTo>
                    <a:lnTo>
                      <a:pt x="271" y="303"/>
                    </a:lnTo>
                    <a:lnTo>
                      <a:pt x="271" y="303"/>
                    </a:lnTo>
                    <a:lnTo>
                      <a:pt x="272" y="302"/>
                    </a:lnTo>
                    <a:lnTo>
                      <a:pt x="273" y="299"/>
                    </a:lnTo>
                    <a:lnTo>
                      <a:pt x="273" y="296"/>
                    </a:lnTo>
                    <a:lnTo>
                      <a:pt x="273" y="296"/>
                    </a:lnTo>
                    <a:lnTo>
                      <a:pt x="273" y="289"/>
                    </a:lnTo>
                    <a:lnTo>
                      <a:pt x="272" y="286"/>
                    </a:lnTo>
                    <a:lnTo>
                      <a:pt x="271" y="285"/>
                    </a:lnTo>
                    <a:lnTo>
                      <a:pt x="271" y="285"/>
                    </a:lnTo>
                    <a:lnTo>
                      <a:pt x="266" y="288"/>
                    </a:lnTo>
                    <a:lnTo>
                      <a:pt x="263" y="288"/>
                    </a:lnTo>
                    <a:lnTo>
                      <a:pt x="261" y="288"/>
                    </a:lnTo>
                    <a:lnTo>
                      <a:pt x="261" y="288"/>
                    </a:lnTo>
                    <a:lnTo>
                      <a:pt x="256" y="286"/>
                    </a:lnTo>
                    <a:lnTo>
                      <a:pt x="254" y="282"/>
                    </a:lnTo>
                    <a:lnTo>
                      <a:pt x="249" y="275"/>
                    </a:lnTo>
                    <a:lnTo>
                      <a:pt x="249" y="275"/>
                    </a:lnTo>
                    <a:lnTo>
                      <a:pt x="249" y="273"/>
                    </a:lnTo>
                    <a:lnTo>
                      <a:pt x="251" y="269"/>
                    </a:lnTo>
                    <a:lnTo>
                      <a:pt x="252" y="265"/>
                    </a:lnTo>
                    <a:lnTo>
                      <a:pt x="254" y="261"/>
                    </a:lnTo>
                    <a:lnTo>
                      <a:pt x="254" y="261"/>
                    </a:lnTo>
                    <a:lnTo>
                      <a:pt x="255" y="251"/>
                    </a:lnTo>
                    <a:lnTo>
                      <a:pt x="255" y="245"/>
                    </a:lnTo>
                    <a:lnTo>
                      <a:pt x="254" y="242"/>
                    </a:lnTo>
                    <a:lnTo>
                      <a:pt x="254" y="242"/>
                    </a:lnTo>
                    <a:lnTo>
                      <a:pt x="252" y="241"/>
                    </a:lnTo>
                    <a:lnTo>
                      <a:pt x="252" y="239"/>
                    </a:lnTo>
                    <a:lnTo>
                      <a:pt x="254" y="236"/>
                    </a:lnTo>
                    <a:lnTo>
                      <a:pt x="256" y="233"/>
                    </a:lnTo>
                    <a:lnTo>
                      <a:pt x="256" y="233"/>
                    </a:lnTo>
                    <a:lnTo>
                      <a:pt x="258" y="231"/>
                    </a:lnTo>
                    <a:lnTo>
                      <a:pt x="258" y="228"/>
                    </a:lnTo>
                    <a:lnTo>
                      <a:pt x="258" y="225"/>
                    </a:lnTo>
                    <a:lnTo>
                      <a:pt x="259" y="224"/>
                    </a:lnTo>
                    <a:lnTo>
                      <a:pt x="261" y="224"/>
                    </a:lnTo>
                    <a:lnTo>
                      <a:pt x="261" y="224"/>
                    </a:lnTo>
                    <a:lnTo>
                      <a:pt x="271" y="224"/>
                    </a:lnTo>
                    <a:lnTo>
                      <a:pt x="276" y="222"/>
                    </a:lnTo>
                    <a:lnTo>
                      <a:pt x="279" y="221"/>
                    </a:lnTo>
                    <a:lnTo>
                      <a:pt x="279" y="221"/>
                    </a:lnTo>
                    <a:lnTo>
                      <a:pt x="281" y="219"/>
                    </a:lnTo>
                    <a:lnTo>
                      <a:pt x="281" y="219"/>
                    </a:lnTo>
                    <a:lnTo>
                      <a:pt x="282" y="218"/>
                    </a:lnTo>
                    <a:lnTo>
                      <a:pt x="282" y="218"/>
                    </a:lnTo>
                    <a:lnTo>
                      <a:pt x="276" y="208"/>
                    </a:lnTo>
                    <a:lnTo>
                      <a:pt x="273" y="204"/>
                    </a:lnTo>
                    <a:lnTo>
                      <a:pt x="269" y="201"/>
                    </a:lnTo>
                    <a:lnTo>
                      <a:pt x="269" y="201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40" name="South Africa">
                <a:extLst>
                  <a:ext uri="{FF2B5EF4-FFF2-40B4-BE49-F238E27FC236}">
                    <a16:creationId xmlns:a16="http://schemas.microsoft.com/office/drawing/2014/main" id="{4FB69FCB-5D06-F77E-928A-9D93FE4928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03701" y="4843941"/>
                <a:ext cx="380305" cy="334431"/>
              </a:xfrm>
              <a:custGeom>
                <a:avLst/>
                <a:gdLst/>
                <a:ahLst/>
                <a:cxnLst>
                  <a:cxn ang="0">
                    <a:pos x="245" y="83"/>
                  </a:cxn>
                  <a:cxn ang="0">
                    <a:pos x="242" y="90"/>
                  </a:cxn>
                  <a:cxn ang="0">
                    <a:pos x="230" y="90"/>
                  </a:cxn>
                  <a:cxn ang="0">
                    <a:pos x="228" y="70"/>
                  </a:cxn>
                  <a:cxn ang="0">
                    <a:pos x="239" y="67"/>
                  </a:cxn>
                  <a:cxn ang="0">
                    <a:pos x="243" y="67"/>
                  </a:cxn>
                  <a:cxn ang="0">
                    <a:pos x="242" y="37"/>
                  </a:cxn>
                  <a:cxn ang="0">
                    <a:pos x="236" y="23"/>
                  </a:cxn>
                  <a:cxn ang="0">
                    <a:pos x="223" y="6"/>
                  </a:cxn>
                  <a:cxn ang="0">
                    <a:pos x="210" y="3"/>
                  </a:cxn>
                  <a:cxn ang="0">
                    <a:pos x="198" y="0"/>
                  </a:cxn>
                  <a:cxn ang="0">
                    <a:pos x="188" y="10"/>
                  </a:cxn>
                  <a:cxn ang="0">
                    <a:pos x="181" y="17"/>
                  </a:cxn>
                  <a:cxn ang="0">
                    <a:pos x="171" y="24"/>
                  </a:cxn>
                  <a:cxn ang="0">
                    <a:pos x="164" y="34"/>
                  </a:cxn>
                  <a:cxn ang="0">
                    <a:pos x="155" y="44"/>
                  </a:cxn>
                  <a:cxn ang="0">
                    <a:pos x="145" y="49"/>
                  </a:cxn>
                  <a:cxn ang="0">
                    <a:pos x="139" y="63"/>
                  </a:cxn>
                  <a:cxn ang="0">
                    <a:pos x="122" y="63"/>
                  </a:cxn>
                  <a:cxn ang="0">
                    <a:pos x="107" y="56"/>
                  </a:cxn>
                  <a:cxn ang="0">
                    <a:pos x="99" y="63"/>
                  </a:cxn>
                  <a:cxn ang="0">
                    <a:pos x="92" y="74"/>
                  </a:cxn>
                  <a:cxn ang="0">
                    <a:pos x="77" y="84"/>
                  </a:cxn>
                  <a:cxn ang="0">
                    <a:pos x="64" y="81"/>
                  </a:cxn>
                  <a:cxn ang="0">
                    <a:pos x="65" y="74"/>
                  </a:cxn>
                  <a:cxn ang="0">
                    <a:pos x="68" y="70"/>
                  </a:cxn>
                  <a:cxn ang="0">
                    <a:pos x="60" y="52"/>
                  </a:cxn>
                  <a:cxn ang="0">
                    <a:pos x="55" y="108"/>
                  </a:cxn>
                  <a:cxn ang="0">
                    <a:pos x="45" y="118"/>
                  </a:cxn>
                  <a:cxn ang="0">
                    <a:pos x="24" y="120"/>
                  </a:cxn>
                  <a:cxn ang="0">
                    <a:pos x="17" y="111"/>
                  </a:cxn>
                  <a:cxn ang="0">
                    <a:pos x="13" y="106"/>
                  </a:cxn>
                  <a:cxn ang="0">
                    <a:pos x="7" y="113"/>
                  </a:cxn>
                  <a:cxn ang="0">
                    <a:pos x="0" y="114"/>
                  </a:cxn>
                  <a:cxn ang="0">
                    <a:pos x="16" y="150"/>
                  </a:cxn>
                  <a:cxn ang="0">
                    <a:pos x="27" y="171"/>
                  </a:cxn>
                  <a:cxn ang="0">
                    <a:pos x="27" y="187"/>
                  </a:cxn>
                  <a:cxn ang="0">
                    <a:pos x="28" y="199"/>
                  </a:cxn>
                  <a:cxn ang="0">
                    <a:pos x="31" y="212"/>
                  </a:cxn>
                  <a:cxn ang="0">
                    <a:pos x="37" y="215"/>
                  </a:cxn>
                  <a:cxn ang="0">
                    <a:pos x="43" y="218"/>
                  </a:cxn>
                  <a:cxn ang="0">
                    <a:pos x="50" y="226"/>
                  </a:cxn>
                  <a:cxn ang="0">
                    <a:pos x="58" y="224"/>
                  </a:cxn>
                  <a:cxn ang="0">
                    <a:pos x="78" y="218"/>
                  </a:cxn>
                  <a:cxn ang="0">
                    <a:pos x="92" y="212"/>
                  </a:cxn>
                  <a:cxn ang="0">
                    <a:pos x="111" y="211"/>
                  </a:cxn>
                  <a:cxn ang="0">
                    <a:pos x="127" y="214"/>
                  </a:cxn>
                  <a:cxn ang="0">
                    <a:pos x="138" y="211"/>
                  </a:cxn>
                  <a:cxn ang="0">
                    <a:pos x="142" y="208"/>
                  </a:cxn>
                  <a:cxn ang="0">
                    <a:pos x="156" y="204"/>
                  </a:cxn>
                  <a:cxn ang="0">
                    <a:pos x="189" y="182"/>
                  </a:cxn>
                  <a:cxn ang="0">
                    <a:pos x="220" y="147"/>
                  </a:cxn>
                  <a:cxn ang="0">
                    <a:pos x="239" y="121"/>
                  </a:cxn>
                  <a:cxn ang="0">
                    <a:pos x="255" y="100"/>
                  </a:cxn>
                  <a:cxn ang="0">
                    <a:pos x="246" y="86"/>
                  </a:cxn>
                  <a:cxn ang="0">
                    <a:pos x="195" y="140"/>
                  </a:cxn>
                  <a:cxn ang="0">
                    <a:pos x="186" y="141"/>
                  </a:cxn>
                  <a:cxn ang="0">
                    <a:pos x="166" y="135"/>
                  </a:cxn>
                  <a:cxn ang="0">
                    <a:pos x="183" y="116"/>
                  </a:cxn>
                  <a:cxn ang="0">
                    <a:pos x="192" y="114"/>
                  </a:cxn>
                  <a:cxn ang="0">
                    <a:pos x="202" y="127"/>
                  </a:cxn>
                  <a:cxn ang="0">
                    <a:pos x="196" y="135"/>
                  </a:cxn>
                </a:cxnLst>
                <a:rect l="0" t="0" r="r" b="b"/>
                <a:pathLst>
                  <a:path w="257" h="226">
                    <a:moveTo>
                      <a:pt x="246" y="86"/>
                    </a:moveTo>
                    <a:lnTo>
                      <a:pt x="246" y="86"/>
                    </a:lnTo>
                    <a:lnTo>
                      <a:pt x="245" y="83"/>
                    </a:lnTo>
                    <a:lnTo>
                      <a:pt x="245" y="83"/>
                    </a:lnTo>
                    <a:lnTo>
                      <a:pt x="243" y="86"/>
                    </a:lnTo>
                    <a:lnTo>
                      <a:pt x="243" y="87"/>
                    </a:lnTo>
                    <a:lnTo>
                      <a:pt x="243" y="87"/>
                    </a:lnTo>
                    <a:lnTo>
                      <a:pt x="242" y="90"/>
                    </a:lnTo>
                    <a:lnTo>
                      <a:pt x="240" y="91"/>
                    </a:lnTo>
                    <a:lnTo>
                      <a:pt x="233" y="91"/>
                    </a:lnTo>
                    <a:lnTo>
                      <a:pt x="233" y="91"/>
                    </a:lnTo>
                    <a:lnTo>
                      <a:pt x="230" y="90"/>
                    </a:lnTo>
                    <a:lnTo>
                      <a:pt x="226" y="84"/>
                    </a:lnTo>
                    <a:lnTo>
                      <a:pt x="223" y="77"/>
                    </a:lnTo>
                    <a:lnTo>
                      <a:pt x="223" y="77"/>
                    </a:lnTo>
                    <a:lnTo>
                      <a:pt x="228" y="70"/>
                    </a:lnTo>
                    <a:lnTo>
                      <a:pt x="232" y="67"/>
                    </a:lnTo>
                    <a:lnTo>
                      <a:pt x="235" y="64"/>
                    </a:lnTo>
                    <a:lnTo>
                      <a:pt x="235" y="64"/>
                    </a:lnTo>
                    <a:lnTo>
                      <a:pt x="239" y="67"/>
                    </a:lnTo>
                    <a:lnTo>
                      <a:pt x="243" y="70"/>
                    </a:lnTo>
                    <a:lnTo>
                      <a:pt x="243" y="70"/>
                    </a:lnTo>
                    <a:lnTo>
                      <a:pt x="243" y="67"/>
                    </a:lnTo>
                    <a:lnTo>
                      <a:pt x="243" y="67"/>
                    </a:lnTo>
                    <a:lnTo>
                      <a:pt x="245" y="53"/>
                    </a:lnTo>
                    <a:lnTo>
                      <a:pt x="245" y="43"/>
                    </a:lnTo>
                    <a:lnTo>
                      <a:pt x="243" y="39"/>
                    </a:lnTo>
                    <a:lnTo>
                      <a:pt x="242" y="37"/>
                    </a:lnTo>
                    <a:lnTo>
                      <a:pt x="242" y="37"/>
                    </a:lnTo>
                    <a:lnTo>
                      <a:pt x="240" y="36"/>
                    </a:lnTo>
                    <a:lnTo>
                      <a:pt x="239" y="32"/>
                    </a:lnTo>
                    <a:lnTo>
                      <a:pt x="236" y="23"/>
                    </a:lnTo>
                    <a:lnTo>
                      <a:pt x="232" y="7"/>
                    </a:lnTo>
                    <a:lnTo>
                      <a:pt x="232" y="7"/>
                    </a:lnTo>
                    <a:lnTo>
                      <a:pt x="229" y="6"/>
                    </a:lnTo>
                    <a:lnTo>
                      <a:pt x="223" y="6"/>
                    </a:lnTo>
                    <a:lnTo>
                      <a:pt x="218" y="5"/>
                    </a:lnTo>
                    <a:lnTo>
                      <a:pt x="213" y="3"/>
                    </a:lnTo>
                    <a:lnTo>
                      <a:pt x="213" y="3"/>
                    </a:lnTo>
                    <a:lnTo>
                      <a:pt x="210" y="3"/>
                    </a:lnTo>
                    <a:lnTo>
                      <a:pt x="205" y="2"/>
                    </a:lnTo>
                    <a:lnTo>
                      <a:pt x="200" y="2"/>
                    </a:lnTo>
                    <a:lnTo>
                      <a:pt x="198" y="0"/>
                    </a:lnTo>
                    <a:lnTo>
                      <a:pt x="198" y="0"/>
                    </a:lnTo>
                    <a:lnTo>
                      <a:pt x="193" y="9"/>
                    </a:lnTo>
                    <a:lnTo>
                      <a:pt x="193" y="9"/>
                    </a:lnTo>
                    <a:lnTo>
                      <a:pt x="191" y="10"/>
                    </a:lnTo>
                    <a:lnTo>
                      <a:pt x="188" y="10"/>
                    </a:lnTo>
                    <a:lnTo>
                      <a:pt x="185" y="12"/>
                    </a:lnTo>
                    <a:lnTo>
                      <a:pt x="183" y="15"/>
                    </a:lnTo>
                    <a:lnTo>
                      <a:pt x="183" y="15"/>
                    </a:lnTo>
                    <a:lnTo>
                      <a:pt x="181" y="17"/>
                    </a:lnTo>
                    <a:lnTo>
                      <a:pt x="178" y="22"/>
                    </a:lnTo>
                    <a:lnTo>
                      <a:pt x="173" y="23"/>
                    </a:lnTo>
                    <a:lnTo>
                      <a:pt x="171" y="24"/>
                    </a:lnTo>
                    <a:lnTo>
                      <a:pt x="171" y="24"/>
                    </a:lnTo>
                    <a:lnTo>
                      <a:pt x="168" y="24"/>
                    </a:lnTo>
                    <a:lnTo>
                      <a:pt x="165" y="27"/>
                    </a:lnTo>
                    <a:lnTo>
                      <a:pt x="164" y="32"/>
                    </a:lnTo>
                    <a:lnTo>
                      <a:pt x="164" y="34"/>
                    </a:lnTo>
                    <a:lnTo>
                      <a:pt x="164" y="34"/>
                    </a:lnTo>
                    <a:lnTo>
                      <a:pt x="162" y="39"/>
                    </a:lnTo>
                    <a:lnTo>
                      <a:pt x="159" y="42"/>
                    </a:lnTo>
                    <a:lnTo>
                      <a:pt x="155" y="44"/>
                    </a:lnTo>
                    <a:lnTo>
                      <a:pt x="149" y="44"/>
                    </a:lnTo>
                    <a:lnTo>
                      <a:pt x="149" y="44"/>
                    </a:lnTo>
                    <a:lnTo>
                      <a:pt x="146" y="46"/>
                    </a:lnTo>
                    <a:lnTo>
                      <a:pt x="145" y="49"/>
                    </a:lnTo>
                    <a:lnTo>
                      <a:pt x="144" y="57"/>
                    </a:lnTo>
                    <a:lnTo>
                      <a:pt x="144" y="57"/>
                    </a:lnTo>
                    <a:lnTo>
                      <a:pt x="142" y="60"/>
                    </a:lnTo>
                    <a:lnTo>
                      <a:pt x="139" y="63"/>
                    </a:lnTo>
                    <a:lnTo>
                      <a:pt x="135" y="63"/>
                    </a:lnTo>
                    <a:lnTo>
                      <a:pt x="128" y="64"/>
                    </a:lnTo>
                    <a:lnTo>
                      <a:pt x="128" y="64"/>
                    </a:lnTo>
                    <a:lnTo>
                      <a:pt x="122" y="63"/>
                    </a:lnTo>
                    <a:lnTo>
                      <a:pt x="118" y="63"/>
                    </a:lnTo>
                    <a:lnTo>
                      <a:pt x="109" y="57"/>
                    </a:lnTo>
                    <a:lnTo>
                      <a:pt x="109" y="57"/>
                    </a:lnTo>
                    <a:lnTo>
                      <a:pt x="107" y="56"/>
                    </a:lnTo>
                    <a:lnTo>
                      <a:pt x="104" y="56"/>
                    </a:lnTo>
                    <a:lnTo>
                      <a:pt x="102" y="57"/>
                    </a:lnTo>
                    <a:lnTo>
                      <a:pt x="101" y="59"/>
                    </a:lnTo>
                    <a:lnTo>
                      <a:pt x="99" y="63"/>
                    </a:lnTo>
                    <a:lnTo>
                      <a:pt x="98" y="66"/>
                    </a:lnTo>
                    <a:lnTo>
                      <a:pt x="98" y="66"/>
                    </a:lnTo>
                    <a:lnTo>
                      <a:pt x="97" y="70"/>
                    </a:lnTo>
                    <a:lnTo>
                      <a:pt x="92" y="74"/>
                    </a:lnTo>
                    <a:lnTo>
                      <a:pt x="84" y="83"/>
                    </a:lnTo>
                    <a:lnTo>
                      <a:pt x="84" y="83"/>
                    </a:lnTo>
                    <a:lnTo>
                      <a:pt x="81" y="84"/>
                    </a:lnTo>
                    <a:lnTo>
                      <a:pt x="77" y="84"/>
                    </a:lnTo>
                    <a:lnTo>
                      <a:pt x="68" y="84"/>
                    </a:lnTo>
                    <a:lnTo>
                      <a:pt x="68" y="84"/>
                    </a:lnTo>
                    <a:lnTo>
                      <a:pt x="65" y="83"/>
                    </a:lnTo>
                    <a:lnTo>
                      <a:pt x="64" y="81"/>
                    </a:lnTo>
                    <a:lnTo>
                      <a:pt x="65" y="77"/>
                    </a:lnTo>
                    <a:lnTo>
                      <a:pt x="65" y="77"/>
                    </a:lnTo>
                    <a:lnTo>
                      <a:pt x="65" y="76"/>
                    </a:lnTo>
                    <a:lnTo>
                      <a:pt x="65" y="74"/>
                    </a:lnTo>
                    <a:lnTo>
                      <a:pt x="67" y="74"/>
                    </a:lnTo>
                    <a:lnTo>
                      <a:pt x="68" y="73"/>
                    </a:lnTo>
                    <a:lnTo>
                      <a:pt x="68" y="73"/>
                    </a:lnTo>
                    <a:lnTo>
                      <a:pt x="68" y="70"/>
                    </a:lnTo>
                    <a:lnTo>
                      <a:pt x="67" y="64"/>
                    </a:lnTo>
                    <a:lnTo>
                      <a:pt x="63" y="54"/>
                    </a:lnTo>
                    <a:lnTo>
                      <a:pt x="63" y="54"/>
                    </a:lnTo>
                    <a:lnTo>
                      <a:pt x="60" y="52"/>
                    </a:lnTo>
                    <a:lnTo>
                      <a:pt x="55" y="50"/>
                    </a:lnTo>
                    <a:lnTo>
                      <a:pt x="55" y="50"/>
                    </a:lnTo>
                    <a:lnTo>
                      <a:pt x="55" y="108"/>
                    </a:lnTo>
                    <a:lnTo>
                      <a:pt x="55" y="108"/>
                    </a:lnTo>
                    <a:lnTo>
                      <a:pt x="54" y="111"/>
                    </a:lnTo>
                    <a:lnTo>
                      <a:pt x="51" y="114"/>
                    </a:lnTo>
                    <a:lnTo>
                      <a:pt x="47" y="117"/>
                    </a:lnTo>
                    <a:lnTo>
                      <a:pt x="45" y="118"/>
                    </a:lnTo>
                    <a:lnTo>
                      <a:pt x="45" y="118"/>
                    </a:lnTo>
                    <a:lnTo>
                      <a:pt x="41" y="120"/>
                    </a:lnTo>
                    <a:lnTo>
                      <a:pt x="37" y="120"/>
                    </a:lnTo>
                    <a:lnTo>
                      <a:pt x="24" y="120"/>
                    </a:lnTo>
                    <a:lnTo>
                      <a:pt x="24" y="120"/>
                    </a:lnTo>
                    <a:lnTo>
                      <a:pt x="21" y="118"/>
                    </a:lnTo>
                    <a:lnTo>
                      <a:pt x="18" y="116"/>
                    </a:lnTo>
                    <a:lnTo>
                      <a:pt x="17" y="111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4" y="107"/>
                    </a:lnTo>
                    <a:lnTo>
                      <a:pt x="13" y="106"/>
                    </a:lnTo>
                    <a:lnTo>
                      <a:pt x="10" y="107"/>
                    </a:lnTo>
                    <a:lnTo>
                      <a:pt x="8" y="110"/>
                    </a:lnTo>
                    <a:lnTo>
                      <a:pt x="7" y="113"/>
                    </a:lnTo>
                    <a:lnTo>
                      <a:pt x="7" y="113"/>
                    </a:lnTo>
                    <a:lnTo>
                      <a:pt x="6" y="114"/>
                    </a:lnTo>
                    <a:lnTo>
                      <a:pt x="4" y="114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7" y="127"/>
                    </a:lnTo>
                    <a:lnTo>
                      <a:pt x="13" y="140"/>
                    </a:lnTo>
                    <a:lnTo>
                      <a:pt x="13" y="140"/>
                    </a:lnTo>
                    <a:lnTo>
                      <a:pt x="16" y="150"/>
                    </a:lnTo>
                    <a:lnTo>
                      <a:pt x="20" y="158"/>
                    </a:lnTo>
                    <a:lnTo>
                      <a:pt x="24" y="165"/>
                    </a:lnTo>
                    <a:lnTo>
                      <a:pt x="27" y="171"/>
                    </a:lnTo>
                    <a:lnTo>
                      <a:pt x="27" y="171"/>
                    </a:lnTo>
                    <a:lnTo>
                      <a:pt x="30" y="181"/>
                    </a:lnTo>
                    <a:lnTo>
                      <a:pt x="30" y="185"/>
                    </a:lnTo>
                    <a:lnTo>
                      <a:pt x="27" y="187"/>
                    </a:lnTo>
                    <a:lnTo>
                      <a:pt x="27" y="187"/>
                    </a:lnTo>
                    <a:lnTo>
                      <a:pt x="24" y="188"/>
                    </a:lnTo>
                    <a:lnTo>
                      <a:pt x="24" y="191"/>
                    </a:lnTo>
                    <a:lnTo>
                      <a:pt x="24" y="194"/>
                    </a:lnTo>
                    <a:lnTo>
                      <a:pt x="28" y="199"/>
                    </a:lnTo>
                    <a:lnTo>
                      <a:pt x="28" y="199"/>
                    </a:lnTo>
                    <a:lnTo>
                      <a:pt x="30" y="205"/>
                    </a:lnTo>
                    <a:lnTo>
                      <a:pt x="31" y="209"/>
                    </a:lnTo>
                    <a:lnTo>
                      <a:pt x="31" y="212"/>
                    </a:lnTo>
                    <a:lnTo>
                      <a:pt x="33" y="214"/>
                    </a:lnTo>
                    <a:lnTo>
                      <a:pt x="33" y="214"/>
                    </a:lnTo>
                    <a:lnTo>
                      <a:pt x="35" y="214"/>
                    </a:lnTo>
                    <a:lnTo>
                      <a:pt x="37" y="215"/>
                    </a:lnTo>
                    <a:lnTo>
                      <a:pt x="38" y="217"/>
                    </a:lnTo>
                    <a:lnTo>
                      <a:pt x="40" y="218"/>
                    </a:lnTo>
                    <a:lnTo>
                      <a:pt x="40" y="218"/>
                    </a:lnTo>
                    <a:lnTo>
                      <a:pt x="43" y="218"/>
                    </a:lnTo>
                    <a:lnTo>
                      <a:pt x="44" y="219"/>
                    </a:lnTo>
                    <a:lnTo>
                      <a:pt x="48" y="224"/>
                    </a:lnTo>
                    <a:lnTo>
                      <a:pt x="48" y="224"/>
                    </a:lnTo>
                    <a:lnTo>
                      <a:pt x="50" y="226"/>
                    </a:lnTo>
                    <a:lnTo>
                      <a:pt x="53" y="226"/>
                    </a:lnTo>
                    <a:lnTo>
                      <a:pt x="55" y="225"/>
                    </a:lnTo>
                    <a:lnTo>
                      <a:pt x="58" y="224"/>
                    </a:lnTo>
                    <a:lnTo>
                      <a:pt x="58" y="224"/>
                    </a:lnTo>
                    <a:lnTo>
                      <a:pt x="61" y="221"/>
                    </a:lnTo>
                    <a:lnTo>
                      <a:pt x="65" y="219"/>
                    </a:lnTo>
                    <a:lnTo>
                      <a:pt x="78" y="218"/>
                    </a:lnTo>
                    <a:lnTo>
                      <a:pt x="78" y="218"/>
                    </a:lnTo>
                    <a:lnTo>
                      <a:pt x="82" y="218"/>
                    </a:lnTo>
                    <a:lnTo>
                      <a:pt x="85" y="217"/>
                    </a:lnTo>
                    <a:lnTo>
                      <a:pt x="88" y="215"/>
                    </a:lnTo>
                    <a:lnTo>
                      <a:pt x="92" y="212"/>
                    </a:lnTo>
                    <a:lnTo>
                      <a:pt x="92" y="212"/>
                    </a:lnTo>
                    <a:lnTo>
                      <a:pt x="98" y="211"/>
                    </a:lnTo>
                    <a:lnTo>
                      <a:pt x="105" y="211"/>
                    </a:lnTo>
                    <a:lnTo>
                      <a:pt x="111" y="211"/>
                    </a:lnTo>
                    <a:lnTo>
                      <a:pt x="117" y="212"/>
                    </a:lnTo>
                    <a:lnTo>
                      <a:pt x="117" y="212"/>
                    </a:lnTo>
                    <a:lnTo>
                      <a:pt x="122" y="214"/>
                    </a:lnTo>
                    <a:lnTo>
                      <a:pt x="127" y="214"/>
                    </a:lnTo>
                    <a:lnTo>
                      <a:pt x="132" y="211"/>
                    </a:lnTo>
                    <a:lnTo>
                      <a:pt x="132" y="211"/>
                    </a:lnTo>
                    <a:lnTo>
                      <a:pt x="135" y="209"/>
                    </a:lnTo>
                    <a:lnTo>
                      <a:pt x="138" y="211"/>
                    </a:lnTo>
                    <a:lnTo>
                      <a:pt x="141" y="211"/>
                    </a:lnTo>
                    <a:lnTo>
                      <a:pt x="142" y="209"/>
                    </a:lnTo>
                    <a:lnTo>
                      <a:pt x="142" y="208"/>
                    </a:lnTo>
                    <a:lnTo>
                      <a:pt x="142" y="208"/>
                    </a:lnTo>
                    <a:lnTo>
                      <a:pt x="144" y="205"/>
                    </a:lnTo>
                    <a:lnTo>
                      <a:pt x="146" y="204"/>
                    </a:lnTo>
                    <a:lnTo>
                      <a:pt x="156" y="204"/>
                    </a:lnTo>
                    <a:lnTo>
                      <a:pt x="156" y="204"/>
                    </a:lnTo>
                    <a:lnTo>
                      <a:pt x="162" y="202"/>
                    </a:lnTo>
                    <a:lnTo>
                      <a:pt x="171" y="198"/>
                    </a:lnTo>
                    <a:lnTo>
                      <a:pt x="179" y="191"/>
                    </a:lnTo>
                    <a:lnTo>
                      <a:pt x="189" y="182"/>
                    </a:lnTo>
                    <a:lnTo>
                      <a:pt x="189" y="182"/>
                    </a:lnTo>
                    <a:lnTo>
                      <a:pt x="199" y="172"/>
                    </a:lnTo>
                    <a:lnTo>
                      <a:pt x="209" y="160"/>
                    </a:lnTo>
                    <a:lnTo>
                      <a:pt x="220" y="147"/>
                    </a:lnTo>
                    <a:lnTo>
                      <a:pt x="228" y="137"/>
                    </a:lnTo>
                    <a:lnTo>
                      <a:pt x="228" y="137"/>
                    </a:lnTo>
                    <a:lnTo>
                      <a:pt x="232" y="128"/>
                    </a:lnTo>
                    <a:lnTo>
                      <a:pt x="239" y="121"/>
                    </a:lnTo>
                    <a:lnTo>
                      <a:pt x="250" y="111"/>
                    </a:lnTo>
                    <a:lnTo>
                      <a:pt x="250" y="111"/>
                    </a:lnTo>
                    <a:lnTo>
                      <a:pt x="253" y="107"/>
                    </a:lnTo>
                    <a:lnTo>
                      <a:pt x="255" y="100"/>
                    </a:lnTo>
                    <a:lnTo>
                      <a:pt x="257" y="84"/>
                    </a:lnTo>
                    <a:lnTo>
                      <a:pt x="257" y="84"/>
                    </a:lnTo>
                    <a:lnTo>
                      <a:pt x="246" y="86"/>
                    </a:lnTo>
                    <a:lnTo>
                      <a:pt x="246" y="86"/>
                    </a:lnTo>
                    <a:close/>
                    <a:moveTo>
                      <a:pt x="196" y="138"/>
                    </a:moveTo>
                    <a:lnTo>
                      <a:pt x="196" y="138"/>
                    </a:lnTo>
                    <a:lnTo>
                      <a:pt x="196" y="140"/>
                    </a:lnTo>
                    <a:lnTo>
                      <a:pt x="195" y="140"/>
                    </a:lnTo>
                    <a:lnTo>
                      <a:pt x="192" y="140"/>
                    </a:lnTo>
                    <a:lnTo>
                      <a:pt x="188" y="140"/>
                    </a:lnTo>
                    <a:lnTo>
                      <a:pt x="186" y="141"/>
                    </a:lnTo>
                    <a:lnTo>
                      <a:pt x="186" y="141"/>
                    </a:lnTo>
                    <a:lnTo>
                      <a:pt x="182" y="150"/>
                    </a:lnTo>
                    <a:lnTo>
                      <a:pt x="175" y="148"/>
                    </a:lnTo>
                    <a:lnTo>
                      <a:pt x="166" y="135"/>
                    </a:lnTo>
                    <a:lnTo>
                      <a:pt x="166" y="135"/>
                    </a:lnTo>
                    <a:lnTo>
                      <a:pt x="175" y="121"/>
                    </a:lnTo>
                    <a:lnTo>
                      <a:pt x="175" y="121"/>
                    </a:lnTo>
                    <a:lnTo>
                      <a:pt x="178" y="118"/>
                    </a:lnTo>
                    <a:lnTo>
                      <a:pt x="183" y="116"/>
                    </a:lnTo>
                    <a:lnTo>
                      <a:pt x="188" y="113"/>
                    </a:lnTo>
                    <a:lnTo>
                      <a:pt x="191" y="114"/>
                    </a:lnTo>
                    <a:lnTo>
                      <a:pt x="192" y="114"/>
                    </a:lnTo>
                    <a:lnTo>
                      <a:pt x="192" y="114"/>
                    </a:lnTo>
                    <a:lnTo>
                      <a:pt x="193" y="117"/>
                    </a:lnTo>
                    <a:lnTo>
                      <a:pt x="198" y="121"/>
                    </a:lnTo>
                    <a:lnTo>
                      <a:pt x="200" y="124"/>
                    </a:lnTo>
                    <a:lnTo>
                      <a:pt x="202" y="127"/>
                    </a:lnTo>
                    <a:lnTo>
                      <a:pt x="202" y="127"/>
                    </a:lnTo>
                    <a:lnTo>
                      <a:pt x="200" y="130"/>
                    </a:lnTo>
                    <a:lnTo>
                      <a:pt x="199" y="133"/>
                    </a:lnTo>
                    <a:lnTo>
                      <a:pt x="196" y="135"/>
                    </a:lnTo>
                    <a:lnTo>
                      <a:pt x="196" y="138"/>
                    </a:lnTo>
                    <a:lnTo>
                      <a:pt x="196" y="138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41" name="Madagascar">
                <a:extLst>
                  <a:ext uri="{FF2B5EF4-FFF2-40B4-BE49-F238E27FC236}">
                    <a16:creationId xmlns:a16="http://schemas.microsoft.com/office/drawing/2014/main" id="{990C88BC-722B-ACF5-A502-23F7F54B34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2609" y="4598298"/>
                <a:ext cx="170176" cy="335911"/>
              </a:xfrm>
              <a:custGeom>
                <a:avLst/>
                <a:gdLst/>
                <a:ahLst/>
                <a:cxnLst>
                  <a:cxn ang="0">
                    <a:pos x="98" y="3"/>
                  </a:cxn>
                  <a:cxn ang="0">
                    <a:pos x="94" y="1"/>
                  </a:cxn>
                  <a:cxn ang="0">
                    <a:pos x="93" y="7"/>
                  </a:cxn>
                  <a:cxn ang="0">
                    <a:pos x="90" y="18"/>
                  </a:cxn>
                  <a:cxn ang="0">
                    <a:pos x="88" y="21"/>
                  </a:cxn>
                  <a:cxn ang="0">
                    <a:pos x="83" y="25"/>
                  </a:cxn>
                  <a:cxn ang="0">
                    <a:pos x="80" y="25"/>
                  </a:cxn>
                  <a:cxn ang="0">
                    <a:pos x="74" y="27"/>
                  </a:cxn>
                  <a:cxn ang="0">
                    <a:pos x="73" y="33"/>
                  </a:cxn>
                  <a:cxn ang="0">
                    <a:pos x="73" y="35"/>
                  </a:cxn>
                  <a:cxn ang="0">
                    <a:pos x="71" y="38"/>
                  </a:cxn>
                  <a:cxn ang="0">
                    <a:pos x="71" y="41"/>
                  </a:cxn>
                  <a:cxn ang="0">
                    <a:pos x="69" y="47"/>
                  </a:cxn>
                  <a:cxn ang="0">
                    <a:pos x="60" y="51"/>
                  </a:cxn>
                  <a:cxn ang="0">
                    <a:pos x="54" y="52"/>
                  </a:cxn>
                  <a:cxn ang="0">
                    <a:pos x="43" y="61"/>
                  </a:cxn>
                  <a:cxn ang="0">
                    <a:pos x="37" y="62"/>
                  </a:cxn>
                  <a:cxn ang="0">
                    <a:pos x="32" y="62"/>
                  </a:cxn>
                  <a:cxn ang="0">
                    <a:pos x="22" y="65"/>
                  </a:cxn>
                  <a:cxn ang="0">
                    <a:pos x="17" y="67"/>
                  </a:cxn>
                  <a:cxn ang="0">
                    <a:pos x="14" y="68"/>
                  </a:cxn>
                  <a:cxn ang="0">
                    <a:pos x="13" y="81"/>
                  </a:cxn>
                  <a:cxn ang="0">
                    <a:pos x="10" y="88"/>
                  </a:cxn>
                  <a:cxn ang="0">
                    <a:pos x="7" y="101"/>
                  </a:cxn>
                  <a:cxn ang="0">
                    <a:pos x="13" y="117"/>
                  </a:cxn>
                  <a:cxn ang="0">
                    <a:pos x="14" y="124"/>
                  </a:cxn>
                  <a:cxn ang="0">
                    <a:pos x="16" y="135"/>
                  </a:cxn>
                  <a:cxn ang="0">
                    <a:pos x="9" y="149"/>
                  </a:cxn>
                  <a:cxn ang="0">
                    <a:pos x="5" y="155"/>
                  </a:cxn>
                  <a:cxn ang="0">
                    <a:pos x="0" y="171"/>
                  </a:cxn>
                  <a:cxn ang="0">
                    <a:pos x="3" y="188"/>
                  </a:cxn>
                  <a:cxn ang="0">
                    <a:pos x="5" y="195"/>
                  </a:cxn>
                  <a:cxn ang="0">
                    <a:pos x="9" y="212"/>
                  </a:cxn>
                  <a:cxn ang="0">
                    <a:pos x="13" y="218"/>
                  </a:cxn>
                  <a:cxn ang="0">
                    <a:pos x="27" y="226"/>
                  </a:cxn>
                  <a:cxn ang="0">
                    <a:pos x="39" y="226"/>
                  </a:cxn>
                  <a:cxn ang="0">
                    <a:pos x="42" y="225"/>
                  </a:cxn>
                  <a:cxn ang="0">
                    <a:pos x="49" y="223"/>
                  </a:cxn>
                  <a:cxn ang="0">
                    <a:pos x="59" y="219"/>
                  </a:cxn>
                  <a:cxn ang="0">
                    <a:pos x="63" y="209"/>
                  </a:cxn>
                  <a:cxn ang="0">
                    <a:pos x="81" y="152"/>
                  </a:cxn>
                  <a:cxn ang="0">
                    <a:pos x="93" y="114"/>
                  </a:cxn>
                  <a:cxn ang="0">
                    <a:pos x="98" y="89"/>
                  </a:cxn>
                  <a:cxn ang="0">
                    <a:pos x="98" y="84"/>
                  </a:cxn>
                  <a:cxn ang="0">
                    <a:pos x="103" y="75"/>
                  </a:cxn>
                  <a:cxn ang="0">
                    <a:pos x="101" y="71"/>
                  </a:cxn>
                  <a:cxn ang="0">
                    <a:pos x="101" y="61"/>
                  </a:cxn>
                  <a:cxn ang="0">
                    <a:pos x="104" y="60"/>
                  </a:cxn>
                  <a:cxn ang="0">
                    <a:pos x="106" y="61"/>
                  </a:cxn>
                  <a:cxn ang="0">
                    <a:pos x="111" y="65"/>
                  </a:cxn>
                  <a:cxn ang="0">
                    <a:pos x="115" y="60"/>
                  </a:cxn>
                  <a:cxn ang="0">
                    <a:pos x="115" y="52"/>
                  </a:cxn>
                  <a:cxn ang="0">
                    <a:pos x="110" y="37"/>
                  </a:cxn>
                  <a:cxn ang="0">
                    <a:pos x="110" y="28"/>
                  </a:cxn>
                  <a:cxn ang="0">
                    <a:pos x="104" y="13"/>
                  </a:cxn>
                  <a:cxn ang="0">
                    <a:pos x="98" y="3"/>
                  </a:cxn>
                </a:cxnLst>
                <a:rect l="0" t="0" r="r" b="b"/>
                <a:pathLst>
                  <a:path w="115" h="227">
                    <a:moveTo>
                      <a:pt x="98" y="3"/>
                    </a:moveTo>
                    <a:lnTo>
                      <a:pt x="98" y="3"/>
                    </a:lnTo>
                    <a:lnTo>
                      <a:pt x="96" y="0"/>
                    </a:lnTo>
                    <a:lnTo>
                      <a:pt x="94" y="1"/>
                    </a:lnTo>
                    <a:lnTo>
                      <a:pt x="93" y="7"/>
                    </a:lnTo>
                    <a:lnTo>
                      <a:pt x="93" y="7"/>
                    </a:lnTo>
                    <a:lnTo>
                      <a:pt x="90" y="11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88" y="21"/>
                    </a:lnTo>
                    <a:lnTo>
                      <a:pt x="87" y="24"/>
                    </a:lnTo>
                    <a:lnTo>
                      <a:pt x="83" y="25"/>
                    </a:lnTo>
                    <a:lnTo>
                      <a:pt x="80" y="25"/>
                    </a:lnTo>
                    <a:lnTo>
                      <a:pt x="80" y="25"/>
                    </a:lnTo>
                    <a:lnTo>
                      <a:pt x="77" y="25"/>
                    </a:lnTo>
                    <a:lnTo>
                      <a:pt x="74" y="27"/>
                    </a:lnTo>
                    <a:lnTo>
                      <a:pt x="71" y="30"/>
                    </a:lnTo>
                    <a:lnTo>
                      <a:pt x="73" y="33"/>
                    </a:lnTo>
                    <a:lnTo>
                      <a:pt x="73" y="33"/>
                    </a:lnTo>
                    <a:lnTo>
                      <a:pt x="73" y="35"/>
                    </a:lnTo>
                    <a:lnTo>
                      <a:pt x="71" y="37"/>
                    </a:lnTo>
                    <a:lnTo>
                      <a:pt x="71" y="38"/>
                    </a:lnTo>
                    <a:lnTo>
                      <a:pt x="71" y="41"/>
                    </a:lnTo>
                    <a:lnTo>
                      <a:pt x="71" y="41"/>
                    </a:lnTo>
                    <a:lnTo>
                      <a:pt x="71" y="44"/>
                    </a:lnTo>
                    <a:lnTo>
                      <a:pt x="69" y="47"/>
                    </a:lnTo>
                    <a:lnTo>
                      <a:pt x="64" y="50"/>
                    </a:lnTo>
                    <a:lnTo>
                      <a:pt x="60" y="51"/>
                    </a:lnTo>
                    <a:lnTo>
                      <a:pt x="60" y="51"/>
                    </a:lnTo>
                    <a:lnTo>
                      <a:pt x="54" y="52"/>
                    </a:lnTo>
                    <a:lnTo>
                      <a:pt x="49" y="57"/>
                    </a:lnTo>
                    <a:lnTo>
                      <a:pt x="43" y="61"/>
                    </a:lnTo>
                    <a:lnTo>
                      <a:pt x="40" y="62"/>
                    </a:lnTo>
                    <a:lnTo>
                      <a:pt x="37" y="62"/>
                    </a:lnTo>
                    <a:lnTo>
                      <a:pt x="37" y="62"/>
                    </a:lnTo>
                    <a:lnTo>
                      <a:pt x="32" y="62"/>
                    </a:lnTo>
                    <a:lnTo>
                      <a:pt x="27" y="64"/>
                    </a:lnTo>
                    <a:lnTo>
                      <a:pt x="22" y="65"/>
                    </a:lnTo>
                    <a:lnTo>
                      <a:pt x="17" y="67"/>
                    </a:lnTo>
                    <a:lnTo>
                      <a:pt x="17" y="67"/>
                    </a:lnTo>
                    <a:lnTo>
                      <a:pt x="16" y="67"/>
                    </a:lnTo>
                    <a:lnTo>
                      <a:pt x="14" y="68"/>
                    </a:lnTo>
                    <a:lnTo>
                      <a:pt x="13" y="74"/>
                    </a:lnTo>
                    <a:lnTo>
                      <a:pt x="13" y="81"/>
                    </a:lnTo>
                    <a:lnTo>
                      <a:pt x="10" y="88"/>
                    </a:lnTo>
                    <a:lnTo>
                      <a:pt x="10" y="88"/>
                    </a:lnTo>
                    <a:lnTo>
                      <a:pt x="9" y="94"/>
                    </a:lnTo>
                    <a:lnTo>
                      <a:pt x="7" y="101"/>
                    </a:lnTo>
                    <a:lnTo>
                      <a:pt x="10" y="108"/>
                    </a:lnTo>
                    <a:lnTo>
                      <a:pt x="13" y="117"/>
                    </a:lnTo>
                    <a:lnTo>
                      <a:pt x="13" y="117"/>
                    </a:lnTo>
                    <a:lnTo>
                      <a:pt x="14" y="124"/>
                    </a:lnTo>
                    <a:lnTo>
                      <a:pt x="16" y="132"/>
                    </a:lnTo>
                    <a:lnTo>
                      <a:pt x="16" y="135"/>
                    </a:lnTo>
                    <a:lnTo>
                      <a:pt x="14" y="139"/>
                    </a:lnTo>
                    <a:lnTo>
                      <a:pt x="9" y="149"/>
                    </a:lnTo>
                    <a:lnTo>
                      <a:pt x="9" y="149"/>
                    </a:lnTo>
                    <a:lnTo>
                      <a:pt x="5" y="155"/>
                    </a:lnTo>
                    <a:lnTo>
                      <a:pt x="2" y="159"/>
                    </a:lnTo>
                    <a:lnTo>
                      <a:pt x="0" y="171"/>
                    </a:lnTo>
                    <a:lnTo>
                      <a:pt x="0" y="179"/>
                    </a:lnTo>
                    <a:lnTo>
                      <a:pt x="3" y="188"/>
                    </a:lnTo>
                    <a:lnTo>
                      <a:pt x="3" y="188"/>
                    </a:lnTo>
                    <a:lnTo>
                      <a:pt x="5" y="195"/>
                    </a:lnTo>
                    <a:lnTo>
                      <a:pt x="7" y="203"/>
                    </a:lnTo>
                    <a:lnTo>
                      <a:pt x="9" y="212"/>
                    </a:lnTo>
                    <a:lnTo>
                      <a:pt x="13" y="218"/>
                    </a:lnTo>
                    <a:lnTo>
                      <a:pt x="13" y="218"/>
                    </a:lnTo>
                    <a:lnTo>
                      <a:pt x="19" y="223"/>
                    </a:lnTo>
                    <a:lnTo>
                      <a:pt x="27" y="226"/>
                    </a:lnTo>
                    <a:lnTo>
                      <a:pt x="36" y="227"/>
                    </a:lnTo>
                    <a:lnTo>
                      <a:pt x="39" y="226"/>
                    </a:lnTo>
                    <a:lnTo>
                      <a:pt x="42" y="225"/>
                    </a:lnTo>
                    <a:lnTo>
                      <a:pt x="42" y="225"/>
                    </a:lnTo>
                    <a:lnTo>
                      <a:pt x="46" y="223"/>
                    </a:lnTo>
                    <a:lnTo>
                      <a:pt x="49" y="223"/>
                    </a:lnTo>
                    <a:lnTo>
                      <a:pt x="53" y="222"/>
                    </a:lnTo>
                    <a:lnTo>
                      <a:pt x="59" y="219"/>
                    </a:lnTo>
                    <a:lnTo>
                      <a:pt x="59" y="219"/>
                    </a:lnTo>
                    <a:lnTo>
                      <a:pt x="63" y="209"/>
                    </a:lnTo>
                    <a:lnTo>
                      <a:pt x="69" y="192"/>
                    </a:lnTo>
                    <a:lnTo>
                      <a:pt x="81" y="152"/>
                    </a:lnTo>
                    <a:lnTo>
                      <a:pt x="81" y="152"/>
                    </a:lnTo>
                    <a:lnTo>
                      <a:pt x="93" y="114"/>
                    </a:lnTo>
                    <a:lnTo>
                      <a:pt x="97" y="98"/>
                    </a:lnTo>
                    <a:lnTo>
                      <a:pt x="98" y="89"/>
                    </a:lnTo>
                    <a:lnTo>
                      <a:pt x="98" y="89"/>
                    </a:lnTo>
                    <a:lnTo>
                      <a:pt x="98" y="84"/>
                    </a:lnTo>
                    <a:lnTo>
                      <a:pt x="101" y="80"/>
                    </a:lnTo>
                    <a:lnTo>
                      <a:pt x="103" y="75"/>
                    </a:lnTo>
                    <a:lnTo>
                      <a:pt x="101" y="71"/>
                    </a:lnTo>
                    <a:lnTo>
                      <a:pt x="101" y="71"/>
                    </a:lnTo>
                    <a:lnTo>
                      <a:pt x="100" y="65"/>
                    </a:lnTo>
                    <a:lnTo>
                      <a:pt x="101" y="61"/>
                    </a:lnTo>
                    <a:lnTo>
                      <a:pt x="103" y="60"/>
                    </a:lnTo>
                    <a:lnTo>
                      <a:pt x="104" y="60"/>
                    </a:lnTo>
                    <a:lnTo>
                      <a:pt x="106" y="61"/>
                    </a:lnTo>
                    <a:lnTo>
                      <a:pt x="106" y="61"/>
                    </a:lnTo>
                    <a:lnTo>
                      <a:pt x="108" y="64"/>
                    </a:lnTo>
                    <a:lnTo>
                      <a:pt x="111" y="65"/>
                    </a:lnTo>
                    <a:lnTo>
                      <a:pt x="114" y="64"/>
                    </a:lnTo>
                    <a:lnTo>
                      <a:pt x="115" y="60"/>
                    </a:lnTo>
                    <a:lnTo>
                      <a:pt x="115" y="60"/>
                    </a:lnTo>
                    <a:lnTo>
                      <a:pt x="115" y="52"/>
                    </a:lnTo>
                    <a:lnTo>
                      <a:pt x="113" y="45"/>
                    </a:lnTo>
                    <a:lnTo>
                      <a:pt x="110" y="37"/>
                    </a:lnTo>
                    <a:lnTo>
                      <a:pt x="110" y="28"/>
                    </a:lnTo>
                    <a:lnTo>
                      <a:pt x="110" y="28"/>
                    </a:lnTo>
                    <a:lnTo>
                      <a:pt x="107" y="21"/>
                    </a:lnTo>
                    <a:lnTo>
                      <a:pt x="104" y="13"/>
                    </a:lnTo>
                    <a:lnTo>
                      <a:pt x="100" y="7"/>
                    </a:lnTo>
                    <a:lnTo>
                      <a:pt x="98" y="3"/>
                    </a:lnTo>
                    <a:lnTo>
                      <a:pt x="98" y="3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42" name="Ghana">
                <a:extLst>
                  <a:ext uri="{FF2B5EF4-FFF2-40B4-BE49-F238E27FC236}">
                    <a16:creationId xmlns:a16="http://schemas.microsoft.com/office/drawing/2014/main" id="{44B47504-19B8-5E8E-A85E-21F92F1EFF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6448" y="4044859"/>
                <a:ext cx="100626" cy="153897"/>
              </a:xfrm>
              <a:custGeom>
                <a:avLst/>
                <a:gdLst/>
                <a:ahLst/>
                <a:cxnLst>
                  <a:cxn ang="0">
                    <a:pos x="59" y="42"/>
                  </a:cxn>
                  <a:cxn ang="0">
                    <a:pos x="59" y="42"/>
                  </a:cxn>
                  <a:cxn ang="0">
                    <a:pos x="57" y="37"/>
                  </a:cxn>
                  <a:cxn ang="0">
                    <a:pos x="57" y="31"/>
                  </a:cxn>
                  <a:cxn ang="0">
                    <a:pos x="59" y="20"/>
                  </a:cxn>
                  <a:cxn ang="0">
                    <a:pos x="59" y="20"/>
                  </a:cxn>
                  <a:cxn ang="0">
                    <a:pos x="57" y="14"/>
                  </a:cxn>
                  <a:cxn ang="0">
                    <a:pos x="54" y="10"/>
                  </a:cxn>
                  <a:cxn ang="0">
                    <a:pos x="54" y="10"/>
                  </a:cxn>
                  <a:cxn ang="0">
                    <a:pos x="53" y="7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50" y="1"/>
                  </a:cxn>
                  <a:cxn ang="0">
                    <a:pos x="49" y="3"/>
                  </a:cxn>
                  <a:cxn ang="0">
                    <a:pos x="47" y="4"/>
                  </a:cxn>
                  <a:cxn ang="0">
                    <a:pos x="47" y="4"/>
                  </a:cxn>
                  <a:cxn ang="0">
                    <a:pos x="47" y="4"/>
                  </a:cxn>
                  <a:cxn ang="0">
                    <a:pos x="40" y="3"/>
                  </a:cxn>
                  <a:cxn ang="0">
                    <a:pos x="27" y="1"/>
                  </a:cxn>
                  <a:cxn ang="0">
                    <a:pos x="13" y="1"/>
                  </a:cxn>
                  <a:cxn ang="0">
                    <a:pos x="9" y="3"/>
                  </a:cxn>
                  <a:cxn ang="0">
                    <a:pos x="7" y="3"/>
                  </a:cxn>
                  <a:cxn ang="0">
                    <a:pos x="7" y="3"/>
                  </a:cxn>
                  <a:cxn ang="0">
                    <a:pos x="6" y="7"/>
                  </a:cxn>
                  <a:cxn ang="0">
                    <a:pos x="7" y="11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9" y="21"/>
                  </a:cxn>
                  <a:cxn ang="0">
                    <a:pos x="7" y="22"/>
                  </a:cxn>
                  <a:cxn ang="0">
                    <a:pos x="7" y="22"/>
                  </a:cxn>
                  <a:cxn ang="0">
                    <a:pos x="10" y="30"/>
                  </a:cxn>
                  <a:cxn ang="0">
                    <a:pos x="12" y="37"/>
                  </a:cxn>
                  <a:cxn ang="0">
                    <a:pos x="13" y="47"/>
                  </a:cxn>
                  <a:cxn ang="0">
                    <a:pos x="13" y="47"/>
                  </a:cxn>
                  <a:cxn ang="0">
                    <a:pos x="12" y="50"/>
                  </a:cxn>
                  <a:cxn ang="0">
                    <a:pos x="10" y="52"/>
                  </a:cxn>
                  <a:cxn ang="0">
                    <a:pos x="7" y="55"/>
                  </a:cxn>
                  <a:cxn ang="0">
                    <a:pos x="7" y="58"/>
                  </a:cxn>
                  <a:cxn ang="0">
                    <a:pos x="7" y="58"/>
                  </a:cxn>
                  <a:cxn ang="0">
                    <a:pos x="6" y="61"/>
                  </a:cxn>
                  <a:cxn ang="0">
                    <a:pos x="4" y="67"/>
                  </a:cxn>
                  <a:cxn ang="0">
                    <a:pos x="0" y="74"/>
                  </a:cxn>
                  <a:cxn ang="0">
                    <a:pos x="0" y="74"/>
                  </a:cxn>
                  <a:cxn ang="0">
                    <a:pos x="3" y="82"/>
                  </a:cxn>
                  <a:cxn ang="0">
                    <a:pos x="7" y="91"/>
                  </a:cxn>
                  <a:cxn ang="0">
                    <a:pos x="7" y="91"/>
                  </a:cxn>
                  <a:cxn ang="0">
                    <a:pos x="7" y="95"/>
                  </a:cxn>
                  <a:cxn ang="0">
                    <a:pos x="7" y="99"/>
                  </a:cxn>
                  <a:cxn ang="0">
                    <a:pos x="7" y="99"/>
                  </a:cxn>
                  <a:cxn ang="0">
                    <a:pos x="19" y="104"/>
                  </a:cxn>
                  <a:cxn ang="0">
                    <a:pos x="19" y="104"/>
                  </a:cxn>
                  <a:cxn ang="0">
                    <a:pos x="24" y="102"/>
                  </a:cxn>
                  <a:cxn ang="0">
                    <a:pos x="33" y="99"/>
                  </a:cxn>
                  <a:cxn ang="0">
                    <a:pos x="50" y="91"/>
                  </a:cxn>
                  <a:cxn ang="0">
                    <a:pos x="50" y="91"/>
                  </a:cxn>
                  <a:cxn ang="0">
                    <a:pos x="68" y="82"/>
                  </a:cxn>
                  <a:cxn ang="0">
                    <a:pos x="68" y="82"/>
                  </a:cxn>
                  <a:cxn ang="0">
                    <a:pos x="64" y="74"/>
                  </a:cxn>
                  <a:cxn ang="0">
                    <a:pos x="63" y="64"/>
                  </a:cxn>
                  <a:cxn ang="0">
                    <a:pos x="63" y="64"/>
                  </a:cxn>
                  <a:cxn ang="0">
                    <a:pos x="61" y="52"/>
                  </a:cxn>
                  <a:cxn ang="0">
                    <a:pos x="59" y="42"/>
                  </a:cxn>
                  <a:cxn ang="0">
                    <a:pos x="59" y="42"/>
                  </a:cxn>
                </a:cxnLst>
                <a:rect l="0" t="0" r="r" b="b"/>
                <a:pathLst>
                  <a:path w="68" h="104">
                    <a:moveTo>
                      <a:pt x="59" y="42"/>
                    </a:moveTo>
                    <a:lnTo>
                      <a:pt x="59" y="42"/>
                    </a:lnTo>
                    <a:lnTo>
                      <a:pt x="57" y="37"/>
                    </a:lnTo>
                    <a:lnTo>
                      <a:pt x="57" y="31"/>
                    </a:lnTo>
                    <a:lnTo>
                      <a:pt x="59" y="20"/>
                    </a:lnTo>
                    <a:lnTo>
                      <a:pt x="59" y="20"/>
                    </a:lnTo>
                    <a:lnTo>
                      <a:pt x="57" y="14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3" y="7"/>
                    </a:lnTo>
                    <a:lnTo>
                      <a:pt x="51" y="0"/>
                    </a:lnTo>
                    <a:lnTo>
                      <a:pt x="51" y="0"/>
                    </a:lnTo>
                    <a:lnTo>
                      <a:pt x="50" y="1"/>
                    </a:lnTo>
                    <a:lnTo>
                      <a:pt x="49" y="3"/>
                    </a:lnTo>
                    <a:lnTo>
                      <a:pt x="47" y="4"/>
                    </a:lnTo>
                    <a:lnTo>
                      <a:pt x="47" y="4"/>
                    </a:lnTo>
                    <a:lnTo>
                      <a:pt x="47" y="4"/>
                    </a:lnTo>
                    <a:lnTo>
                      <a:pt x="40" y="3"/>
                    </a:lnTo>
                    <a:lnTo>
                      <a:pt x="27" y="1"/>
                    </a:lnTo>
                    <a:lnTo>
                      <a:pt x="13" y="1"/>
                    </a:lnTo>
                    <a:lnTo>
                      <a:pt x="9" y="3"/>
                    </a:lnTo>
                    <a:lnTo>
                      <a:pt x="7" y="3"/>
                    </a:lnTo>
                    <a:lnTo>
                      <a:pt x="7" y="3"/>
                    </a:lnTo>
                    <a:lnTo>
                      <a:pt x="6" y="7"/>
                    </a:lnTo>
                    <a:lnTo>
                      <a:pt x="7" y="11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9" y="21"/>
                    </a:lnTo>
                    <a:lnTo>
                      <a:pt x="7" y="22"/>
                    </a:lnTo>
                    <a:lnTo>
                      <a:pt x="7" y="22"/>
                    </a:lnTo>
                    <a:lnTo>
                      <a:pt x="10" y="30"/>
                    </a:lnTo>
                    <a:lnTo>
                      <a:pt x="12" y="37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2" y="50"/>
                    </a:lnTo>
                    <a:lnTo>
                      <a:pt x="10" y="52"/>
                    </a:lnTo>
                    <a:lnTo>
                      <a:pt x="7" y="55"/>
                    </a:lnTo>
                    <a:lnTo>
                      <a:pt x="7" y="58"/>
                    </a:lnTo>
                    <a:lnTo>
                      <a:pt x="7" y="58"/>
                    </a:lnTo>
                    <a:lnTo>
                      <a:pt x="6" y="61"/>
                    </a:lnTo>
                    <a:lnTo>
                      <a:pt x="4" y="67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3" y="82"/>
                    </a:lnTo>
                    <a:lnTo>
                      <a:pt x="7" y="91"/>
                    </a:lnTo>
                    <a:lnTo>
                      <a:pt x="7" y="91"/>
                    </a:lnTo>
                    <a:lnTo>
                      <a:pt x="7" y="95"/>
                    </a:lnTo>
                    <a:lnTo>
                      <a:pt x="7" y="99"/>
                    </a:lnTo>
                    <a:lnTo>
                      <a:pt x="7" y="99"/>
                    </a:lnTo>
                    <a:lnTo>
                      <a:pt x="19" y="104"/>
                    </a:lnTo>
                    <a:lnTo>
                      <a:pt x="19" y="104"/>
                    </a:lnTo>
                    <a:lnTo>
                      <a:pt x="24" y="102"/>
                    </a:lnTo>
                    <a:lnTo>
                      <a:pt x="33" y="99"/>
                    </a:lnTo>
                    <a:lnTo>
                      <a:pt x="50" y="91"/>
                    </a:lnTo>
                    <a:lnTo>
                      <a:pt x="50" y="91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4" y="74"/>
                    </a:lnTo>
                    <a:lnTo>
                      <a:pt x="63" y="64"/>
                    </a:lnTo>
                    <a:lnTo>
                      <a:pt x="63" y="64"/>
                    </a:lnTo>
                    <a:lnTo>
                      <a:pt x="61" y="52"/>
                    </a:lnTo>
                    <a:lnTo>
                      <a:pt x="59" y="42"/>
                    </a:lnTo>
                    <a:lnTo>
                      <a:pt x="59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43" name="Liberia">
                <a:extLst>
                  <a:ext uri="{FF2B5EF4-FFF2-40B4-BE49-F238E27FC236}">
                    <a16:creationId xmlns:a16="http://schemas.microsoft.com/office/drawing/2014/main" id="{397004C2-5B54-DA1C-5876-5E14B4D7EA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8156" y="4109969"/>
                <a:ext cx="99146" cy="94706"/>
              </a:xfrm>
              <a:custGeom>
                <a:avLst/>
                <a:gdLst/>
                <a:ahLst/>
                <a:cxnLst>
                  <a:cxn ang="0">
                    <a:pos x="55" y="37"/>
                  </a:cxn>
                  <a:cxn ang="0">
                    <a:pos x="55" y="37"/>
                  </a:cxn>
                  <a:cxn ang="0">
                    <a:pos x="50" y="34"/>
                  </a:cxn>
                  <a:cxn ang="0">
                    <a:pos x="49" y="33"/>
                  </a:cxn>
                  <a:cxn ang="0">
                    <a:pos x="50" y="31"/>
                  </a:cxn>
                  <a:cxn ang="0">
                    <a:pos x="50" y="31"/>
                  </a:cxn>
                  <a:cxn ang="0">
                    <a:pos x="50" y="30"/>
                  </a:cxn>
                  <a:cxn ang="0">
                    <a:pos x="52" y="27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52" y="15"/>
                  </a:cxn>
                  <a:cxn ang="0">
                    <a:pos x="52" y="15"/>
                  </a:cxn>
                  <a:cxn ang="0">
                    <a:pos x="50" y="15"/>
                  </a:cxn>
                  <a:cxn ang="0">
                    <a:pos x="49" y="14"/>
                  </a:cxn>
                  <a:cxn ang="0">
                    <a:pos x="49" y="14"/>
                  </a:cxn>
                  <a:cxn ang="0">
                    <a:pos x="47" y="13"/>
                  </a:cxn>
                  <a:cxn ang="0">
                    <a:pos x="46" y="14"/>
                  </a:cxn>
                  <a:cxn ang="0">
                    <a:pos x="42" y="18"/>
                  </a:cxn>
                  <a:cxn ang="0">
                    <a:pos x="42" y="18"/>
                  </a:cxn>
                  <a:cxn ang="0">
                    <a:pos x="40" y="20"/>
                  </a:cxn>
                  <a:cxn ang="0">
                    <a:pos x="37" y="18"/>
                  </a:cxn>
                  <a:cxn ang="0">
                    <a:pos x="35" y="17"/>
                  </a:cxn>
                  <a:cxn ang="0">
                    <a:pos x="35" y="13"/>
                  </a:cxn>
                  <a:cxn ang="0">
                    <a:pos x="35" y="13"/>
                  </a:cxn>
                  <a:cxn ang="0">
                    <a:pos x="35" y="8"/>
                  </a:cxn>
                  <a:cxn ang="0">
                    <a:pos x="33" y="4"/>
                  </a:cxn>
                  <a:cxn ang="0">
                    <a:pos x="32" y="1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19" y="1"/>
                  </a:cxn>
                  <a:cxn ang="0">
                    <a:pos x="19" y="1"/>
                  </a:cxn>
                  <a:cxn ang="0">
                    <a:pos x="19" y="6"/>
                  </a:cxn>
                  <a:cxn ang="0">
                    <a:pos x="18" y="10"/>
                  </a:cxn>
                  <a:cxn ang="0">
                    <a:pos x="18" y="10"/>
                  </a:cxn>
                  <a:cxn ang="0">
                    <a:pos x="15" y="13"/>
                  </a:cxn>
                  <a:cxn ang="0">
                    <a:pos x="12" y="15"/>
                  </a:cxn>
                  <a:cxn ang="0">
                    <a:pos x="5" y="20"/>
                  </a:cxn>
                  <a:cxn ang="0">
                    <a:pos x="5" y="20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22" y="40"/>
                  </a:cxn>
                  <a:cxn ang="0">
                    <a:pos x="22" y="40"/>
                  </a:cxn>
                  <a:cxn ang="0">
                    <a:pos x="42" y="54"/>
                  </a:cxn>
                  <a:cxn ang="0">
                    <a:pos x="52" y="60"/>
                  </a:cxn>
                  <a:cxn ang="0">
                    <a:pos x="59" y="62"/>
                  </a:cxn>
                  <a:cxn ang="0">
                    <a:pos x="59" y="62"/>
                  </a:cxn>
                  <a:cxn ang="0">
                    <a:pos x="63" y="64"/>
                  </a:cxn>
                  <a:cxn ang="0">
                    <a:pos x="63" y="64"/>
                  </a:cxn>
                  <a:cxn ang="0">
                    <a:pos x="66" y="54"/>
                  </a:cxn>
                  <a:cxn ang="0">
                    <a:pos x="67" y="48"/>
                  </a:cxn>
                  <a:cxn ang="0">
                    <a:pos x="67" y="48"/>
                  </a:cxn>
                  <a:cxn ang="0">
                    <a:pos x="66" y="45"/>
                  </a:cxn>
                  <a:cxn ang="0">
                    <a:pos x="63" y="41"/>
                  </a:cxn>
                  <a:cxn ang="0">
                    <a:pos x="55" y="37"/>
                  </a:cxn>
                  <a:cxn ang="0">
                    <a:pos x="55" y="37"/>
                  </a:cxn>
                </a:cxnLst>
                <a:rect l="0" t="0" r="r" b="b"/>
                <a:pathLst>
                  <a:path w="67" h="64">
                    <a:moveTo>
                      <a:pt x="55" y="37"/>
                    </a:moveTo>
                    <a:lnTo>
                      <a:pt x="55" y="37"/>
                    </a:lnTo>
                    <a:lnTo>
                      <a:pt x="50" y="34"/>
                    </a:lnTo>
                    <a:lnTo>
                      <a:pt x="49" y="33"/>
                    </a:lnTo>
                    <a:lnTo>
                      <a:pt x="50" y="31"/>
                    </a:lnTo>
                    <a:lnTo>
                      <a:pt x="50" y="31"/>
                    </a:lnTo>
                    <a:lnTo>
                      <a:pt x="50" y="30"/>
                    </a:lnTo>
                    <a:lnTo>
                      <a:pt x="52" y="27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15"/>
                    </a:lnTo>
                    <a:lnTo>
                      <a:pt x="52" y="15"/>
                    </a:lnTo>
                    <a:lnTo>
                      <a:pt x="50" y="15"/>
                    </a:lnTo>
                    <a:lnTo>
                      <a:pt x="49" y="14"/>
                    </a:lnTo>
                    <a:lnTo>
                      <a:pt x="49" y="14"/>
                    </a:lnTo>
                    <a:lnTo>
                      <a:pt x="47" y="13"/>
                    </a:lnTo>
                    <a:lnTo>
                      <a:pt x="46" y="14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0" y="20"/>
                    </a:lnTo>
                    <a:lnTo>
                      <a:pt x="37" y="18"/>
                    </a:lnTo>
                    <a:lnTo>
                      <a:pt x="35" y="17"/>
                    </a:lnTo>
                    <a:lnTo>
                      <a:pt x="35" y="13"/>
                    </a:lnTo>
                    <a:lnTo>
                      <a:pt x="35" y="13"/>
                    </a:lnTo>
                    <a:lnTo>
                      <a:pt x="35" y="8"/>
                    </a:lnTo>
                    <a:lnTo>
                      <a:pt x="33" y="4"/>
                    </a:lnTo>
                    <a:lnTo>
                      <a:pt x="32" y="1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19" y="1"/>
                    </a:lnTo>
                    <a:lnTo>
                      <a:pt x="19" y="1"/>
                    </a:lnTo>
                    <a:lnTo>
                      <a:pt x="19" y="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5" y="13"/>
                    </a:lnTo>
                    <a:lnTo>
                      <a:pt x="12" y="15"/>
                    </a:lnTo>
                    <a:lnTo>
                      <a:pt x="5" y="20"/>
                    </a:lnTo>
                    <a:lnTo>
                      <a:pt x="5" y="20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42" y="54"/>
                    </a:lnTo>
                    <a:lnTo>
                      <a:pt x="52" y="60"/>
                    </a:lnTo>
                    <a:lnTo>
                      <a:pt x="59" y="62"/>
                    </a:lnTo>
                    <a:lnTo>
                      <a:pt x="59" y="62"/>
                    </a:lnTo>
                    <a:lnTo>
                      <a:pt x="63" y="64"/>
                    </a:lnTo>
                    <a:lnTo>
                      <a:pt x="63" y="64"/>
                    </a:lnTo>
                    <a:lnTo>
                      <a:pt x="66" y="54"/>
                    </a:lnTo>
                    <a:lnTo>
                      <a:pt x="67" y="48"/>
                    </a:lnTo>
                    <a:lnTo>
                      <a:pt x="67" y="48"/>
                    </a:lnTo>
                    <a:lnTo>
                      <a:pt x="66" y="45"/>
                    </a:lnTo>
                    <a:lnTo>
                      <a:pt x="63" y="41"/>
                    </a:lnTo>
                    <a:lnTo>
                      <a:pt x="55" y="37"/>
                    </a:lnTo>
                    <a:lnTo>
                      <a:pt x="55" y="37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44" name="Cote d'Ivoire">
                <a:extLst>
                  <a:ext uri="{FF2B5EF4-FFF2-40B4-BE49-F238E27FC236}">
                    <a16:creationId xmlns:a16="http://schemas.microsoft.com/office/drawing/2014/main" id="{D1B6167C-CCA5-106A-8FA0-FA00E73D16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0667" y="4055217"/>
                <a:ext cx="145019" cy="149459"/>
              </a:xfrm>
              <a:custGeom>
                <a:avLst/>
                <a:gdLst/>
                <a:ahLst/>
                <a:cxnLst>
                  <a:cxn ang="0">
                    <a:pos x="92" y="84"/>
                  </a:cxn>
                  <a:cxn ang="0">
                    <a:pos x="85" y="67"/>
                  </a:cxn>
                  <a:cxn ang="0">
                    <a:pos x="89" y="60"/>
                  </a:cxn>
                  <a:cxn ang="0">
                    <a:pos x="92" y="51"/>
                  </a:cxn>
                  <a:cxn ang="0">
                    <a:pos x="92" y="48"/>
                  </a:cxn>
                  <a:cxn ang="0">
                    <a:pos x="97" y="43"/>
                  </a:cxn>
                  <a:cxn ang="0">
                    <a:pos x="98" y="40"/>
                  </a:cxn>
                  <a:cxn ang="0">
                    <a:pos x="95" y="23"/>
                  </a:cxn>
                  <a:cxn ang="0">
                    <a:pos x="92" y="15"/>
                  </a:cxn>
                  <a:cxn ang="0">
                    <a:pos x="89" y="14"/>
                  </a:cxn>
                  <a:cxn ang="0">
                    <a:pos x="81" y="11"/>
                  </a:cxn>
                  <a:cxn ang="0">
                    <a:pos x="71" y="15"/>
                  </a:cxn>
                  <a:cxn ang="0">
                    <a:pos x="68" y="17"/>
                  </a:cxn>
                  <a:cxn ang="0">
                    <a:pos x="62" y="15"/>
                  </a:cxn>
                  <a:cxn ang="0">
                    <a:pos x="57" y="10"/>
                  </a:cxn>
                  <a:cxn ang="0">
                    <a:pos x="54" y="7"/>
                  </a:cxn>
                  <a:cxn ang="0">
                    <a:pos x="47" y="4"/>
                  </a:cxn>
                  <a:cxn ang="0">
                    <a:pos x="44" y="6"/>
                  </a:cxn>
                  <a:cxn ang="0">
                    <a:pos x="38" y="7"/>
                  </a:cxn>
                  <a:cxn ang="0">
                    <a:pos x="38" y="3"/>
                  </a:cxn>
                  <a:cxn ang="0">
                    <a:pos x="37" y="1"/>
                  </a:cxn>
                  <a:cxn ang="0">
                    <a:pos x="31" y="1"/>
                  </a:cxn>
                  <a:cxn ang="0">
                    <a:pos x="30" y="4"/>
                  </a:cxn>
                  <a:cxn ang="0">
                    <a:pos x="25" y="8"/>
                  </a:cxn>
                  <a:cxn ang="0">
                    <a:pos x="21" y="8"/>
                  </a:cxn>
                  <a:cxn ang="0">
                    <a:pos x="17" y="4"/>
                  </a:cxn>
                  <a:cxn ang="0">
                    <a:pos x="13" y="6"/>
                  </a:cxn>
                  <a:cxn ang="0">
                    <a:pos x="11" y="7"/>
                  </a:cxn>
                  <a:cxn ang="0">
                    <a:pos x="7" y="7"/>
                  </a:cxn>
                  <a:cxn ang="0">
                    <a:pos x="6" y="15"/>
                  </a:cxn>
                  <a:cxn ang="0">
                    <a:pos x="7" y="20"/>
                  </a:cxn>
                  <a:cxn ang="0">
                    <a:pos x="10" y="21"/>
                  </a:cxn>
                  <a:cxn ang="0">
                    <a:pos x="10" y="27"/>
                  </a:cxn>
                  <a:cxn ang="0">
                    <a:pos x="11" y="30"/>
                  </a:cxn>
                  <a:cxn ang="0">
                    <a:pos x="14" y="35"/>
                  </a:cxn>
                  <a:cxn ang="0">
                    <a:pos x="13" y="37"/>
                  </a:cxn>
                  <a:cxn ang="0">
                    <a:pos x="10" y="38"/>
                  </a:cxn>
                  <a:cxn ang="0">
                    <a:pos x="6" y="38"/>
                  </a:cxn>
                  <a:cxn ang="0">
                    <a:pos x="6" y="41"/>
                  </a:cxn>
                  <a:cxn ang="0">
                    <a:pos x="7" y="45"/>
                  </a:cxn>
                  <a:cxn ang="0">
                    <a:pos x="7" y="48"/>
                  </a:cxn>
                  <a:cxn ang="0">
                    <a:pos x="3" y="54"/>
                  </a:cxn>
                  <a:cxn ang="0">
                    <a:pos x="3" y="57"/>
                  </a:cxn>
                  <a:cxn ang="0">
                    <a:pos x="1" y="67"/>
                  </a:cxn>
                  <a:cxn ang="0">
                    <a:pos x="1" y="68"/>
                  </a:cxn>
                  <a:cxn ang="0">
                    <a:pos x="1" y="71"/>
                  </a:cxn>
                  <a:cxn ang="0">
                    <a:pos x="6" y="74"/>
                  </a:cxn>
                  <a:cxn ang="0">
                    <a:pos x="17" y="82"/>
                  </a:cxn>
                  <a:cxn ang="0">
                    <a:pos x="18" y="85"/>
                  </a:cxn>
                  <a:cxn ang="0">
                    <a:pos x="14" y="101"/>
                  </a:cxn>
                  <a:cxn ang="0">
                    <a:pos x="23" y="99"/>
                  </a:cxn>
                  <a:cxn ang="0">
                    <a:pos x="47" y="94"/>
                  </a:cxn>
                  <a:cxn ang="0">
                    <a:pos x="61" y="89"/>
                  </a:cxn>
                  <a:cxn ang="0">
                    <a:pos x="78" y="89"/>
                  </a:cxn>
                  <a:cxn ang="0">
                    <a:pos x="92" y="92"/>
                  </a:cxn>
                  <a:cxn ang="0">
                    <a:pos x="92" y="84"/>
                  </a:cxn>
                </a:cxnLst>
                <a:rect l="0" t="0" r="r" b="b"/>
                <a:pathLst>
                  <a:path w="98" h="101">
                    <a:moveTo>
                      <a:pt x="92" y="84"/>
                    </a:moveTo>
                    <a:lnTo>
                      <a:pt x="92" y="84"/>
                    </a:lnTo>
                    <a:lnTo>
                      <a:pt x="88" y="75"/>
                    </a:lnTo>
                    <a:lnTo>
                      <a:pt x="85" y="67"/>
                    </a:lnTo>
                    <a:lnTo>
                      <a:pt x="85" y="67"/>
                    </a:lnTo>
                    <a:lnTo>
                      <a:pt x="89" y="60"/>
                    </a:lnTo>
                    <a:lnTo>
                      <a:pt x="91" y="54"/>
                    </a:lnTo>
                    <a:lnTo>
                      <a:pt x="92" y="51"/>
                    </a:lnTo>
                    <a:lnTo>
                      <a:pt x="92" y="51"/>
                    </a:lnTo>
                    <a:lnTo>
                      <a:pt x="92" y="48"/>
                    </a:lnTo>
                    <a:lnTo>
                      <a:pt x="95" y="45"/>
                    </a:lnTo>
                    <a:lnTo>
                      <a:pt x="97" y="43"/>
                    </a:lnTo>
                    <a:lnTo>
                      <a:pt x="98" y="40"/>
                    </a:lnTo>
                    <a:lnTo>
                      <a:pt x="98" y="40"/>
                    </a:lnTo>
                    <a:lnTo>
                      <a:pt x="97" y="30"/>
                    </a:lnTo>
                    <a:lnTo>
                      <a:pt x="95" y="23"/>
                    </a:lnTo>
                    <a:lnTo>
                      <a:pt x="92" y="15"/>
                    </a:lnTo>
                    <a:lnTo>
                      <a:pt x="92" y="15"/>
                    </a:lnTo>
                    <a:lnTo>
                      <a:pt x="89" y="14"/>
                    </a:lnTo>
                    <a:lnTo>
                      <a:pt x="89" y="14"/>
                    </a:lnTo>
                    <a:lnTo>
                      <a:pt x="85" y="13"/>
                    </a:lnTo>
                    <a:lnTo>
                      <a:pt x="81" y="11"/>
                    </a:lnTo>
                    <a:lnTo>
                      <a:pt x="75" y="13"/>
                    </a:lnTo>
                    <a:lnTo>
                      <a:pt x="71" y="15"/>
                    </a:lnTo>
                    <a:lnTo>
                      <a:pt x="71" y="15"/>
                    </a:lnTo>
                    <a:lnTo>
                      <a:pt x="68" y="17"/>
                    </a:lnTo>
                    <a:lnTo>
                      <a:pt x="67" y="17"/>
                    </a:lnTo>
                    <a:lnTo>
                      <a:pt x="62" y="15"/>
                    </a:lnTo>
                    <a:lnTo>
                      <a:pt x="58" y="11"/>
                    </a:lnTo>
                    <a:lnTo>
                      <a:pt x="57" y="10"/>
                    </a:lnTo>
                    <a:lnTo>
                      <a:pt x="57" y="10"/>
                    </a:lnTo>
                    <a:lnTo>
                      <a:pt x="54" y="7"/>
                    </a:lnTo>
                    <a:lnTo>
                      <a:pt x="51" y="6"/>
                    </a:lnTo>
                    <a:lnTo>
                      <a:pt x="47" y="4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1" y="7"/>
                    </a:lnTo>
                    <a:lnTo>
                      <a:pt x="38" y="7"/>
                    </a:lnTo>
                    <a:lnTo>
                      <a:pt x="38" y="6"/>
                    </a:lnTo>
                    <a:lnTo>
                      <a:pt x="38" y="3"/>
                    </a:lnTo>
                    <a:lnTo>
                      <a:pt x="38" y="3"/>
                    </a:lnTo>
                    <a:lnTo>
                      <a:pt x="37" y="1"/>
                    </a:lnTo>
                    <a:lnTo>
                      <a:pt x="34" y="0"/>
                    </a:lnTo>
                    <a:lnTo>
                      <a:pt x="31" y="1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8" y="7"/>
                    </a:lnTo>
                    <a:lnTo>
                      <a:pt x="25" y="8"/>
                    </a:lnTo>
                    <a:lnTo>
                      <a:pt x="23" y="10"/>
                    </a:lnTo>
                    <a:lnTo>
                      <a:pt x="21" y="8"/>
                    </a:lnTo>
                    <a:lnTo>
                      <a:pt x="21" y="8"/>
                    </a:lnTo>
                    <a:lnTo>
                      <a:pt x="17" y="4"/>
                    </a:lnTo>
                    <a:lnTo>
                      <a:pt x="14" y="4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1" y="7"/>
                    </a:lnTo>
                    <a:lnTo>
                      <a:pt x="10" y="8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6" y="15"/>
                    </a:lnTo>
                    <a:lnTo>
                      <a:pt x="6" y="18"/>
                    </a:lnTo>
                    <a:lnTo>
                      <a:pt x="7" y="20"/>
                    </a:lnTo>
                    <a:lnTo>
                      <a:pt x="7" y="20"/>
                    </a:lnTo>
                    <a:lnTo>
                      <a:pt x="10" y="21"/>
                    </a:lnTo>
                    <a:lnTo>
                      <a:pt x="10" y="24"/>
                    </a:lnTo>
                    <a:lnTo>
                      <a:pt x="10" y="27"/>
                    </a:lnTo>
                    <a:lnTo>
                      <a:pt x="10" y="27"/>
                    </a:lnTo>
                    <a:lnTo>
                      <a:pt x="11" y="30"/>
                    </a:lnTo>
                    <a:lnTo>
                      <a:pt x="13" y="33"/>
                    </a:lnTo>
                    <a:lnTo>
                      <a:pt x="14" y="35"/>
                    </a:lnTo>
                    <a:lnTo>
                      <a:pt x="13" y="37"/>
                    </a:lnTo>
                    <a:lnTo>
                      <a:pt x="13" y="37"/>
                    </a:lnTo>
                    <a:lnTo>
                      <a:pt x="11" y="38"/>
                    </a:lnTo>
                    <a:lnTo>
                      <a:pt x="10" y="38"/>
                    </a:lnTo>
                    <a:lnTo>
                      <a:pt x="7" y="37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1"/>
                    </a:lnTo>
                    <a:lnTo>
                      <a:pt x="7" y="44"/>
                    </a:lnTo>
                    <a:lnTo>
                      <a:pt x="7" y="45"/>
                    </a:lnTo>
                    <a:lnTo>
                      <a:pt x="7" y="48"/>
                    </a:lnTo>
                    <a:lnTo>
                      <a:pt x="7" y="48"/>
                    </a:lnTo>
                    <a:lnTo>
                      <a:pt x="4" y="51"/>
                    </a:lnTo>
                    <a:lnTo>
                      <a:pt x="3" y="54"/>
                    </a:lnTo>
                    <a:lnTo>
                      <a:pt x="3" y="57"/>
                    </a:lnTo>
                    <a:lnTo>
                      <a:pt x="3" y="57"/>
                    </a:lnTo>
                    <a:lnTo>
                      <a:pt x="3" y="64"/>
                    </a:lnTo>
                    <a:lnTo>
                      <a:pt x="1" y="67"/>
                    </a:lnTo>
                    <a:lnTo>
                      <a:pt x="1" y="68"/>
                    </a:lnTo>
                    <a:lnTo>
                      <a:pt x="1" y="68"/>
                    </a:lnTo>
                    <a:lnTo>
                      <a:pt x="0" y="70"/>
                    </a:lnTo>
                    <a:lnTo>
                      <a:pt x="1" y="71"/>
                    </a:lnTo>
                    <a:lnTo>
                      <a:pt x="6" y="74"/>
                    </a:lnTo>
                    <a:lnTo>
                      <a:pt x="6" y="74"/>
                    </a:lnTo>
                    <a:lnTo>
                      <a:pt x="14" y="78"/>
                    </a:lnTo>
                    <a:lnTo>
                      <a:pt x="17" y="82"/>
                    </a:lnTo>
                    <a:lnTo>
                      <a:pt x="18" y="85"/>
                    </a:lnTo>
                    <a:lnTo>
                      <a:pt x="18" y="85"/>
                    </a:lnTo>
                    <a:lnTo>
                      <a:pt x="17" y="91"/>
                    </a:lnTo>
                    <a:lnTo>
                      <a:pt x="14" y="101"/>
                    </a:lnTo>
                    <a:lnTo>
                      <a:pt x="14" y="101"/>
                    </a:lnTo>
                    <a:lnTo>
                      <a:pt x="23" y="99"/>
                    </a:lnTo>
                    <a:lnTo>
                      <a:pt x="34" y="97"/>
                    </a:lnTo>
                    <a:lnTo>
                      <a:pt x="47" y="94"/>
                    </a:lnTo>
                    <a:lnTo>
                      <a:pt x="61" y="89"/>
                    </a:lnTo>
                    <a:lnTo>
                      <a:pt x="61" y="89"/>
                    </a:lnTo>
                    <a:lnTo>
                      <a:pt x="70" y="89"/>
                    </a:lnTo>
                    <a:lnTo>
                      <a:pt x="78" y="89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92" y="88"/>
                    </a:lnTo>
                    <a:lnTo>
                      <a:pt x="92" y="84"/>
                    </a:lnTo>
                    <a:lnTo>
                      <a:pt x="92" y="8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45" name="Benin">
                <a:extLst>
                  <a:ext uri="{FF2B5EF4-FFF2-40B4-BE49-F238E27FC236}">
                    <a16:creationId xmlns:a16="http://schemas.microsoft.com/office/drawing/2014/main" id="{98DBFC52-D381-9D44-206A-CD912D7344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4113" y="4012303"/>
                <a:ext cx="69550" cy="146499"/>
              </a:xfrm>
              <a:custGeom>
                <a:avLst/>
                <a:gdLst/>
                <a:ahLst/>
                <a:cxnLst>
                  <a:cxn ang="0">
                    <a:pos x="31" y="63"/>
                  </a:cxn>
                  <a:cxn ang="0">
                    <a:pos x="35" y="54"/>
                  </a:cxn>
                  <a:cxn ang="0">
                    <a:pos x="38" y="52"/>
                  </a:cxn>
                  <a:cxn ang="0">
                    <a:pos x="44" y="42"/>
                  </a:cxn>
                  <a:cxn ang="0">
                    <a:pos x="47" y="37"/>
                  </a:cxn>
                  <a:cxn ang="0">
                    <a:pos x="47" y="19"/>
                  </a:cxn>
                  <a:cxn ang="0">
                    <a:pos x="44" y="9"/>
                  </a:cxn>
                  <a:cxn ang="0">
                    <a:pos x="42" y="9"/>
                  </a:cxn>
                  <a:cxn ang="0">
                    <a:pos x="39" y="9"/>
                  </a:cxn>
                  <a:cxn ang="0">
                    <a:pos x="37" y="5"/>
                  </a:cxn>
                  <a:cxn ang="0">
                    <a:pos x="34" y="0"/>
                  </a:cxn>
                  <a:cxn ang="0">
                    <a:pos x="31" y="0"/>
                  </a:cxn>
                  <a:cxn ang="0">
                    <a:pos x="28" y="5"/>
                  </a:cxn>
                  <a:cxn ang="0">
                    <a:pos x="28" y="9"/>
                  </a:cxn>
                  <a:cxn ang="0">
                    <a:pos x="27" y="12"/>
                  </a:cxn>
                  <a:cxn ang="0">
                    <a:pos x="24" y="15"/>
                  </a:cxn>
                  <a:cxn ang="0">
                    <a:pos x="18" y="17"/>
                  </a:cxn>
                  <a:cxn ang="0">
                    <a:pos x="11" y="17"/>
                  </a:cxn>
                  <a:cxn ang="0">
                    <a:pos x="7" y="20"/>
                  </a:cxn>
                  <a:cxn ang="0">
                    <a:pos x="2" y="23"/>
                  </a:cxn>
                  <a:cxn ang="0">
                    <a:pos x="0" y="23"/>
                  </a:cxn>
                  <a:cxn ang="0">
                    <a:pos x="1" y="35"/>
                  </a:cxn>
                  <a:cxn ang="0">
                    <a:pos x="8" y="39"/>
                  </a:cxn>
                  <a:cxn ang="0">
                    <a:pos x="11" y="42"/>
                  </a:cxn>
                  <a:cxn ang="0">
                    <a:pos x="11" y="49"/>
                  </a:cxn>
                  <a:cxn ang="0">
                    <a:pos x="11" y="50"/>
                  </a:cxn>
                  <a:cxn ang="0">
                    <a:pos x="14" y="57"/>
                  </a:cxn>
                  <a:cxn ang="0">
                    <a:pos x="14" y="70"/>
                  </a:cxn>
                  <a:cxn ang="0">
                    <a:pos x="15" y="99"/>
                  </a:cxn>
                  <a:cxn ang="0">
                    <a:pos x="25" y="99"/>
                  </a:cxn>
                  <a:cxn ang="0">
                    <a:pos x="32" y="96"/>
                  </a:cxn>
                  <a:cxn ang="0">
                    <a:pos x="37" y="94"/>
                  </a:cxn>
                  <a:cxn ang="0">
                    <a:pos x="34" y="89"/>
                  </a:cxn>
                  <a:cxn ang="0">
                    <a:pos x="32" y="81"/>
                  </a:cxn>
                  <a:cxn ang="0">
                    <a:pos x="31" y="73"/>
                  </a:cxn>
                  <a:cxn ang="0">
                    <a:pos x="31" y="63"/>
                  </a:cxn>
                </a:cxnLst>
                <a:rect l="0" t="0" r="r" b="b"/>
                <a:pathLst>
                  <a:path w="47" h="99">
                    <a:moveTo>
                      <a:pt x="31" y="63"/>
                    </a:moveTo>
                    <a:lnTo>
                      <a:pt x="31" y="63"/>
                    </a:lnTo>
                    <a:lnTo>
                      <a:pt x="32" y="59"/>
                    </a:lnTo>
                    <a:lnTo>
                      <a:pt x="35" y="54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9" y="49"/>
                    </a:lnTo>
                    <a:lnTo>
                      <a:pt x="44" y="42"/>
                    </a:lnTo>
                    <a:lnTo>
                      <a:pt x="44" y="42"/>
                    </a:lnTo>
                    <a:lnTo>
                      <a:pt x="47" y="37"/>
                    </a:lnTo>
                    <a:lnTo>
                      <a:pt x="47" y="30"/>
                    </a:lnTo>
                    <a:lnTo>
                      <a:pt x="47" y="19"/>
                    </a:lnTo>
                    <a:lnTo>
                      <a:pt x="47" y="19"/>
                    </a:lnTo>
                    <a:lnTo>
                      <a:pt x="44" y="9"/>
                    </a:lnTo>
                    <a:lnTo>
                      <a:pt x="44" y="9"/>
                    </a:lnTo>
                    <a:lnTo>
                      <a:pt x="42" y="9"/>
                    </a:lnTo>
                    <a:lnTo>
                      <a:pt x="39" y="9"/>
                    </a:lnTo>
                    <a:lnTo>
                      <a:pt x="39" y="9"/>
                    </a:lnTo>
                    <a:lnTo>
                      <a:pt x="37" y="6"/>
                    </a:lnTo>
                    <a:lnTo>
                      <a:pt x="37" y="5"/>
                    </a:lnTo>
                    <a:lnTo>
                      <a:pt x="37" y="2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1" y="0"/>
                    </a:lnTo>
                    <a:lnTo>
                      <a:pt x="30" y="3"/>
                    </a:lnTo>
                    <a:lnTo>
                      <a:pt x="28" y="5"/>
                    </a:lnTo>
                    <a:lnTo>
                      <a:pt x="28" y="9"/>
                    </a:lnTo>
                    <a:lnTo>
                      <a:pt x="28" y="9"/>
                    </a:lnTo>
                    <a:lnTo>
                      <a:pt x="28" y="10"/>
                    </a:lnTo>
                    <a:lnTo>
                      <a:pt x="27" y="12"/>
                    </a:lnTo>
                    <a:lnTo>
                      <a:pt x="24" y="15"/>
                    </a:lnTo>
                    <a:lnTo>
                      <a:pt x="24" y="15"/>
                    </a:lnTo>
                    <a:lnTo>
                      <a:pt x="21" y="16"/>
                    </a:lnTo>
                    <a:lnTo>
                      <a:pt x="18" y="17"/>
                    </a:lnTo>
                    <a:lnTo>
                      <a:pt x="11" y="17"/>
                    </a:lnTo>
                    <a:lnTo>
                      <a:pt x="11" y="17"/>
                    </a:lnTo>
                    <a:lnTo>
                      <a:pt x="8" y="17"/>
                    </a:lnTo>
                    <a:lnTo>
                      <a:pt x="7" y="20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5"/>
                    </a:lnTo>
                    <a:lnTo>
                      <a:pt x="4" y="36"/>
                    </a:lnTo>
                    <a:lnTo>
                      <a:pt x="8" y="39"/>
                    </a:lnTo>
                    <a:lnTo>
                      <a:pt x="8" y="39"/>
                    </a:lnTo>
                    <a:lnTo>
                      <a:pt x="11" y="42"/>
                    </a:lnTo>
                    <a:lnTo>
                      <a:pt x="11" y="44"/>
                    </a:lnTo>
                    <a:lnTo>
                      <a:pt x="11" y="49"/>
                    </a:lnTo>
                    <a:lnTo>
                      <a:pt x="11" y="50"/>
                    </a:lnTo>
                    <a:lnTo>
                      <a:pt x="11" y="50"/>
                    </a:lnTo>
                    <a:lnTo>
                      <a:pt x="12" y="53"/>
                    </a:lnTo>
                    <a:lnTo>
                      <a:pt x="14" y="57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5" y="99"/>
                    </a:lnTo>
                    <a:lnTo>
                      <a:pt x="15" y="99"/>
                    </a:lnTo>
                    <a:lnTo>
                      <a:pt x="25" y="99"/>
                    </a:lnTo>
                    <a:lnTo>
                      <a:pt x="25" y="99"/>
                    </a:lnTo>
                    <a:lnTo>
                      <a:pt x="30" y="97"/>
                    </a:lnTo>
                    <a:lnTo>
                      <a:pt x="32" y="96"/>
                    </a:lnTo>
                    <a:lnTo>
                      <a:pt x="35" y="94"/>
                    </a:lnTo>
                    <a:lnTo>
                      <a:pt x="37" y="94"/>
                    </a:lnTo>
                    <a:lnTo>
                      <a:pt x="37" y="94"/>
                    </a:lnTo>
                    <a:lnTo>
                      <a:pt x="34" y="89"/>
                    </a:lnTo>
                    <a:lnTo>
                      <a:pt x="32" y="86"/>
                    </a:lnTo>
                    <a:lnTo>
                      <a:pt x="32" y="81"/>
                    </a:lnTo>
                    <a:lnTo>
                      <a:pt x="32" y="81"/>
                    </a:lnTo>
                    <a:lnTo>
                      <a:pt x="31" y="73"/>
                    </a:lnTo>
                    <a:lnTo>
                      <a:pt x="31" y="63"/>
                    </a:lnTo>
                    <a:lnTo>
                      <a:pt x="31" y="63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46" name="Togo">
                <a:extLst>
                  <a:ext uri="{FF2B5EF4-FFF2-40B4-BE49-F238E27FC236}">
                    <a16:creationId xmlns:a16="http://schemas.microsoft.com/office/drawing/2014/main" id="{863088BF-2A47-7556-F9CF-7BE8C9AE95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1917" y="4044859"/>
                <a:ext cx="44394" cy="121343"/>
              </a:xfrm>
              <a:custGeom>
                <a:avLst/>
                <a:gdLst/>
                <a:ahLst/>
                <a:cxnLst>
                  <a:cxn ang="0">
                    <a:pos x="26" y="28"/>
                  </a:cxn>
                  <a:cxn ang="0">
                    <a:pos x="26" y="28"/>
                  </a:cxn>
                  <a:cxn ang="0">
                    <a:pos x="26" y="27"/>
                  </a:cxn>
                  <a:cxn ang="0">
                    <a:pos x="26" y="22"/>
                  </a:cxn>
                  <a:cxn ang="0">
                    <a:pos x="26" y="20"/>
                  </a:cxn>
                  <a:cxn ang="0">
                    <a:pos x="23" y="17"/>
                  </a:cxn>
                  <a:cxn ang="0">
                    <a:pos x="23" y="17"/>
                  </a:cxn>
                  <a:cxn ang="0">
                    <a:pos x="19" y="14"/>
                  </a:cxn>
                  <a:cxn ang="0">
                    <a:pos x="16" y="13"/>
                  </a:cxn>
                  <a:cxn ang="0">
                    <a:pos x="15" y="8"/>
                  </a:cxn>
                  <a:cxn ang="0">
                    <a:pos x="15" y="1"/>
                  </a:cxn>
                  <a:cxn ang="0">
                    <a:pos x="15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7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6" y="14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6" y="31"/>
                  </a:cxn>
                  <a:cxn ang="0">
                    <a:pos x="6" y="37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0" y="52"/>
                  </a:cxn>
                  <a:cxn ang="0">
                    <a:pos x="12" y="64"/>
                  </a:cxn>
                  <a:cxn ang="0">
                    <a:pos x="12" y="64"/>
                  </a:cxn>
                  <a:cxn ang="0">
                    <a:pos x="13" y="74"/>
                  </a:cxn>
                  <a:cxn ang="0">
                    <a:pos x="17" y="82"/>
                  </a:cxn>
                  <a:cxn ang="0">
                    <a:pos x="17" y="82"/>
                  </a:cxn>
                  <a:cxn ang="0">
                    <a:pos x="22" y="81"/>
                  </a:cxn>
                  <a:cxn ang="0">
                    <a:pos x="22" y="81"/>
                  </a:cxn>
                  <a:cxn ang="0">
                    <a:pos x="25" y="78"/>
                  </a:cxn>
                  <a:cxn ang="0">
                    <a:pos x="30" y="77"/>
                  </a:cxn>
                  <a:cxn ang="0">
                    <a:pos x="30" y="77"/>
                  </a:cxn>
                  <a:cxn ang="0">
                    <a:pos x="29" y="48"/>
                  </a:cxn>
                  <a:cxn ang="0">
                    <a:pos x="29" y="48"/>
                  </a:cxn>
                  <a:cxn ang="0">
                    <a:pos x="29" y="35"/>
                  </a:cxn>
                  <a:cxn ang="0">
                    <a:pos x="27" y="31"/>
                  </a:cxn>
                  <a:cxn ang="0">
                    <a:pos x="26" y="28"/>
                  </a:cxn>
                  <a:cxn ang="0">
                    <a:pos x="26" y="28"/>
                  </a:cxn>
                </a:cxnLst>
                <a:rect l="0" t="0" r="r" b="b"/>
                <a:pathLst>
                  <a:path w="30" h="82">
                    <a:moveTo>
                      <a:pt x="26" y="28"/>
                    </a:moveTo>
                    <a:lnTo>
                      <a:pt x="26" y="28"/>
                    </a:lnTo>
                    <a:lnTo>
                      <a:pt x="26" y="27"/>
                    </a:lnTo>
                    <a:lnTo>
                      <a:pt x="26" y="22"/>
                    </a:lnTo>
                    <a:lnTo>
                      <a:pt x="26" y="20"/>
                    </a:lnTo>
                    <a:lnTo>
                      <a:pt x="23" y="17"/>
                    </a:lnTo>
                    <a:lnTo>
                      <a:pt x="23" y="17"/>
                    </a:lnTo>
                    <a:lnTo>
                      <a:pt x="19" y="14"/>
                    </a:lnTo>
                    <a:lnTo>
                      <a:pt x="16" y="13"/>
                    </a:lnTo>
                    <a:lnTo>
                      <a:pt x="15" y="8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7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6" y="1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6" y="31"/>
                    </a:lnTo>
                    <a:lnTo>
                      <a:pt x="6" y="37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0" y="52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3" y="74"/>
                    </a:lnTo>
                    <a:lnTo>
                      <a:pt x="17" y="82"/>
                    </a:lnTo>
                    <a:lnTo>
                      <a:pt x="17" y="82"/>
                    </a:lnTo>
                    <a:lnTo>
                      <a:pt x="22" y="81"/>
                    </a:lnTo>
                    <a:lnTo>
                      <a:pt x="22" y="81"/>
                    </a:lnTo>
                    <a:lnTo>
                      <a:pt x="25" y="78"/>
                    </a:lnTo>
                    <a:lnTo>
                      <a:pt x="30" y="77"/>
                    </a:lnTo>
                    <a:lnTo>
                      <a:pt x="30" y="77"/>
                    </a:lnTo>
                    <a:lnTo>
                      <a:pt x="29" y="48"/>
                    </a:lnTo>
                    <a:lnTo>
                      <a:pt x="29" y="48"/>
                    </a:lnTo>
                    <a:lnTo>
                      <a:pt x="29" y="35"/>
                    </a:lnTo>
                    <a:lnTo>
                      <a:pt x="27" y="31"/>
                    </a:lnTo>
                    <a:lnTo>
                      <a:pt x="26" y="28"/>
                    </a:lnTo>
                    <a:lnTo>
                      <a:pt x="26" y="28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47" name="Cameroon">
                <a:extLst>
                  <a:ext uri="{FF2B5EF4-FFF2-40B4-BE49-F238E27FC236}">
                    <a16:creationId xmlns:a16="http://schemas.microsoft.com/office/drawing/2014/main" id="{8CF846CE-241C-2DD3-FE6B-FBAD17C4A3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9086" y="3996026"/>
                <a:ext cx="176094" cy="273761"/>
              </a:xfrm>
              <a:custGeom>
                <a:avLst/>
                <a:gdLst/>
                <a:ahLst/>
                <a:cxnLst>
                  <a:cxn ang="0">
                    <a:pos x="70" y="176"/>
                  </a:cxn>
                  <a:cxn ang="0">
                    <a:pos x="98" y="178"/>
                  </a:cxn>
                  <a:cxn ang="0">
                    <a:pos x="115" y="185"/>
                  </a:cxn>
                  <a:cxn ang="0">
                    <a:pos x="119" y="171"/>
                  </a:cxn>
                  <a:cxn ang="0">
                    <a:pos x="116" y="168"/>
                  </a:cxn>
                  <a:cxn ang="0">
                    <a:pos x="111" y="162"/>
                  </a:cxn>
                  <a:cxn ang="0">
                    <a:pos x="102" y="152"/>
                  </a:cxn>
                  <a:cxn ang="0">
                    <a:pos x="101" y="145"/>
                  </a:cxn>
                  <a:cxn ang="0">
                    <a:pos x="97" y="137"/>
                  </a:cxn>
                  <a:cxn ang="0">
                    <a:pos x="94" y="122"/>
                  </a:cxn>
                  <a:cxn ang="0">
                    <a:pos x="94" y="114"/>
                  </a:cxn>
                  <a:cxn ang="0">
                    <a:pos x="101" y="100"/>
                  </a:cxn>
                  <a:cxn ang="0">
                    <a:pos x="109" y="90"/>
                  </a:cxn>
                  <a:cxn ang="0">
                    <a:pos x="104" y="78"/>
                  </a:cxn>
                  <a:cxn ang="0">
                    <a:pos x="91" y="65"/>
                  </a:cxn>
                  <a:cxn ang="0">
                    <a:pos x="87" y="58"/>
                  </a:cxn>
                  <a:cxn ang="0">
                    <a:pos x="88" y="53"/>
                  </a:cxn>
                  <a:cxn ang="0">
                    <a:pos x="101" y="51"/>
                  </a:cxn>
                  <a:cxn ang="0">
                    <a:pos x="108" y="50"/>
                  </a:cxn>
                  <a:cxn ang="0">
                    <a:pos x="102" y="41"/>
                  </a:cxn>
                  <a:cxn ang="0">
                    <a:pos x="101" y="30"/>
                  </a:cxn>
                  <a:cxn ang="0">
                    <a:pos x="99" y="18"/>
                  </a:cxn>
                  <a:cxn ang="0">
                    <a:pos x="98" y="11"/>
                  </a:cxn>
                  <a:cxn ang="0">
                    <a:pos x="89" y="0"/>
                  </a:cxn>
                  <a:cxn ang="0">
                    <a:pos x="88" y="0"/>
                  </a:cxn>
                  <a:cxn ang="0">
                    <a:pos x="88" y="10"/>
                  </a:cxn>
                  <a:cxn ang="0">
                    <a:pos x="94" y="16"/>
                  </a:cxn>
                  <a:cxn ang="0">
                    <a:pos x="95" y="26"/>
                  </a:cxn>
                  <a:cxn ang="0">
                    <a:pos x="89" y="28"/>
                  </a:cxn>
                  <a:cxn ang="0">
                    <a:pos x="85" y="30"/>
                  </a:cxn>
                  <a:cxn ang="0">
                    <a:pos x="75" y="48"/>
                  </a:cxn>
                  <a:cxn ang="0">
                    <a:pos x="74" y="57"/>
                  </a:cxn>
                  <a:cxn ang="0">
                    <a:pos x="71" y="60"/>
                  </a:cxn>
                  <a:cxn ang="0">
                    <a:pos x="70" y="67"/>
                  </a:cxn>
                  <a:cxn ang="0">
                    <a:pos x="64" y="74"/>
                  </a:cxn>
                  <a:cxn ang="0">
                    <a:pos x="61" y="81"/>
                  </a:cxn>
                  <a:cxn ang="0">
                    <a:pos x="51" y="101"/>
                  </a:cxn>
                  <a:cxn ang="0">
                    <a:pos x="44" y="108"/>
                  </a:cxn>
                  <a:cxn ang="0">
                    <a:pos x="38" y="101"/>
                  </a:cxn>
                  <a:cxn ang="0">
                    <a:pos x="33" y="100"/>
                  </a:cxn>
                  <a:cxn ang="0">
                    <a:pos x="23" y="101"/>
                  </a:cxn>
                  <a:cxn ang="0">
                    <a:pos x="4" y="120"/>
                  </a:cxn>
                  <a:cxn ang="0">
                    <a:pos x="0" y="137"/>
                  </a:cxn>
                  <a:cxn ang="0">
                    <a:pos x="7" y="145"/>
                  </a:cxn>
                  <a:cxn ang="0">
                    <a:pos x="13" y="148"/>
                  </a:cxn>
                  <a:cxn ang="0">
                    <a:pos x="18" y="148"/>
                  </a:cxn>
                  <a:cxn ang="0">
                    <a:pos x="24" y="159"/>
                  </a:cxn>
                  <a:cxn ang="0">
                    <a:pos x="21" y="171"/>
                  </a:cxn>
                  <a:cxn ang="0">
                    <a:pos x="43" y="178"/>
                  </a:cxn>
                </a:cxnLst>
                <a:rect l="0" t="0" r="r" b="b"/>
                <a:pathLst>
                  <a:path w="119" h="185">
                    <a:moveTo>
                      <a:pt x="50" y="175"/>
                    </a:moveTo>
                    <a:lnTo>
                      <a:pt x="50" y="175"/>
                    </a:lnTo>
                    <a:lnTo>
                      <a:pt x="70" y="176"/>
                    </a:lnTo>
                    <a:lnTo>
                      <a:pt x="92" y="176"/>
                    </a:lnTo>
                    <a:lnTo>
                      <a:pt x="92" y="176"/>
                    </a:lnTo>
                    <a:lnTo>
                      <a:pt x="98" y="178"/>
                    </a:lnTo>
                    <a:lnTo>
                      <a:pt x="105" y="181"/>
                    </a:lnTo>
                    <a:lnTo>
                      <a:pt x="115" y="185"/>
                    </a:lnTo>
                    <a:lnTo>
                      <a:pt x="115" y="185"/>
                    </a:lnTo>
                    <a:lnTo>
                      <a:pt x="115" y="179"/>
                    </a:lnTo>
                    <a:lnTo>
                      <a:pt x="116" y="175"/>
                    </a:lnTo>
                    <a:lnTo>
                      <a:pt x="119" y="171"/>
                    </a:lnTo>
                    <a:lnTo>
                      <a:pt x="119" y="171"/>
                    </a:lnTo>
                    <a:lnTo>
                      <a:pt x="116" y="169"/>
                    </a:lnTo>
                    <a:lnTo>
                      <a:pt x="116" y="168"/>
                    </a:lnTo>
                    <a:lnTo>
                      <a:pt x="116" y="168"/>
                    </a:lnTo>
                    <a:lnTo>
                      <a:pt x="114" y="165"/>
                    </a:lnTo>
                    <a:lnTo>
                      <a:pt x="111" y="162"/>
                    </a:lnTo>
                    <a:lnTo>
                      <a:pt x="105" y="156"/>
                    </a:lnTo>
                    <a:lnTo>
                      <a:pt x="105" y="156"/>
                    </a:lnTo>
                    <a:lnTo>
                      <a:pt x="102" y="152"/>
                    </a:lnTo>
                    <a:lnTo>
                      <a:pt x="102" y="152"/>
                    </a:lnTo>
                    <a:lnTo>
                      <a:pt x="102" y="148"/>
                    </a:lnTo>
                    <a:lnTo>
                      <a:pt x="101" y="145"/>
                    </a:lnTo>
                    <a:lnTo>
                      <a:pt x="99" y="142"/>
                    </a:lnTo>
                    <a:lnTo>
                      <a:pt x="99" y="142"/>
                    </a:lnTo>
                    <a:lnTo>
                      <a:pt x="97" y="137"/>
                    </a:lnTo>
                    <a:lnTo>
                      <a:pt x="95" y="129"/>
                    </a:lnTo>
                    <a:lnTo>
                      <a:pt x="95" y="129"/>
                    </a:lnTo>
                    <a:lnTo>
                      <a:pt x="94" y="122"/>
                    </a:lnTo>
                    <a:lnTo>
                      <a:pt x="92" y="117"/>
                    </a:lnTo>
                    <a:lnTo>
                      <a:pt x="92" y="117"/>
                    </a:lnTo>
                    <a:lnTo>
                      <a:pt x="94" y="114"/>
                    </a:lnTo>
                    <a:lnTo>
                      <a:pt x="97" y="110"/>
                    </a:lnTo>
                    <a:lnTo>
                      <a:pt x="98" y="105"/>
                    </a:lnTo>
                    <a:lnTo>
                      <a:pt x="101" y="100"/>
                    </a:lnTo>
                    <a:lnTo>
                      <a:pt x="101" y="100"/>
                    </a:lnTo>
                    <a:lnTo>
                      <a:pt x="104" y="95"/>
                    </a:lnTo>
                    <a:lnTo>
                      <a:pt x="109" y="90"/>
                    </a:lnTo>
                    <a:lnTo>
                      <a:pt x="109" y="90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2" y="74"/>
                    </a:lnTo>
                    <a:lnTo>
                      <a:pt x="99" y="71"/>
                    </a:lnTo>
                    <a:lnTo>
                      <a:pt x="91" y="65"/>
                    </a:lnTo>
                    <a:lnTo>
                      <a:pt x="91" y="65"/>
                    </a:lnTo>
                    <a:lnTo>
                      <a:pt x="88" y="61"/>
                    </a:lnTo>
                    <a:lnTo>
                      <a:pt x="87" y="58"/>
                    </a:lnTo>
                    <a:lnTo>
                      <a:pt x="87" y="54"/>
                    </a:lnTo>
                    <a:lnTo>
                      <a:pt x="87" y="54"/>
                    </a:lnTo>
                    <a:lnTo>
                      <a:pt x="88" y="53"/>
                    </a:lnTo>
                    <a:lnTo>
                      <a:pt x="92" y="51"/>
                    </a:lnTo>
                    <a:lnTo>
                      <a:pt x="101" y="51"/>
                    </a:lnTo>
                    <a:lnTo>
                      <a:pt x="101" y="51"/>
                    </a:lnTo>
                    <a:lnTo>
                      <a:pt x="107" y="51"/>
                    </a:lnTo>
                    <a:lnTo>
                      <a:pt x="108" y="50"/>
                    </a:lnTo>
                    <a:lnTo>
                      <a:pt x="108" y="50"/>
                    </a:lnTo>
                    <a:lnTo>
                      <a:pt x="108" y="50"/>
                    </a:lnTo>
                    <a:lnTo>
                      <a:pt x="105" y="47"/>
                    </a:lnTo>
                    <a:lnTo>
                      <a:pt x="102" y="41"/>
                    </a:lnTo>
                    <a:lnTo>
                      <a:pt x="101" y="36"/>
                    </a:lnTo>
                    <a:lnTo>
                      <a:pt x="101" y="30"/>
                    </a:lnTo>
                    <a:lnTo>
                      <a:pt x="101" y="30"/>
                    </a:lnTo>
                    <a:lnTo>
                      <a:pt x="101" y="24"/>
                    </a:lnTo>
                    <a:lnTo>
                      <a:pt x="99" y="21"/>
                    </a:lnTo>
                    <a:lnTo>
                      <a:pt x="99" y="18"/>
                    </a:lnTo>
                    <a:lnTo>
                      <a:pt x="99" y="16"/>
                    </a:lnTo>
                    <a:lnTo>
                      <a:pt x="99" y="16"/>
                    </a:lnTo>
                    <a:lnTo>
                      <a:pt x="98" y="11"/>
                    </a:lnTo>
                    <a:lnTo>
                      <a:pt x="95" y="6"/>
                    </a:lnTo>
                    <a:lnTo>
                      <a:pt x="92" y="1"/>
                    </a:lnTo>
                    <a:lnTo>
                      <a:pt x="89" y="0"/>
                    </a:lnTo>
                    <a:lnTo>
                      <a:pt x="89" y="0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87" y="9"/>
                    </a:lnTo>
                    <a:lnTo>
                      <a:pt x="87" y="9"/>
                    </a:lnTo>
                    <a:lnTo>
                      <a:pt x="88" y="10"/>
                    </a:lnTo>
                    <a:lnTo>
                      <a:pt x="89" y="13"/>
                    </a:lnTo>
                    <a:lnTo>
                      <a:pt x="94" y="16"/>
                    </a:lnTo>
                    <a:lnTo>
                      <a:pt x="94" y="16"/>
                    </a:lnTo>
                    <a:lnTo>
                      <a:pt x="95" y="17"/>
                    </a:lnTo>
                    <a:lnTo>
                      <a:pt x="95" y="18"/>
                    </a:lnTo>
                    <a:lnTo>
                      <a:pt x="95" y="26"/>
                    </a:lnTo>
                    <a:lnTo>
                      <a:pt x="95" y="26"/>
                    </a:lnTo>
                    <a:lnTo>
                      <a:pt x="92" y="27"/>
                    </a:lnTo>
                    <a:lnTo>
                      <a:pt x="89" y="28"/>
                    </a:lnTo>
                    <a:lnTo>
                      <a:pt x="87" y="30"/>
                    </a:lnTo>
                    <a:lnTo>
                      <a:pt x="85" y="30"/>
                    </a:lnTo>
                    <a:lnTo>
                      <a:pt x="85" y="30"/>
                    </a:lnTo>
                    <a:lnTo>
                      <a:pt x="80" y="38"/>
                    </a:lnTo>
                    <a:lnTo>
                      <a:pt x="77" y="44"/>
                    </a:lnTo>
                    <a:lnTo>
                      <a:pt x="75" y="48"/>
                    </a:lnTo>
                    <a:lnTo>
                      <a:pt x="75" y="48"/>
                    </a:lnTo>
                    <a:lnTo>
                      <a:pt x="75" y="54"/>
                    </a:lnTo>
                    <a:lnTo>
                      <a:pt x="74" y="57"/>
                    </a:lnTo>
                    <a:lnTo>
                      <a:pt x="72" y="58"/>
                    </a:lnTo>
                    <a:lnTo>
                      <a:pt x="72" y="58"/>
                    </a:lnTo>
                    <a:lnTo>
                      <a:pt x="71" y="60"/>
                    </a:lnTo>
                    <a:lnTo>
                      <a:pt x="70" y="63"/>
                    </a:lnTo>
                    <a:lnTo>
                      <a:pt x="70" y="67"/>
                    </a:lnTo>
                    <a:lnTo>
                      <a:pt x="70" y="67"/>
                    </a:lnTo>
                    <a:lnTo>
                      <a:pt x="68" y="68"/>
                    </a:lnTo>
                    <a:lnTo>
                      <a:pt x="67" y="71"/>
                    </a:lnTo>
                    <a:lnTo>
                      <a:pt x="64" y="74"/>
                    </a:lnTo>
                    <a:lnTo>
                      <a:pt x="62" y="77"/>
                    </a:lnTo>
                    <a:lnTo>
                      <a:pt x="62" y="77"/>
                    </a:lnTo>
                    <a:lnTo>
                      <a:pt x="61" y="81"/>
                    </a:lnTo>
                    <a:lnTo>
                      <a:pt x="57" y="88"/>
                    </a:lnTo>
                    <a:lnTo>
                      <a:pt x="51" y="101"/>
                    </a:lnTo>
                    <a:lnTo>
                      <a:pt x="51" y="101"/>
                    </a:lnTo>
                    <a:lnTo>
                      <a:pt x="47" y="108"/>
                    </a:lnTo>
                    <a:lnTo>
                      <a:pt x="45" y="110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3" y="104"/>
                    </a:lnTo>
                    <a:lnTo>
                      <a:pt x="38" y="101"/>
                    </a:lnTo>
                    <a:lnTo>
                      <a:pt x="35" y="100"/>
                    </a:lnTo>
                    <a:lnTo>
                      <a:pt x="33" y="100"/>
                    </a:lnTo>
                    <a:lnTo>
                      <a:pt x="33" y="100"/>
                    </a:lnTo>
                    <a:lnTo>
                      <a:pt x="30" y="101"/>
                    </a:lnTo>
                    <a:lnTo>
                      <a:pt x="27" y="101"/>
                    </a:lnTo>
                    <a:lnTo>
                      <a:pt x="23" y="101"/>
                    </a:lnTo>
                    <a:lnTo>
                      <a:pt x="23" y="101"/>
                    </a:lnTo>
                    <a:lnTo>
                      <a:pt x="13" y="111"/>
                    </a:lnTo>
                    <a:lnTo>
                      <a:pt x="4" y="120"/>
                    </a:lnTo>
                    <a:lnTo>
                      <a:pt x="4" y="120"/>
                    </a:lnTo>
                    <a:lnTo>
                      <a:pt x="4" y="124"/>
                    </a:lnTo>
                    <a:lnTo>
                      <a:pt x="0" y="137"/>
                    </a:lnTo>
                    <a:lnTo>
                      <a:pt x="0" y="137"/>
                    </a:lnTo>
                    <a:lnTo>
                      <a:pt x="3" y="139"/>
                    </a:lnTo>
                    <a:lnTo>
                      <a:pt x="7" y="145"/>
                    </a:lnTo>
                    <a:lnTo>
                      <a:pt x="7" y="145"/>
                    </a:lnTo>
                    <a:lnTo>
                      <a:pt x="10" y="147"/>
                    </a:lnTo>
                    <a:lnTo>
                      <a:pt x="13" y="148"/>
                    </a:lnTo>
                    <a:lnTo>
                      <a:pt x="17" y="148"/>
                    </a:lnTo>
                    <a:lnTo>
                      <a:pt x="18" y="148"/>
                    </a:lnTo>
                    <a:lnTo>
                      <a:pt x="18" y="148"/>
                    </a:lnTo>
                    <a:lnTo>
                      <a:pt x="21" y="151"/>
                    </a:lnTo>
                    <a:lnTo>
                      <a:pt x="23" y="155"/>
                    </a:lnTo>
                    <a:lnTo>
                      <a:pt x="24" y="159"/>
                    </a:lnTo>
                    <a:lnTo>
                      <a:pt x="24" y="164"/>
                    </a:lnTo>
                    <a:lnTo>
                      <a:pt x="24" y="164"/>
                    </a:lnTo>
                    <a:lnTo>
                      <a:pt x="21" y="171"/>
                    </a:lnTo>
                    <a:lnTo>
                      <a:pt x="20" y="174"/>
                    </a:lnTo>
                    <a:lnTo>
                      <a:pt x="20" y="178"/>
                    </a:lnTo>
                    <a:lnTo>
                      <a:pt x="43" y="178"/>
                    </a:lnTo>
                    <a:lnTo>
                      <a:pt x="50" y="175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48" name="Nigeria">
                <a:extLst>
                  <a:ext uri="{FF2B5EF4-FFF2-40B4-BE49-F238E27FC236}">
                    <a16:creationId xmlns:a16="http://schemas.microsoft.com/office/drawing/2014/main" id="{D2FA109B-5D09-B667-47BB-0EAA815FD8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9987" y="3979748"/>
                <a:ext cx="279679" cy="226408"/>
              </a:xfrm>
              <a:custGeom>
                <a:avLst/>
                <a:gdLst/>
                <a:ahLst/>
                <a:cxnLst>
                  <a:cxn ang="0">
                    <a:pos x="121" y="112"/>
                  </a:cxn>
                  <a:cxn ang="0">
                    <a:pos x="127" y="111"/>
                  </a:cxn>
                  <a:cxn ang="0">
                    <a:pos x="137" y="115"/>
                  </a:cxn>
                  <a:cxn ang="0">
                    <a:pos x="139" y="121"/>
                  </a:cxn>
                  <a:cxn ang="0">
                    <a:pos x="145" y="112"/>
                  </a:cxn>
                  <a:cxn ang="0">
                    <a:pos x="156" y="88"/>
                  </a:cxn>
                  <a:cxn ang="0">
                    <a:pos x="161" y="82"/>
                  </a:cxn>
                  <a:cxn ang="0">
                    <a:pos x="164" y="78"/>
                  </a:cxn>
                  <a:cxn ang="0">
                    <a:pos x="166" y="69"/>
                  </a:cxn>
                  <a:cxn ang="0">
                    <a:pos x="169" y="65"/>
                  </a:cxn>
                  <a:cxn ang="0">
                    <a:pos x="171" y="55"/>
                  </a:cxn>
                  <a:cxn ang="0">
                    <a:pos x="179" y="41"/>
                  </a:cxn>
                  <a:cxn ang="0">
                    <a:pos x="186" y="38"/>
                  </a:cxn>
                  <a:cxn ang="0">
                    <a:pos x="189" y="29"/>
                  </a:cxn>
                  <a:cxn ang="0">
                    <a:pos x="188" y="27"/>
                  </a:cxn>
                  <a:cxn ang="0">
                    <a:pos x="181" y="20"/>
                  </a:cxn>
                  <a:cxn ang="0">
                    <a:pos x="182" y="11"/>
                  </a:cxn>
                  <a:cxn ang="0">
                    <a:pos x="176" y="4"/>
                  </a:cxn>
                  <a:cxn ang="0">
                    <a:pos x="172" y="1"/>
                  </a:cxn>
                  <a:cxn ang="0">
                    <a:pos x="168" y="2"/>
                  </a:cxn>
                  <a:cxn ang="0">
                    <a:pos x="159" y="11"/>
                  </a:cxn>
                  <a:cxn ang="0">
                    <a:pos x="151" y="11"/>
                  </a:cxn>
                  <a:cxn ang="0">
                    <a:pos x="142" y="7"/>
                  </a:cxn>
                  <a:cxn ang="0">
                    <a:pos x="125" y="8"/>
                  </a:cxn>
                  <a:cxn ang="0">
                    <a:pos x="114" y="15"/>
                  </a:cxn>
                  <a:cxn ang="0">
                    <a:pos x="105" y="17"/>
                  </a:cxn>
                  <a:cxn ang="0">
                    <a:pos x="91" y="11"/>
                  </a:cxn>
                  <a:cxn ang="0">
                    <a:pos x="85" y="8"/>
                  </a:cxn>
                  <a:cxn ang="0">
                    <a:pos x="72" y="12"/>
                  </a:cxn>
                  <a:cxn ang="0">
                    <a:pos x="67" y="11"/>
                  </a:cxn>
                  <a:cxn ang="0">
                    <a:pos x="60" y="2"/>
                  </a:cxn>
                  <a:cxn ang="0">
                    <a:pos x="50" y="0"/>
                  </a:cxn>
                  <a:cxn ang="0">
                    <a:pos x="45" y="1"/>
                  </a:cxn>
                  <a:cxn ang="0">
                    <a:pos x="41" y="4"/>
                  </a:cxn>
                  <a:cxn ang="0">
                    <a:pos x="26" y="4"/>
                  </a:cxn>
                  <a:cxn ang="0">
                    <a:pos x="23" y="10"/>
                  </a:cxn>
                  <a:cxn ang="0">
                    <a:pos x="18" y="21"/>
                  </a:cxn>
                  <a:cxn ang="0">
                    <a:pos x="16" y="28"/>
                  </a:cxn>
                  <a:cxn ang="0">
                    <a:pos x="13" y="31"/>
                  </a:cxn>
                  <a:cxn ang="0">
                    <a:pos x="16" y="52"/>
                  </a:cxn>
                  <a:cxn ang="0">
                    <a:pos x="13" y="64"/>
                  </a:cxn>
                  <a:cxn ang="0">
                    <a:pos x="7" y="74"/>
                  </a:cxn>
                  <a:cxn ang="0">
                    <a:pos x="0" y="85"/>
                  </a:cxn>
                  <a:cxn ang="0">
                    <a:pos x="1" y="103"/>
                  </a:cxn>
                  <a:cxn ang="0">
                    <a:pos x="3" y="111"/>
                  </a:cxn>
                  <a:cxn ang="0">
                    <a:pos x="6" y="116"/>
                  </a:cxn>
                  <a:cxn ang="0">
                    <a:pos x="16" y="121"/>
                  </a:cxn>
                  <a:cxn ang="0">
                    <a:pos x="36" y="126"/>
                  </a:cxn>
                  <a:cxn ang="0">
                    <a:pos x="45" y="139"/>
                  </a:cxn>
                  <a:cxn ang="0">
                    <a:pos x="48" y="148"/>
                  </a:cxn>
                  <a:cxn ang="0">
                    <a:pos x="54" y="153"/>
                  </a:cxn>
                  <a:cxn ang="0">
                    <a:pos x="67" y="150"/>
                  </a:cxn>
                  <a:cxn ang="0">
                    <a:pos x="81" y="149"/>
                  </a:cxn>
                  <a:cxn ang="0">
                    <a:pos x="91" y="148"/>
                  </a:cxn>
                  <a:cxn ang="0">
                    <a:pos x="94" y="148"/>
                  </a:cxn>
                  <a:cxn ang="0">
                    <a:pos x="98" y="131"/>
                  </a:cxn>
                  <a:cxn ang="0">
                    <a:pos x="117" y="112"/>
                  </a:cxn>
                </a:cxnLst>
                <a:rect l="0" t="0" r="r" b="b"/>
                <a:pathLst>
                  <a:path w="189" h="153">
                    <a:moveTo>
                      <a:pt x="117" y="112"/>
                    </a:moveTo>
                    <a:lnTo>
                      <a:pt x="117" y="112"/>
                    </a:lnTo>
                    <a:lnTo>
                      <a:pt x="121" y="112"/>
                    </a:lnTo>
                    <a:lnTo>
                      <a:pt x="124" y="112"/>
                    </a:lnTo>
                    <a:lnTo>
                      <a:pt x="127" y="111"/>
                    </a:lnTo>
                    <a:lnTo>
                      <a:pt x="127" y="111"/>
                    </a:lnTo>
                    <a:lnTo>
                      <a:pt x="129" y="111"/>
                    </a:lnTo>
                    <a:lnTo>
                      <a:pt x="132" y="112"/>
                    </a:lnTo>
                    <a:lnTo>
                      <a:pt x="137" y="115"/>
                    </a:lnTo>
                    <a:lnTo>
                      <a:pt x="138" y="119"/>
                    </a:lnTo>
                    <a:lnTo>
                      <a:pt x="138" y="119"/>
                    </a:lnTo>
                    <a:lnTo>
                      <a:pt x="139" y="121"/>
                    </a:lnTo>
                    <a:lnTo>
                      <a:pt x="141" y="119"/>
                    </a:lnTo>
                    <a:lnTo>
                      <a:pt x="145" y="112"/>
                    </a:lnTo>
                    <a:lnTo>
                      <a:pt x="145" y="112"/>
                    </a:lnTo>
                    <a:lnTo>
                      <a:pt x="151" y="99"/>
                    </a:lnTo>
                    <a:lnTo>
                      <a:pt x="155" y="92"/>
                    </a:lnTo>
                    <a:lnTo>
                      <a:pt x="156" y="88"/>
                    </a:lnTo>
                    <a:lnTo>
                      <a:pt x="156" y="88"/>
                    </a:lnTo>
                    <a:lnTo>
                      <a:pt x="158" y="85"/>
                    </a:lnTo>
                    <a:lnTo>
                      <a:pt x="161" y="82"/>
                    </a:lnTo>
                    <a:lnTo>
                      <a:pt x="162" y="79"/>
                    </a:lnTo>
                    <a:lnTo>
                      <a:pt x="164" y="78"/>
                    </a:lnTo>
                    <a:lnTo>
                      <a:pt x="164" y="78"/>
                    </a:lnTo>
                    <a:lnTo>
                      <a:pt x="164" y="74"/>
                    </a:lnTo>
                    <a:lnTo>
                      <a:pt x="165" y="71"/>
                    </a:lnTo>
                    <a:lnTo>
                      <a:pt x="166" y="69"/>
                    </a:lnTo>
                    <a:lnTo>
                      <a:pt x="166" y="69"/>
                    </a:lnTo>
                    <a:lnTo>
                      <a:pt x="168" y="68"/>
                    </a:lnTo>
                    <a:lnTo>
                      <a:pt x="169" y="65"/>
                    </a:lnTo>
                    <a:lnTo>
                      <a:pt x="169" y="59"/>
                    </a:lnTo>
                    <a:lnTo>
                      <a:pt x="169" y="59"/>
                    </a:lnTo>
                    <a:lnTo>
                      <a:pt x="171" y="55"/>
                    </a:lnTo>
                    <a:lnTo>
                      <a:pt x="174" y="49"/>
                    </a:lnTo>
                    <a:lnTo>
                      <a:pt x="179" y="41"/>
                    </a:lnTo>
                    <a:lnTo>
                      <a:pt x="179" y="41"/>
                    </a:lnTo>
                    <a:lnTo>
                      <a:pt x="181" y="41"/>
                    </a:lnTo>
                    <a:lnTo>
                      <a:pt x="183" y="39"/>
                    </a:lnTo>
                    <a:lnTo>
                      <a:pt x="186" y="38"/>
                    </a:lnTo>
                    <a:lnTo>
                      <a:pt x="189" y="37"/>
                    </a:lnTo>
                    <a:lnTo>
                      <a:pt x="189" y="37"/>
                    </a:lnTo>
                    <a:lnTo>
                      <a:pt x="189" y="29"/>
                    </a:lnTo>
                    <a:lnTo>
                      <a:pt x="189" y="28"/>
                    </a:lnTo>
                    <a:lnTo>
                      <a:pt x="188" y="27"/>
                    </a:lnTo>
                    <a:lnTo>
                      <a:pt x="188" y="27"/>
                    </a:lnTo>
                    <a:lnTo>
                      <a:pt x="183" y="24"/>
                    </a:lnTo>
                    <a:lnTo>
                      <a:pt x="182" y="21"/>
                    </a:lnTo>
                    <a:lnTo>
                      <a:pt x="181" y="20"/>
                    </a:lnTo>
                    <a:lnTo>
                      <a:pt x="181" y="20"/>
                    </a:lnTo>
                    <a:lnTo>
                      <a:pt x="182" y="11"/>
                    </a:lnTo>
                    <a:lnTo>
                      <a:pt x="182" y="11"/>
                    </a:lnTo>
                    <a:lnTo>
                      <a:pt x="179" y="10"/>
                    </a:lnTo>
                    <a:lnTo>
                      <a:pt x="178" y="8"/>
                    </a:lnTo>
                    <a:lnTo>
                      <a:pt x="176" y="4"/>
                    </a:lnTo>
                    <a:lnTo>
                      <a:pt x="176" y="4"/>
                    </a:lnTo>
                    <a:lnTo>
                      <a:pt x="174" y="1"/>
                    </a:lnTo>
                    <a:lnTo>
                      <a:pt x="172" y="1"/>
                    </a:lnTo>
                    <a:lnTo>
                      <a:pt x="171" y="1"/>
                    </a:lnTo>
                    <a:lnTo>
                      <a:pt x="171" y="1"/>
                    </a:lnTo>
                    <a:lnTo>
                      <a:pt x="168" y="2"/>
                    </a:lnTo>
                    <a:lnTo>
                      <a:pt x="165" y="5"/>
                    </a:lnTo>
                    <a:lnTo>
                      <a:pt x="162" y="10"/>
                    </a:lnTo>
                    <a:lnTo>
                      <a:pt x="159" y="11"/>
                    </a:lnTo>
                    <a:lnTo>
                      <a:pt x="159" y="11"/>
                    </a:lnTo>
                    <a:lnTo>
                      <a:pt x="155" y="11"/>
                    </a:lnTo>
                    <a:lnTo>
                      <a:pt x="151" y="11"/>
                    </a:lnTo>
                    <a:lnTo>
                      <a:pt x="145" y="8"/>
                    </a:lnTo>
                    <a:lnTo>
                      <a:pt x="145" y="8"/>
                    </a:lnTo>
                    <a:lnTo>
                      <a:pt x="142" y="7"/>
                    </a:lnTo>
                    <a:lnTo>
                      <a:pt x="135" y="7"/>
                    </a:lnTo>
                    <a:lnTo>
                      <a:pt x="125" y="8"/>
                    </a:lnTo>
                    <a:lnTo>
                      <a:pt x="125" y="8"/>
                    </a:lnTo>
                    <a:lnTo>
                      <a:pt x="122" y="8"/>
                    </a:lnTo>
                    <a:lnTo>
                      <a:pt x="118" y="11"/>
                    </a:lnTo>
                    <a:lnTo>
                      <a:pt x="114" y="15"/>
                    </a:lnTo>
                    <a:lnTo>
                      <a:pt x="114" y="15"/>
                    </a:lnTo>
                    <a:lnTo>
                      <a:pt x="109" y="17"/>
                    </a:lnTo>
                    <a:lnTo>
                      <a:pt x="105" y="17"/>
                    </a:lnTo>
                    <a:lnTo>
                      <a:pt x="98" y="15"/>
                    </a:lnTo>
                    <a:lnTo>
                      <a:pt x="98" y="15"/>
                    </a:lnTo>
                    <a:lnTo>
                      <a:pt x="91" y="11"/>
                    </a:lnTo>
                    <a:lnTo>
                      <a:pt x="88" y="10"/>
                    </a:lnTo>
                    <a:lnTo>
                      <a:pt x="85" y="8"/>
                    </a:lnTo>
                    <a:lnTo>
                      <a:pt x="85" y="8"/>
                    </a:lnTo>
                    <a:lnTo>
                      <a:pt x="80" y="10"/>
                    </a:lnTo>
                    <a:lnTo>
                      <a:pt x="72" y="12"/>
                    </a:lnTo>
                    <a:lnTo>
                      <a:pt x="72" y="12"/>
                    </a:lnTo>
                    <a:lnTo>
                      <a:pt x="70" y="12"/>
                    </a:lnTo>
                    <a:lnTo>
                      <a:pt x="68" y="12"/>
                    </a:lnTo>
                    <a:lnTo>
                      <a:pt x="67" y="11"/>
                    </a:lnTo>
                    <a:lnTo>
                      <a:pt x="63" y="4"/>
                    </a:lnTo>
                    <a:lnTo>
                      <a:pt x="63" y="4"/>
                    </a:lnTo>
                    <a:lnTo>
                      <a:pt x="60" y="2"/>
                    </a:lnTo>
                    <a:lnTo>
                      <a:pt x="57" y="2"/>
                    </a:lnTo>
                    <a:lnTo>
                      <a:pt x="53" y="1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47" y="0"/>
                    </a:lnTo>
                    <a:lnTo>
                      <a:pt x="45" y="1"/>
                    </a:lnTo>
                    <a:lnTo>
                      <a:pt x="43" y="2"/>
                    </a:lnTo>
                    <a:lnTo>
                      <a:pt x="41" y="4"/>
                    </a:lnTo>
                    <a:lnTo>
                      <a:pt x="41" y="4"/>
                    </a:lnTo>
                    <a:lnTo>
                      <a:pt x="33" y="2"/>
                    </a:lnTo>
                    <a:lnTo>
                      <a:pt x="28" y="2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4" y="7"/>
                    </a:lnTo>
                    <a:lnTo>
                      <a:pt x="23" y="10"/>
                    </a:lnTo>
                    <a:lnTo>
                      <a:pt x="23" y="17"/>
                    </a:lnTo>
                    <a:lnTo>
                      <a:pt x="23" y="17"/>
                    </a:lnTo>
                    <a:lnTo>
                      <a:pt x="18" y="21"/>
                    </a:lnTo>
                    <a:lnTo>
                      <a:pt x="16" y="24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4" y="29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6" y="52"/>
                    </a:lnTo>
                    <a:lnTo>
                      <a:pt x="16" y="59"/>
                    </a:lnTo>
                    <a:lnTo>
                      <a:pt x="13" y="64"/>
                    </a:lnTo>
                    <a:lnTo>
                      <a:pt x="13" y="64"/>
                    </a:lnTo>
                    <a:lnTo>
                      <a:pt x="8" y="71"/>
                    </a:lnTo>
                    <a:lnTo>
                      <a:pt x="7" y="74"/>
                    </a:lnTo>
                    <a:lnTo>
                      <a:pt x="7" y="74"/>
                    </a:lnTo>
                    <a:lnTo>
                      <a:pt x="4" y="76"/>
                    </a:lnTo>
                    <a:lnTo>
                      <a:pt x="1" y="81"/>
                    </a:lnTo>
                    <a:lnTo>
                      <a:pt x="0" y="85"/>
                    </a:lnTo>
                    <a:lnTo>
                      <a:pt x="0" y="85"/>
                    </a:lnTo>
                    <a:lnTo>
                      <a:pt x="0" y="95"/>
                    </a:lnTo>
                    <a:lnTo>
                      <a:pt x="1" y="103"/>
                    </a:lnTo>
                    <a:lnTo>
                      <a:pt x="1" y="103"/>
                    </a:lnTo>
                    <a:lnTo>
                      <a:pt x="1" y="108"/>
                    </a:lnTo>
                    <a:lnTo>
                      <a:pt x="3" y="111"/>
                    </a:lnTo>
                    <a:lnTo>
                      <a:pt x="6" y="116"/>
                    </a:lnTo>
                    <a:lnTo>
                      <a:pt x="6" y="116"/>
                    </a:lnTo>
                    <a:lnTo>
                      <a:pt x="6" y="116"/>
                    </a:lnTo>
                    <a:lnTo>
                      <a:pt x="6" y="116"/>
                    </a:lnTo>
                    <a:lnTo>
                      <a:pt x="10" y="119"/>
                    </a:lnTo>
                    <a:lnTo>
                      <a:pt x="16" y="121"/>
                    </a:lnTo>
                    <a:lnTo>
                      <a:pt x="30" y="123"/>
                    </a:lnTo>
                    <a:lnTo>
                      <a:pt x="30" y="123"/>
                    </a:lnTo>
                    <a:lnTo>
                      <a:pt x="36" y="126"/>
                    </a:lnTo>
                    <a:lnTo>
                      <a:pt x="40" y="131"/>
                    </a:lnTo>
                    <a:lnTo>
                      <a:pt x="44" y="135"/>
                    </a:lnTo>
                    <a:lnTo>
                      <a:pt x="45" y="139"/>
                    </a:lnTo>
                    <a:lnTo>
                      <a:pt x="45" y="139"/>
                    </a:lnTo>
                    <a:lnTo>
                      <a:pt x="45" y="143"/>
                    </a:lnTo>
                    <a:lnTo>
                      <a:pt x="48" y="148"/>
                    </a:lnTo>
                    <a:lnTo>
                      <a:pt x="51" y="150"/>
                    </a:lnTo>
                    <a:lnTo>
                      <a:pt x="54" y="153"/>
                    </a:lnTo>
                    <a:lnTo>
                      <a:pt x="54" y="153"/>
                    </a:lnTo>
                    <a:lnTo>
                      <a:pt x="57" y="153"/>
                    </a:lnTo>
                    <a:lnTo>
                      <a:pt x="61" y="152"/>
                    </a:lnTo>
                    <a:lnTo>
                      <a:pt x="67" y="150"/>
                    </a:lnTo>
                    <a:lnTo>
                      <a:pt x="70" y="149"/>
                    </a:lnTo>
                    <a:lnTo>
                      <a:pt x="70" y="149"/>
                    </a:lnTo>
                    <a:lnTo>
                      <a:pt x="81" y="149"/>
                    </a:lnTo>
                    <a:lnTo>
                      <a:pt x="87" y="149"/>
                    </a:lnTo>
                    <a:lnTo>
                      <a:pt x="91" y="148"/>
                    </a:lnTo>
                    <a:lnTo>
                      <a:pt x="91" y="148"/>
                    </a:lnTo>
                    <a:lnTo>
                      <a:pt x="92" y="146"/>
                    </a:lnTo>
                    <a:lnTo>
                      <a:pt x="94" y="148"/>
                    </a:lnTo>
                    <a:lnTo>
                      <a:pt x="94" y="148"/>
                    </a:lnTo>
                    <a:lnTo>
                      <a:pt x="98" y="135"/>
                    </a:lnTo>
                    <a:lnTo>
                      <a:pt x="98" y="131"/>
                    </a:lnTo>
                    <a:lnTo>
                      <a:pt x="98" y="131"/>
                    </a:lnTo>
                    <a:lnTo>
                      <a:pt x="107" y="122"/>
                    </a:lnTo>
                    <a:lnTo>
                      <a:pt x="117" y="112"/>
                    </a:lnTo>
                    <a:lnTo>
                      <a:pt x="117" y="112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49" name="Equatorial Guinea">
                <a:extLst>
                  <a:ext uri="{FF2B5EF4-FFF2-40B4-BE49-F238E27FC236}">
                    <a16:creationId xmlns:a16="http://schemas.microsoft.com/office/drawing/2014/main" id="{0BC0A547-206A-9B28-2F9C-A31040119F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8324" y="4256467"/>
                <a:ext cx="50312" cy="34036"/>
              </a:xfrm>
              <a:custGeom>
                <a:avLst/>
                <a:gdLst/>
                <a:ahLst/>
                <a:cxnLst>
                  <a:cxn ang="0">
                    <a:pos x="32" y="20"/>
                  </a:cxn>
                  <a:cxn ang="0">
                    <a:pos x="32" y="20"/>
                  </a:cxn>
                  <a:cxn ang="0">
                    <a:pos x="34" y="15"/>
                  </a:cxn>
                  <a:cxn ang="0">
                    <a:pos x="34" y="0"/>
                  </a:cxn>
                  <a:cxn ang="0">
                    <a:pos x="30" y="2"/>
                  </a:cxn>
                  <a:cxn ang="0">
                    <a:pos x="7" y="2"/>
                  </a:cxn>
                  <a:cxn ang="0">
                    <a:pos x="7" y="2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8" y="5"/>
                  </a:cxn>
                  <a:cxn ang="0">
                    <a:pos x="8" y="8"/>
                  </a:cxn>
                  <a:cxn ang="0">
                    <a:pos x="7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1" y="15"/>
                  </a:cxn>
                  <a:cxn ang="0">
                    <a:pos x="0" y="16"/>
                  </a:cxn>
                  <a:cxn ang="0">
                    <a:pos x="1" y="17"/>
                  </a:cxn>
                  <a:cxn ang="0">
                    <a:pos x="2" y="19"/>
                  </a:cxn>
                  <a:cxn ang="0">
                    <a:pos x="2" y="19"/>
                  </a:cxn>
                  <a:cxn ang="0">
                    <a:pos x="4" y="19"/>
                  </a:cxn>
                  <a:cxn ang="0">
                    <a:pos x="5" y="20"/>
                  </a:cxn>
                  <a:cxn ang="0">
                    <a:pos x="4" y="23"/>
                  </a:cxn>
                  <a:cxn ang="0">
                    <a:pos x="4" y="23"/>
                  </a:cxn>
                  <a:cxn ang="0">
                    <a:pos x="11" y="22"/>
                  </a:cxn>
                  <a:cxn ang="0">
                    <a:pos x="11" y="22"/>
                  </a:cxn>
                  <a:cxn ang="0">
                    <a:pos x="32" y="20"/>
                  </a:cxn>
                  <a:cxn ang="0">
                    <a:pos x="32" y="20"/>
                  </a:cxn>
                </a:cxnLst>
                <a:rect l="0" t="0" r="r" b="b"/>
                <a:pathLst>
                  <a:path w="34" h="23">
                    <a:moveTo>
                      <a:pt x="32" y="20"/>
                    </a:moveTo>
                    <a:lnTo>
                      <a:pt x="32" y="20"/>
                    </a:lnTo>
                    <a:lnTo>
                      <a:pt x="34" y="15"/>
                    </a:lnTo>
                    <a:lnTo>
                      <a:pt x="34" y="0"/>
                    </a:lnTo>
                    <a:lnTo>
                      <a:pt x="30" y="2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5"/>
                    </a:lnTo>
                    <a:lnTo>
                      <a:pt x="8" y="8"/>
                    </a:lnTo>
                    <a:lnTo>
                      <a:pt x="7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1" y="15"/>
                    </a:lnTo>
                    <a:lnTo>
                      <a:pt x="0" y="16"/>
                    </a:lnTo>
                    <a:lnTo>
                      <a:pt x="1" y="17"/>
                    </a:lnTo>
                    <a:lnTo>
                      <a:pt x="2" y="19"/>
                    </a:lnTo>
                    <a:lnTo>
                      <a:pt x="2" y="19"/>
                    </a:lnTo>
                    <a:lnTo>
                      <a:pt x="4" y="19"/>
                    </a:lnTo>
                    <a:lnTo>
                      <a:pt x="5" y="20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11" y="22"/>
                    </a:lnTo>
                    <a:lnTo>
                      <a:pt x="11" y="22"/>
                    </a:lnTo>
                    <a:lnTo>
                      <a:pt x="32" y="20"/>
                    </a:lnTo>
                    <a:lnTo>
                      <a:pt x="32" y="2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50" name="Gabon">
                <a:extLst>
                  <a:ext uri="{FF2B5EF4-FFF2-40B4-BE49-F238E27FC236}">
                    <a16:creationId xmlns:a16="http://schemas.microsoft.com/office/drawing/2014/main" id="{97EAEACD-D6FB-05CE-D03E-3F67FA298C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5006" y="4254988"/>
                <a:ext cx="130221" cy="149459"/>
              </a:xfrm>
              <a:custGeom>
                <a:avLst/>
                <a:gdLst/>
                <a:ahLst/>
                <a:cxnLst>
                  <a:cxn ang="0">
                    <a:pos x="44" y="97"/>
                  </a:cxn>
                  <a:cxn ang="0">
                    <a:pos x="48" y="92"/>
                  </a:cxn>
                  <a:cxn ang="0">
                    <a:pos x="46" y="84"/>
                  </a:cxn>
                  <a:cxn ang="0">
                    <a:pos x="46" y="80"/>
                  </a:cxn>
                  <a:cxn ang="0">
                    <a:pos x="51" y="77"/>
                  </a:cxn>
                  <a:cxn ang="0">
                    <a:pos x="56" y="77"/>
                  </a:cxn>
                  <a:cxn ang="0">
                    <a:pos x="58" y="75"/>
                  </a:cxn>
                  <a:cxn ang="0">
                    <a:pos x="60" y="70"/>
                  </a:cxn>
                  <a:cxn ang="0">
                    <a:pos x="63" y="68"/>
                  </a:cxn>
                  <a:cxn ang="0">
                    <a:pos x="67" y="73"/>
                  </a:cxn>
                  <a:cxn ang="0">
                    <a:pos x="70" y="77"/>
                  </a:cxn>
                  <a:cxn ang="0">
                    <a:pos x="71" y="78"/>
                  </a:cxn>
                  <a:cxn ang="0">
                    <a:pos x="77" y="78"/>
                  </a:cxn>
                  <a:cxn ang="0">
                    <a:pos x="84" y="80"/>
                  </a:cxn>
                  <a:cxn ang="0">
                    <a:pos x="85" y="78"/>
                  </a:cxn>
                  <a:cxn ang="0">
                    <a:pos x="88" y="73"/>
                  </a:cxn>
                  <a:cxn ang="0">
                    <a:pos x="88" y="61"/>
                  </a:cxn>
                  <a:cxn ang="0">
                    <a:pos x="87" y="47"/>
                  </a:cxn>
                  <a:cxn ang="0">
                    <a:pos x="84" y="44"/>
                  </a:cxn>
                  <a:cxn ang="0">
                    <a:pos x="78" y="37"/>
                  </a:cxn>
                  <a:cxn ang="0">
                    <a:pos x="81" y="31"/>
                  </a:cxn>
                  <a:cxn ang="0">
                    <a:pos x="85" y="28"/>
                  </a:cxn>
                  <a:cxn ang="0">
                    <a:pos x="85" y="21"/>
                  </a:cxn>
                  <a:cxn ang="0">
                    <a:pos x="84" y="18"/>
                  </a:cxn>
                  <a:cxn ang="0">
                    <a:pos x="78" y="17"/>
                  </a:cxn>
                  <a:cxn ang="0">
                    <a:pos x="70" y="18"/>
                  </a:cxn>
                  <a:cxn ang="0">
                    <a:pos x="67" y="18"/>
                  </a:cxn>
                  <a:cxn ang="0">
                    <a:pos x="70" y="1"/>
                  </a:cxn>
                  <a:cxn ang="0">
                    <a:pos x="46" y="0"/>
                  </a:cxn>
                  <a:cxn ang="0">
                    <a:pos x="43" y="1"/>
                  </a:cxn>
                  <a:cxn ang="0">
                    <a:pos x="41" y="21"/>
                  </a:cxn>
                  <a:cxn ang="0">
                    <a:pos x="20" y="23"/>
                  </a:cxn>
                  <a:cxn ang="0">
                    <a:pos x="13" y="24"/>
                  </a:cxn>
                  <a:cxn ang="0">
                    <a:pos x="10" y="27"/>
                  </a:cxn>
                  <a:cxn ang="0">
                    <a:pos x="10" y="28"/>
                  </a:cxn>
                  <a:cxn ang="0">
                    <a:pos x="14" y="33"/>
                  </a:cxn>
                  <a:cxn ang="0">
                    <a:pos x="16" y="36"/>
                  </a:cxn>
                  <a:cxn ang="0">
                    <a:pos x="16" y="37"/>
                  </a:cxn>
                  <a:cxn ang="0">
                    <a:pos x="9" y="40"/>
                  </a:cxn>
                  <a:cxn ang="0">
                    <a:pos x="7" y="43"/>
                  </a:cxn>
                  <a:cxn ang="0">
                    <a:pos x="7" y="46"/>
                  </a:cxn>
                  <a:cxn ang="0">
                    <a:pos x="2" y="53"/>
                  </a:cxn>
                  <a:cxn ang="0">
                    <a:pos x="0" y="54"/>
                  </a:cxn>
                  <a:cxn ang="0">
                    <a:pos x="3" y="60"/>
                  </a:cxn>
                  <a:cxn ang="0">
                    <a:pos x="9" y="67"/>
                  </a:cxn>
                  <a:cxn ang="0">
                    <a:pos x="9" y="68"/>
                  </a:cxn>
                  <a:cxn ang="0">
                    <a:pos x="20" y="81"/>
                  </a:cxn>
                  <a:cxn ang="0">
                    <a:pos x="24" y="87"/>
                  </a:cxn>
                  <a:cxn ang="0">
                    <a:pos x="30" y="95"/>
                  </a:cxn>
                  <a:cxn ang="0">
                    <a:pos x="36" y="101"/>
                  </a:cxn>
                  <a:cxn ang="0">
                    <a:pos x="44" y="97"/>
                  </a:cxn>
                </a:cxnLst>
                <a:rect l="0" t="0" r="r" b="b"/>
                <a:pathLst>
                  <a:path w="88" h="101">
                    <a:moveTo>
                      <a:pt x="44" y="97"/>
                    </a:moveTo>
                    <a:lnTo>
                      <a:pt x="44" y="97"/>
                    </a:lnTo>
                    <a:lnTo>
                      <a:pt x="48" y="95"/>
                    </a:lnTo>
                    <a:lnTo>
                      <a:pt x="48" y="92"/>
                    </a:lnTo>
                    <a:lnTo>
                      <a:pt x="48" y="88"/>
                    </a:lnTo>
                    <a:lnTo>
                      <a:pt x="46" y="84"/>
                    </a:lnTo>
                    <a:lnTo>
                      <a:pt x="46" y="84"/>
                    </a:lnTo>
                    <a:lnTo>
                      <a:pt x="46" y="80"/>
                    </a:lnTo>
                    <a:lnTo>
                      <a:pt x="47" y="77"/>
                    </a:lnTo>
                    <a:lnTo>
                      <a:pt x="51" y="77"/>
                    </a:lnTo>
                    <a:lnTo>
                      <a:pt x="56" y="77"/>
                    </a:lnTo>
                    <a:lnTo>
                      <a:pt x="56" y="77"/>
                    </a:lnTo>
                    <a:lnTo>
                      <a:pt x="57" y="77"/>
                    </a:lnTo>
                    <a:lnTo>
                      <a:pt x="58" y="75"/>
                    </a:lnTo>
                    <a:lnTo>
                      <a:pt x="60" y="73"/>
                    </a:lnTo>
                    <a:lnTo>
                      <a:pt x="60" y="70"/>
                    </a:lnTo>
                    <a:lnTo>
                      <a:pt x="63" y="68"/>
                    </a:lnTo>
                    <a:lnTo>
                      <a:pt x="63" y="68"/>
                    </a:lnTo>
                    <a:lnTo>
                      <a:pt x="66" y="70"/>
                    </a:lnTo>
                    <a:lnTo>
                      <a:pt x="67" y="73"/>
                    </a:lnTo>
                    <a:lnTo>
                      <a:pt x="68" y="77"/>
                    </a:lnTo>
                    <a:lnTo>
                      <a:pt x="70" y="77"/>
                    </a:lnTo>
                    <a:lnTo>
                      <a:pt x="71" y="78"/>
                    </a:lnTo>
                    <a:lnTo>
                      <a:pt x="71" y="78"/>
                    </a:lnTo>
                    <a:lnTo>
                      <a:pt x="74" y="78"/>
                    </a:lnTo>
                    <a:lnTo>
                      <a:pt x="77" y="78"/>
                    </a:lnTo>
                    <a:lnTo>
                      <a:pt x="80" y="80"/>
                    </a:lnTo>
                    <a:lnTo>
                      <a:pt x="84" y="80"/>
                    </a:lnTo>
                    <a:lnTo>
                      <a:pt x="84" y="80"/>
                    </a:lnTo>
                    <a:lnTo>
                      <a:pt x="85" y="78"/>
                    </a:lnTo>
                    <a:lnTo>
                      <a:pt x="87" y="77"/>
                    </a:lnTo>
                    <a:lnTo>
                      <a:pt x="88" y="73"/>
                    </a:lnTo>
                    <a:lnTo>
                      <a:pt x="88" y="61"/>
                    </a:lnTo>
                    <a:lnTo>
                      <a:pt x="88" y="61"/>
                    </a:lnTo>
                    <a:lnTo>
                      <a:pt x="88" y="50"/>
                    </a:lnTo>
                    <a:lnTo>
                      <a:pt x="87" y="47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1" y="41"/>
                    </a:lnTo>
                    <a:lnTo>
                      <a:pt x="78" y="37"/>
                    </a:lnTo>
                    <a:lnTo>
                      <a:pt x="78" y="34"/>
                    </a:lnTo>
                    <a:lnTo>
                      <a:pt x="81" y="31"/>
                    </a:lnTo>
                    <a:lnTo>
                      <a:pt x="81" y="31"/>
                    </a:lnTo>
                    <a:lnTo>
                      <a:pt x="85" y="28"/>
                    </a:lnTo>
                    <a:lnTo>
                      <a:pt x="87" y="24"/>
                    </a:lnTo>
                    <a:lnTo>
                      <a:pt x="85" y="21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1" y="17"/>
                    </a:lnTo>
                    <a:lnTo>
                      <a:pt x="78" y="17"/>
                    </a:lnTo>
                    <a:lnTo>
                      <a:pt x="74" y="18"/>
                    </a:lnTo>
                    <a:lnTo>
                      <a:pt x="70" y="18"/>
                    </a:lnTo>
                    <a:lnTo>
                      <a:pt x="68" y="18"/>
                    </a:lnTo>
                    <a:lnTo>
                      <a:pt x="67" y="18"/>
                    </a:lnTo>
                    <a:lnTo>
                      <a:pt x="67" y="18"/>
                    </a:lnTo>
                    <a:lnTo>
                      <a:pt x="70" y="1"/>
                    </a:lnTo>
                    <a:lnTo>
                      <a:pt x="70" y="1"/>
                    </a:lnTo>
                    <a:lnTo>
                      <a:pt x="46" y="0"/>
                    </a:lnTo>
                    <a:lnTo>
                      <a:pt x="43" y="1"/>
                    </a:lnTo>
                    <a:lnTo>
                      <a:pt x="43" y="1"/>
                    </a:lnTo>
                    <a:lnTo>
                      <a:pt x="43" y="16"/>
                    </a:lnTo>
                    <a:lnTo>
                      <a:pt x="41" y="21"/>
                    </a:lnTo>
                    <a:lnTo>
                      <a:pt x="41" y="21"/>
                    </a:lnTo>
                    <a:lnTo>
                      <a:pt x="20" y="23"/>
                    </a:lnTo>
                    <a:lnTo>
                      <a:pt x="20" y="23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0" y="27"/>
                    </a:lnTo>
                    <a:lnTo>
                      <a:pt x="10" y="27"/>
                    </a:lnTo>
                    <a:lnTo>
                      <a:pt x="10" y="28"/>
                    </a:lnTo>
                    <a:lnTo>
                      <a:pt x="11" y="31"/>
                    </a:lnTo>
                    <a:lnTo>
                      <a:pt x="14" y="33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7"/>
                    </a:lnTo>
                    <a:lnTo>
                      <a:pt x="16" y="37"/>
                    </a:lnTo>
                    <a:lnTo>
                      <a:pt x="11" y="38"/>
                    </a:lnTo>
                    <a:lnTo>
                      <a:pt x="9" y="40"/>
                    </a:lnTo>
                    <a:lnTo>
                      <a:pt x="7" y="41"/>
                    </a:lnTo>
                    <a:lnTo>
                      <a:pt x="7" y="43"/>
                    </a:lnTo>
                    <a:lnTo>
                      <a:pt x="7" y="43"/>
                    </a:lnTo>
                    <a:lnTo>
                      <a:pt x="7" y="46"/>
                    </a:lnTo>
                    <a:lnTo>
                      <a:pt x="6" y="48"/>
                    </a:lnTo>
                    <a:lnTo>
                      <a:pt x="2" y="53"/>
                    </a:lnTo>
                    <a:lnTo>
                      <a:pt x="2" y="53"/>
                    </a:lnTo>
                    <a:lnTo>
                      <a:pt x="0" y="54"/>
                    </a:lnTo>
                    <a:lnTo>
                      <a:pt x="2" y="55"/>
                    </a:lnTo>
                    <a:lnTo>
                      <a:pt x="3" y="60"/>
                    </a:lnTo>
                    <a:lnTo>
                      <a:pt x="7" y="63"/>
                    </a:lnTo>
                    <a:lnTo>
                      <a:pt x="9" y="67"/>
                    </a:lnTo>
                    <a:lnTo>
                      <a:pt x="9" y="67"/>
                    </a:lnTo>
                    <a:lnTo>
                      <a:pt x="9" y="68"/>
                    </a:lnTo>
                    <a:lnTo>
                      <a:pt x="11" y="71"/>
                    </a:lnTo>
                    <a:lnTo>
                      <a:pt x="20" y="81"/>
                    </a:lnTo>
                    <a:lnTo>
                      <a:pt x="20" y="81"/>
                    </a:lnTo>
                    <a:lnTo>
                      <a:pt x="24" y="87"/>
                    </a:lnTo>
                    <a:lnTo>
                      <a:pt x="27" y="91"/>
                    </a:lnTo>
                    <a:lnTo>
                      <a:pt x="30" y="95"/>
                    </a:lnTo>
                    <a:lnTo>
                      <a:pt x="36" y="101"/>
                    </a:lnTo>
                    <a:lnTo>
                      <a:pt x="36" y="101"/>
                    </a:lnTo>
                    <a:lnTo>
                      <a:pt x="39" y="98"/>
                    </a:lnTo>
                    <a:lnTo>
                      <a:pt x="44" y="97"/>
                    </a:lnTo>
                    <a:lnTo>
                      <a:pt x="44" y="97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51" name="Mauritania">
                <a:extLst>
                  <a:ext uri="{FF2B5EF4-FFF2-40B4-BE49-F238E27FC236}">
                    <a16:creationId xmlns:a16="http://schemas.microsoft.com/office/drawing/2014/main" id="{F95B6577-ECBF-E0D3-5BF8-EFC6E43857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7936" y="3642358"/>
                <a:ext cx="287078" cy="315194"/>
              </a:xfrm>
              <a:custGeom>
                <a:avLst/>
                <a:gdLst/>
                <a:ahLst/>
                <a:cxnLst>
                  <a:cxn ang="0">
                    <a:pos x="15" y="184"/>
                  </a:cxn>
                  <a:cxn ang="0">
                    <a:pos x="29" y="184"/>
                  </a:cxn>
                  <a:cxn ang="0">
                    <a:pos x="34" y="182"/>
                  </a:cxn>
                  <a:cxn ang="0">
                    <a:pos x="42" y="182"/>
                  </a:cxn>
                  <a:cxn ang="0">
                    <a:pos x="49" y="188"/>
                  </a:cxn>
                  <a:cxn ang="0">
                    <a:pos x="57" y="191"/>
                  </a:cxn>
                  <a:cxn ang="0">
                    <a:pos x="60" y="198"/>
                  </a:cxn>
                  <a:cxn ang="0">
                    <a:pos x="67" y="205"/>
                  </a:cxn>
                  <a:cxn ang="0">
                    <a:pos x="73" y="209"/>
                  </a:cxn>
                  <a:cxn ang="0">
                    <a:pos x="76" y="213"/>
                  </a:cxn>
                  <a:cxn ang="0">
                    <a:pos x="83" y="211"/>
                  </a:cxn>
                  <a:cxn ang="0">
                    <a:pos x="84" y="208"/>
                  </a:cxn>
                  <a:cxn ang="0">
                    <a:pos x="86" y="202"/>
                  </a:cxn>
                  <a:cxn ang="0">
                    <a:pos x="93" y="203"/>
                  </a:cxn>
                  <a:cxn ang="0">
                    <a:pos x="97" y="206"/>
                  </a:cxn>
                  <a:cxn ang="0">
                    <a:pos x="101" y="202"/>
                  </a:cxn>
                  <a:cxn ang="0">
                    <a:pos x="104" y="202"/>
                  </a:cxn>
                  <a:cxn ang="0">
                    <a:pos x="113" y="203"/>
                  </a:cxn>
                  <a:cxn ang="0">
                    <a:pos x="120" y="202"/>
                  </a:cxn>
                  <a:cxn ang="0">
                    <a:pos x="123" y="201"/>
                  </a:cxn>
                  <a:cxn ang="0">
                    <a:pos x="174" y="201"/>
                  </a:cxn>
                  <a:cxn ang="0">
                    <a:pos x="185" y="199"/>
                  </a:cxn>
                  <a:cxn ang="0">
                    <a:pos x="188" y="192"/>
                  </a:cxn>
                  <a:cxn ang="0">
                    <a:pos x="182" y="181"/>
                  </a:cxn>
                  <a:cxn ang="0">
                    <a:pos x="194" y="40"/>
                  </a:cxn>
                  <a:cxn ang="0">
                    <a:pos x="138" y="3"/>
                  </a:cxn>
                  <a:cxn ang="0">
                    <a:pos x="134" y="0"/>
                  </a:cxn>
                  <a:cxn ang="0">
                    <a:pos x="135" y="14"/>
                  </a:cxn>
                  <a:cxn ang="0">
                    <a:pos x="134" y="23"/>
                  </a:cxn>
                  <a:cxn ang="0">
                    <a:pos x="80" y="23"/>
                  </a:cxn>
                  <a:cxn ang="0">
                    <a:pos x="80" y="65"/>
                  </a:cxn>
                  <a:cxn ang="0">
                    <a:pos x="80" y="67"/>
                  </a:cxn>
                  <a:cxn ang="0">
                    <a:pos x="71" y="71"/>
                  </a:cxn>
                  <a:cxn ang="0">
                    <a:pos x="64" y="75"/>
                  </a:cxn>
                  <a:cxn ang="0">
                    <a:pos x="63" y="77"/>
                  </a:cxn>
                  <a:cxn ang="0">
                    <a:pos x="0" y="102"/>
                  </a:cxn>
                  <a:cxn ang="0">
                    <a:pos x="0" y="110"/>
                  </a:cxn>
                  <a:cxn ang="0">
                    <a:pos x="9" y="121"/>
                  </a:cxn>
                  <a:cxn ang="0">
                    <a:pos x="10" y="122"/>
                  </a:cxn>
                  <a:cxn ang="0">
                    <a:pos x="10" y="132"/>
                  </a:cxn>
                  <a:cxn ang="0">
                    <a:pos x="10" y="142"/>
                  </a:cxn>
                  <a:cxn ang="0">
                    <a:pos x="13" y="147"/>
                  </a:cxn>
                  <a:cxn ang="0">
                    <a:pos x="16" y="155"/>
                  </a:cxn>
                  <a:cxn ang="0">
                    <a:pos x="12" y="172"/>
                  </a:cxn>
                  <a:cxn ang="0">
                    <a:pos x="7" y="178"/>
                  </a:cxn>
                  <a:cxn ang="0">
                    <a:pos x="5" y="192"/>
                  </a:cxn>
                  <a:cxn ang="0">
                    <a:pos x="6" y="192"/>
                  </a:cxn>
                  <a:cxn ang="0">
                    <a:pos x="9" y="189"/>
                  </a:cxn>
                  <a:cxn ang="0">
                    <a:pos x="12" y="185"/>
                  </a:cxn>
                  <a:cxn ang="0">
                    <a:pos x="15" y="184"/>
                  </a:cxn>
                </a:cxnLst>
                <a:rect l="0" t="0" r="r" b="b"/>
                <a:pathLst>
                  <a:path w="194" h="213">
                    <a:moveTo>
                      <a:pt x="15" y="184"/>
                    </a:moveTo>
                    <a:lnTo>
                      <a:pt x="15" y="184"/>
                    </a:lnTo>
                    <a:lnTo>
                      <a:pt x="24" y="184"/>
                    </a:lnTo>
                    <a:lnTo>
                      <a:pt x="29" y="184"/>
                    </a:lnTo>
                    <a:lnTo>
                      <a:pt x="29" y="184"/>
                    </a:lnTo>
                    <a:lnTo>
                      <a:pt x="34" y="182"/>
                    </a:lnTo>
                    <a:lnTo>
                      <a:pt x="39" y="182"/>
                    </a:lnTo>
                    <a:lnTo>
                      <a:pt x="42" y="182"/>
                    </a:lnTo>
                    <a:lnTo>
                      <a:pt x="42" y="182"/>
                    </a:lnTo>
                    <a:lnTo>
                      <a:pt x="49" y="188"/>
                    </a:lnTo>
                    <a:lnTo>
                      <a:pt x="52" y="191"/>
                    </a:lnTo>
                    <a:lnTo>
                      <a:pt x="57" y="191"/>
                    </a:lnTo>
                    <a:lnTo>
                      <a:pt x="57" y="191"/>
                    </a:lnTo>
                    <a:lnTo>
                      <a:pt x="60" y="198"/>
                    </a:lnTo>
                    <a:lnTo>
                      <a:pt x="63" y="202"/>
                    </a:lnTo>
                    <a:lnTo>
                      <a:pt x="67" y="205"/>
                    </a:lnTo>
                    <a:lnTo>
                      <a:pt x="67" y="205"/>
                    </a:lnTo>
                    <a:lnTo>
                      <a:pt x="73" y="209"/>
                    </a:lnTo>
                    <a:lnTo>
                      <a:pt x="76" y="213"/>
                    </a:lnTo>
                    <a:lnTo>
                      <a:pt x="76" y="213"/>
                    </a:lnTo>
                    <a:lnTo>
                      <a:pt x="81" y="212"/>
                    </a:lnTo>
                    <a:lnTo>
                      <a:pt x="83" y="211"/>
                    </a:lnTo>
                    <a:lnTo>
                      <a:pt x="84" y="208"/>
                    </a:lnTo>
                    <a:lnTo>
                      <a:pt x="84" y="208"/>
                    </a:lnTo>
                    <a:lnTo>
                      <a:pt x="84" y="205"/>
                    </a:lnTo>
                    <a:lnTo>
                      <a:pt x="86" y="202"/>
                    </a:lnTo>
                    <a:lnTo>
                      <a:pt x="88" y="201"/>
                    </a:lnTo>
                    <a:lnTo>
                      <a:pt x="93" y="203"/>
                    </a:lnTo>
                    <a:lnTo>
                      <a:pt x="93" y="203"/>
                    </a:lnTo>
                    <a:lnTo>
                      <a:pt x="97" y="206"/>
                    </a:lnTo>
                    <a:lnTo>
                      <a:pt x="100" y="206"/>
                    </a:lnTo>
                    <a:lnTo>
                      <a:pt x="101" y="202"/>
                    </a:lnTo>
                    <a:lnTo>
                      <a:pt x="101" y="202"/>
                    </a:lnTo>
                    <a:lnTo>
                      <a:pt x="104" y="202"/>
                    </a:lnTo>
                    <a:lnTo>
                      <a:pt x="106" y="202"/>
                    </a:lnTo>
                    <a:lnTo>
                      <a:pt x="113" y="203"/>
                    </a:lnTo>
                    <a:lnTo>
                      <a:pt x="113" y="203"/>
                    </a:lnTo>
                    <a:lnTo>
                      <a:pt x="120" y="202"/>
                    </a:lnTo>
                    <a:lnTo>
                      <a:pt x="123" y="201"/>
                    </a:lnTo>
                    <a:lnTo>
                      <a:pt x="123" y="201"/>
                    </a:lnTo>
                    <a:lnTo>
                      <a:pt x="153" y="201"/>
                    </a:lnTo>
                    <a:lnTo>
                      <a:pt x="174" y="201"/>
                    </a:lnTo>
                    <a:lnTo>
                      <a:pt x="185" y="199"/>
                    </a:lnTo>
                    <a:lnTo>
                      <a:pt x="185" y="199"/>
                    </a:lnTo>
                    <a:lnTo>
                      <a:pt x="187" y="196"/>
                    </a:lnTo>
                    <a:lnTo>
                      <a:pt x="188" y="192"/>
                    </a:lnTo>
                    <a:lnTo>
                      <a:pt x="188" y="186"/>
                    </a:lnTo>
                    <a:lnTo>
                      <a:pt x="182" y="181"/>
                    </a:lnTo>
                    <a:lnTo>
                      <a:pt x="167" y="40"/>
                    </a:lnTo>
                    <a:lnTo>
                      <a:pt x="194" y="40"/>
                    </a:lnTo>
                    <a:lnTo>
                      <a:pt x="194" y="40"/>
                    </a:lnTo>
                    <a:lnTo>
                      <a:pt x="138" y="3"/>
                    </a:lnTo>
                    <a:lnTo>
                      <a:pt x="138" y="3"/>
                    </a:lnTo>
                    <a:lnTo>
                      <a:pt x="134" y="0"/>
                    </a:lnTo>
                    <a:lnTo>
                      <a:pt x="134" y="0"/>
                    </a:lnTo>
                    <a:lnTo>
                      <a:pt x="135" y="14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07" y="23"/>
                    </a:lnTo>
                    <a:lnTo>
                      <a:pt x="80" y="23"/>
                    </a:lnTo>
                    <a:lnTo>
                      <a:pt x="80" y="23"/>
                    </a:lnTo>
                    <a:lnTo>
                      <a:pt x="80" y="65"/>
                    </a:lnTo>
                    <a:lnTo>
                      <a:pt x="80" y="65"/>
                    </a:lnTo>
                    <a:lnTo>
                      <a:pt x="80" y="67"/>
                    </a:lnTo>
                    <a:lnTo>
                      <a:pt x="77" y="68"/>
                    </a:lnTo>
                    <a:lnTo>
                      <a:pt x="71" y="71"/>
                    </a:lnTo>
                    <a:lnTo>
                      <a:pt x="66" y="74"/>
                    </a:lnTo>
                    <a:lnTo>
                      <a:pt x="64" y="75"/>
                    </a:lnTo>
                    <a:lnTo>
                      <a:pt x="63" y="77"/>
                    </a:lnTo>
                    <a:lnTo>
                      <a:pt x="63" y="77"/>
                    </a:lnTo>
                    <a:lnTo>
                      <a:pt x="63" y="102"/>
                    </a:lnTo>
                    <a:lnTo>
                      <a:pt x="0" y="102"/>
                    </a:lnTo>
                    <a:lnTo>
                      <a:pt x="0" y="102"/>
                    </a:lnTo>
                    <a:lnTo>
                      <a:pt x="0" y="110"/>
                    </a:lnTo>
                    <a:lnTo>
                      <a:pt x="3" y="114"/>
                    </a:lnTo>
                    <a:lnTo>
                      <a:pt x="9" y="121"/>
                    </a:lnTo>
                    <a:lnTo>
                      <a:pt x="9" y="121"/>
                    </a:lnTo>
                    <a:lnTo>
                      <a:pt x="10" y="122"/>
                    </a:lnTo>
                    <a:lnTo>
                      <a:pt x="10" y="125"/>
                    </a:lnTo>
                    <a:lnTo>
                      <a:pt x="10" y="132"/>
                    </a:lnTo>
                    <a:lnTo>
                      <a:pt x="10" y="139"/>
                    </a:lnTo>
                    <a:lnTo>
                      <a:pt x="10" y="142"/>
                    </a:lnTo>
                    <a:lnTo>
                      <a:pt x="13" y="147"/>
                    </a:lnTo>
                    <a:lnTo>
                      <a:pt x="13" y="147"/>
                    </a:lnTo>
                    <a:lnTo>
                      <a:pt x="15" y="151"/>
                    </a:lnTo>
                    <a:lnTo>
                      <a:pt x="16" y="155"/>
                    </a:lnTo>
                    <a:lnTo>
                      <a:pt x="15" y="164"/>
                    </a:lnTo>
                    <a:lnTo>
                      <a:pt x="12" y="172"/>
                    </a:lnTo>
                    <a:lnTo>
                      <a:pt x="7" y="178"/>
                    </a:lnTo>
                    <a:lnTo>
                      <a:pt x="7" y="178"/>
                    </a:lnTo>
                    <a:lnTo>
                      <a:pt x="6" y="184"/>
                    </a:lnTo>
                    <a:lnTo>
                      <a:pt x="5" y="192"/>
                    </a:lnTo>
                    <a:lnTo>
                      <a:pt x="5" y="192"/>
                    </a:lnTo>
                    <a:lnTo>
                      <a:pt x="6" y="192"/>
                    </a:lnTo>
                    <a:lnTo>
                      <a:pt x="6" y="192"/>
                    </a:lnTo>
                    <a:lnTo>
                      <a:pt x="9" y="189"/>
                    </a:lnTo>
                    <a:lnTo>
                      <a:pt x="10" y="186"/>
                    </a:lnTo>
                    <a:lnTo>
                      <a:pt x="12" y="185"/>
                    </a:lnTo>
                    <a:lnTo>
                      <a:pt x="15" y="184"/>
                    </a:lnTo>
                    <a:lnTo>
                      <a:pt x="15" y="18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52" name="Algeria">
                <a:extLst>
                  <a:ext uri="{FF2B5EF4-FFF2-40B4-BE49-F238E27FC236}">
                    <a16:creationId xmlns:a16="http://schemas.microsoft.com/office/drawing/2014/main" id="{33DFB05F-4E28-A5C5-745C-6A376B5E1B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6226" y="3381916"/>
                <a:ext cx="494248" cy="473531"/>
              </a:xfrm>
              <a:custGeom>
                <a:avLst/>
                <a:gdLst/>
                <a:ahLst/>
                <a:cxnLst>
                  <a:cxn ang="0">
                    <a:pos x="114" y="72"/>
                  </a:cxn>
                  <a:cxn ang="0">
                    <a:pos x="120" y="79"/>
                  </a:cxn>
                  <a:cxn ang="0">
                    <a:pos x="121" y="91"/>
                  </a:cxn>
                  <a:cxn ang="0">
                    <a:pos x="98" y="91"/>
                  </a:cxn>
                  <a:cxn ang="0">
                    <a:pos x="94" y="95"/>
                  </a:cxn>
                  <a:cxn ang="0">
                    <a:pos x="85" y="98"/>
                  </a:cxn>
                  <a:cxn ang="0">
                    <a:pos x="80" y="109"/>
                  </a:cxn>
                  <a:cxn ang="0">
                    <a:pos x="77" y="113"/>
                  </a:cxn>
                  <a:cxn ang="0">
                    <a:pos x="71" y="116"/>
                  </a:cxn>
                  <a:cxn ang="0">
                    <a:pos x="58" y="121"/>
                  </a:cxn>
                  <a:cxn ang="0">
                    <a:pos x="50" y="130"/>
                  </a:cxn>
                  <a:cxn ang="0">
                    <a:pos x="37" y="132"/>
                  </a:cxn>
                  <a:cxn ang="0">
                    <a:pos x="33" y="136"/>
                  </a:cxn>
                  <a:cxn ang="0">
                    <a:pos x="11" y="145"/>
                  </a:cxn>
                  <a:cxn ang="0">
                    <a:pos x="0" y="176"/>
                  </a:cxn>
                  <a:cxn ang="0">
                    <a:pos x="83" y="230"/>
                  </a:cxn>
                  <a:cxn ang="0">
                    <a:pos x="166" y="291"/>
                  </a:cxn>
                  <a:cxn ang="0">
                    <a:pos x="181" y="300"/>
                  </a:cxn>
                  <a:cxn ang="0">
                    <a:pos x="192" y="307"/>
                  </a:cxn>
                  <a:cxn ang="0">
                    <a:pos x="211" y="315"/>
                  </a:cxn>
                  <a:cxn ang="0">
                    <a:pos x="265" y="284"/>
                  </a:cxn>
                  <a:cxn ang="0">
                    <a:pos x="334" y="241"/>
                  </a:cxn>
                  <a:cxn ang="0">
                    <a:pos x="326" y="227"/>
                  </a:cxn>
                  <a:cxn ang="0">
                    <a:pos x="314" y="224"/>
                  </a:cxn>
                  <a:cxn ang="0">
                    <a:pos x="304" y="220"/>
                  </a:cxn>
                  <a:cxn ang="0">
                    <a:pos x="303" y="209"/>
                  </a:cxn>
                  <a:cxn ang="0">
                    <a:pos x="294" y="197"/>
                  </a:cxn>
                  <a:cxn ang="0">
                    <a:pos x="297" y="190"/>
                  </a:cxn>
                  <a:cxn ang="0">
                    <a:pos x="300" y="185"/>
                  </a:cxn>
                  <a:cxn ang="0">
                    <a:pos x="297" y="172"/>
                  </a:cxn>
                  <a:cxn ang="0">
                    <a:pos x="302" y="163"/>
                  </a:cxn>
                  <a:cxn ang="0">
                    <a:pos x="300" y="152"/>
                  </a:cxn>
                  <a:cxn ang="0">
                    <a:pos x="296" y="133"/>
                  </a:cxn>
                  <a:cxn ang="0">
                    <a:pos x="294" y="126"/>
                  </a:cxn>
                  <a:cxn ang="0">
                    <a:pos x="296" y="121"/>
                  </a:cxn>
                  <a:cxn ang="0">
                    <a:pos x="287" y="92"/>
                  </a:cxn>
                  <a:cxn ang="0">
                    <a:pos x="277" y="84"/>
                  </a:cxn>
                  <a:cxn ang="0">
                    <a:pos x="273" y="74"/>
                  </a:cxn>
                  <a:cxn ang="0">
                    <a:pos x="262" y="62"/>
                  </a:cxn>
                  <a:cxn ang="0">
                    <a:pos x="262" y="55"/>
                  </a:cxn>
                  <a:cxn ang="0">
                    <a:pos x="273" y="44"/>
                  </a:cxn>
                  <a:cxn ang="0">
                    <a:pos x="279" y="32"/>
                  </a:cxn>
                  <a:cxn ang="0">
                    <a:pos x="276" y="17"/>
                  </a:cxn>
                  <a:cxn ang="0">
                    <a:pos x="262" y="0"/>
                  </a:cxn>
                  <a:cxn ang="0">
                    <a:pos x="246" y="1"/>
                  </a:cxn>
                  <a:cxn ang="0">
                    <a:pos x="226" y="7"/>
                  </a:cxn>
                  <a:cxn ang="0">
                    <a:pos x="215" y="4"/>
                  </a:cxn>
                  <a:cxn ang="0">
                    <a:pos x="159" y="10"/>
                  </a:cxn>
                  <a:cxn ang="0">
                    <a:pos x="141" y="21"/>
                  </a:cxn>
                  <a:cxn ang="0">
                    <a:pos x="125" y="27"/>
                  </a:cxn>
                  <a:cxn ang="0">
                    <a:pos x="111" y="37"/>
                  </a:cxn>
                  <a:cxn ang="0">
                    <a:pos x="110" y="42"/>
                  </a:cxn>
                  <a:cxn ang="0">
                    <a:pos x="115" y="59"/>
                  </a:cxn>
                </a:cxnLst>
                <a:rect l="0" t="0" r="r" b="b"/>
                <a:pathLst>
                  <a:path w="334" h="320">
                    <a:moveTo>
                      <a:pt x="115" y="59"/>
                    </a:moveTo>
                    <a:lnTo>
                      <a:pt x="115" y="59"/>
                    </a:lnTo>
                    <a:lnTo>
                      <a:pt x="114" y="69"/>
                    </a:lnTo>
                    <a:lnTo>
                      <a:pt x="114" y="72"/>
                    </a:lnTo>
                    <a:lnTo>
                      <a:pt x="115" y="74"/>
                    </a:lnTo>
                    <a:lnTo>
                      <a:pt x="115" y="74"/>
                    </a:lnTo>
                    <a:lnTo>
                      <a:pt x="118" y="75"/>
                    </a:lnTo>
                    <a:lnTo>
                      <a:pt x="120" y="79"/>
                    </a:lnTo>
                    <a:lnTo>
                      <a:pt x="122" y="85"/>
                    </a:lnTo>
                    <a:lnTo>
                      <a:pt x="122" y="85"/>
                    </a:lnTo>
                    <a:lnTo>
                      <a:pt x="121" y="89"/>
                    </a:lnTo>
                    <a:lnTo>
                      <a:pt x="121" y="91"/>
                    </a:lnTo>
                    <a:lnTo>
                      <a:pt x="118" y="91"/>
                    </a:lnTo>
                    <a:lnTo>
                      <a:pt x="118" y="91"/>
                    </a:lnTo>
                    <a:lnTo>
                      <a:pt x="105" y="91"/>
                    </a:lnTo>
                    <a:lnTo>
                      <a:pt x="98" y="91"/>
                    </a:lnTo>
                    <a:lnTo>
                      <a:pt x="95" y="92"/>
                    </a:lnTo>
                    <a:lnTo>
                      <a:pt x="95" y="92"/>
                    </a:lnTo>
                    <a:lnTo>
                      <a:pt x="95" y="92"/>
                    </a:lnTo>
                    <a:lnTo>
                      <a:pt x="94" y="95"/>
                    </a:lnTo>
                    <a:lnTo>
                      <a:pt x="92" y="96"/>
                    </a:lnTo>
                    <a:lnTo>
                      <a:pt x="88" y="98"/>
                    </a:lnTo>
                    <a:lnTo>
                      <a:pt x="85" y="98"/>
                    </a:lnTo>
                    <a:lnTo>
                      <a:pt x="85" y="98"/>
                    </a:lnTo>
                    <a:lnTo>
                      <a:pt x="81" y="98"/>
                    </a:lnTo>
                    <a:lnTo>
                      <a:pt x="80" y="102"/>
                    </a:lnTo>
                    <a:lnTo>
                      <a:pt x="80" y="102"/>
                    </a:lnTo>
                    <a:lnTo>
                      <a:pt x="80" y="109"/>
                    </a:lnTo>
                    <a:lnTo>
                      <a:pt x="80" y="112"/>
                    </a:lnTo>
                    <a:lnTo>
                      <a:pt x="78" y="112"/>
                    </a:lnTo>
                    <a:lnTo>
                      <a:pt x="78" y="112"/>
                    </a:lnTo>
                    <a:lnTo>
                      <a:pt x="77" y="113"/>
                    </a:lnTo>
                    <a:lnTo>
                      <a:pt x="75" y="115"/>
                    </a:lnTo>
                    <a:lnTo>
                      <a:pt x="74" y="116"/>
                    </a:lnTo>
                    <a:lnTo>
                      <a:pt x="71" y="116"/>
                    </a:lnTo>
                    <a:lnTo>
                      <a:pt x="71" y="116"/>
                    </a:lnTo>
                    <a:lnTo>
                      <a:pt x="63" y="118"/>
                    </a:lnTo>
                    <a:lnTo>
                      <a:pt x="60" y="119"/>
                    </a:lnTo>
                    <a:lnTo>
                      <a:pt x="58" y="121"/>
                    </a:lnTo>
                    <a:lnTo>
                      <a:pt x="58" y="121"/>
                    </a:lnTo>
                    <a:lnTo>
                      <a:pt x="58" y="125"/>
                    </a:lnTo>
                    <a:lnTo>
                      <a:pt x="57" y="128"/>
                    </a:lnTo>
                    <a:lnTo>
                      <a:pt x="54" y="129"/>
                    </a:lnTo>
                    <a:lnTo>
                      <a:pt x="50" y="130"/>
                    </a:lnTo>
                    <a:lnTo>
                      <a:pt x="50" y="130"/>
                    </a:lnTo>
                    <a:lnTo>
                      <a:pt x="41" y="130"/>
                    </a:lnTo>
                    <a:lnTo>
                      <a:pt x="37" y="132"/>
                    </a:lnTo>
                    <a:lnTo>
                      <a:pt x="37" y="132"/>
                    </a:lnTo>
                    <a:lnTo>
                      <a:pt x="36" y="133"/>
                    </a:lnTo>
                    <a:lnTo>
                      <a:pt x="36" y="133"/>
                    </a:lnTo>
                    <a:lnTo>
                      <a:pt x="36" y="136"/>
                    </a:lnTo>
                    <a:lnTo>
                      <a:pt x="33" y="136"/>
                    </a:lnTo>
                    <a:lnTo>
                      <a:pt x="28" y="136"/>
                    </a:lnTo>
                    <a:lnTo>
                      <a:pt x="26" y="136"/>
                    </a:lnTo>
                    <a:lnTo>
                      <a:pt x="26" y="136"/>
                    </a:lnTo>
                    <a:lnTo>
                      <a:pt x="11" y="145"/>
                    </a:lnTo>
                    <a:lnTo>
                      <a:pt x="4" y="150"/>
                    </a:lnTo>
                    <a:lnTo>
                      <a:pt x="0" y="153"/>
                    </a:lnTo>
                    <a:lnTo>
                      <a:pt x="0" y="153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4" y="179"/>
                    </a:lnTo>
                    <a:lnTo>
                      <a:pt x="4" y="179"/>
                    </a:lnTo>
                    <a:lnTo>
                      <a:pt x="83" y="230"/>
                    </a:lnTo>
                    <a:lnTo>
                      <a:pt x="134" y="264"/>
                    </a:lnTo>
                    <a:lnTo>
                      <a:pt x="159" y="283"/>
                    </a:lnTo>
                    <a:lnTo>
                      <a:pt x="159" y="283"/>
                    </a:lnTo>
                    <a:lnTo>
                      <a:pt x="166" y="291"/>
                    </a:lnTo>
                    <a:lnTo>
                      <a:pt x="169" y="297"/>
                    </a:lnTo>
                    <a:lnTo>
                      <a:pt x="169" y="297"/>
                    </a:lnTo>
                    <a:lnTo>
                      <a:pt x="175" y="298"/>
                    </a:lnTo>
                    <a:lnTo>
                      <a:pt x="181" y="300"/>
                    </a:lnTo>
                    <a:lnTo>
                      <a:pt x="188" y="303"/>
                    </a:lnTo>
                    <a:lnTo>
                      <a:pt x="188" y="303"/>
                    </a:lnTo>
                    <a:lnTo>
                      <a:pt x="191" y="304"/>
                    </a:lnTo>
                    <a:lnTo>
                      <a:pt x="192" y="307"/>
                    </a:lnTo>
                    <a:lnTo>
                      <a:pt x="195" y="313"/>
                    </a:lnTo>
                    <a:lnTo>
                      <a:pt x="195" y="320"/>
                    </a:lnTo>
                    <a:lnTo>
                      <a:pt x="195" y="320"/>
                    </a:lnTo>
                    <a:lnTo>
                      <a:pt x="211" y="315"/>
                    </a:lnTo>
                    <a:lnTo>
                      <a:pt x="211" y="315"/>
                    </a:lnTo>
                    <a:lnTo>
                      <a:pt x="226" y="311"/>
                    </a:lnTo>
                    <a:lnTo>
                      <a:pt x="236" y="308"/>
                    </a:lnTo>
                    <a:lnTo>
                      <a:pt x="265" y="284"/>
                    </a:lnTo>
                    <a:lnTo>
                      <a:pt x="334" y="241"/>
                    </a:lnTo>
                    <a:lnTo>
                      <a:pt x="334" y="241"/>
                    </a:lnTo>
                    <a:lnTo>
                      <a:pt x="334" y="241"/>
                    </a:lnTo>
                    <a:lnTo>
                      <a:pt x="334" y="241"/>
                    </a:lnTo>
                    <a:lnTo>
                      <a:pt x="330" y="231"/>
                    </a:lnTo>
                    <a:lnTo>
                      <a:pt x="329" y="229"/>
                    </a:lnTo>
                    <a:lnTo>
                      <a:pt x="326" y="227"/>
                    </a:lnTo>
                    <a:lnTo>
                      <a:pt x="326" y="227"/>
                    </a:lnTo>
                    <a:lnTo>
                      <a:pt x="323" y="227"/>
                    </a:lnTo>
                    <a:lnTo>
                      <a:pt x="320" y="226"/>
                    </a:lnTo>
                    <a:lnTo>
                      <a:pt x="317" y="224"/>
                    </a:lnTo>
                    <a:lnTo>
                      <a:pt x="314" y="224"/>
                    </a:lnTo>
                    <a:lnTo>
                      <a:pt x="314" y="224"/>
                    </a:lnTo>
                    <a:lnTo>
                      <a:pt x="310" y="224"/>
                    </a:lnTo>
                    <a:lnTo>
                      <a:pt x="307" y="223"/>
                    </a:lnTo>
                    <a:lnTo>
                      <a:pt x="304" y="220"/>
                    </a:lnTo>
                    <a:lnTo>
                      <a:pt x="303" y="217"/>
                    </a:lnTo>
                    <a:lnTo>
                      <a:pt x="303" y="217"/>
                    </a:lnTo>
                    <a:lnTo>
                      <a:pt x="303" y="212"/>
                    </a:lnTo>
                    <a:lnTo>
                      <a:pt x="303" y="209"/>
                    </a:lnTo>
                    <a:lnTo>
                      <a:pt x="302" y="206"/>
                    </a:lnTo>
                    <a:lnTo>
                      <a:pt x="302" y="206"/>
                    </a:lnTo>
                    <a:lnTo>
                      <a:pt x="296" y="199"/>
                    </a:lnTo>
                    <a:lnTo>
                      <a:pt x="294" y="197"/>
                    </a:lnTo>
                    <a:lnTo>
                      <a:pt x="294" y="195"/>
                    </a:lnTo>
                    <a:lnTo>
                      <a:pt x="294" y="195"/>
                    </a:lnTo>
                    <a:lnTo>
                      <a:pt x="294" y="193"/>
                    </a:lnTo>
                    <a:lnTo>
                      <a:pt x="297" y="190"/>
                    </a:lnTo>
                    <a:lnTo>
                      <a:pt x="302" y="187"/>
                    </a:lnTo>
                    <a:lnTo>
                      <a:pt x="302" y="187"/>
                    </a:lnTo>
                    <a:lnTo>
                      <a:pt x="302" y="186"/>
                    </a:lnTo>
                    <a:lnTo>
                      <a:pt x="300" y="185"/>
                    </a:lnTo>
                    <a:lnTo>
                      <a:pt x="299" y="180"/>
                    </a:lnTo>
                    <a:lnTo>
                      <a:pt x="299" y="180"/>
                    </a:lnTo>
                    <a:lnTo>
                      <a:pt x="297" y="175"/>
                    </a:lnTo>
                    <a:lnTo>
                      <a:pt x="297" y="172"/>
                    </a:lnTo>
                    <a:lnTo>
                      <a:pt x="299" y="170"/>
                    </a:lnTo>
                    <a:lnTo>
                      <a:pt x="299" y="170"/>
                    </a:lnTo>
                    <a:lnTo>
                      <a:pt x="302" y="166"/>
                    </a:lnTo>
                    <a:lnTo>
                      <a:pt x="302" y="163"/>
                    </a:lnTo>
                    <a:lnTo>
                      <a:pt x="300" y="159"/>
                    </a:lnTo>
                    <a:lnTo>
                      <a:pt x="300" y="159"/>
                    </a:lnTo>
                    <a:lnTo>
                      <a:pt x="299" y="155"/>
                    </a:lnTo>
                    <a:lnTo>
                      <a:pt x="300" y="152"/>
                    </a:lnTo>
                    <a:lnTo>
                      <a:pt x="302" y="148"/>
                    </a:lnTo>
                    <a:lnTo>
                      <a:pt x="300" y="142"/>
                    </a:lnTo>
                    <a:lnTo>
                      <a:pt x="300" y="142"/>
                    </a:lnTo>
                    <a:lnTo>
                      <a:pt x="296" y="133"/>
                    </a:lnTo>
                    <a:lnTo>
                      <a:pt x="293" y="130"/>
                    </a:lnTo>
                    <a:lnTo>
                      <a:pt x="293" y="128"/>
                    </a:lnTo>
                    <a:lnTo>
                      <a:pt x="293" y="128"/>
                    </a:lnTo>
                    <a:lnTo>
                      <a:pt x="294" y="126"/>
                    </a:lnTo>
                    <a:lnTo>
                      <a:pt x="297" y="125"/>
                    </a:lnTo>
                    <a:lnTo>
                      <a:pt x="297" y="125"/>
                    </a:lnTo>
                    <a:lnTo>
                      <a:pt x="296" y="121"/>
                    </a:lnTo>
                    <a:lnTo>
                      <a:pt x="296" y="121"/>
                    </a:lnTo>
                    <a:lnTo>
                      <a:pt x="294" y="113"/>
                    </a:lnTo>
                    <a:lnTo>
                      <a:pt x="293" y="105"/>
                    </a:lnTo>
                    <a:lnTo>
                      <a:pt x="290" y="96"/>
                    </a:lnTo>
                    <a:lnTo>
                      <a:pt x="287" y="92"/>
                    </a:lnTo>
                    <a:lnTo>
                      <a:pt x="287" y="92"/>
                    </a:lnTo>
                    <a:lnTo>
                      <a:pt x="285" y="89"/>
                    </a:lnTo>
                    <a:lnTo>
                      <a:pt x="280" y="86"/>
                    </a:lnTo>
                    <a:lnTo>
                      <a:pt x="277" y="84"/>
                    </a:lnTo>
                    <a:lnTo>
                      <a:pt x="276" y="82"/>
                    </a:lnTo>
                    <a:lnTo>
                      <a:pt x="276" y="82"/>
                    </a:lnTo>
                    <a:lnTo>
                      <a:pt x="275" y="76"/>
                    </a:lnTo>
                    <a:lnTo>
                      <a:pt x="273" y="74"/>
                    </a:lnTo>
                    <a:lnTo>
                      <a:pt x="269" y="72"/>
                    </a:lnTo>
                    <a:lnTo>
                      <a:pt x="269" y="72"/>
                    </a:lnTo>
                    <a:lnTo>
                      <a:pt x="265" y="68"/>
                    </a:lnTo>
                    <a:lnTo>
                      <a:pt x="262" y="62"/>
                    </a:lnTo>
                    <a:lnTo>
                      <a:pt x="260" y="57"/>
                    </a:lnTo>
                    <a:lnTo>
                      <a:pt x="260" y="55"/>
                    </a:lnTo>
                    <a:lnTo>
                      <a:pt x="262" y="55"/>
                    </a:lnTo>
                    <a:lnTo>
                      <a:pt x="262" y="55"/>
                    </a:lnTo>
                    <a:lnTo>
                      <a:pt x="265" y="54"/>
                    </a:lnTo>
                    <a:lnTo>
                      <a:pt x="267" y="49"/>
                    </a:lnTo>
                    <a:lnTo>
                      <a:pt x="270" y="47"/>
                    </a:lnTo>
                    <a:lnTo>
                      <a:pt x="273" y="44"/>
                    </a:lnTo>
                    <a:lnTo>
                      <a:pt x="273" y="44"/>
                    </a:lnTo>
                    <a:lnTo>
                      <a:pt x="276" y="41"/>
                    </a:lnTo>
                    <a:lnTo>
                      <a:pt x="277" y="37"/>
                    </a:lnTo>
                    <a:lnTo>
                      <a:pt x="279" y="32"/>
                    </a:lnTo>
                    <a:lnTo>
                      <a:pt x="277" y="27"/>
                    </a:lnTo>
                    <a:lnTo>
                      <a:pt x="277" y="27"/>
                    </a:lnTo>
                    <a:lnTo>
                      <a:pt x="276" y="22"/>
                    </a:lnTo>
                    <a:lnTo>
                      <a:pt x="276" y="17"/>
                    </a:lnTo>
                    <a:lnTo>
                      <a:pt x="277" y="2"/>
                    </a:lnTo>
                    <a:lnTo>
                      <a:pt x="277" y="2"/>
                    </a:lnTo>
                    <a:lnTo>
                      <a:pt x="267" y="1"/>
                    </a:lnTo>
                    <a:lnTo>
                      <a:pt x="262" y="0"/>
                    </a:lnTo>
                    <a:lnTo>
                      <a:pt x="262" y="0"/>
                    </a:lnTo>
                    <a:lnTo>
                      <a:pt x="255" y="0"/>
                    </a:lnTo>
                    <a:lnTo>
                      <a:pt x="246" y="1"/>
                    </a:lnTo>
                    <a:lnTo>
                      <a:pt x="246" y="1"/>
                    </a:lnTo>
                    <a:lnTo>
                      <a:pt x="240" y="2"/>
                    </a:lnTo>
                    <a:lnTo>
                      <a:pt x="235" y="4"/>
                    </a:lnTo>
                    <a:lnTo>
                      <a:pt x="228" y="7"/>
                    </a:lnTo>
                    <a:lnTo>
                      <a:pt x="226" y="7"/>
                    </a:lnTo>
                    <a:lnTo>
                      <a:pt x="223" y="5"/>
                    </a:lnTo>
                    <a:lnTo>
                      <a:pt x="223" y="5"/>
                    </a:lnTo>
                    <a:lnTo>
                      <a:pt x="221" y="4"/>
                    </a:lnTo>
                    <a:lnTo>
                      <a:pt x="215" y="4"/>
                    </a:lnTo>
                    <a:lnTo>
                      <a:pt x="196" y="5"/>
                    </a:lnTo>
                    <a:lnTo>
                      <a:pt x="164" y="8"/>
                    </a:lnTo>
                    <a:lnTo>
                      <a:pt x="164" y="8"/>
                    </a:lnTo>
                    <a:lnTo>
                      <a:pt x="159" y="10"/>
                    </a:lnTo>
                    <a:lnTo>
                      <a:pt x="155" y="11"/>
                    </a:lnTo>
                    <a:lnTo>
                      <a:pt x="149" y="15"/>
                    </a:lnTo>
                    <a:lnTo>
                      <a:pt x="144" y="20"/>
                    </a:lnTo>
                    <a:lnTo>
                      <a:pt x="141" y="21"/>
                    </a:lnTo>
                    <a:lnTo>
                      <a:pt x="138" y="22"/>
                    </a:lnTo>
                    <a:lnTo>
                      <a:pt x="138" y="22"/>
                    </a:lnTo>
                    <a:lnTo>
                      <a:pt x="132" y="24"/>
                    </a:lnTo>
                    <a:lnTo>
                      <a:pt x="125" y="27"/>
                    </a:lnTo>
                    <a:lnTo>
                      <a:pt x="120" y="29"/>
                    </a:lnTo>
                    <a:lnTo>
                      <a:pt x="114" y="35"/>
                    </a:lnTo>
                    <a:lnTo>
                      <a:pt x="114" y="35"/>
                    </a:lnTo>
                    <a:lnTo>
                      <a:pt x="111" y="37"/>
                    </a:lnTo>
                    <a:lnTo>
                      <a:pt x="107" y="38"/>
                    </a:lnTo>
                    <a:lnTo>
                      <a:pt x="107" y="38"/>
                    </a:lnTo>
                    <a:lnTo>
                      <a:pt x="110" y="42"/>
                    </a:lnTo>
                    <a:lnTo>
                      <a:pt x="110" y="42"/>
                    </a:lnTo>
                    <a:lnTo>
                      <a:pt x="112" y="47"/>
                    </a:lnTo>
                    <a:lnTo>
                      <a:pt x="114" y="51"/>
                    </a:lnTo>
                    <a:lnTo>
                      <a:pt x="115" y="59"/>
                    </a:lnTo>
                    <a:lnTo>
                      <a:pt x="115" y="59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53" name="Niger">
                <a:extLst>
                  <a:ext uri="{FF2B5EF4-FFF2-40B4-BE49-F238E27FC236}">
                    <a16:creationId xmlns:a16="http://schemas.microsoft.com/office/drawing/2014/main" id="{7E5C205C-1FFB-6F8F-32B4-4DAD14911A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9316" y="3738543"/>
                <a:ext cx="365507" cy="287078"/>
              </a:xfrm>
              <a:custGeom>
                <a:avLst/>
                <a:gdLst/>
                <a:ahLst/>
                <a:cxnLst>
                  <a:cxn ang="0">
                    <a:pos x="237" y="8"/>
                  </a:cxn>
                  <a:cxn ang="0">
                    <a:pos x="222" y="12"/>
                  </a:cxn>
                  <a:cxn ang="0">
                    <a:pos x="207" y="2"/>
                  </a:cxn>
                  <a:cxn ang="0">
                    <a:pos x="121" y="43"/>
                  </a:cxn>
                  <a:cxn ang="0">
                    <a:pos x="82" y="70"/>
                  </a:cxn>
                  <a:cxn ang="0">
                    <a:pos x="65" y="76"/>
                  </a:cxn>
                  <a:cxn ang="0">
                    <a:pos x="65" y="113"/>
                  </a:cxn>
                  <a:cxn ang="0">
                    <a:pos x="61" y="124"/>
                  </a:cxn>
                  <a:cxn ang="0">
                    <a:pos x="55" y="134"/>
                  </a:cxn>
                  <a:cxn ang="0">
                    <a:pos x="49" y="137"/>
                  </a:cxn>
                  <a:cxn ang="0">
                    <a:pos x="24" y="140"/>
                  </a:cxn>
                  <a:cxn ang="0">
                    <a:pos x="15" y="141"/>
                  </a:cxn>
                  <a:cxn ang="0">
                    <a:pos x="1" y="144"/>
                  </a:cxn>
                  <a:cxn ang="0">
                    <a:pos x="1" y="153"/>
                  </a:cxn>
                  <a:cxn ang="0">
                    <a:pos x="4" y="160"/>
                  </a:cxn>
                  <a:cxn ang="0">
                    <a:pos x="11" y="165"/>
                  </a:cxn>
                  <a:cxn ang="0">
                    <a:pos x="14" y="171"/>
                  </a:cxn>
                  <a:cxn ang="0">
                    <a:pos x="17" y="177"/>
                  </a:cxn>
                  <a:cxn ang="0">
                    <a:pos x="20" y="180"/>
                  </a:cxn>
                  <a:cxn ang="0">
                    <a:pos x="22" y="183"/>
                  </a:cxn>
                  <a:cxn ang="0">
                    <a:pos x="30" y="181"/>
                  </a:cxn>
                  <a:cxn ang="0">
                    <a:pos x="31" y="187"/>
                  </a:cxn>
                  <a:cxn ang="0">
                    <a:pos x="32" y="190"/>
                  </a:cxn>
                  <a:cxn ang="0">
                    <a:pos x="38" y="192"/>
                  </a:cxn>
                  <a:cxn ang="0">
                    <a:pos x="41" y="185"/>
                  </a:cxn>
                  <a:cxn ang="0">
                    <a:pos x="47" y="187"/>
                  </a:cxn>
                  <a:cxn ang="0">
                    <a:pos x="49" y="194"/>
                  </a:cxn>
                  <a:cxn ang="0">
                    <a:pos x="54" y="194"/>
                  </a:cxn>
                  <a:cxn ang="0">
                    <a:pos x="57" y="191"/>
                  </a:cxn>
                  <a:cxn ang="0">
                    <a:pos x="64" y="180"/>
                  </a:cxn>
                  <a:cxn ang="0">
                    <a:pos x="65" y="170"/>
                  </a:cxn>
                  <a:cxn ang="0">
                    <a:pos x="69" y="165"/>
                  </a:cxn>
                  <a:cxn ang="0">
                    <a:pos x="82" y="167"/>
                  </a:cxn>
                  <a:cxn ang="0">
                    <a:pos x="88" y="163"/>
                  </a:cxn>
                  <a:cxn ang="0">
                    <a:pos x="94" y="164"/>
                  </a:cxn>
                  <a:cxn ang="0">
                    <a:pos x="104" y="167"/>
                  </a:cxn>
                  <a:cxn ang="0">
                    <a:pos x="109" y="175"/>
                  </a:cxn>
                  <a:cxn ang="0">
                    <a:pos x="113" y="175"/>
                  </a:cxn>
                  <a:cxn ang="0">
                    <a:pos x="126" y="171"/>
                  </a:cxn>
                  <a:cxn ang="0">
                    <a:pos x="139" y="178"/>
                  </a:cxn>
                  <a:cxn ang="0">
                    <a:pos x="150" y="180"/>
                  </a:cxn>
                  <a:cxn ang="0">
                    <a:pos x="159" y="174"/>
                  </a:cxn>
                  <a:cxn ang="0">
                    <a:pos x="166" y="171"/>
                  </a:cxn>
                  <a:cxn ang="0">
                    <a:pos x="186" y="171"/>
                  </a:cxn>
                  <a:cxn ang="0">
                    <a:pos x="196" y="174"/>
                  </a:cxn>
                  <a:cxn ang="0">
                    <a:pos x="203" y="173"/>
                  </a:cxn>
                  <a:cxn ang="0">
                    <a:pos x="212" y="164"/>
                  </a:cxn>
                  <a:cxn ang="0">
                    <a:pos x="213" y="164"/>
                  </a:cxn>
                  <a:cxn ang="0">
                    <a:pos x="213" y="154"/>
                  </a:cxn>
                  <a:cxn ang="0">
                    <a:pos x="217" y="146"/>
                  </a:cxn>
                  <a:cxn ang="0">
                    <a:pos x="222" y="137"/>
                  </a:cxn>
                  <a:cxn ang="0">
                    <a:pos x="243" y="113"/>
                  </a:cxn>
                  <a:cxn ang="0">
                    <a:pos x="244" y="73"/>
                  </a:cxn>
                  <a:cxn ang="0">
                    <a:pos x="247" y="56"/>
                  </a:cxn>
                  <a:cxn ang="0">
                    <a:pos x="246" y="49"/>
                  </a:cxn>
                  <a:cxn ang="0">
                    <a:pos x="244" y="43"/>
                  </a:cxn>
                  <a:cxn ang="0">
                    <a:pos x="239" y="32"/>
                  </a:cxn>
                </a:cxnLst>
                <a:rect l="0" t="0" r="r" b="b"/>
                <a:pathLst>
                  <a:path w="247" h="194">
                    <a:moveTo>
                      <a:pt x="237" y="29"/>
                    </a:moveTo>
                    <a:lnTo>
                      <a:pt x="237" y="29"/>
                    </a:lnTo>
                    <a:lnTo>
                      <a:pt x="237" y="8"/>
                    </a:lnTo>
                    <a:lnTo>
                      <a:pt x="224" y="15"/>
                    </a:lnTo>
                    <a:lnTo>
                      <a:pt x="224" y="15"/>
                    </a:lnTo>
                    <a:lnTo>
                      <a:pt x="222" y="12"/>
                    </a:lnTo>
                    <a:lnTo>
                      <a:pt x="213" y="5"/>
                    </a:lnTo>
                    <a:lnTo>
                      <a:pt x="213" y="5"/>
                    </a:lnTo>
                    <a:lnTo>
                      <a:pt x="207" y="2"/>
                    </a:lnTo>
                    <a:lnTo>
                      <a:pt x="199" y="0"/>
                    </a:lnTo>
                    <a:lnTo>
                      <a:pt x="190" y="0"/>
                    </a:lnTo>
                    <a:lnTo>
                      <a:pt x="121" y="43"/>
                    </a:lnTo>
                    <a:lnTo>
                      <a:pt x="92" y="67"/>
                    </a:lnTo>
                    <a:lnTo>
                      <a:pt x="92" y="67"/>
                    </a:lnTo>
                    <a:lnTo>
                      <a:pt x="82" y="70"/>
                    </a:lnTo>
                    <a:lnTo>
                      <a:pt x="67" y="74"/>
                    </a:lnTo>
                    <a:lnTo>
                      <a:pt x="67" y="74"/>
                    </a:lnTo>
                    <a:lnTo>
                      <a:pt x="65" y="76"/>
                    </a:lnTo>
                    <a:lnTo>
                      <a:pt x="65" y="76"/>
                    </a:lnTo>
                    <a:lnTo>
                      <a:pt x="65" y="100"/>
                    </a:lnTo>
                    <a:lnTo>
                      <a:pt x="65" y="113"/>
                    </a:lnTo>
                    <a:lnTo>
                      <a:pt x="64" y="119"/>
                    </a:lnTo>
                    <a:lnTo>
                      <a:pt x="64" y="119"/>
                    </a:lnTo>
                    <a:lnTo>
                      <a:pt x="61" y="124"/>
                    </a:lnTo>
                    <a:lnTo>
                      <a:pt x="59" y="130"/>
                    </a:lnTo>
                    <a:lnTo>
                      <a:pt x="59" y="130"/>
                    </a:lnTo>
                    <a:lnTo>
                      <a:pt x="55" y="134"/>
                    </a:lnTo>
                    <a:lnTo>
                      <a:pt x="52" y="136"/>
                    </a:lnTo>
                    <a:lnTo>
                      <a:pt x="49" y="137"/>
                    </a:lnTo>
                    <a:lnTo>
                      <a:pt x="49" y="137"/>
                    </a:lnTo>
                    <a:lnTo>
                      <a:pt x="37" y="138"/>
                    </a:lnTo>
                    <a:lnTo>
                      <a:pt x="30" y="140"/>
                    </a:lnTo>
                    <a:lnTo>
                      <a:pt x="24" y="140"/>
                    </a:lnTo>
                    <a:lnTo>
                      <a:pt x="24" y="140"/>
                    </a:lnTo>
                    <a:lnTo>
                      <a:pt x="20" y="140"/>
                    </a:lnTo>
                    <a:lnTo>
                      <a:pt x="15" y="141"/>
                    </a:lnTo>
                    <a:lnTo>
                      <a:pt x="11" y="144"/>
                    </a:lnTo>
                    <a:lnTo>
                      <a:pt x="11" y="144"/>
                    </a:lnTo>
                    <a:lnTo>
                      <a:pt x="1" y="144"/>
                    </a:lnTo>
                    <a:lnTo>
                      <a:pt x="1" y="144"/>
                    </a:lnTo>
                    <a:lnTo>
                      <a:pt x="0" y="150"/>
                    </a:lnTo>
                    <a:lnTo>
                      <a:pt x="1" y="153"/>
                    </a:lnTo>
                    <a:lnTo>
                      <a:pt x="1" y="153"/>
                    </a:lnTo>
                    <a:lnTo>
                      <a:pt x="3" y="157"/>
                    </a:lnTo>
                    <a:lnTo>
                      <a:pt x="4" y="160"/>
                    </a:lnTo>
                    <a:lnTo>
                      <a:pt x="5" y="163"/>
                    </a:lnTo>
                    <a:lnTo>
                      <a:pt x="5" y="163"/>
                    </a:lnTo>
                    <a:lnTo>
                      <a:pt x="11" y="165"/>
                    </a:lnTo>
                    <a:lnTo>
                      <a:pt x="12" y="168"/>
                    </a:lnTo>
                    <a:lnTo>
                      <a:pt x="14" y="171"/>
                    </a:lnTo>
                    <a:lnTo>
                      <a:pt x="14" y="171"/>
                    </a:lnTo>
                    <a:lnTo>
                      <a:pt x="14" y="175"/>
                    </a:lnTo>
                    <a:lnTo>
                      <a:pt x="15" y="177"/>
                    </a:lnTo>
                    <a:lnTo>
                      <a:pt x="17" y="177"/>
                    </a:lnTo>
                    <a:lnTo>
                      <a:pt x="17" y="177"/>
                    </a:lnTo>
                    <a:lnTo>
                      <a:pt x="18" y="177"/>
                    </a:lnTo>
                    <a:lnTo>
                      <a:pt x="20" y="180"/>
                    </a:lnTo>
                    <a:lnTo>
                      <a:pt x="21" y="181"/>
                    </a:lnTo>
                    <a:lnTo>
                      <a:pt x="22" y="183"/>
                    </a:lnTo>
                    <a:lnTo>
                      <a:pt x="22" y="183"/>
                    </a:lnTo>
                    <a:lnTo>
                      <a:pt x="25" y="183"/>
                    </a:lnTo>
                    <a:lnTo>
                      <a:pt x="28" y="183"/>
                    </a:lnTo>
                    <a:lnTo>
                      <a:pt x="30" y="181"/>
                    </a:lnTo>
                    <a:lnTo>
                      <a:pt x="31" y="181"/>
                    </a:lnTo>
                    <a:lnTo>
                      <a:pt x="31" y="181"/>
                    </a:lnTo>
                    <a:lnTo>
                      <a:pt x="31" y="187"/>
                    </a:lnTo>
                    <a:lnTo>
                      <a:pt x="31" y="190"/>
                    </a:lnTo>
                    <a:lnTo>
                      <a:pt x="32" y="190"/>
                    </a:lnTo>
                    <a:lnTo>
                      <a:pt x="32" y="190"/>
                    </a:lnTo>
                    <a:lnTo>
                      <a:pt x="34" y="191"/>
                    </a:lnTo>
                    <a:lnTo>
                      <a:pt x="38" y="192"/>
                    </a:lnTo>
                    <a:lnTo>
                      <a:pt x="38" y="192"/>
                    </a:lnTo>
                    <a:lnTo>
                      <a:pt x="38" y="190"/>
                    </a:lnTo>
                    <a:lnTo>
                      <a:pt x="40" y="187"/>
                    </a:lnTo>
                    <a:lnTo>
                      <a:pt x="41" y="185"/>
                    </a:lnTo>
                    <a:lnTo>
                      <a:pt x="44" y="185"/>
                    </a:lnTo>
                    <a:lnTo>
                      <a:pt x="44" y="185"/>
                    </a:lnTo>
                    <a:lnTo>
                      <a:pt x="47" y="187"/>
                    </a:lnTo>
                    <a:lnTo>
                      <a:pt x="47" y="190"/>
                    </a:lnTo>
                    <a:lnTo>
                      <a:pt x="47" y="191"/>
                    </a:lnTo>
                    <a:lnTo>
                      <a:pt x="49" y="194"/>
                    </a:lnTo>
                    <a:lnTo>
                      <a:pt x="49" y="194"/>
                    </a:lnTo>
                    <a:lnTo>
                      <a:pt x="52" y="194"/>
                    </a:lnTo>
                    <a:lnTo>
                      <a:pt x="54" y="194"/>
                    </a:lnTo>
                    <a:lnTo>
                      <a:pt x="55" y="192"/>
                    </a:lnTo>
                    <a:lnTo>
                      <a:pt x="57" y="191"/>
                    </a:lnTo>
                    <a:lnTo>
                      <a:pt x="57" y="191"/>
                    </a:lnTo>
                    <a:lnTo>
                      <a:pt x="57" y="187"/>
                    </a:lnTo>
                    <a:lnTo>
                      <a:pt x="59" y="184"/>
                    </a:lnTo>
                    <a:lnTo>
                      <a:pt x="64" y="180"/>
                    </a:lnTo>
                    <a:lnTo>
                      <a:pt x="64" y="180"/>
                    </a:lnTo>
                    <a:lnTo>
                      <a:pt x="64" y="173"/>
                    </a:lnTo>
                    <a:lnTo>
                      <a:pt x="65" y="170"/>
                    </a:lnTo>
                    <a:lnTo>
                      <a:pt x="67" y="167"/>
                    </a:lnTo>
                    <a:lnTo>
                      <a:pt x="67" y="167"/>
                    </a:lnTo>
                    <a:lnTo>
                      <a:pt x="69" y="165"/>
                    </a:lnTo>
                    <a:lnTo>
                      <a:pt x="74" y="165"/>
                    </a:lnTo>
                    <a:lnTo>
                      <a:pt x="82" y="167"/>
                    </a:lnTo>
                    <a:lnTo>
                      <a:pt x="82" y="167"/>
                    </a:lnTo>
                    <a:lnTo>
                      <a:pt x="84" y="165"/>
                    </a:lnTo>
                    <a:lnTo>
                      <a:pt x="86" y="164"/>
                    </a:lnTo>
                    <a:lnTo>
                      <a:pt x="88" y="163"/>
                    </a:lnTo>
                    <a:lnTo>
                      <a:pt x="91" y="163"/>
                    </a:lnTo>
                    <a:lnTo>
                      <a:pt x="91" y="163"/>
                    </a:lnTo>
                    <a:lnTo>
                      <a:pt x="94" y="164"/>
                    </a:lnTo>
                    <a:lnTo>
                      <a:pt x="98" y="165"/>
                    </a:lnTo>
                    <a:lnTo>
                      <a:pt x="101" y="165"/>
                    </a:lnTo>
                    <a:lnTo>
                      <a:pt x="104" y="167"/>
                    </a:lnTo>
                    <a:lnTo>
                      <a:pt x="104" y="167"/>
                    </a:lnTo>
                    <a:lnTo>
                      <a:pt x="108" y="174"/>
                    </a:lnTo>
                    <a:lnTo>
                      <a:pt x="109" y="175"/>
                    </a:lnTo>
                    <a:lnTo>
                      <a:pt x="111" y="175"/>
                    </a:lnTo>
                    <a:lnTo>
                      <a:pt x="113" y="175"/>
                    </a:lnTo>
                    <a:lnTo>
                      <a:pt x="113" y="175"/>
                    </a:lnTo>
                    <a:lnTo>
                      <a:pt x="121" y="173"/>
                    </a:lnTo>
                    <a:lnTo>
                      <a:pt x="126" y="171"/>
                    </a:lnTo>
                    <a:lnTo>
                      <a:pt x="126" y="171"/>
                    </a:lnTo>
                    <a:lnTo>
                      <a:pt x="129" y="173"/>
                    </a:lnTo>
                    <a:lnTo>
                      <a:pt x="132" y="174"/>
                    </a:lnTo>
                    <a:lnTo>
                      <a:pt x="139" y="178"/>
                    </a:lnTo>
                    <a:lnTo>
                      <a:pt x="139" y="178"/>
                    </a:lnTo>
                    <a:lnTo>
                      <a:pt x="146" y="180"/>
                    </a:lnTo>
                    <a:lnTo>
                      <a:pt x="150" y="180"/>
                    </a:lnTo>
                    <a:lnTo>
                      <a:pt x="155" y="178"/>
                    </a:lnTo>
                    <a:lnTo>
                      <a:pt x="155" y="178"/>
                    </a:lnTo>
                    <a:lnTo>
                      <a:pt x="159" y="174"/>
                    </a:lnTo>
                    <a:lnTo>
                      <a:pt x="163" y="171"/>
                    </a:lnTo>
                    <a:lnTo>
                      <a:pt x="166" y="171"/>
                    </a:lnTo>
                    <a:lnTo>
                      <a:pt x="166" y="171"/>
                    </a:lnTo>
                    <a:lnTo>
                      <a:pt x="176" y="170"/>
                    </a:lnTo>
                    <a:lnTo>
                      <a:pt x="183" y="170"/>
                    </a:lnTo>
                    <a:lnTo>
                      <a:pt x="186" y="171"/>
                    </a:lnTo>
                    <a:lnTo>
                      <a:pt x="186" y="171"/>
                    </a:lnTo>
                    <a:lnTo>
                      <a:pt x="192" y="174"/>
                    </a:lnTo>
                    <a:lnTo>
                      <a:pt x="196" y="174"/>
                    </a:lnTo>
                    <a:lnTo>
                      <a:pt x="200" y="174"/>
                    </a:lnTo>
                    <a:lnTo>
                      <a:pt x="200" y="174"/>
                    </a:lnTo>
                    <a:lnTo>
                      <a:pt x="203" y="173"/>
                    </a:lnTo>
                    <a:lnTo>
                      <a:pt x="206" y="168"/>
                    </a:lnTo>
                    <a:lnTo>
                      <a:pt x="209" y="165"/>
                    </a:lnTo>
                    <a:lnTo>
                      <a:pt x="212" y="164"/>
                    </a:lnTo>
                    <a:lnTo>
                      <a:pt x="212" y="164"/>
                    </a:lnTo>
                    <a:lnTo>
                      <a:pt x="213" y="164"/>
                    </a:lnTo>
                    <a:lnTo>
                      <a:pt x="213" y="164"/>
                    </a:lnTo>
                    <a:lnTo>
                      <a:pt x="213" y="158"/>
                    </a:lnTo>
                    <a:lnTo>
                      <a:pt x="213" y="158"/>
                    </a:lnTo>
                    <a:lnTo>
                      <a:pt x="213" y="154"/>
                    </a:lnTo>
                    <a:lnTo>
                      <a:pt x="215" y="151"/>
                    </a:lnTo>
                    <a:lnTo>
                      <a:pt x="216" y="150"/>
                    </a:lnTo>
                    <a:lnTo>
                      <a:pt x="217" y="146"/>
                    </a:lnTo>
                    <a:lnTo>
                      <a:pt x="217" y="146"/>
                    </a:lnTo>
                    <a:lnTo>
                      <a:pt x="219" y="141"/>
                    </a:lnTo>
                    <a:lnTo>
                      <a:pt x="222" y="137"/>
                    </a:lnTo>
                    <a:lnTo>
                      <a:pt x="229" y="126"/>
                    </a:lnTo>
                    <a:lnTo>
                      <a:pt x="243" y="113"/>
                    </a:lnTo>
                    <a:lnTo>
                      <a:pt x="243" y="113"/>
                    </a:lnTo>
                    <a:lnTo>
                      <a:pt x="243" y="107"/>
                    </a:lnTo>
                    <a:lnTo>
                      <a:pt x="244" y="94"/>
                    </a:lnTo>
                    <a:lnTo>
                      <a:pt x="244" y="73"/>
                    </a:lnTo>
                    <a:lnTo>
                      <a:pt x="244" y="73"/>
                    </a:lnTo>
                    <a:lnTo>
                      <a:pt x="244" y="64"/>
                    </a:lnTo>
                    <a:lnTo>
                      <a:pt x="247" y="56"/>
                    </a:lnTo>
                    <a:lnTo>
                      <a:pt x="247" y="56"/>
                    </a:lnTo>
                    <a:lnTo>
                      <a:pt x="247" y="52"/>
                    </a:lnTo>
                    <a:lnTo>
                      <a:pt x="246" y="49"/>
                    </a:lnTo>
                    <a:lnTo>
                      <a:pt x="244" y="47"/>
                    </a:lnTo>
                    <a:lnTo>
                      <a:pt x="244" y="43"/>
                    </a:lnTo>
                    <a:lnTo>
                      <a:pt x="244" y="43"/>
                    </a:lnTo>
                    <a:lnTo>
                      <a:pt x="243" y="39"/>
                    </a:lnTo>
                    <a:lnTo>
                      <a:pt x="242" y="35"/>
                    </a:lnTo>
                    <a:lnTo>
                      <a:pt x="239" y="32"/>
                    </a:lnTo>
                    <a:lnTo>
                      <a:pt x="237" y="29"/>
                    </a:lnTo>
                    <a:lnTo>
                      <a:pt x="237" y="29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54" name="Mali">
                <a:extLst>
                  <a:ext uri="{FF2B5EF4-FFF2-40B4-BE49-F238E27FC236}">
                    <a16:creationId xmlns:a16="http://schemas.microsoft.com/office/drawing/2014/main" id="{6195AEB2-43FB-D1FA-B941-95C22D315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0399" y="3701549"/>
                <a:ext cx="395102" cy="368467"/>
              </a:xfrm>
              <a:custGeom>
                <a:avLst/>
                <a:gdLst/>
                <a:ahLst/>
                <a:cxnLst>
                  <a:cxn ang="0">
                    <a:pos x="250" y="91"/>
                  </a:cxn>
                  <a:cxn ang="0">
                    <a:pos x="239" y="84"/>
                  </a:cxn>
                  <a:cxn ang="0">
                    <a:pos x="224" y="75"/>
                  </a:cxn>
                  <a:cxn ang="0">
                    <a:pos x="118" y="0"/>
                  </a:cxn>
                  <a:cxn ang="0">
                    <a:pos x="112" y="146"/>
                  </a:cxn>
                  <a:cxn ang="0">
                    <a:pos x="109" y="159"/>
                  </a:cxn>
                  <a:cxn ang="0">
                    <a:pos x="47" y="161"/>
                  </a:cxn>
                  <a:cxn ang="0">
                    <a:pos x="30" y="162"/>
                  </a:cxn>
                  <a:cxn ang="0">
                    <a:pos x="24" y="166"/>
                  </a:cxn>
                  <a:cxn ang="0">
                    <a:pos x="12" y="161"/>
                  </a:cxn>
                  <a:cxn ang="0">
                    <a:pos x="8" y="168"/>
                  </a:cxn>
                  <a:cxn ang="0">
                    <a:pos x="0" y="173"/>
                  </a:cxn>
                  <a:cxn ang="0">
                    <a:pos x="4" y="185"/>
                  </a:cxn>
                  <a:cxn ang="0">
                    <a:pos x="11" y="196"/>
                  </a:cxn>
                  <a:cxn ang="0">
                    <a:pos x="15" y="215"/>
                  </a:cxn>
                  <a:cxn ang="0">
                    <a:pos x="20" y="219"/>
                  </a:cxn>
                  <a:cxn ang="0">
                    <a:pos x="28" y="217"/>
                  </a:cxn>
                  <a:cxn ang="0">
                    <a:pos x="34" y="216"/>
                  </a:cxn>
                  <a:cxn ang="0">
                    <a:pos x="45" y="213"/>
                  </a:cxn>
                  <a:cxn ang="0">
                    <a:pos x="52" y="212"/>
                  </a:cxn>
                  <a:cxn ang="0">
                    <a:pos x="58" y="225"/>
                  </a:cxn>
                  <a:cxn ang="0">
                    <a:pos x="62" y="229"/>
                  </a:cxn>
                  <a:cxn ang="0">
                    <a:pos x="61" y="235"/>
                  </a:cxn>
                  <a:cxn ang="0">
                    <a:pos x="65" y="239"/>
                  </a:cxn>
                  <a:cxn ang="0">
                    <a:pos x="68" y="246"/>
                  </a:cxn>
                  <a:cxn ang="0">
                    <a:pos x="74" y="245"/>
                  </a:cxn>
                  <a:cxn ang="0">
                    <a:pos x="82" y="247"/>
                  </a:cxn>
                  <a:cxn ang="0">
                    <a:pos x="91" y="243"/>
                  </a:cxn>
                  <a:cxn ang="0">
                    <a:pos x="98" y="240"/>
                  </a:cxn>
                  <a:cxn ang="0">
                    <a:pos x="99" y="246"/>
                  </a:cxn>
                  <a:cxn ang="0">
                    <a:pos x="106" y="243"/>
                  </a:cxn>
                  <a:cxn ang="0">
                    <a:pos x="113" y="230"/>
                  </a:cxn>
                  <a:cxn ang="0">
                    <a:pos x="113" y="220"/>
                  </a:cxn>
                  <a:cxn ang="0">
                    <a:pos x="126" y="215"/>
                  </a:cxn>
                  <a:cxn ang="0">
                    <a:pos x="131" y="205"/>
                  </a:cxn>
                  <a:cxn ang="0">
                    <a:pos x="136" y="193"/>
                  </a:cxn>
                  <a:cxn ang="0">
                    <a:pos x="146" y="193"/>
                  </a:cxn>
                  <a:cxn ang="0">
                    <a:pos x="152" y="188"/>
                  </a:cxn>
                  <a:cxn ang="0">
                    <a:pos x="156" y="182"/>
                  </a:cxn>
                  <a:cxn ang="0">
                    <a:pos x="166" y="181"/>
                  </a:cxn>
                  <a:cxn ang="0">
                    <a:pos x="172" y="176"/>
                  </a:cxn>
                  <a:cxn ang="0">
                    <a:pos x="187" y="168"/>
                  </a:cxn>
                  <a:cxn ang="0">
                    <a:pos x="196" y="169"/>
                  </a:cxn>
                  <a:cxn ang="0">
                    <a:pos x="217" y="166"/>
                  </a:cxn>
                  <a:cxn ang="0">
                    <a:pos x="232" y="165"/>
                  </a:cxn>
                  <a:cxn ang="0">
                    <a:pos x="254" y="161"/>
                  </a:cxn>
                  <a:cxn ang="0">
                    <a:pos x="263" y="149"/>
                  </a:cxn>
                  <a:cxn ang="0">
                    <a:pos x="267" y="125"/>
                  </a:cxn>
                  <a:cxn ang="0">
                    <a:pos x="253" y="104"/>
                  </a:cxn>
                </a:cxnLst>
                <a:rect l="0" t="0" r="r" b="b"/>
                <a:pathLst>
                  <a:path w="267" h="249">
                    <a:moveTo>
                      <a:pt x="253" y="104"/>
                    </a:moveTo>
                    <a:lnTo>
                      <a:pt x="253" y="104"/>
                    </a:lnTo>
                    <a:lnTo>
                      <a:pt x="253" y="97"/>
                    </a:lnTo>
                    <a:lnTo>
                      <a:pt x="250" y="91"/>
                    </a:lnTo>
                    <a:lnTo>
                      <a:pt x="249" y="88"/>
                    </a:lnTo>
                    <a:lnTo>
                      <a:pt x="246" y="87"/>
                    </a:lnTo>
                    <a:lnTo>
                      <a:pt x="246" y="87"/>
                    </a:lnTo>
                    <a:lnTo>
                      <a:pt x="239" y="84"/>
                    </a:lnTo>
                    <a:lnTo>
                      <a:pt x="233" y="82"/>
                    </a:lnTo>
                    <a:lnTo>
                      <a:pt x="227" y="81"/>
                    </a:lnTo>
                    <a:lnTo>
                      <a:pt x="227" y="81"/>
                    </a:lnTo>
                    <a:lnTo>
                      <a:pt x="224" y="75"/>
                    </a:lnTo>
                    <a:lnTo>
                      <a:pt x="217" y="67"/>
                    </a:lnTo>
                    <a:lnTo>
                      <a:pt x="217" y="67"/>
                    </a:lnTo>
                    <a:lnTo>
                      <a:pt x="183" y="43"/>
                    </a:lnTo>
                    <a:lnTo>
                      <a:pt x="118" y="0"/>
                    </a:lnTo>
                    <a:lnTo>
                      <a:pt x="91" y="0"/>
                    </a:lnTo>
                    <a:lnTo>
                      <a:pt x="106" y="141"/>
                    </a:lnTo>
                    <a:lnTo>
                      <a:pt x="112" y="146"/>
                    </a:lnTo>
                    <a:lnTo>
                      <a:pt x="112" y="146"/>
                    </a:lnTo>
                    <a:lnTo>
                      <a:pt x="112" y="152"/>
                    </a:lnTo>
                    <a:lnTo>
                      <a:pt x="111" y="156"/>
                    </a:lnTo>
                    <a:lnTo>
                      <a:pt x="109" y="159"/>
                    </a:lnTo>
                    <a:lnTo>
                      <a:pt x="109" y="159"/>
                    </a:lnTo>
                    <a:lnTo>
                      <a:pt x="98" y="161"/>
                    </a:lnTo>
                    <a:lnTo>
                      <a:pt x="77" y="161"/>
                    </a:lnTo>
                    <a:lnTo>
                      <a:pt x="47" y="161"/>
                    </a:lnTo>
                    <a:lnTo>
                      <a:pt x="47" y="161"/>
                    </a:lnTo>
                    <a:lnTo>
                      <a:pt x="44" y="162"/>
                    </a:lnTo>
                    <a:lnTo>
                      <a:pt x="37" y="163"/>
                    </a:lnTo>
                    <a:lnTo>
                      <a:pt x="37" y="163"/>
                    </a:lnTo>
                    <a:lnTo>
                      <a:pt x="30" y="162"/>
                    </a:lnTo>
                    <a:lnTo>
                      <a:pt x="28" y="162"/>
                    </a:lnTo>
                    <a:lnTo>
                      <a:pt x="25" y="162"/>
                    </a:lnTo>
                    <a:lnTo>
                      <a:pt x="25" y="162"/>
                    </a:lnTo>
                    <a:lnTo>
                      <a:pt x="24" y="166"/>
                    </a:lnTo>
                    <a:lnTo>
                      <a:pt x="21" y="166"/>
                    </a:lnTo>
                    <a:lnTo>
                      <a:pt x="17" y="163"/>
                    </a:lnTo>
                    <a:lnTo>
                      <a:pt x="17" y="163"/>
                    </a:lnTo>
                    <a:lnTo>
                      <a:pt x="12" y="161"/>
                    </a:lnTo>
                    <a:lnTo>
                      <a:pt x="10" y="162"/>
                    </a:lnTo>
                    <a:lnTo>
                      <a:pt x="8" y="165"/>
                    </a:lnTo>
                    <a:lnTo>
                      <a:pt x="8" y="168"/>
                    </a:lnTo>
                    <a:lnTo>
                      <a:pt x="8" y="168"/>
                    </a:lnTo>
                    <a:lnTo>
                      <a:pt x="7" y="171"/>
                    </a:lnTo>
                    <a:lnTo>
                      <a:pt x="5" y="172"/>
                    </a:lnTo>
                    <a:lnTo>
                      <a:pt x="0" y="173"/>
                    </a:lnTo>
                    <a:lnTo>
                      <a:pt x="0" y="173"/>
                    </a:lnTo>
                    <a:lnTo>
                      <a:pt x="1" y="176"/>
                    </a:lnTo>
                    <a:lnTo>
                      <a:pt x="4" y="181"/>
                    </a:lnTo>
                    <a:lnTo>
                      <a:pt x="4" y="181"/>
                    </a:lnTo>
                    <a:lnTo>
                      <a:pt x="4" y="185"/>
                    </a:lnTo>
                    <a:lnTo>
                      <a:pt x="4" y="188"/>
                    </a:lnTo>
                    <a:lnTo>
                      <a:pt x="7" y="190"/>
                    </a:lnTo>
                    <a:lnTo>
                      <a:pt x="7" y="190"/>
                    </a:lnTo>
                    <a:lnTo>
                      <a:pt x="11" y="196"/>
                    </a:lnTo>
                    <a:lnTo>
                      <a:pt x="15" y="202"/>
                    </a:lnTo>
                    <a:lnTo>
                      <a:pt x="15" y="202"/>
                    </a:lnTo>
                    <a:lnTo>
                      <a:pt x="15" y="215"/>
                    </a:lnTo>
                    <a:lnTo>
                      <a:pt x="15" y="215"/>
                    </a:lnTo>
                    <a:lnTo>
                      <a:pt x="15" y="217"/>
                    </a:lnTo>
                    <a:lnTo>
                      <a:pt x="17" y="219"/>
                    </a:lnTo>
                    <a:lnTo>
                      <a:pt x="20" y="219"/>
                    </a:lnTo>
                    <a:lnTo>
                      <a:pt x="20" y="219"/>
                    </a:lnTo>
                    <a:lnTo>
                      <a:pt x="21" y="217"/>
                    </a:lnTo>
                    <a:lnTo>
                      <a:pt x="24" y="217"/>
                    </a:lnTo>
                    <a:lnTo>
                      <a:pt x="27" y="219"/>
                    </a:lnTo>
                    <a:lnTo>
                      <a:pt x="28" y="217"/>
                    </a:lnTo>
                    <a:lnTo>
                      <a:pt x="28" y="217"/>
                    </a:lnTo>
                    <a:lnTo>
                      <a:pt x="30" y="216"/>
                    </a:lnTo>
                    <a:lnTo>
                      <a:pt x="31" y="215"/>
                    </a:lnTo>
                    <a:lnTo>
                      <a:pt x="34" y="216"/>
                    </a:lnTo>
                    <a:lnTo>
                      <a:pt x="40" y="217"/>
                    </a:lnTo>
                    <a:lnTo>
                      <a:pt x="40" y="217"/>
                    </a:lnTo>
                    <a:lnTo>
                      <a:pt x="42" y="216"/>
                    </a:lnTo>
                    <a:lnTo>
                      <a:pt x="45" y="213"/>
                    </a:lnTo>
                    <a:lnTo>
                      <a:pt x="48" y="210"/>
                    </a:lnTo>
                    <a:lnTo>
                      <a:pt x="51" y="210"/>
                    </a:lnTo>
                    <a:lnTo>
                      <a:pt x="51" y="210"/>
                    </a:lnTo>
                    <a:lnTo>
                      <a:pt x="52" y="212"/>
                    </a:lnTo>
                    <a:lnTo>
                      <a:pt x="55" y="215"/>
                    </a:lnTo>
                    <a:lnTo>
                      <a:pt x="57" y="222"/>
                    </a:lnTo>
                    <a:lnTo>
                      <a:pt x="57" y="222"/>
                    </a:lnTo>
                    <a:lnTo>
                      <a:pt x="58" y="225"/>
                    </a:lnTo>
                    <a:lnTo>
                      <a:pt x="61" y="226"/>
                    </a:lnTo>
                    <a:lnTo>
                      <a:pt x="62" y="227"/>
                    </a:lnTo>
                    <a:lnTo>
                      <a:pt x="64" y="229"/>
                    </a:lnTo>
                    <a:lnTo>
                      <a:pt x="62" y="229"/>
                    </a:lnTo>
                    <a:lnTo>
                      <a:pt x="62" y="229"/>
                    </a:lnTo>
                    <a:lnTo>
                      <a:pt x="61" y="230"/>
                    </a:lnTo>
                    <a:lnTo>
                      <a:pt x="61" y="232"/>
                    </a:lnTo>
                    <a:lnTo>
                      <a:pt x="61" y="235"/>
                    </a:lnTo>
                    <a:lnTo>
                      <a:pt x="62" y="235"/>
                    </a:lnTo>
                    <a:lnTo>
                      <a:pt x="62" y="235"/>
                    </a:lnTo>
                    <a:lnTo>
                      <a:pt x="64" y="236"/>
                    </a:lnTo>
                    <a:lnTo>
                      <a:pt x="65" y="239"/>
                    </a:lnTo>
                    <a:lnTo>
                      <a:pt x="65" y="242"/>
                    </a:lnTo>
                    <a:lnTo>
                      <a:pt x="67" y="245"/>
                    </a:lnTo>
                    <a:lnTo>
                      <a:pt x="67" y="245"/>
                    </a:lnTo>
                    <a:lnTo>
                      <a:pt x="68" y="246"/>
                    </a:lnTo>
                    <a:lnTo>
                      <a:pt x="71" y="247"/>
                    </a:lnTo>
                    <a:lnTo>
                      <a:pt x="72" y="247"/>
                    </a:lnTo>
                    <a:lnTo>
                      <a:pt x="74" y="245"/>
                    </a:lnTo>
                    <a:lnTo>
                      <a:pt x="74" y="245"/>
                    </a:lnTo>
                    <a:lnTo>
                      <a:pt x="75" y="243"/>
                    </a:lnTo>
                    <a:lnTo>
                      <a:pt x="78" y="243"/>
                    </a:lnTo>
                    <a:lnTo>
                      <a:pt x="82" y="247"/>
                    </a:lnTo>
                    <a:lnTo>
                      <a:pt x="82" y="247"/>
                    </a:lnTo>
                    <a:lnTo>
                      <a:pt x="84" y="249"/>
                    </a:lnTo>
                    <a:lnTo>
                      <a:pt x="86" y="247"/>
                    </a:lnTo>
                    <a:lnTo>
                      <a:pt x="89" y="246"/>
                    </a:lnTo>
                    <a:lnTo>
                      <a:pt x="91" y="243"/>
                    </a:lnTo>
                    <a:lnTo>
                      <a:pt x="91" y="243"/>
                    </a:lnTo>
                    <a:lnTo>
                      <a:pt x="92" y="240"/>
                    </a:lnTo>
                    <a:lnTo>
                      <a:pt x="95" y="239"/>
                    </a:lnTo>
                    <a:lnTo>
                      <a:pt x="98" y="240"/>
                    </a:lnTo>
                    <a:lnTo>
                      <a:pt x="99" y="242"/>
                    </a:lnTo>
                    <a:lnTo>
                      <a:pt x="99" y="242"/>
                    </a:lnTo>
                    <a:lnTo>
                      <a:pt x="99" y="245"/>
                    </a:lnTo>
                    <a:lnTo>
                      <a:pt x="99" y="246"/>
                    </a:lnTo>
                    <a:lnTo>
                      <a:pt x="102" y="246"/>
                    </a:lnTo>
                    <a:lnTo>
                      <a:pt x="105" y="245"/>
                    </a:lnTo>
                    <a:lnTo>
                      <a:pt x="105" y="245"/>
                    </a:lnTo>
                    <a:lnTo>
                      <a:pt x="106" y="243"/>
                    </a:lnTo>
                    <a:lnTo>
                      <a:pt x="109" y="243"/>
                    </a:lnTo>
                    <a:lnTo>
                      <a:pt x="109" y="243"/>
                    </a:lnTo>
                    <a:lnTo>
                      <a:pt x="113" y="230"/>
                    </a:lnTo>
                    <a:lnTo>
                      <a:pt x="113" y="230"/>
                    </a:lnTo>
                    <a:lnTo>
                      <a:pt x="113" y="227"/>
                    </a:lnTo>
                    <a:lnTo>
                      <a:pt x="113" y="225"/>
                    </a:lnTo>
                    <a:lnTo>
                      <a:pt x="112" y="222"/>
                    </a:lnTo>
                    <a:lnTo>
                      <a:pt x="113" y="220"/>
                    </a:lnTo>
                    <a:lnTo>
                      <a:pt x="113" y="220"/>
                    </a:lnTo>
                    <a:lnTo>
                      <a:pt x="119" y="219"/>
                    </a:lnTo>
                    <a:lnTo>
                      <a:pt x="123" y="217"/>
                    </a:lnTo>
                    <a:lnTo>
                      <a:pt x="126" y="215"/>
                    </a:lnTo>
                    <a:lnTo>
                      <a:pt x="126" y="215"/>
                    </a:lnTo>
                    <a:lnTo>
                      <a:pt x="129" y="208"/>
                    </a:lnTo>
                    <a:lnTo>
                      <a:pt x="131" y="205"/>
                    </a:lnTo>
                    <a:lnTo>
                      <a:pt x="131" y="205"/>
                    </a:lnTo>
                    <a:lnTo>
                      <a:pt x="132" y="198"/>
                    </a:lnTo>
                    <a:lnTo>
                      <a:pt x="133" y="193"/>
                    </a:lnTo>
                    <a:lnTo>
                      <a:pt x="135" y="192"/>
                    </a:lnTo>
                    <a:lnTo>
                      <a:pt x="136" y="193"/>
                    </a:lnTo>
                    <a:lnTo>
                      <a:pt x="136" y="193"/>
                    </a:lnTo>
                    <a:lnTo>
                      <a:pt x="142" y="196"/>
                    </a:lnTo>
                    <a:lnTo>
                      <a:pt x="145" y="196"/>
                    </a:lnTo>
                    <a:lnTo>
                      <a:pt x="146" y="193"/>
                    </a:lnTo>
                    <a:lnTo>
                      <a:pt x="146" y="193"/>
                    </a:lnTo>
                    <a:lnTo>
                      <a:pt x="148" y="190"/>
                    </a:lnTo>
                    <a:lnTo>
                      <a:pt x="149" y="189"/>
                    </a:lnTo>
                    <a:lnTo>
                      <a:pt x="152" y="188"/>
                    </a:lnTo>
                    <a:lnTo>
                      <a:pt x="153" y="186"/>
                    </a:lnTo>
                    <a:lnTo>
                      <a:pt x="153" y="186"/>
                    </a:lnTo>
                    <a:lnTo>
                      <a:pt x="155" y="183"/>
                    </a:lnTo>
                    <a:lnTo>
                      <a:pt x="156" y="182"/>
                    </a:lnTo>
                    <a:lnTo>
                      <a:pt x="160" y="182"/>
                    </a:lnTo>
                    <a:lnTo>
                      <a:pt x="160" y="182"/>
                    </a:lnTo>
                    <a:lnTo>
                      <a:pt x="165" y="182"/>
                    </a:lnTo>
                    <a:lnTo>
                      <a:pt x="166" y="181"/>
                    </a:lnTo>
                    <a:lnTo>
                      <a:pt x="168" y="179"/>
                    </a:lnTo>
                    <a:lnTo>
                      <a:pt x="168" y="179"/>
                    </a:lnTo>
                    <a:lnTo>
                      <a:pt x="168" y="178"/>
                    </a:lnTo>
                    <a:lnTo>
                      <a:pt x="172" y="176"/>
                    </a:lnTo>
                    <a:lnTo>
                      <a:pt x="176" y="175"/>
                    </a:lnTo>
                    <a:lnTo>
                      <a:pt x="180" y="173"/>
                    </a:lnTo>
                    <a:lnTo>
                      <a:pt x="180" y="173"/>
                    </a:lnTo>
                    <a:lnTo>
                      <a:pt x="187" y="168"/>
                    </a:lnTo>
                    <a:lnTo>
                      <a:pt x="190" y="166"/>
                    </a:lnTo>
                    <a:lnTo>
                      <a:pt x="193" y="168"/>
                    </a:lnTo>
                    <a:lnTo>
                      <a:pt x="193" y="168"/>
                    </a:lnTo>
                    <a:lnTo>
                      <a:pt x="196" y="169"/>
                    </a:lnTo>
                    <a:lnTo>
                      <a:pt x="203" y="169"/>
                    </a:lnTo>
                    <a:lnTo>
                      <a:pt x="213" y="169"/>
                    </a:lnTo>
                    <a:lnTo>
                      <a:pt x="213" y="169"/>
                    </a:lnTo>
                    <a:lnTo>
                      <a:pt x="217" y="166"/>
                    </a:lnTo>
                    <a:lnTo>
                      <a:pt x="222" y="165"/>
                    </a:lnTo>
                    <a:lnTo>
                      <a:pt x="226" y="165"/>
                    </a:lnTo>
                    <a:lnTo>
                      <a:pt x="226" y="165"/>
                    </a:lnTo>
                    <a:lnTo>
                      <a:pt x="232" y="165"/>
                    </a:lnTo>
                    <a:lnTo>
                      <a:pt x="239" y="163"/>
                    </a:lnTo>
                    <a:lnTo>
                      <a:pt x="251" y="162"/>
                    </a:lnTo>
                    <a:lnTo>
                      <a:pt x="251" y="162"/>
                    </a:lnTo>
                    <a:lnTo>
                      <a:pt x="254" y="161"/>
                    </a:lnTo>
                    <a:lnTo>
                      <a:pt x="257" y="159"/>
                    </a:lnTo>
                    <a:lnTo>
                      <a:pt x="261" y="155"/>
                    </a:lnTo>
                    <a:lnTo>
                      <a:pt x="261" y="155"/>
                    </a:lnTo>
                    <a:lnTo>
                      <a:pt x="263" y="149"/>
                    </a:lnTo>
                    <a:lnTo>
                      <a:pt x="266" y="144"/>
                    </a:lnTo>
                    <a:lnTo>
                      <a:pt x="266" y="144"/>
                    </a:lnTo>
                    <a:lnTo>
                      <a:pt x="267" y="138"/>
                    </a:lnTo>
                    <a:lnTo>
                      <a:pt x="267" y="125"/>
                    </a:lnTo>
                    <a:lnTo>
                      <a:pt x="267" y="101"/>
                    </a:lnTo>
                    <a:lnTo>
                      <a:pt x="267" y="101"/>
                    </a:lnTo>
                    <a:lnTo>
                      <a:pt x="253" y="104"/>
                    </a:lnTo>
                    <a:lnTo>
                      <a:pt x="253" y="10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55" name="Burkina Faso">
                <a:extLst>
                  <a:ext uri="{FF2B5EF4-FFF2-40B4-BE49-F238E27FC236}">
                    <a16:creationId xmlns:a16="http://schemas.microsoft.com/office/drawing/2014/main" id="{E3C12095-908B-E41E-5227-4B412A48C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1696" y="3947193"/>
                <a:ext cx="193852" cy="133181"/>
              </a:xfrm>
              <a:custGeom>
                <a:avLst/>
                <a:gdLst/>
                <a:ahLst/>
                <a:cxnLst>
                  <a:cxn ang="0">
                    <a:pos x="127" y="50"/>
                  </a:cxn>
                  <a:cxn ang="0">
                    <a:pos x="124" y="49"/>
                  </a:cxn>
                  <a:cxn ang="0">
                    <a:pos x="124" y="40"/>
                  </a:cxn>
                  <a:cxn ang="0">
                    <a:pos x="118" y="42"/>
                  </a:cxn>
                  <a:cxn ang="0">
                    <a:pos x="114" y="40"/>
                  </a:cxn>
                  <a:cxn ang="0">
                    <a:pos x="110" y="36"/>
                  </a:cxn>
                  <a:cxn ang="0">
                    <a:pos x="107" y="34"/>
                  </a:cxn>
                  <a:cxn ang="0">
                    <a:pos x="105" y="27"/>
                  </a:cxn>
                  <a:cxn ang="0">
                    <a:pos x="98" y="22"/>
                  </a:cxn>
                  <a:cxn ang="0">
                    <a:pos x="94" y="12"/>
                  </a:cxn>
                  <a:cxn ang="0">
                    <a:pos x="94" y="3"/>
                  </a:cxn>
                  <a:cxn ang="0">
                    <a:pos x="84" y="2"/>
                  </a:cxn>
                  <a:cxn ang="0">
                    <a:pos x="78" y="2"/>
                  </a:cxn>
                  <a:cxn ang="0">
                    <a:pos x="67" y="9"/>
                  </a:cxn>
                  <a:cxn ang="0">
                    <a:pos x="59" y="13"/>
                  </a:cxn>
                  <a:cxn ang="0">
                    <a:pos x="56" y="16"/>
                  </a:cxn>
                  <a:cxn ang="0">
                    <a:pos x="47" y="16"/>
                  </a:cxn>
                  <a:cxn ang="0">
                    <a:pos x="44" y="20"/>
                  </a:cxn>
                  <a:cxn ang="0">
                    <a:pos x="39" y="24"/>
                  </a:cxn>
                  <a:cxn ang="0">
                    <a:pos x="36" y="30"/>
                  </a:cxn>
                  <a:cxn ang="0">
                    <a:pos x="27" y="27"/>
                  </a:cxn>
                  <a:cxn ang="0">
                    <a:pos x="23" y="32"/>
                  </a:cxn>
                  <a:cxn ang="0">
                    <a:pos x="20" y="42"/>
                  </a:cxn>
                  <a:cxn ang="0">
                    <a:pos x="14" y="51"/>
                  </a:cxn>
                  <a:cxn ang="0">
                    <a:pos x="4" y="54"/>
                  </a:cxn>
                  <a:cxn ang="0">
                    <a:pos x="4" y="61"/>
                  </a:cxn>
                  <a:cxn ang="0">
                    <a:pos x="0" y="77"/>
                  </a:cxn>
                  <a:cxn ang="0">
                    <a:pos x="9" y="83"/>
                  </a:cxn>
                  <a:cxn ang="0">
                    <a:pos x="14" y="88"/>
                  </a:cxn>
                  <a:cxn ang="0">
                    <a:pos x="23" y="88"/>
                  </a:cxn>
                  <a:cxn ang="0">
                    <a:pos x="33" y="84"/>
                  </a:cxn>
                  <a:cxn ang="0">
                    <a:pos x="41" y="87"/>
                  </a:cxn>
                  <a:cxn ang="0">
                    <a:pos x="46" y="87"/>
                  </a:cxn>
                  <a:cxn ang="0">
                    <a:pos x="44" y="77"/>
                  </a:cxn>
                  <a:cxn ang="0">
                    <a:pos x="44" y="69"/>
                  </a:cxn>
                  <a:cxn ang="0">
                    <a:pos x="64" y="67"/>
                  </a:cxn>
                  <a:cxn ang="0">
                    <a:pos x="84" y="70"/>
                  </a:cxn>
                  <a:cxn ang="0">
                    <a:pos x="87" y="66"/>
                  </a:cxn>
                  <a:cxn ang="0">
                    <a:pos x="98" y="67"/>
                  </a:cxn>
                  <a:cxn ang="0">
                    <a:pos x="110" y="64"/>
                  </a:cxn>
                  <a:cxn ang="0">
                    <a:pos x="114" y="61"/>
                  </a:cxn>
                  <a:cxn ang="0">
                    <a:pos x="127" y="59"/>
                  </a:cxn>
                  <a:cxn ang="0">
                    <a:pos x="131" y="54"/>
                  </a:cxn>
                  <a:cxn ang="0">
                    <a:pos x="131" y="51"/>
                  </a:cxn>
                </a:cxnLst>
                <a:rect l="0" t="0" r="r" b="b"/>
                <a:pathLst>
                  <a:path w="131" h="90">
                    <a:moveTo>
                      <a:pt x="131" y="51"/>
                    </a:moveTo>
                    <a:lnTo>
                      <a:pt x="131" y="51"/>
                    </a:lnTo>
                    <a:lnTo>
                      <a:pt x="127" y="50"/>
                    </a:lnTo>
                    <a:lnTo>
                      <a:pt x="125" y="49"/>
                    </a:lnTo>
                    <a:lnTo>
                      <a:pt x="125" y="49"/>
                    </a:lnTo>
                    <a:lnTo>
                      <a:pt x="124" y="49"/>
                    </a:lnTo>
                    <a:lnTo>
                      <a:pt x="124" y="46"/>
                    </a:lnTo>
                    <a:lnTo>
                      <a:pt x="124" y="40"/>
                    </a:lnTo>
                    <a:lnTo>
                      <a:pt x="124" y="40"/>
                    </a:lnTo>
                    <a:lnTo>
                      <a:pt x="123" y="40"/>
                    </a:lnTo>
                    <a:lnTo>
                      <a:pt x="121" y="42"/>
                    </a:lnTo>
                    <a:lnTo>
                      <a:pt x="118" y="42"/>
                    </a:lnTo>
                    <a:lnTo>
                      <a:pt x="115" y="42"/>
                    </a:lnTo>
                    <a:lnTo>
                      <a:pt x="115" y="42"/>
                    </a:lnTo>
                    <a:lnTo>
                      <a:pt x="114" y="40"/>
                    </a:lnTo>
                    <a:lnTo>
                      <a:pt x="113" y="39"/>
                    </a:lnTo>
                    <a:lnTo>
                      <a:pt x="111" y="36"/>
                    </a:lnTo>
                    <a:lnTo>
                      <a:pt x="110" y="36"/>
                    </a:lnTo>
                    <a:lnTo>
                      <a:pt x="110" y="36"/>
                    </a:lnTo>
                    <a:lnTo>
                      <a:pt x="108" y="36"/>
                    </a:lnTo>
                    <a:lnTo>
                      <a:pt x="107" y="34"/>
                    </a:lnTo>
                    <a:lnTo>
                      <a:pt x="107" y="30"/>
                    </a:lnTo>
                    <a:lnTo>
                      <a:pt x="107" y="30"/>
                    </a:lnTo>
                    <a:lnTo>
                      <a:pt x="105" y="27"/>
                    </a:lnTo>
                    <a:lnTo>
                      <a:pt x="104" y="24"/>
                    </a:lnTo>
                    <a:lnTo>
                      <a:pt x="98" y="22"/>
                    </a:lnTo>
                    <a:lnTo>
                      <a:pt x="98" y="22"/>
                    </a:lnTo>
                    <a:lnTo>
                      <a:pt x="97" y="19"/>
                    </a:lnTo>
                    <a:lnTo>
                      <a:pt x="96" y="16"/>
                    </a:lnTo>
                    <a:lnTo>
                      <a:pt x="94" y="12"/>
                    </a:lnTo>
                    <a:lnTo>
                      <a:pt x="94" y="12"/>
                    </a:lnTo>
                    <a:lnTo>
                      <a:pt x="93" y="9"/>
                    </a:lnTo>
                    <a:lnTo>
                      <a:pt x="94" y="3"/>
                    </a:lnTo>
                    <a:lnTo>
                      <a:pt x="94" y="3"/>
                    </a:lnTo>
                    <a:lnTo>
                      <a:pt x="87" y="3"/>
                    </a:lnTo>
                    <a:lnTo>
                      <a:pt x="84" y="2"/>
                    </a:lnTo>
                    <a:lnTo>
                      <a:pt x="84" y="2"/>
                    </a:lnTo>
                    <a:lnTo>
                      <a:pt x="81" y="0"/>
                    </a:lnTo>
                    <a:lnTo>
                      <a:pt x="78" y="2"/>
                    </a:lnTo>
                    <a:lnTo>
                      <a:pt x="71" y="7"/>
                    </a:lnTo>
                    <a:lnTo>
                      <a:pt x="71" y="7"/>
                    </a:lnTo>
                    <a:lnTo>
                      <a:pt x="67" y="9"/>
                    </a:lnTo>
                    <a:lnTo>
                      <a:pt x="63" y="10"/>
                    </a:lnTo>
                    <a:lnTo>
                      <a:pt x="59" y="12"/>
                    </a:lnTo>
                    <a:lnTo>
                      <a:pt x="59" y="13"/>
                    </a:lnTo>
                    <a:lnTo>
                      <a:pt x="59" y="13"/>
                    </a:lnTo>
                    <a:lnTo>
                      <a:pt x="57" y="15"/>
                    </a:lnTo>
                    <a:lnTo>
                      <a:pt x="56" y="16"/>
                    </a:lnTo>
                    <a:lnTo>
                      <a:pt x="51" y="16"/>
                    </a:lnTo>
                    <a:lnTo>
                      <a:pt x="51" y="16"/>
                    </a:lnTo>
                    <a:lnTo>
                      <a:pt x="47" y="16"/>
                    </a:lnTo>
                    <a:lnTo>
                      <a:pt x="46" y="17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3" y="22"/>
                    </a:lnTo>
                    <a:lnTo>
                      <a:pt x="40" y="23"/>
                    </a:lnTo>
                    <a:lnTo>
                      <a:pt x="39" y="24"/>
                    </a:lnTo>
                    <a:lnTo>
                      <a:pt x="37" y="27"/>
                    </a:lnTo>
                    <a:lnTo>
                      <a:pt x="37" y="27"/>
                    </a:lnTo>
                    <a:lnTo>
                      <a:pt x="36" y="30"/>
                    </a:lnTo>
                    <a:lnTo>
                      <a:pt x="33" y="30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6" y="26"/>
                    </a:lnTo>
                    <a:lnTo>
                      <a:pt x="24" y="27"/>
                    </a:lnTo>
                    <a:lnTo>
                      <a:pt x="23" y="32"/>
                    </a:lnTo>
                    <a:lnTo>
                      <a:pt x="22" y="39"/>
                    </a:lnTo>
                    <a:lnTo>
                      <a:pt x="22" y="39"/>
                    </a:lnTo>
                    <a:lnTo>
                      <a:pt x="20" y="42"/>
                    </a:lnTo>
                    <a:lnTo>
                      <a:pt x="17" y="49"/>
                    </a:lnTo>
                    <a:lnTo>
                      <a:pt x="17" y="49"/>
                    </a:lnTo>
                    <a:lnTo>
                      <a:pt x="14" y="51"/>
                    </a:lnTo>
                    <a:lnTo>
                      <a:pt x="10" y="53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3" y="56"/>
                    </a:lnTo>
                    <a:lnTo>
                      <a:pt x="4" y="59"/>
                    </a:lnTo>
                    <a:lnTo>
                      <a:pt x="4" y="61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0" y="77"/>
                    </a:lnTo>
                    <a:lnTo>
                      <a:pt x="0" y="77"/>
                    </a:lnTo>
                    <a:lnTo>
                      <a:pt x="4" y="79"/>
                    </a:lnTo>
                    <a:lnTo>
                      <a:pt x="9" y="83"/>
                    </a:lnTo>
                    <a:lnTo>
                      <a:pt x="9" y="83"/>
                    </a:lnTo>
                    <a:lnTo>
                      <a:pt x="10" y="84"/>
                    </a:lnTo>
                    <a:lnTo>
                      <a:pt x="14" y="88"/>
                    </a:lnTo>
                    <a:lnTo>
                      <a:pt x="19" y="90"/>
                    </a:lnTo>
                    <a:lnTo>
                      <a:pt x="20" y="90"/>
                    </a:lnTo>
                    <a:lnTo>
                      <a:pt x="23" y="88"/>
                    </a:lnTo>
                    <a:lnTo>
                      <a:pt x="23" y="88"/>
                    </a:lnTo>
                    <a:lnTo>
                      <a:pt x="27" y="86"/>
                    </a:lnTo>
                    <a:lnTo>
                      <a:pt x="33" y="84"/>
                    </a:lnTo>
                    <a:lnTo>
                      <a:pt x="37" y="86"/>
                    </a:lnTo>
                    <a:lnTo>
                      <a:pt x="41" y="87"/>
                    </a:lnTo>
                    <a:lnTo>
                      <a:pt x="41" y="87"/>
                    </a:lnTo>
                    <a:lnTo>
                      <a:pt x="43" y="88"/>
                    </a:lnTo>
                    <a:lnTo>
                      <a:pt x="44" y="88"/>
                    </a:lnTo>
                    <a:lnTo>
                      <a:pt x="46" y="87"/>
                    </a:lnTo>
                    <a:lnTo>
                      <a:pt x="47" y="86"/>
                    </a:lnTo>
                    <a:lnTo>
                      <a:pt x="47" y="86"/>
                    </a:lnTo>
                    <a:lnTo>
                      <a:pt x="44" y="77"/>
                    </a:lnTo>
                    <a:lnTo>
                      <a:pt x="43" y="73"/>
                    </a:lnTo>
                    <a:lnTo>
                      <a:pt x="44" y="69"/>
                    </a:lnTo>
                    <a:lnTo>
                      <a:pt x="44" y="69"/>
                    </a:lnTo>
                    <a:lnTo>
                      <a:pt x="46" y="69"/>
                    </a:lnTo>
                    <a:lnTo>
                      <a:pt x="50" y="67"/>
                    </a:lnTo>
                    <a:lnTo>
                      <a:pt x="64" y="67"/>
                    </a:lnTo>
                    <a:lnTo>
                      <a:pt x="77" y="69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6" y="69"/>
                    </a:lnTo>
                    <a:lnTo>
                      <a:pt x="87" y="66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98" y="67"/>
                    </a:lnTo>
                    <a:lnTo>
                      <a:pt x="105" y="67"/>
                    </a:lnTo>
                    <a:lnTo>
                      <a:pt x="105" y="67"/>
                    </a:lnTo>
                    <a:lnTo>
                      <a:pt x="110" y="64"/>
                    </a:lnTo>
                    <a:lnTo>
                      <a:pt x="111" y="61"/>
                    </a:lnTo>
                    <a:lnTo>
                      <a:pt x="114" y="61"/>
                    </a:lnTo>
                    <a:lnTo>
                      <a:pt x="114" y="61"/>
                    </a:lnTo>
                    <a:lnTo>
                      <a:pt x="121" y="61"/>
                    </a:lnTo>
                    <a:lnTo>
                      <a:pt x="124" y="60"/>
                    </a:lnTo>
                    <a:lnTo>
                      <a:pt x="127" y="59"/>
                    </a:lnTo>
                    <a:lnTo>
                      <a:pt x="127" y="59"/>
                    </a:lnTo>
                    <a:lnTo>
                      <a:pt x="130" y="56"/>
                    </a:lnTo>
                    <a:lnTo>
                      <a:pt x="131" y="54"/>
                    </a:lnTo>
                    <a:lnTo>
                      <a:pt x="131" y="53"/>
                    </a:lnTo>
                    <a:lnTo>
                      <a:pt x="131" y="53"/>
                    </a:lnTo>
                    <a:lnTo>
                      <a:pt x="131" y="51"/>
                    </a:lnTo>
                    <a:lnTo>
                      <a:pt x="131" y="51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56" name="Chad">
                <a:extLst>
                  <a:ext uri="{FF2B5EF4-FFF2-40B4-BE49-F238E27FC236}">
                    <a16:creationId xmlns:a16="http://schemas.microsoft.com/office/drawing/2014/main" id="{C79B274A-0D8D-ED71-F7CA-EC123DE417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4510" y="3738543"/>
                <a:ext cx="238246" cy="393622"/>
              </a:xfrm>
              <a:custGeom>
                <a:avLst/>
                <a:gdLst/>
                <a:ahLst/>
                <a:cxnLst>
                  <a:cxn ang="0">
                    <a:pos x="24" y="8"/>
                  </a:cxn>
                  <a:cxn ang="0">
                    <a:pos x="24" y="29"/>
                  </a:cxn>
                  <a:cxn ang="0">
                    <a:pos x="30" y="39"/>
                  </a:cxn>
                  <a:cxn ang="0">
                    <a:pos x="31" y="47"/>
                  </a:cxn>
                  <a:cxn ang="0">
                    <a:pos x="34" y="56"/>
                  </a:cxn>
                  <a:cxn ang="0">
                    <a:pos x="31" y="73"/>
                  </a:cxn>
                  <a:cxn ang="0">
                    <a:pos x="30" y="107"/>
                  </a:cxn>
                  <a:cxn ang="0">
                    <a:pos x="16" y="126"/>
                  </a:cxn>
                  <a:cxn ang="0">
                    <a:pos x="4" y="146"/>
                  </a:cxn>
                  <a:cxn ang="0">
                    <a:pos x="2" y="151"/>
                  </a:cxn>
                  <a:cxn ang="0">
                    <a:pos x="0" y="158"/>
                  </a:cxn>
                  <a:cxn ang="0">
                    <a:pos x="4" y="167"/>
                  </a:cxn>
                  <a:cxn ang="0">
                    <a:pos x="9" y="173"/>
                  </a:cxn>
                  <a:cxn ang="0">
                    <a:pos x="14" y="175"/>
                  </a:cxn>
                  <a:cxn ang="0">
                    <a:pos x="21" y="190"/>
                  </a:cxn>
                  <a:cxn ang="0">
                    <a:pos x="21" y="195"/>
                  </a:cxn>
                  <a:cxn ang="0">
                    <a:pos x="23" y="204"/>
                  </a:cxn>
                  <a:cxn ang="0">
                    <a:pos x="27" y="221"/>
                  </a:cxn>
                  <a:cxn ang="0">
                    <a:pos x="30" y="224"/>
                  </a:cxn>
                  <a:cxn ang="0">
                    <a:pos x="23" y="225"/>
                  </a:cxn>
                  <a:cxn ang="0">
                    <a:pos x="9" y="228"/>
                  </a:cxn>
                  <a:cxn ang="0">
                    <a:pos x="10" y="235"/>
                  </a:cxn>
                  <a:cxn ang="0">
                    <a:pos x="21" y="245"/>
                  </a:cxn>
                  <a:cxn ang="0">
                    <a:pos x="26" y="252"/>
                  </a:cxn>
                  <a:cxn ang="0">
                    <a:pos x="33" y="266"/>
                  </a:cxn>
                  <a:cxn ang="0">
                    <a:pos x="38" y="265"/>
                  </a:cxn>
                  <a:cxn ang="0">
                    <a:pos x="43" y="261"/>
                  </a:cxn>
                  <a:cxn ang="0">
                    <a:pos x="48" y="264"/>
                  </a:cxn>
                  <a:cxn ang="0">
                    <a:pos x="51" y="262"/>
                  </a:cxn>
                  <a:cxn ang="0">
                    <a:pos x="70" y="257"/>
                  </a:cxn>
                  <a:cxn ang="0">
                    <a:pos x="84" y="249"/>
                  </a:cxn>
                  <a:cxn ang="0">
                    <a:pos x="83" y="245"/>
                  </a:cxn>
                  <a:cxn ang="0">
                    <a:pos x="84" y="241"/>
                  </a:cxn>
                  <a:cxn ang="0">
                    <a:pos x="103" y="239"/>
                  </a:cxn>
                  <a:cxn ang="0">
                    <a:pos x="107" y="237"/>
                  </a:cxn>
                  <a:cxn ang="0">
                    <a:pos x="122" y="220"/>
                  </a:cxn>
                  <a:cxn ang="0">
                    <a:pos x="124" y="214"/>
                  </a:cxn>
                  <a:cxn ang="0">
                    <a:pos x="132" y="208"/>
                  </a:cxn>
                  <a:cxn ang="0">
                    <a:pos x="139" y="207"/>
                  </a:cxn>
                  <a:cxn ang="0">
                    <a:pos x="141" y="207"/>
                  </a:cxn>
                  <a:cxn ang="0">
                    <a:pos x="139" y="197"/>
                  </a:cxn>
                  <a:cxn ang="0">
                    <a:pos x="135" y="190"/>
                  </a:cxn>
                  <a:cxn ang="0">
                    <a:pos x="132" y="178"/>
                  </a:cxn>
                  <a:cxn ang="0">
                    <a:pos x="128" y="175"/>
                  </a:cxn>
                  <a:cxn ang="0">
                    <a:pos x="131" y="170"/>
                  </a:cxn>
                  <a:cxn ang="0">
                    <a:pos x="130" y="163"/>
                  </a:cxn>
                  <a:cxn ang="0">
                    <a:pos x="131" y="157"/>
                  </a:cxn>
                  <a:cxn ang="0">
                    <a:pos x="135" y="156"/>
                  </a:cxn>
                  <a:cxn ang="0">
                    <a:pos x="137" y="147"/>
                  </a:cxn>
                  <a:cxn ang="0">
                    <a:pos x="141" y="144"/>
                  </a:cxn>
                  <a:cxn ang="0">
                    <a:pos x="145" y="136"/>
                  </a:cxn>
                  <a:cxn ang="0">
                    <a:pos x="151" y="130"/>
                  </a:cxn>
                  <a:cxn ang="0">
                    <a:pos x="159" y="124"/>
                  </a:cxn>
                  <a:cxn ang="0">
                    <a:pos x="161" y="66"/>
                  </a:cxn>
                </a:cxnLst>
                <a:rect l="0" t="0" r="r" b="b"/>
                <a:pathLst>
                  <a:path w="161" h="266">
                    <a:moveTo>
                      <a:pt x="161" y="66"/>
                    </a:moveTo>
                    <a:lnTo>
                      <a:pt x="38" y="0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29"/>
                    </a:lnTo>
                    <a:lnTo>
                      <a:pt x="24" y="29"/>
                    </a:lnTo>
                    <a:lnTo>
                      <a:pt x="26" y="32"/>
                    </a:lnTo>
                    <a:lnTo>
                      <a:pt x="29" y="35"/>
                    </a:lnTo>
                    <a:lnTo>
                      <a:pt x="30" y="39"/>
                    </a:lnTo>
                    <a:lnTo>
                      <a:pt x="31" y="43"/>
                    </a:lnTo>
                    <a:lnTo>
                      <a:pt x="31" y="43"/>
                    </a:lnTo>
                    <a:lnTo>
                      <a:pt x="31" y="47"/>
                    </a:lnTo>
                    <a:lnTo>
                      <a:pt x="33" y="49"/>
                    </a:lnTo>
                    <a:lnTo>
                      <a:pt x="34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1" y="64"/>
                    </a:lnTo>
                    <a:lnTo>
                      <a:pt x="31" y="73"/>
                    </a:lnTo>
                    <a:lnTo>
                      <a:pt x="31" y="73"/>
                    </a:lnTo>
                    <a:lnTo>
                      <a:pt x="31" y="94"/>
                    </a:lnTo>
                    <a:lnTo>
                      <a:pt x="30" y="107"/>
                    </a:lnTo>
                    <a:lnTo>
                      <a:pt x="30" y="113"/>
                    </a:lnTo>
                    <a:lnTo>
                      <a:pt x="30" y="113"/>
                    </a:lnTo>
                    <a:lnTo>
                      <a:pt x="16" y="126"/>
                    </a:lnTo>
                    <a:lnTo>
                      <a:pt x="9" y="137"/>
                    </a:lnTo>
                    <a:lnTo>
                      <a:pt x="6" y="141"/>
                    </a:lnTo>
                    <a:lnTo>
                      <a:pt x="4" y="146"/>
                    </a:lnTo>
                    <a:lnTo>
                      <a:pt x="4" y="146"/>
                    </a:lnTo>
                    <a:lnTo>
                      <a:pt x="3" y="150"/>
                    </a:lnTo>
                    <a:lnTo>
                      <a:pt x="2" y="151"/>
                    </a:lnTo>
                    <a:lnTo>
                      <a:pt x="0" y="154"/>
                    </a:lnTo>
                    <a:lnTo>
                      <a:pt x="0" y="158"/>
                    </a:lnTo>
                    <a:lnTo>
                      <a:pt x="0" y="158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4" y="167"/>
                    </a:lnTo>
                    <a:lnTo>
                      <a:pt x="4" y="167"/>
                    </a:lnTo>
                    <a:lnTo>
                      <a:pt x="6" y="171"/>
                    </a:lnTo>
                    <a:lnTo>
                      <a:pt x="9" y="173"/>
                    </a:lnTo>
                    <a:lnTo>
                      <a:pt x="11" y="174"/>
                    </a:lnTo>
                    <a:lnTo>
                      <a:pt x="11" y="174"/>
                    </a:lnTo>
                    <a:lnTo>
                      <a:pt x="14" y="175"/>
                    </a:lnTo>
                    <a:lnTo>
                      <a:pt x="17" y="180"/>
                    </a:lnTo>
                    <a:lnTo>
                      <a:pt x="20" y="185"/>
                    </a:lnTo>
                    <a:lnTo>
                      <a:pt x="21" y="190"/>
                    </a:lnTo>
                    <a:lnTo>
                      <a:pt x="21" y="190"/>
                    </a:lnTo>
                    <a:lnTo>
                      <a:pt x="21" y="192"/>
                    </a:lnTo>
                    <a:lnTo>
                      <a:pt x="21" y="195"/>
                    </a:lnTo>
                    <a:lnTo>
                      <a:pt x="23" y="198"/>
                    </a:lnTo>
                    <a:lnTo>
                      <a:pt x="23" y="204"/>
                    </a:lnTo>
                    <a:lnTo>
                      <a:pt x="23" y="204"/>
                    </a:lnTo>
                    <a:lnTo>
                      <a:pt x="23" y="210"/>
                    </a:lnTo>
                    <a:lnTo>
                      <a:pt x="24" y="215"/>
                    </a:lnTo>
                    <a:lnTo>
                      <a:pt x="27" y="221"/>
                    </a:lnTo>
                    <a:lnTo>
                      <a:pt x="30" y="224"/>
                    </a:lnTo>
                    <a:lnTo>
                      <a:pt x="30" y="224"/>
                    </a:lnTo>
                    <a:lnTo>
                      <a:pt x="30" y="224"/>
                    </a:lnTo>
                    <a:lnTo>
                      <a:pt x="29" y="225"/>
                    </a:lnTo>
                    <a:lnTo>
                      <a:pt x="23" y="225"/>
                    </a:lnTo>
                    <a:lnTo>
                      <a:pt x="23" y="225"/>
                    </a:lnTo>
                    <a:lnTo>
                      <a:pt x="14" y="225"/>
                    </a:lnTo>
                    <a:lnTo>
                      <a:pt x="10" y="227"/>
                    </a:lnTo>
                    <a:lnTo>
                      <a:pt x="9" y="228"/>
                    </a:lnTo>
                    <a:lnTo>
                      <a:pt x="9" y="228"/>
                    </a:lnTo>
                    <a:lnTo>
                      <a:pt x="9" y="232"/>
                    </a:lnTo>
                    <a:lnTo>
                      <a:pt x="10" y="235"/>
                    </a:lnTo>
                    <a:lnTo>
                      <a:pt x="13" y="239"/>
                    </a:lnTo>
                    <a:lnTo>
                      <a:pt x="13" y="239"/>
                    </a:lnTo>
                    <a:lnTo>
                      <a:pt x="21" y="245"/>
                    </a:lnTo>
                    <a:lnTo>
                      <a:pt x="24" y="248"/>
                    </a:lnTo>
                    <a:lnTo>
                      <a:pt x="26" y="252"/>
                    </a:lnTo>
                    <a:lnTo>
                      <a:pt x="26" y="252"/>
                    </a:lnTo>
                    <a:lnTo>
                      <a:pt x="29" y="261"/>
                    </a:lnTo>
                    <a:lnTo>
                      <a:pt x="33" y="266"/>
                    </a:lnTo>
                    <a:lnTo>
                      <a:pt x="33" y="266"/>
                    </a:lnTo>
                    <a:lnTo>
                      <a:pt x="34" y="266"/>
                    </a:lnTo>
                    <a:lnTo>
                      <a:pt x="36" y="266"/>
                    </a:lnTo>
                    <a:lnTo>
                      <a:pt x="38" y="265"/>
                    </a:lnTo>
                    <a:lnTo>
                      <a:pt x="41" y="262"/>
                    </a:lnTo>
                    <a:lnTo>
                      <a:pt x="41" y="262"/>
                    </a:lnTo>
                    <a:lnTo>
                      <a:pt x="43" y="261"/>
                    </a:lnTo>
                    <a:lnTo>
                      <a:pt x="44" y="261"/>
                    </a:lnTo>
                    <a:lnTo>
                      <a:pt x="47" y="262"/>
                    </a:lnTo>
                    <a:lnTo>
                      <a:pt x="48" y="264"/>
                    </a:lnTo>
                    <a:lnTo>
                      <a:pt x="50" y="264"/>
                    </a:lnTo>
                    <a:lnTo>
                      <a:pt x="51" y="262"/>
                    </a:lnTo>
                    <a:lnTo>
                      <a:pt x="51" y="262"/>
                    </a:lnTo>
                    <a:lnTo>
                      <a:pt x="56" y="259"/>
                    </a:lnTo>
                    <a:lnTo>
                      <a:pt x="60" y="258"/>
                    </a:lnTo>
                    <a:lnTo>
                      <a:pt x="70" y="257"/>
                    </a:lnTo>
                    <a:lnTo>
                      <a:pt x="70" y="257"/>
                    </a:lnTo>
                    <a:lnTo>
                      <a:pt x="77" y="254"/>
                    </a:lnTo>
                    <a:lnTo>
                      <a:pt x="84" y="249"/>
                    </a:lnTo>
                    <a:lnTo>
                      <a:pt x="84" y="249"/>
                    </a:lnTo>
                    <a:lnTo>
                      <a:pt x="84" y="248"/>
                    </a:lnTo>
                    <a:lnTo>
                      <a:pt x="83" y="245"/>
                    </a:lnTo>
                    <a:lnTo>
                      <a:pt x="83" y="242"/>
                    </a:lnTo>
                    <a:lnTo>
                      <a:pt x="84" y="241"/>
                    </a:lnTo>
                    <a:lnTo>
                      <a:pt x="84" y="241"/>
                    </a:lnTo>
                    <a:lnTo>
                      <a:pt x="88" y="239"/>
                    </a:lnTo>
                    <a:lnTo>
                      <a:pt x="95" y="239"/>
                    </a:lnTo>
                    <a:lnTo>
                      <a:pt x="103" y="239"/>
                    </a:lnTo>
                    <a:lnTo>
                      <a:pt x="105" y="238"/>
                    </a:lnTo>
                    <a:lnTo>
                      <a:pt x="107" y="237"/>
                    </a:lnTo>
                    <a:lnTo>
                      <a:pt x="107" y="237"/>
                    </a:lnTo>
                    <a:lnTo>
                      <a:pt x="115" y="227"/>
                    </a:lnTo>
                    <a:lnTo>
                      <a:pt x="122" y="220"/>
                    </a:lnTo>
                    <a:lnTo>
                      <a:pt x="122" y="220"/>
                    </a:lnTo>
                    <a:lnTo>
                      <a:pt x="124" y="218"/>
                    </a:lnTo>
                    <a:lnTo>
                      <a:pt x="124" y="217"/>
                    </a:lnTo>
                    <a:lnTo>
                      <a:pt x="124" y="214"/>
                    </a:lnTo>
                    <a:lnTo>
                      <a:pt x="127" y="212"/>
                    </a:lnTo>
                    <a:lnTo>
                      <a:pt x="127" y="212"/>
                    </a:lnTo>
                    <a:lnTo>
                      <a:pt x="132" y="208"/>
                    </a:lnTo>
                    <a:lnTo>
                      <a:pt x="137" y="207"/>
                    </a:lnTo>
                    <a:lnTo>
                      <a:pt x="139" y="207"/>
                    </a:lnTo>
                    <a:lnTo>
                      <a:pt x="139" y="207"/>
                    </a:lnTo>
                    <a:lnTo>
                      <a:pt x="142" y="208"/>
                    </a:lnTo>
                    <a:lnTo>
                      <a:pt x="142" y="208"/>
                    </a:lnTo>
                    <a:lnTo>
                      <a:pt x="141" y="207"/>
                    </a:lnTo>
                    <a:lnTo>
                      <a:pt x="144" y="200"/>
                    </a:lnTo>
                    <a:lnTo>
                      <a:pt x="144" y="200"/>
                    </a:lnTo>
                    <a:lnTo>
                      <a:pt x="139" y="197"/>
                    </a:lnTo>
                    <a:lnTo>
                      <a:pt x="137" y="194"/>
                    </a:lnTo>
                    <a:lnTo>
                      <a:pt x="135" y="190"/>
                    </a:lnTo>
                    <a:lnTo>
                      <a:pt x="135" y="190"/>
                    </a:lnTo>
                    <a:lnTo>
                      <a:pt x="137" y="183"/>
                    </a:lnTo>
                    <a:lnTo>
                      <a:pt x="135" y="180"/>
                    </a:lnTo>
                    <a:lnTo>
                      <a:pt x="132" y="178"/>
                    </a:lnTo>
                    <a:lnTo>
                      <a:pt x="132" y="178"/>
                    </a:lnTo>
                    <a:lnTo>
                      <a:pt x="130" y="178"/>
                    </a:lnTo>
                    <a:lnTo>
                      <a:pt x="128" y="175"/>
                    </a:lnTo>
                    <a:lnTo>
                      <a:pt x="128" y="173"/>
                    </a:lnTo>
                    <a:lnTo>
                      <a:pt x="131" y="170"/>
                    </a:lnTo>
                    <a:lnTo>
                      <a:pt x="131" y="170"/>
                    </a:lnTo>
                    <a:lnTo>
                      <a:pt x="131" y="168"/>
                    </a:lnTo>
                    <a:lnTo>
                      <a:pt x="131" y="165"/>
                    </a:lnTo>
                    <a:lnTo>
                      <a:pt x="130" y="163"/>
                    </a:lnTo>
                    <a:lnTo>
                      <a:pt x="130" y="158"/>
                    </a:lnTo>
                    <a:lnTo>
                      <a:pt x="130" y="158"/>
                    </a:lnTo>
                    <a:lnTo>
                      <a:pt x="131" y="157"/>
                    </a:lnTo>
                    <a:lnTo>
                      <a:pt x="131" y="157"/>
                    </a:lnTo>
                    <a:lnTo>
                      <a:pt x="134" y="157"/>
                    </a:lnTo>
                    <a:lnTo>
                      <a:pt x="135" y="156"/>
                    </a:lnTo>
                    <a:lnTo>
                      <a:pt x="135" y="153"/>
                    </a:lnTo>
                    <a:lnTo>
                      <a:pt x="137" y="148"/>
                    </a:lnTo>
                    <a:lnTo>
                      <a:pt x="137" y="147"/>
                    </a:lnTo>
                    <a:lnTo>
                      <a:pt x="138" y="146"/>
                    </a:lnTo>
                    <a:lnTo>
                      <a:pt x="138" y="146"/>
                    </a:lnTo>
                    <a:lnTo>
                      <a:pt x="141" y="144"/>
                    </a:lnTo>
                    <a:lnTo>
                      <a:pt x="144" y="143"/>
                    </a:lnTo>
                    <a:lnTo>
                      <a:pt x="145" y="136"/>
                    </a:lnTo>
                    <a:lnTo>
                      <a:pt x="145" y="136"/>
                    </a:lnTo>
                    <a:lnTo>
                      <a:pt x="145" y="134"/>
                    </a:lnTo>
                    <a:lnTo>
                      <a:pt x="147" y="133"/>
                    </a:lnTo>
                    <a:lnTo>
                      <a:pt x="151" y="130"/>
                    </a:lnTo>
                    <a:lnTo>
                      <a:pt x="158" y="127"/>
                    </a:lnTo>
                    <a:lnTo>
                      <a:pt x="158" y="127"/>
                    </a:lnTo>
                    <a:lnTo>
                      <a:pt x="159" y="124"/>
                    </a:lnTo>
                    <a:lnTo>
                      <a:pt x="161" y="119"/>
                    </a:lnTo>
                    <a:lnTo>
                      <a:pt x="161" y="110"/>
                    </a:lnTo>
                    <a:lnTo>
                      <a:pt x="161" y="66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57" name="Western Sahara">
                <a:extLst>
                  <a:ext uri="{FF2B5EF4-FFF2-40B4-BE49-F238E27FC236}">
                    <a16:creationId xmlns:a16="http://schemas.microsoft.com/office/drawing/2014/main" id="{EC8B4ACD-EA4D-F03B-4081-62E058F058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7936" y="3631999"/>
                <a:ext cx="199771" cy="161297"/>
              </a:xfrm>
              <a:custGeom>
                <a:avLst/>
                <a:gdLst/>
                <a:ahLst/>
                <a:cxnLst>
                  <a:cxn ang="0">
                    <a:pos x="63" y="84"/>
                  </a:cxn>
                  <a:cxn ang="0">
                    <a:pos x="63" y="84"/>
                  </a:cxn>
                  <a:cxn ang="0">
                    <a:pos x="64" y="82"/>
                  </a:cxn>
                  <a:cxn ang="0">
                    <a:pos x="66" y="81"/>
                  </a:cxn>
                  <a:cxn ang="0">
                    <a:pos x="71" y="78"/>
                  </a:cxn>
                  <a:cxn ang="0">
                    <a:pos x="77" y="75"/>
                  </a:cxn>
                  <a:cxn ang="0">
                    <a:pos x="80" y="74"/>
                  </a:cxn>
                  <a:cxn ang="0">
                    <a:pos x="80" y="72"/>
                  </a:cxn>
                  <a:cxn ang="0">
                    <a:pos x="80" y="72"/>
                  </a:cxn>
                  <a:cxn ang="0">
                    <a:pos x="80" y="30"/>
                  </a:cxn>
                  <a:cxn ang="0">
                    <a:pos x="80" y="30"/>
                  </a:cxn>
                  <a:cxn ang="0">
                    <a:pos x="107" y="30"/>
                  </a:cxn>
                  <a:cxn ang="0">
                    <a:pos x="134" y="30"/>
                  </a:cxn>
                  <a:cxn ang="0">
                    <a:pos x="134" y="30"/>
                  </a:cxn>
                  <a:cxn ang="0">
                    <a:pos x="135" y="21"/>
                  </a:cxn>
                  <a:cxn ang="0">
                    <a:pos x="134" y="7"/>
                  </a:cxn>
                  <a:cxn ang="0">
                    <a:pos x="134" y="7"/>
                  </a:cxn>
                  <a:cxn ang="0">
                    <a:pos x="133" y="3"/>
                  </a:cxn>
                  <a:cxn ang="0">
                    <a:pos x="130" y="1"/>
                  </a:cxn>
                  <a:cxn ang="0">
                    <a:pos x="123" y="0"/>
                  </a:cxn>
                  <a:cxn ang="0">
                    <a:pos x="123" y="0"/>
                  </a:cxn>
                  <a:cxn ang="0">
                    <a:pos x="63" y="0"/>
                  </a:cxn>
                  <a:cxn ang="0">
                    <a:pos x="63" y="0"/>
                  </a:cxn>
                  <a:cxn ang="0">
                    <a:pos x="59" y="7"/>
                  </a:cxn>
                  <a:cxn ang="0">
                    <a:pos x="54" y="16"/>
                  </a:cxn>
                  <a:cxn ang="0">
                    <a:pos x="54" y="16"/>
                  </a:cxn>
                  <a:cxn ang="0">
                    <a:pos x="50" y="21"/>
                  </a:cxn>
                  <a:cxn ang="0">
                    <a:pos x="43" y="28"/>
                  </a:cxn>
                  <a:cxn ang="0">
                    <a:pos x="36" y="37"/>
                  </a:cxn>
                  <a:cxn ang="0">
                    <a:pos x="34" y="40"/>
                  </a:cxn>
                  <a:cxn ang="0">
                    <a:pos x="33" y="44"/>
                  </a:cxn>
                  <a:cxn ang="0">
                    <a:pos x="33" y="44"/>
                  </a:cxn>
                  <a:cxn ang="0">
                    <a:pos x="33" y="48"/>
                  </a:cxn>
                  <a:cxn ang="0">
                    <a:pos x="30" y="54"/>
                  </a:cxn>
                  <a:cxn ang="0">
                    <a:pos x="23" y="65"/>
                  </a:cxn>
                  <a:cxn ang="0">
                    <a:pos x="15" y="78"/>
                  </a:cxn>
                  <a:cxn ang="0">
                    <a:pos x="5" y="94"/>
                  </a:cxn>
                  <a:cxn ang="0">
                    <a:pos x="5" y="94"/>
                  </a:cxn>
                  <a:cxn ang="0">
                    <a:pos x="2" y="102"/>
                  </a:cxn>
                  <a:cxn ang="0">
                    <a:pos x="0" y="109"/>
                  </a:cxn>
                  <a:cxn ang="0">
                    <a:pos x="63" y="109"/>
                  </a:cxn>
                  <a:cxn ang="0">
                    <a:pos x="63" y="109"/>
                  </a:cxn>
                  <a:cxn ang="0">
                    <a:pos x="63" y="84"/>
                  </a:cxn>
                  <a:cxn ang="0">
                    <a:pos x="63" y="84"/>
                  </a:cxn>
                </a:cxnLst>
                <a:rect l="0" t="0" r="r" b="b"/>
                <a:pathLst>
                  <a:path w="135" h="109">
                    <a:moveTo>
                      <a:pt x="63" y="84"/>
                    </a:moveTo>
                    <a:lnTo>
                      <a:pt x="63" y="84"/>
                    </a:lnTo>
                    <a:lnTo>
                      <a:pt x="64" y="82"/>
                    </a:lnTo>
                    <a:lnTo>
                      <a:pt x="66" y="81"/>
                    </a:lnTo>
                    <a:lnTo>
                      <a:pt x="71" y="78"/>
                    </a:lnTo>
                    <a:lnTo>
                      <a:pt x="77" y="75"/>
                    </a:lnTo>
                    <a:lnTo>
                      <a:pt x="80" y="74"/>
                    </a:lnTo>
                    <a:lnTo>
                      <a:pt x="80" y="72"/>
                    </a:lnTo>
                    <a:lnTo>
                      <a:pt x="80" y="72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107" y="30"/>
                    </a:lnTo>
                    <a:lnTo>
                      <a:pt x="134" y="30"/>
                    </a:lnTo>
                    <a:lnTo>
                      <a:pt x="134" y="30"/>
                    </a:lnTo>
                    <a:lnTo>
                      <a:pt x="135" y="21"/>
                    </a:lnTo>
                    <a:lnTo>
                      <a:pt x="134" y="7"/>
                    </a:lnTo>
                    <a:lnTo>
                      <a:pt x="134" y="7"/>
                    </a:lnTo>
                    <a:lnTo>
                      <a:pt x="133" y="3"/>
                    </a:lnTo>
                    <a:lnTo>
                      <a:pt x="130" y="1"/>
                    </a:lnTo>
                    <a:lnTo>
                      <a:pt x="123" y="0"/>
                    </a:lnTo>
                    <a:lnTo>
                      <a:pt x="123" y="0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59" y="7"/>
                    </a:lnTo>
                    <a:lnTo>
                      <a:pt x="54" y="16"/>
                    </a:lnTo>
                    <a:lnTo>
                      <a:pt x="54" y="16"/>
                    </a:lnTo>
                    <a:lnTo>
                      <a:pt x="50" y="21"/>
                    </a:lnTo>
                    <a:lnTo>
                      <a:pt x="43" y="28"/>
                    </a:lnTo>
                    <a:lnTo>
                      <a:pt x="36" y="37"/>
                    </a:lnTo>
                    <a:lnTo>
                      <a:pt x="34" y="40"/>
                    </a:lnTo>
                    <a:lnTo>
                      <a:pt x="33" y="44"/>
                    </a:lnTo>
                    <a:lnTo>
                      <a:pt x="33" y="44"/>
                    </a:lnTo>
                    <a:lnTo>
                      <a:pt x="33" y="48"/>
                    </a:lnTo>
                    <a:lnTo>
                      <a:pt x="30" y="54"/>
                    </a:lnTo>
                    <a:lnTo>
                      <a:pt x="23" y="65"/>
                    </a:lnTo>
                    <a:lnTo>
                      <a:pt x="15" y="78"/>
                    </a:lnTo>
                    <a:lnTo>
                      <a:pt x="5" y="94"/>
                    </a:lnTo>
                    <a:lnTo>
                      <a:pt x="5" y="94"/>
                    </a:lnTo>
                    <a:lnTo>
                      <a:pt x="2" y="102"/>
                    </a:lnTo>
                    <a:lnTo>
                      <a:pt x="0" y="109"/>
                    </a:lnTo>
                    <a:lnTo>
                      <a:pt x="63" y="109"/>
                    </a:lnTo>
                    <a:lnTo>
                      <a:pt x="63" y="109"/>
                    </a:lnTo>
                    <a:lnTo>
                      <a:pt x="63" y="84"/>
                    </a:lnTo>
                    <a:lnTo>
                      <a:pt x="63" y="8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58" name="Senegal">
                <a:extLst>
                  <a:ext uri="{FF2B5EF4-FFF2-40B4-BE49-F238E27FC236}">
                    <a16:creationId xmlns:a16="http://schemas.microsoft.com/office/drawing/2014/main" id="{8E6CA4A0-5603-1B5E-7DEB-B9BB96C816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6456" y="3911678"/>
                <a:ext cx="136140" cy="105065"/>
              </a:xfrm>
              <a:custGeom>
                <a:avLst/>
                <a:gdLst/>
                <a:ahLst/>
                <a:cxnLst>
                  <a:cxn ang="0">
                    <a:pos x="18" y="70"/>
                  </a:cxn>
                  <a:cxn ang="0">
                    <a:pos x="24" y="68"/>
                  </a:cxn>
                  <a:cxn ang="0">
                    <a:pos x="28" y="66"/>
                  </a:cxn>
                  <a:cxn ang="0">
                    <a:pos x="51" y="64"/>
                  </a:cxn>
                  <a:cxn ang="0">
                    <a:pos x="55" y="66"/>
                  </a:cxn>
                  <a:cxn ang="0">
                    <a:pos x="55" y="64"/>
                  </a:cxn>
                  <a:cxn ang="0">
                    <a:pos x="64" y="67"/>
                  </a:cxn>
                  <a:cxn ang="0">
                    <a:pos x="67" y="68"/>
                  </a:cxn>
                  <a:cxn ang="0">
                    <a:pos x="75" y="71"/>
                  </a:cxn>
                  <a:cxn ang="0">
                    <a:pos x="89" y="70"/>
                  </a:cxn>
                  <a:cxn ang="0">
                    <a:pos x="92" y="70"/>
                  </a:cxn>
                  <a:cxn ang="0">
                    <a:pos x="92" y="60"/>
                  </a:cxn>
                  <a:cxn ang="0">
                    <a:pos x="88" y="54"/>
                  </a:cxn>
                  <a:cxn ang="0">
                    <a:pos x="84" y="48"/>
                  </a:cxn>
                  <a:cxn ang="0">
                    <a:pos x="81" y="43"/>
                  </a:cxn>
                  <a:cxn ang="0">
                    <a:pos x="78" y="34"/>
                  </a:cxn>
                  <a:cxn ang="0">
                    <a:pos x="75" y="30"/>
                  </a:cxn>
                  <a:cxn ang="0">
                    <a:pos x="68" y="23"/>
                  </a:cxn>
                  <a:cxn ang="0">
                    <a:pos x="64" y="20"/>
                  </a:cxn>
                  <a:cxn ang="0">
                    <a:pos x="58" y="9"/>
                  </a:cxn>
                  <a:cxn ang="0">
                    <a:pos x="53" y="9"/>
                  </a:cxn>
                  <a:cxn ang="0">
                    <a:pos x="43" y="0"/>
                  </a:cxn>
                  <a:cxn ang="0">
                    <a:pos x="40" y="0"/>
                  </a:cxn>
                  <a:cxn ang="0">
                    <a:pos x="30" y="2"/>
                  </a:cxn>
                  <a:cxn ang="0">
                    <a:pos x="25" y="2"/>
                  </a:cxn>
                  <a:cxn ang="0">
                    <a:pos x="16" y="2"/>
                  </a:cxn>
                  <a:cxn ang="0">
                    <a:pos x="11" y="4"/>
                  </a:cxn>
                  <a:cxn ang="0">
                    <a:pos x="7" y="10"/>
                  </a:cxn>
                  <a:cxn ang="0">
                    <a:pos x="6" y="10"/>
                  </a:cxn>
                  <a:cxn ang="0">
                    <a:pos x="4" y="17"/>
                  </a:cxn>
                  <a:cxn ang="0">
                    <a:pos x="3" y="23"/>
                  </a:cxn>
                  <a:cxn ang="0">
                    <a:pos x="0" y="29"/>
                  </a:cxn>
                  <a:cxn ang="0">
                    <a:pos x="6" y="41"/>
                  </a:cxn>
                  <a:cxn ang="0">
                    <a:pos x="8" y="46"/>
                  </a:cxn>
                  <a:cxn ang="0">
                    <a:pos x="10" y="48"/>
                  </a:cxn>
                  <a:cxn ang="0">
                    <a:pos x="30" y="46"/>
                  </a:cxn>
                  <a:cxn ang="0">
                    <a:pos x="31" y="44"/>
                  </a:cxn>
                  <a:cxn ang="0">
                    <a:pos x="37" y="47"/>
                  </a:cxn>
                  <a:cxn ang="0">
                    <a:pos x="45" y="51"/>
                  </a:cxn>
                  <a:cxn ang="0">
                    <a:pos x="54" y="53"/>
                  </a:cxn>
                  <a:cxn ang="0">
                    <a:pos x="50" y="54"/>
                  </a:cxn>
                  <a:cxn ang="0">
                    <a:pos x="44" y="56"/>
                  </a:cxn>
                  <a:cxn ang="0">
                    <a:pos x="40" y="54"/>
                  </a:cxn>
                  <a:cxn ang="0">
                    <a:pos x="33" y="51"/>
                  </a:cxn>
                  <a:cxn ang="0">
                    <a:pos x="30" y="53"/>
                  </a:cxn>
                  <a:cxn ang="0">
                    <a:pos x="21" y="56"/>
                  </a:cxn>
                  <a:cxn ang="0">
                    <a:pos x="11" y="57"/>
                  </a:cxn>
                  <a:cxn ang="0">
                    <a:pos x="7" y="58"/>
                  </a:cxn>
                  <a:cxn ang="0">
                    <a:pos x="8" y="66"/>
                  </a:cxn>
                  <a:cxn ang="0">
                    <a:pos x="10" y="67"/>
                  </a:cxn>
                  <a:cxn ang="0">
                    <a:pos x="16" y="67"/>
                  </a:cxn>
                  <a:cxn ang="0">
                    <a:pos x="17" y="68"/>
                  </a:cxn>
                  <a:cxn ang="0">
                    <a:pos x="18" y="70"/>
                  </a:cxn>
                </a:cxnLst>
                <a:rect l="0" t="0" r="r" b="b"/>
                <a:pathLst>
                  <a:path w="92" h="71">
                    <a:moveTo>
                      <a:pt x="18" y="70"/>
                    </a:moveTo>
                    <a:lnTo>
                      <a:pt x="18" y="70"/>
                    </a:lnTo>
                    <a:lnTo>
                      <a:pt x="21" y="70"/>
                    </a:lnTo>
                    <a:lnTo>
                      <a:pt x="24" y="68"/>
                    </a:lnTo>
                    <a:lnTo>
                      <a:pt x="28" y="66"/>
                    </a:lnTo>
                    <a:lnTo>
                      <a:pt x="28" y="66"/>
                    </a:lnTo>
                    <a:lnTo>
                      <a:pt x="51" y="64"/>
                    </a:lnTo>
                    <a:lnTo>
                      <a:pt x="51" y="64"/>
                    </a:lnTo>
                    <a:lnTo>
                      <a:pt x="55" y="66"/>
                    </a:lnTo>
                    <a:lnTo>
                      <a:pt x="55" y="66"/>
                    </a:lnTo>
                    <a:lnTo>
                      <a:pt x="55" y="64"/>
                    </a:lnTo>
                    <a:lnTo>
                      <a:pt x="55" y="64"/>
                    </a:lnTo>
                    <a:lnTo>
                      <a:pt x="61" y="66"/>
                    </a:lnTo>
                    <a:lnTo>
                      <a:pt x="64" y="67"/>
                    </a:lnTo>
                    <a:lnTo>
                      <a:pt x="67" y="68"/>
                    </a:lnTo>
                    <a:lnTo>
                      <a:pt x="67" y="68"/>
                    </a:lnTo>
                    <a:lnTo>
                      <a:pt x="70" y="70"/>
                    </a:lnTo>
                    <a:lnTo>
                      <a:pt x="75" y="71"/>
                    </a:lnTo>
                    <a:lnTo>
                      <a:pt x="82" y="71"/>
                    </a:lnTo>
                    <a:lnTo>
                      <a:pt x="89" y="70"/>
                    </a:lnTo>
                    <a:lnTo>
                      <a:pt x="89" y="70"/>
                    </a:lnTo>
                    <a:lnTo>
                      <a:pt x="92" y="70"/>
                    </a:lnTo>
                    <a:lnTo>
                      <a:pt x="92" y="70"/>
                    </a:lnTo>
                    <a:lnTo>
                      <a:pt x="92" y="60"/>
                    </a:lnTo>
                    <a:lnTo>
                      <a:pt x="92" y="60"/>
                    </a:lnTo>
                    <a:lnTo>
                      <a:pt x="88" y="54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1" y="46"/>
                    </a:lnTo>
                    <a:lnTo>
                      <a:pt x="81" y="43"/>
                    </a:lnTo>
                    <a:lnTo>
                      <a:pt x="81" y="39"/>
                    </a:lnTo>
                    <a:lnTo>
                      <a:pt x="78" y="34"/>
                    </a:lnTo>
                    <a:lnTo>
                      <a:pt x="78" y="34"/>
                    </a:lnTo>
                    <a:lnTo>
                      <a:pt x="75" y="30"/>
                    </a:lnTo>
                    <a:lnTo>
                      <a:pt x="72" y="26"/>
                    </a:lnTo>
                    <a:lnTo>
                      <a:pt x="68" y="23"/>
                    </a:lnTo>
                    <a:lnTo>
                      <a:pt x="68" y="23"/>
                    </a:lnTo>
                    <a:lnTo>
                      <a:pt x="64" y="20"/>
                    </a:lnTo>
                    <a:lnTo>
                      <a:pt x="61" y="16"/>
                    </a:lnTo>
                    <a:lnTo>
                      <a:pt x="58" y="9"/>
                    </a:lnTo>
                    <a:lnTo>
                      <a:pt x="53" y="9"/>
                    </a:lnTo>
                    <a:lnTo>
                      <a:pt x="53" y="9"/>
                    </a:lnTo>
                    <a:lnTo>
                      <a:pt x="50" y="6"/>
                    </a:lnTo>
                    <a:lnTo>
                      <a:pt x="43" y="0"/>
                    </a:lnTo>
                    <a:lnTo>
                      <a:pt x="43" y="0"/>
                    </a:lnTo>
                    <a:lnTo>
                      <a:pt x="40" y="0"/>
                    </a:lnTo>
                    <a:lnTo>
                      <a:pt x="35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25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3" y="3"/>
                    </a:lnTo>
                    <a:lnTo>
                      <a:pt x="11" y="4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4" y="17"/>
                    </a:lnTo>
                    <a:lnTo>
                      <a:pt x="3" y="23"/>
                    </a:lnTo>
                    <a:lnTo>
                      <a:pt x="3" y="23"/>
                    </a:lnTo>
                    <a:lnTo>
                      <a:pt x="1" y="26"/>
                    </a:lnTo>
                    <a:lnTo>
                      <a:pt x="0" y="29"/>
                    </a:lnTo>
                    <a:lnTo>
                      <a:pt x="1" y="36"/>
                    </a:lnTo>
                    <a:lnTo>
                      <a:pt x="6" y="41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20" y="48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1" y="44"/>
                    </a:lnTo>
                    <a:lnTo>
                      <a:pt x="34" y="44"/>
                    </a:lnTo>
                    <a:lnTo>
                      <a:pt x="37" y="47"/>
                    </a:lnTo>
                    <a:lnTo>
                      <a:pt x="40" y="50"/>
                    </a:lnTo>
                    <a:lnTo>
                      <a:pt x="45" y="51"/>
                    </a:lnTo>
                    <a:lnTo>
                      <a:pt x="45" y="51"/>
                    </a:lnTo>
                    <a:lnTo>
                      <a:pt x="54" y="53"/>
                    </a:lnTo>
                    <a:lnTo>
                      <a:pt x="54" y="53"/>
                    </a:lnTo>
                    <a:lnTo>
                      <a:pt x="50" y="54"/>
                    </a:lnTo>
                    <a:lnTo>
                      <a:pt x="47" y="56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0" y="54"/>
                    </a:lnTo>
                    <a:lnTo>
                      <a:pt x="37" y="53"/>
                    </a:lnTo>
                    <a:lnTo>
                      <a:pt x="33" y="51"/>
                    </a:lnTo>
                    <a:lnTo>
                      <a:pt x="30" y="53"/>
                    </a:lnTo>
                    <a:lnTo>
                      <a:pt x="30" y="53"/>
                    </a:lnTo>
                    <a:lnTo>
                      <a:pt x="27" y="54"/>
                    </a:lnTo>
                    <a:lnTo>
                      <a:pt x="21" y="56"/>
                    </a:lnTo>
                    <a:lnTo>
                      <a:pt x="11" y="57"/>
                    </a:lnTo>
                    <a:lnTo>
                      <a:pt x="11" y="57"/>
                    </a:lnTo>
                    <a:lnTo>
                      <a:pt x="7" y="58"/>
                    </a:lnTo>
                    <a:lnTo>
                      <a:pt x="7" y="58"/>
                    </a:lnTo>
                    <a:lnTo>
                      <a:pt x="7" y="63"/>
                    </a:lnTo>
                    <a:lnTo>
                      <a:pt x="8" y="66"/>
                    </a:lnTo>
                    <a:lnTo>
                      <a:pt x="8" y="66"/>
                    </a:lnTo>
                    <a:lnTo>
                      <a:pt x="10" y="67"/>
                    </a:lnTo>
                    <a:lnTo>
                      <a:pt x="10" y="67"/>
                    </a:lnTo>
                    <a:lnTo>
                      <a:pt x="16" y="67"/>
                    </a:lnTo>
                    <a:lnTo>
                      <a:pt x="17" y="68"/>
                    </a:lnTo>
                    <a:lnTo>
                      <a:pt x="17" y="68"/>
                    </a:lnTo>
                    <a:lnTo>
                      <a:pt x="18" y="70"/>
                    </a:lnTo>
                    <a:lnTo>
                      <a:pt x="18" y="7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59" name="Gambia">
                <a:extLst>
                  <a:ext uri="{FF2B5EF4-FFF2-40B4-BE49-F238E27FC236}">
                    <a16:creationId xmlns:a16="http://schemas.microsoft.com/office/drawing/2014/main" id="{A6C7D180-5A4B-B358-2654-D2D4CFF638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6814" y="3976789"/>
                <a:ext cx="69550" cy="20717"/>
              </a:xfrm>
              <a:custGeom>
                <a:avLst/>
                <a:gdLst/>
                <a:ahLst/>
                <a:cxnLst>
                  <a:cxn ang="0">
                    <a:pos x="23" y="9"/>
                  </a:cxn>
                  <a:cxn ang="0">
                    <a:pos x="23" y="9"/>
                  </a:cxn>
                  <a:cxn ang="0">
                    <a:pos x="26" y="7"/>
                  </a:cxn>
                  <a:cxn ang="0">
                    <a:pos x="30" y="9"/>
                  </a:cxn>
                  <a:cxn ang="0">
                    <a:pos x="33" y="10"/>
                  </a:cxn>
                  <a:cxn ang="0">
                    <a:pos x="37" y="12"/>
                  </a:cxn>
                  <a:cxn ang="0">
                    <a:pos x="37" y="12"/>
                  </a:cxn>
                  <a:cxn ang="0">
                    <a:pos x="40" y="12"/>
                  </a:cxn>
                  <a:cxn ang="0">
                    <a:pos x="43" y="10"/>
                  </a:cxn>
                  <a:cxn ang="0">
                    <a:pos x="47" y="9"/>
                  </a:cxn>
                  <a:cxn ang="0">
                    <a:pos x="47" y="9"/>
                  </a:cxn>
                  <a:cxn ang="0">
                    <a:pos x="38" y="7"/>
                  </a:cxn>
                  <a:cxn ang="0">
                    <a:pos x="38" y="7"/>
                  </a:cxn>
                  <a:cxn ang="0">
                    <a:pos x="33" y="6"/>
                  </a:cxn>
                  <a:cxn ang="0">
                    <a:pos x="30" y="3"/>
                  </a:cxn>
                  <a:cxn ang="0">
                    <a:pos x="27" y="0"/>
                  </a:cxn>
                  <a:cxn ang="0">
                    <a:pos x="24" y="0"/>
                  </a:cxn>
                  <a:cxn ang="0">
                    <a:pos x="23" y="2"/>
                  </a:cxn>
                  <a:cxn ang="0">
                    <a:pos x="23" y="2"/>
                  </a:cxn>
                  <a:cxn ang="0">
                    <a:pos x="13" y="4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4" y="13"/>
                  </a:cxn>
                  <a:cxn ang="0">
                    <a:pos x="4" y="13"/>
                  </a:cxn>
                  <a:cxn ang="0">
                    <a:pos x="14" y="12"/>
                  </a:cxn>
                  <a:cxn ang="0">
                    <a:pos x="20" y="10"/>
                  </a:cxn>
                  <a:cxn ang="0">
                    <a:pos x="23" y="9"/>
                  </a:cxn>
                  <a:cxn ang="0">
                    <a:pos x="23" y="9"/>
                  </a:cxn>
                </a:cxnLst>
                <a:rect l="0" t="0" r="r" b="b"/>
                <a:pathLst>
                  <a:path w="47" h="14">
                    <a:moveTo>
                      <a:pt x="23" y="9"/>
                    </a:moveTo>
                    <a:lnTo>
                      <a:pt x="23" y="9"/>
                    </a:lnTo>
                    <a:lnTo>
                      <a:pt x="26" y="7"/>
                    </a:lnTo>
                    <a:lnTo>
                      <a:pt x="30" y="9"/>
                    </a:lnTo>
                    <a:lnTo>
                      <a:pt x="33" y="10"/>
                    </a:lnTo>
                    <a:lnTo>
                      <a:pt x="37" y="12"/>
                    </a:lnTo>
                    <a:lnTo>
                      <a:pt x="37" y="12"/>
                    </a:lnTo>
                    <a:lnTo>
                      <a:pt x="40" y="12"/>
                    </a:lnTo>
                    <a:lnTo>
                      <a:pt x="43" y="10"/>
                    </a:lnTo>
                    <a:lnTo>
                      <a:pt x="47" y="9"/>
                    </a:lnTo>
                    <a:lnTo>
                      <a:pt x="47" y="9"/>
                    </a:lnTo>
                    <a:lnTo>
                      <a:pt x="38" y="7"/>
                    </a:lnTo>
                    <a:lnTo>
                      <a:pt x="38" y="7"/>
                    </a:lnTo>
                    <a:lnTo>
                      <a:pt x="33" y="6"/>
                    </a:lnTo>
                    <a:lnTo>
                      <a:pt x="30" y="3"/>
                    </a:lnTo>
                    <a:lnTo>
                      <a:pt x="27" y="0"/>
                    </a:lnTo>
                    <a:lnTo>
                      <a:pt x="24" y="0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14" y="12"/>
                    </a:lnTo>
                    <a:lnTo>
                      <a:pt x="20" y="10"/>
                    </a:lnTo>
                    <a:lnTo>
                      <a:pt x="23" y="9"/>
                    </a:lnTo>
                    <a:lnTo>
                      <a:pt x="23" y="9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60" name="Guinea-Bissau">
                <a:extLst>
                  <a:ext uri="{FF2B5EF4-FFF2-40B4-BE49-F238E27FC236}">
                    <a16:creationId xmlns:a16="http://schemas.microsoft.com/office/drawing/2014/main" id="{29E4257E-5DF7-5F01-AEEB-8F44E36670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1254" y="4006384"/>
                <a:ext cx="66591" cy="39954"/>
              </a:xfrm>
              <a:custGeom>
                <a:avLst/>
                <a:gdLst/>
                <a:ahLst/>
                <a:cxnLst>
                  <a:cxn ang="0">
                    <a:pos x="24" y="26"/>
                  </a:cxn>
                  <a:cxn ang="0">
                    <a:pos x="24" y="26"/>
                  </a:cxn>
                  <a:cxn ang="0">
                    <a:pos x="31" y="20"/>
                  </a:cxn>
                  <a:cxn ang="0">
                    <a:pos x="34" y="17"/>
                  </a:cxn>
                  <a:cxn ang="0">
                    <a:pos x="37" y="17"/>
                  </a:cxn>
                  <a:cxn ang="0">
                    <a:pos x="37" y="17"/>
                  </a:cxn>
                  <a:cxn ang="0">
                    <a:pos x="38" y="17"/>
                  </a:cxn>
                  <a:cxn ang="0">
                    <a:pos x="41" y="17"/>
                  </a:cxn>
                  <a:cxn ang="0">
                    <a:pos x="43" y="14"/>
                  </a:cxn>
                  <a:cxn ang="0">
                    <a:pos x="43" y="14"/>
                  </a:cxn>
                  <a:cxn ang="0">
                    <a:pos x="41" y="11"/>
                  </a:cxn>
                  <a:cxn ang="0">
                    <a:pos x="40" y="9"/>
                  </a:cxn>
                  <a:cxn ang="0">
                    <a:pos x="41" y="7"/>
                  </a:cxn>
                  <a:cxn ang="0">
                    <a:pos x="41" y="7"/>
                  </a:cxn>
                  <a:cxn ang="0">
                    <a:pos x="44" y="6"/>
                  </a:cxn>
                  <a:cxn ang="0">
                    <a:pos x="44" y="4"/>
                  </a:cxn>
                  <a:cxn ang="0">
                    <a:pos x="45" y="2"/>
                  </a:cxn>
                  <a:cxn ang="0">
                    <a:pos x="45" y="2"/>
                  </a:cxn>
                  <a:cxn ang="0">
                    <a:pos x="41" y="0"/>
                  </a:cxn>
                  <a:cxn ang="0">
                    <a:pos x="41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4"/>
                  </a:cxn>
                  <a:cxn ang="0">
                    <a:pos x="11" y="6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6" y="10"/>
                  </a:cxn>
                  <a:cxn ang="0">
                    <a:pos x="8" y="11"/>
                  </a:cxn>
                  <a:cxn ang="0">
                    <a:pos x="14" y="13"/>
                  </a:cxn>
                  <a:cxn ang="0">
                    <a:pos x="14" y="13"/>
                  </a:cxn>
                  <a:cxn ang="0">
                    <a:pos x="15" y="14"/>
                  </a:cxn>
                  <a:cxn ang="0">
                    <a:pos x="17" y="16"/>
                  </a:cxn>
                  <a:cxn ang="0">
                    <a:pos x="17" y="19"/>
                  </a:cxn>
                  <a:cxn ang="0">
                    <a:pos x="17" y="21"/>
                  </a:cxn>
                  <a:cxn ang="0">
                    <a:pos x="18" y="24"/>
                  </a:cxn>
                  <a:cxn ang="0">
                    <a:pos x="20" y="26"/>
                  </a:cxn>
                  <a:cxn ang="0">
                    <a:pos x="20" y="26"/>
                  </a:cxn>
                  <a:cxn ang="0">
                    <a:pos x="23" y="27"/>
                  </a:cxn>
                  <a:cxn ang="0">
                    <a:pos x="23" y="27"/>
                  </a:cxn>
                  <a:cxn ang="0">
                    <a:pos x="24" y="26"/>
                  </a:cxn>
                  <a:cxn ang="0">
                    <a:pos x="24" y="26"/>
                  </a:cxn>
                </a:cxnLst>
                <a:rect l="0" t="0" r="r" b="b"/>
                <a:pathLst>
                  <a:path w="45" h="27">
                    <a:moveTo>
                      <a:pt x="24" y="26"/>
                    </a:moveTo>
                    <a:lnTo>
                      <a:pt x="24" y="26"/>
                    </a:lnTo>
                    <a:lnTo>
                      <a:pt x="31" y="20"/>
                    </a:lnTo>
                    <a:lnTo>
                      <a:pt x="34" y="17"/>
                    </a:lnTo>
                    <a:lnTo>
                      <a:pt x="37" y="17"/>
                    </a:lnTo>
                    <a:lnTo>
                      <a:pt x="37" y="17"/>
                    </a:lnTo>
                    <a:lnTo>
                      <a:pt x="38" y="17"/>
                    </a:lnTo>
                    <a:lnTo>
                      <a:pt x="41" y="17"/>
                    </a:lnTo>
                    <a:lnTo>
                      <a:pt x="43" y="14"/>
                    </a:lnTo>
                    <a:lnTo>
                      <a:pt x="43" y="14"/>
                    </a:lnTo>
                    <a:lnTo>
                      <a:pt x="41" y="11"/>
                    </a:lnTo>
                    <a:lnTo>
                      <a:pt x="40" y="9"/>
                    </a:lnTo>
                    <a:lnTo>
                      <a:pt x="41" y="7"/>
                    </a:lnTo>
                    <a:lnTo>
                      <a:pt x="41" y="7"/>
                    </a:lnTo>
                    <a:lnTo>
                      <a:pt x="44" y="6"/>
                    </a:lnTo>
                    <a:lnTo>
                      <a:pt x="44" y="4"/>
                    </a:lnTo>
                    <a:lnTo>
                      <a:pt x="45" y="2"/>
                    </a:lnTo>
                    <a:lnTo>
                      <a:pt x="45" y="2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11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6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6" y="10"/>
                    </a:lnTo>
                    <a:lnTo>
                      <a:pt x="8" y="11"/>
                    </a:lnTo>
                    <a:lnTo>
                      <a:pt x="14" y="13"/>
                    </a:lnTo>
                    <a:lnTo>
                      <a:pt x="14" y="13"/>
                    </a:lnTo>
                    <a:lnTo>
                      <a:pt x="15" y="14"/>
                    </a:lnTo>
                    <a:lnTo>
                      <a:pt x="17" y="16"/>
                    </a:lnTo>
                    <a:lnTo>
                      <a:pt x="17" y="19"/>
                    </a:lnTo>
                    <a:lnTo>
                      <a:pt x="17" y="21"/>
                    </a:lnTo>
                    <a:lnTo>
                      <a:pt x="18" y="24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4" y="26"/>
                    </a:lnTo>
                    <a:lnTo>
                      <a:pt x="24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61" name="Guinea">
                <a:extLst>
                  <a:ext uri="{FF2B5EF4-FFF2-40B4-BE49-F238E27FC236}">
                    <a16:creationId xmlns:a16="http://schemas.microsoft.com/office/drawing/2014/main" id="{A3DA0468-7D60-B53D-0DB2-9684FC7E87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288" y="4006384"/>
                <a:ext cx="176094" cy="133181"/>
              </a:xfrm>
              <a:custGeom>
                <a:avLst/>
                <a:gdLst/>
                <a:ahLst/>
                <a:cxnLst>
                  <a:cxn ang="0">
                    <a:pos x="41" y="47"/>
                  </a:cxn>
                  <a:cxn ang="0">
                    <a:pos x="47" y="47"/>
                  </a:cxn>
                  <a:cxn ang="0">
                    <a:pos x="59" y="44"/>
                  </a:cxn>
                  <a:cxn ang="0">
                    <a:pos x="66" y="51"/>
                  </a:cxn>
                  <a:cxn ang="0">
                    <a:pos x="72" y="60"/>
                  </a:cxn>
                  <a:cxn ang="0">
                    <a:pos x="74" y="70"/>
                  </a:cxn>
                  <a:cxn ang="0">
                    <a:pos x="86" y="70"/>
                  </a:cxn>
                  <a:cxn ang="0">
                    <a:pos x="89" y="74"/>
                  </a:cxn>
                  <a:cxn ang="0">
                    <a:pos x="91" y="83"/>
                  </a:cxn>
                  <a:cxn ang="0">
                    <a:pos x="96" y="90"/>
                  </a:cxn>
                  <a:cxn ang="0">
                    <a:pos x="102" y="84"/>
                  </a:cxn>
                  <a:cxn ang="0">
                    <a:pos x="105" y="84"/>
                  </a:cxn>
                  <a:cxn ang="0">
                    <a:pos x="108" y="85"/>
                  </a:cxn>
                  <a:cxn ang="0">
                    <a:pos x="112" y="81"/>
                  </a:cxn>
                  <a:cxn ang="0">
                    <a:pos x="111" y="74"/>
                  </a:cxn>
                  <a:cxn ang="0">
                    <a:pos x="112" y="70"/>
                  </a:cxn>
                  <a:cxn ang="0">
                    <a:pos x="118" y="70"/>
                  </a:cxn>
                  <a:cxn ang="0">
                    <a:pos x="118" y="66"/>
                  </a:cxn>
                  <a:cxn ang="0">
                    <a:pos x="115" y="60"/>
                  </a:cxn>
                  <a:cxn ang="0">
                    <a:pos x="112" y="53"/>
                  </a:cxn>
                  <a:cxn ang="0">
                    <a:pos x="111" y="48"/>
                  </a:cxn>
                  <a:cxn ang="0">
                    <a:pos x="111" y="39"/>
                  </a:cxn>
                  <a:cxn ang="0">
                    <a:pos x="109" y="33"/>
                  </a:cxn>
                  <a:cxn ang="0">
                    <a:pos x="106" y="29"/>
                  </a:cxn>
                  <a:cxn ang="0">
                    <a:pos x="105" y="24"/>
                  </a:cxn>
                  <a:cxn ang="0">
                    <a:pos x="108" y="23"/>
                  </a:cxn>
                  <a:cxn ang="0">
                    <a:pos x="102" y="19"/>
                  </a:cxn>
                  <a:cxn ang="0">
                    <a:pos x="99" y="9"/>
                  </a:cxn>
                  <a:cxn ang="0">
                    <a:pos x="95" y="4"/>
                  </a:cxn>
                  <a:cxn ang="0">
                    <a:pos x="86" y="10"/>
                  </a:cxn>
                  <a:cxn ang="0">
                    <a:pos x="78" y="10"/>
                  </a:cxn>
                  <a:cxn ang="0">
                    <a:pos x="72" y="11"/>
                  </a:cxn>
                  <a:cxn ang="0">
                    <a:pos x="68" y="11"/>
                  </a:cxn>
                  <a:cxn ang="0">
                    <a:pos x="64" y="13"/>
                  </a:cxn>
                  <a:cxn ang="0">
                    <a:pos x="59" y="9"/>
                  </a:cxn>
                  <a:cxn ang="0">
                    <a:pos x="59" y="6"/>
                  </a:cxn>
                  <a:cxn ang="0">
                    <a:pos x="49" y="7"/>
                  </a:cxn>
                  <a:cxn ang="0">
                    <a:pos x="34" y="4"/>
                  </a:cxn>
                  <a:cxn ang="0">
                    <a:pos x="28" y="2"/>
                  </a:cxn>
                  <a:cxn ang="0">
                    <a:pos x="22" y="3"/>
                  </a:cxn>
                  <a:cxn ang="0">
                    <a:pos x="18" y="7"/>
                  </a:cxn>
                  <a:cxn ang="0">
                    <a:pos x="20" y="14"/>
                  </a:cxn>
                  <a:cxn ang="0">
                    <a:pos x="15" y="17"/>
                  </a:cxn>
                  <a:cxn ang="0">
                    <a:pos x="11" y="17"/>
                  </a:cxn>
                  <a:cxn ang="0">
                    <a:pos x="1" y="26"/>
                  </a:cxn>
                  <a:cxn ang="0">
                    <a:pos x="2" y="30"/>
                  </a:cxn>
                  <a:cxn ang="0">
                    <a:pos x="11" y="41"/>
                  </a:cxn>
                  <a:cxn ang="0">
                    <a:pos x="25" y="54"/>
                  </a:cxn>
                  <a:cxn ang="0">
                    <a:pos x="35" y="54"/>
                  </a:cxn>
                  <a:cxn ang="0">
                    <a:pos x="39" y="48"/>
                  </a:cxn>
                </a:cxnLst>
                <a:rect l="0" t="0" r="r" b="b"/>
                <a:pathLst>
                  <a:path w="119" h="90">
                    <a:moveTo>
                      <a:pt x="39" y="48"/>
                    </a:moveTo>
                    <a:lnTo>
                      <a:pt x="39" y="48"/>
                    </a:lnTo>
                    <a:lnTo>
                      <a:pt x="41" y="47"/>
                    </a:lnTo>
                    <a:lnTo>
                      <a:pt x="42" y="46"/>
                    </a:lnTo>
                    <a:lnTo>
                      <a:pt x="47" y="47"/>
                    </a:lnTo>
                    <a:lnTo>
                      <a:pt x="47" y="47"/>
                    </a:lnTo>
                    <a:lnTo>
                      <a:pt x="49" y="47"/>
                    </a:lnTo>
                    <a:lnTo>
                      <a:pt x="54" y="46"/>
                    </a:lnTo>
                    <a:lnTo>
                      <a:pt x="59" y="44"/>
                    </a:lnTo>
                    <a:lnTo>
                      <a:pt x="59" y="44"/>
                    </a:lnTo>
                    <a:lnTo>
                      <a:pt x="62" y="47"/>
                    </a:lnTo>
                    <a:lnTo>
                      <a:pt x="66" y="51"/>
                    </a:lnTo>
                    <a:lnTo>
                      <a:pt x="71" y="57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6"/>
                    </a:lnTo>
                    <a:lnTo>
                      <a:pt x="74" y="70"/>
                    </a:lnTo>
                    <a:lnTo>
                      <a:pt x="74" y="70"/>
                    </a:lnTo>
                    <a:lnTo>
                      <a:pt x="75" y="71"/>
                    </a:lnTo>
                    <a:lnTo>
                      <a:pt x="75" y="71"/>
                    </a:lnTo>
                    <a:lnTo>
                      <a:pt x="86" y="70"/>
                    </a:lnTo>
                    <a:lnTo>
                      <a:pt x="86" y="70"/>
                    </a:lnTo>
                    <a:lnTo>
                      <a:pt x="88" y="71"/>
                    </a:lnTo>
                    <a:lnTo>
                      <a:pt x="89" y="74"/>
                    </a:lnTo>
                    <a:lnTo>
                      <a:pt x="91" y="78"/>
                    </a:lnTo>
                    <a:lnTo>
                      <a:pt x="91" y="83"/>
                    </a:lnTo>
                    <a:lnTo>
                      <a:pt x="91" y="83"/>
                    </a:lnTo>
                    <a:lnTo>
                      <a:pt x="91" y="87"/>
                    </a:lnTo>
                    <a:lnTo>
                      <a:pt x="93" y="88"/>
                    </a:lnTo>
                    <a:lnTo>
                      <a:pt x="96" y="90"/>
                    </a:lnTo>
                    <a:lnTo>
                      <a:pt x="98" y="88"/>
                    </a:lnTo>
                    <a:lnTo>
                      <a:pt x="98" y="88"/>
                    </a:lnTo>
                    <a:lnTo>
                      <a:pt x="102" y="84"/>
                    </a:lnTo>
                    <a:lnTo>
                      <a:pt x="103" y="83"/>
                    </a:lnTo>
                    <a:lnTo>
                      <a:pt x="105" y="84"/>
                    </a:lnTo>
                    <a:lnTo>
                      <a:pt x="105" y="84"/>
                    </a:lnTo>
                    <a:lnTo>
                      <a:pt x="106" y="85"/>
                    </a:lnTo>
                    <a:lnTo>
                      <a:pt x="108" y="85"/>
                    </a:lnTo>
                    <a:lnTo>
                      <a:pt x="108" y="85"/>
                    </a:lnTo>
                    <a:lnTo>
                      <a:pt x="109" y="84"/>
                    </a:lnTo>
                    <a:lnTo>
                      <a:pt x="112" y="81"/>
                    </a:lnTo>
                    <a:lnTo>
                      <a:pt x="112" y="81"/>
                    </a:lnTo>
                    <a:lnTo>
                      <a:pt x="112" y="78"/>
                    </a:lnTo>
                    <a:lnTo>
                      <a:pt x="112" y="77"/>
                    </a:lnTo>
                    <a:lnTo>
                      <a:pt x="111" y="74"/>
                    </a:lnTo>
                    <a:lnTo>
                      <a:pt x="111" y="71"/>
                    </a:lnTo>
                    <a:lnTo>
                      <a:pt x="111" y="71"/>
                    </a:lnTo>
                    <a:lnTo>
                      <a:pt x="112" y="70"/>
                    </a:lnTo>
                    <a:lnTo>
                      <a:pt x="115" y="71"/>
                    </a:lnTo>
                    <a:lnTo>
                      <a:pt x="116" y="71"/>
                    </a:lnTo>
                    <a:lnTo>
                      <a:pt x="118" y="70"/>
                    </a:lnTo>
                    <a:lnTo>
                      <a:pt x="118" y="70"/>
                    </a:lnTo>
                    <a:lnTo>
                      <a:pt x="119" y="68"/>
                    </a:lnTo>
                    <a:lnTo>
                      <a:pt x="118" y="66"/>
                    </a:lnTo>
                    <a:lnTo>
                      <a:pt x="116" y="63"/>
                    </a:lnTo>
                    <a:lnTo>
                      <a:pt x="115" y="60"/>
                    </a:lnTo>
                    <a:lnTo>
                      <a:pt x="115" y="60"/>
                    </a:lnTo>
                    <a:lnTo>
                      <a:pt x="115" y="57"/>
                    </a:lnTo>
                    <a:lnTo>
                      <a:pt x="115" y="54"/>
                    </a:lnTo>
                    <a:lnTo>
                      <a:pt x="112" y="53"/>
                    </a:lnTo>
                    <a:lnTo>
                      <a:pt x="112" y="53"/>
                    </a:lnTo>
                    <a:lnTo>
                      <a:pt x="111" y="51"/>
                    </a:lnTo>
                    <a:lnTo>
                      <a:pt x="111" y="48"/>
                    </a:lnTo>
                    <a:lnTo>
                      <a:pt x="112" y="40"/>
                    </a:lnTo>
                    <a:lnTo>
                      <a:pt x="112" y="40"/>
                    </a:lnTo>
                    <a:lnTo>
                      <a:pt x="111" y="39"/>
                    </a:lnTo>
                    <a:lnTo>
                      <a:pt x="111" y="39"/>
                    </a:lnTo>
                    <a:lnTo>
                      <a:pt x="109" y="36"/>
                    </a:lnTo>
                    <a:lnTo>
                      <a:pt x="109" y="33"/>
                    </a:lnTo>
                    <a:lnTo>
                      <a:pt x="108" y="30"/>
                    </a:lnTo>
                    <a:lnTo>
                      <a:pt x="106" y="29"/>
                    </a:lnTo>
                    <a:lnTo>
                      <a:pt x="106" y="29"/>
                    </a:lnTo>
                    <a:lnTo>
                      <a:pt x="105" y="29"/>
                    </a:lnTo>
                    <a:lnTo>
                      <a:pt x="105" y="26"/>
                    </a:lnTo>
                    <a:lnTo>
                      <a:pt x="105" y="24"/>
                    </a:lnTo>
                    <a:lnTo>
                      <a:pt x="106" y="23"/>
                    </a:lnTo>
                    <a:lnTo>
                      <a:pt x="106" y="23"/>
                    </a:lnTo>
                    <a:lnTo>
                      <a:pt x="108" y="23"/>
                    </a:lnTo>
                    <a:lnTo>
                      <a:pt x="106" y="21"/>
                    </a:lnTo>
                    <a:lnTo>
                      <a:pt x="105" y="20"/>
                    </a:lnTo>
                    <a:lnTo>
                      <a:pt x="102" y="19"/>
                    </a:lnTo>
                    <a:lnTo>
                      <a:pt x="101" y="16"/>
                    </a:lnTo>
                    <a:lnTo>
                      <a:pt x="101" y="16"/>
                    </a:lnTo>
                    <a:lnTo>
                      <a:pt x="99" y="9"/>
                    </a:lnTo>
                    <a:lnTo>
                      <a:pt x="96" y="6"/>
                    </a:lnTo>
                    <a:lnTo>
                      <a:pt x="95" y="4"/>
                    </a:lnTo>
                    <a:lnTo>
                      <a:pt x="95" y="4"/>
                    </a:lnTo>
                    <a:lnTo>
                      <a:pt x="92" y="4"/>
                    </a:lnTo>
                    <a:lnTo>
                      <a:pt x="89" y="7"/>
                    </a:lnTo>
                    <a:lnTo>
                      <a:pt x="86" y="10"/>
                    </a:lnTo>
                    <a:lnTo>
                      <a:pt x="84" y="11"/>
                    </a:lnTo>
                    <a:lnTo>
                      <a:pt x="84" y="11"/>
                    </a:lnTo>
                    <a:lnTo>
                      <a:pt x="78" y="10"/>
                    </a:lnTo>
                    <a:lnTo>
                      <a:pt x="75" y="9"/>
                    </a:lnTo>
                    <a:lnTo>
                      <a:pt x="74" y="10"/>
                    </a:lnTo>
                    <a:lnTo>
                      <a:pt x="72" y="11"/>
                    </a:lnTo>
                    <a:lnTo>
                      <a:pt x="72" y="11"/>
                    </a:lnTo>
                    <a:lnTo>
                      <a:pt x="71" y="13"/>
                    </a:lnTo>
                    <a:lnTo>
                      <a:pt x="68" y="11"/>
                    </a:lnTo>
                    <a:lnTo>
                      <a:pt x="65" y="11"/>
                    </a:lnTo>
                    <a:lnTo>
                      <a:pt x="64" y="13"/>
                    </a:lnTo>
                    <a:lnTo>
                      <a:pt x="64" y="13"/>
                    </a:lnTo>
                    <a:lnTo>
                      <a:pt x="61" y="13"/>
                    </a:lnTo>
                    <a:lnTo>
                      <a:pt x="59" y="11"/>
                    </a:lnTo>
                    <a:lnTo>
                      <a:pt x="59" y="9"/>
                    </a:lnTo>
                    <a:lnTo>
                      <a:pt x="59" y="9"/>
                    </a:lnTo>
                    <a:lnTo>
                      <a:pt x="59" y="6"/>
                    </a:lnTo>
                    <a:lnTo>
                      <a:pt x="59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49" y="7"/>
                    </a:lnTo>
                    <a:lnTo>
                      <a:pt x="42" y="7"/>
                    </a:lnTo>
                    <a:lnTo>
                      <a:pt x="37" y="6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1" y="3"/>
                    </a:lnTo>
                    <a:lnTo>
                      <a:pt x="28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3"/>
                    </a:lnTo>
                    <a:lnTo>
                      <a:pt x="21" y="6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7" y="9"/>
                    </a:lnTo>
                    <a:lnTo>
                      <a:pt x="18" y="11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18" y="17"/>
                    </a:lnTo>
                    <a:lnTo>
                      <a:pt x="15" y="17"/>
                    </a:lnTo>
                    <a:lnTo>
                      <a:pt x="14" y="17"/>
                    </a:lnTo>
                    <a:lnTo>
                      <a:pt x="14" y="17"/>
                    </a:lnTo>
                    <a:lnTo>
                      <a:pt x="11" y="17"/>
                    </a:lnTo>
                    <a:lnTo>
                      <a:pt x="8" y="20"/>
                    </a:lnTo>
                    <a:lnTo>
                      <a:pt x="1" y="26"/>
                    </a:lnTo>
                    <a:lnTo>
                      <a:pt x="1" y="26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2" y="30"/>
                    </a:lnTo>
                    <a:lnTo>
                      <a:pt x="4" y="34"/>
                    </a:lnTo>
                    <a:lnTo>
                      <a:pt x="7" y="37"/>
                    </a:lnTo>
                    <a:lnTo>
                      <a:pt x="11" y="41"/>
                    </a:lnTo>
                    <a:lnTo>
                      <a:pt x="11" y="41"/>
                    </a:lnTo>
                    <a:lnTo>
                      <a:pt x="20" y="48"/>
                    </a:lnTo>
                    <a:lnTo>
                      <a:pt x="25" y="54"/>
                    </a:lnTo>
                    <a:lnTo>
                      <a:pt x="28" y="61"/>
                    </a:lnTo>
                    <a:lnTo>
                      <a:pt x="28" y="61"/>
                    </a:lnTo>
                    <a:lnTo>
                      <a:pt x="35" y="54"/>
                    </a:lnTo>
                    <a:lnTo>
                      <a:pt x="38" y="51"/>
                    </a:lnTo>
                    <a:lnTo>
                      <a:pt x="39" y="48"/>
                    </a:lnTo>
                    <a:lnTo>
                      <a:pt x="39" y="48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62" name="Sierra Leone">
                <a:extLst>
                  <a:ext uri="{FF2B5EF4-FFF2-40B4-BE49-F238E27FC236}">
                    <a16:creationId xmlns:a16="http://schemas.microsoft.com/office/drawing/2014/main" id="{1E445F40-EFC1-C96F-65E7-631E7014D4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6723" y="4071495"/>
                <a:ext cx="69550" cy="75470"/>
              </a:xfrm>
              <a:custGeom>
                <a:avLst/>
                <a:gdLst/>
                <a:ahLst/>
                <a:cxnLst>
                  <a:cxn ang="0">
                    <a:pos x="46" y="36"/>
                  </a:cxn>
                  <a:cxn ang="0">
                    <a:pos x="46" y="36"/>
                  </a:cxn>
                  <a:cxn ang="0">
                    <a:pos x="47" y="30"/>
                  </a:cxn>
                  <a:cxn ang="0">
                    <a:pos x="47" y="29"/>
                  </a:cxn>
                  <a:cxn ang="0">
                    <a:pos x="46" y="26"/>
                  </a:cxn>
                  <a:cxn ang="0">
                    <a:pos x="46" y="26"/>
                  </a:cxn>
                  <a:cxn ang="0">
                    <a:pos x="44" y="22"/>
                  </a:cxn>
                  <a:cxn ang="0">
                    <a:pos x="44" y="16"/>
                  </a:cxn>
                  <a:cxn ang="0">
                    <a:pos x="44" y="16"/>
                  </a:cxn>
                  <a:cxn ang="0">
                    <a:pos x="43" y="13"/>
                  </a:cxn>
                  <a:cxn ang="0">
                    <a:pos x="38" y="7"/>
                  </a:cxn>
                  <a:cxn ang="0">
                    <a:pos x="34" y="3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6" y="2"/>
                  </a:cxn>
                  <a:cxn ang="0">
                    <a:pos x="21" y="3"/>
                  </a:cxn>
                  <a:cxn ang="0">
                    <a:pos x="19" y="3"/>
                  </a:cxn>
                  <a:cxn ang="0">
                    <a:pos x="19" y="3"/>
                  </a:cxn>
                  <a:cxn ang="0">
                    <a:pos x="14" y="2"/>
                  </a:cxn>
                  <a:cxn ang="0">
                    <a:pos x="13" y="3"/>
                  </a:cxn>
                  <a:cxn ang="0">
                    <a:pos x="11" y="4"/>
                  </a:cxn>
                  <a:cxn ang="0">
                    <a:pos x="11" y="4"/>
                  </a:cxn>
                  <a:cxn ang="0">
                    <a:pos x="10" y="7"/>
                  </a:cxn>
                  <a:cxn ang="0">
                    <a:pos x="7" y="10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3" y="23"/>
                  </a:cxn>
                  <a:cxn ang="0">
                    <a:pos x="3" y="23"/>
                  </a:cxn>
                  <a:cxn ang="0">
                    <a:pos x="6" y="30"/>
                  </a:cxn>
                  <a:cxn ang="0">
                    <a:pos x="9" y="36"/>
                  </a:cxn>
                  <a:cxn ang="0">
                    <a:pos x="11" y="40"/>
                  </a:cxn>
                  <a:cxn ang="0">
                    <a:pos x="16" y="43"/>
                  </a:cxn>
                  <a:cxn ang="0">
                    <a:pos x="16" y="43"/>
                  </a:cxn>
                  <a:cxn ang="0">
                    <a:pos x="28" y="51"/>
                  </a:cxn>
                  <a:cxn ang="0">
                    <a:pos x="28" y="51"/>
                  </a:cxn>
                  <a:cxn ang="0">
                    <a:pos x="33" y="46"/>
                  </a:cxn>
                  <a:cxn ang="0">
                    <a:pos x="33" y="46"/>
                  </a:cxn>
                  <a:cxn ang="0">
                    <a:pos x="40" y="41"/>
                  </a:cxn>
                  <a:cxn ang="0">
                    <a:pos x="43" y="39"/>
                  </a:cxn>
                  <a:cxn ang="0">
                    <a:pos x="46" y="36"/>
                  </a:cxn>
                  <a:cxn ang="0">
                    <a:pos x="46" y="36"/>
                  </a:cxn>
                </a:cxnLst>
                <a:rect l="0" t="0" r="r" b="b"/>
                <a:pathLst>
                  <a:path w="47" h="51">
                    <a:moveTo>
                      <a:pt x="46" y="36"/>
                    </a:moveTo>
                    <a:lnTo>
                      <a:pt x="46" y="36"/>
                    </a:lnTo>
                    <a:lnTo>
                      <a:pt x="47" y="30"/>
                    </a:lnTo>
                    <a:lnTo>
                      <a:pt x="47" y="29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4" y="22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3" y="13"/>
                    </a:lnTo>
                    <a:lnTo>
                      <a:pt x="38" y="7"/>
                    </a:lnTo>
                    <a:lnTo>
                      <a:pt x="34" y="3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6" y="2"/>
                    </a:lnTo>
                    <a:lnTo>
                      <a:pt x="21" y="3"/>
                    </a:lnTo>
                    <a:lnTo>
                      <a:pt x="19" y="3"/>
                    </a:lnTo>
                    <a:lnTo>
                      <a:pt x="19" y="3"/>
                    </a:lnTo>
                    <a:lnTo>
                      <a:pt x="14" y="2"/>
                    </a:lnTo>
                    <a:lnTo>
                      <a:pt x="13" y="3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3" y="23"/>
                    </a:lnTo>
                    <a:lnTo>
                      <a:pt x="3" y="23"/>
                    </a:lnTo>
                    <a:lnTo>
                      <a:pt x="6" y="30"/>
                    </a:lnTo>
                    <a:lnTo>
                      <a:pt x="9" y="36"/>
                    </a:lnTo>
                    <a:lnTo>
                      <a:pt x="11" y="40"/>
                    </a:lnTo>
                    <a:lnTo>
                      <a:pt x="16" y="43"/>
                    </a:lnTo>
                    <a:lnTo>
                      <a:pt x="16" y="43"/>
                    </a:lnTo>
                    <a:lnTo>
                      <a:pt x="28" y="51"/>
                    </a:lnTo>
                    <a:lnTo>
                      <a:pt x="28" y="51"/>
                    </a:lnTo>
                    <a:lnTo>
                      <a:pt x="33" y="46"/>
                    </a:lnTo>
                    <a:lnTo>
                      <a:pt x="33" y="46"/>
                    </a:lnTo>
                    <a:lnTo>
                      <a:pt x="40" y="41"/>
                    </a:lnTo>
                    <a:lnTo>
                      <a:pt x="43" y="39"/>
                    </a:lnTo>
                    <a:lnTo>
                      <a:pt x="46" y="36"/>
                    </a:lnTo>
                    <a:lnTo>
                      <a:pt x="46" y="36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63" name="Sudan">
                <a:extLst>
                  <a:ext uri="{FF2B5EF4-FFF2-40B4-BE49-F238E27FC236}">
                    <a16:creationId xmlns:a16="http://schemas.microsoft.com/office/drawing/2014/main" id="{E7CD4DD8-169E-14F3-A863-5422EF788E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3922" y="3741502"/>
                <a:ext cx="389184" cy="483890"/>
              </a:xfrm>
              <a:custGeom>
                <a:avLst/>
                <a:gdLst/>
                <a:ahLst/>
                <a:cxnLst>
                  <a:cxn ang="0">
                    <a:pos x="204" y="13"/>
                  </a:cxn>
                  <a:cxn ang="0">
                    <a:pos x="194" y="20"/>
                  </a:cxn>
                  <a:cxn ang="0">
                    <a:pos x="185" y="25"/>
                  </a:cxn>
                  <a:cxn ang="0">
                    <a:pos x="155" y="18"/>
                  </a:cxn>
                  <a:cxn ang="0">
                    <a:pos x="47" y="23"/>
                  </a:cxn>
                  <a:cxn ang="0">
                    <a:pos x="33" y="108"/>
                  </a:cxn>
                  <a:cxn ang="0">
                    <a:pos x="23" y="128"/>
                  </a:cxn>
                  <a:cxn ang="0">
                    <a:pos x="16" y="141"/>
                  </a:cxn>
                  <a:cxn ang="0">
                    <a:pos x="9" y="146"/>
                  </a:cxn>
                  <a:cxn ang="0">
                    <a:pos x="3" y="155"/>
                  </a:cxn>
                  <a:cxn ang="0">
                    <a:pos x="3" y="166"/>
                  </a:cxn>
                  <a:cxn ang="0">
                    <a:pos x="2" y="176"/>
                  </a:cxn>
                  <a:cxn ang="0">
                    <a:pos x="7" y="188"/>
                  </a:cxn>
                  <a:cxn ang="0">
                    <a:pos x="13" y="205"/>
                  </a:cxn>
                  <a:cxn ang="0">
                    <a:pos x="29" y="227"/>
                  </a:cxn>
                  <a:cxn ang="0">
                    <a:pos x="24" y="237"/>
                  </a:cxn>
                  <a:cxn ang="0">
                    <a:pos x="33" y="246"/>
                  </a:cxn>
                  <a:cxn ang="0">
                    <a:pos x="51" y="259"/>
                  </a:cxn>
                  <a:cxn ang="0">
                    <a:pos x="56" y="266"/>
                  </a:cxn>
                  <a:cxn ang="0">
                    <a:pos x="68" y="282"/>
                  </a:cxn>
                  <a:cxn ang="0">
                    <a:pos x="84" y="300"/>
                  </a:cxn>
                  <a:cxn ang="0">
                    <a:pos x="90" y="307"/>
                  </a:cxn>
                  <a:cxn ang="0">
                    <a:pos x="101" y="313"/>
                  </a:cxn>
                  <a:cxn ang="0">
                    <a:pos x="114" y="313"/>
                  </a:cxn>
                  <a:cxn ang="0">
                    <a:pos x="121" y="310"/>
                  </a:cxn>
                  <a:cxn ang="0">
                    <a:pos x="152" y="323"/>
                  </a:cxn>
                  <a:cxn ang="0">
                    <a:pos x="162" y="326"/>
                  </a:cxn>
                  <a:cxn ang="0">
                    <a:pos x="179" y="323"/>
                  </a:cxn>
                  <a:cxn ang="0">
                    <a:pos x="189" y="317"/>
                  </a:cxn>
                  <a:cxn ang="0">
                    <a:pos x="196" y="309"/>
                  </a:cxn>
                  <a:cxn ang="0">
                    <a:pos x="213" y="306"/>
                  </a:cxn>
                  <a:cxn ang="0">
                    <a:pos x="219" y="296"/>
                  </a:cxn>
                  <a:cxn ang="0">
                    <a:pos x="206" y="289"/>
                  </a:cxn>
                  <a:cxn ang="0">
                    <a:pos x="191" y="269"/>
                  </a:cxn>
                  <a:cxn ang="0">
                    <a:pos x="177" y="259"/>
                  </a:cxn>
                  <a:cxn ang="0">
                    <a:pos x="177" y="252"/>
                  </a:cxn>
                  <a:cxn ang="0">
                    <a:pos x="184" y="245"/>
                  </a:cxn>
                  <a:cxn ang="0">
                    <a:pos x="192" y="227"/>
                  </a:cxn>
                  <a:cxn ang="0">
                    <a:pos x="196" y="212"/>
                  </a:cxn>
                  <a:cxn ang="0">
                    <a:pos x="204" y="205"/>
                  </a:cxn>
                  <a:cxn ang="0">
                    <a:pos x="209" y="189"/>
                  </a:cxn>
                  <a:cxn ang="0">
                    <a:pos x="221" y="178"/>
                  </a:cxn>
                  <a:cxn ang="0">
                    <a:pos x="226" y="166"/>
                  </a:cxn>
                  <a:cxn ang="0">
                    <a:pos x="229" y="139"/>
                  </a:cxn>
                  <a:cxn ang="0">
                    <a:pos x="239" y="117"/>
                  </a:cxn>
                  <a:cxn ang="0">
                    <a:pos x="248" y="104"/>
                  </a:cxn>
                  <a:cxn ang="0">
                    <a:pos x="263" y="89"/>
                  </a:cxn>
                  <a:cxn ang="0">
                    <a:pos x="246" y="72"/>
                  </a:cxn>
                  <a:cxn ang="0">
                    <a:pos x="242" y="40"/>
                  </a:cxn>
                  <a:cxn ang="0">
                    <a:pos x="231" y="17"/>
                  </a:cxn>
                  <a:cxn ang="0">
                    <a:pos x="218" y="4"/>
                  </a:cxn>
                  <a:cxn ang="0">
                    <a:pos x="212" y="7"/>
                  </a:cxn>
                </a:cxnLst>
                <a:rect l="0" t="0" r="r" b="b"/>
                <a:pathLst>
                  <a:path w="263" h="327">
                    <a:moveTo>
                      <a:pt x="208" y="7"/>
                    </a:moveTo>
                    <a:lnTo>
                      <a:pt x="208" y="7"/>
                    </a:lnTo>
                    <a:lnTo>
                      <a:pt x="206" y="7"/>
                    </a:lnTo>
                    <a:lnTo>
                      <a:pt x="205" y="8"/>
                    </a:lnTo>
                    <a:lnTo>
                      <a:pt x="204" y="13"/>
                    </a:lnTo>
                    <a:lnTo>
                      <a:pt x="201" y="17"/>
                    </a:lnTo>
                    <a:lnTo>
                      <a:pt x="199" y="18"/>
                    </a:lnTo>
                    <a:lnTo>
                      <a:pt x="198" y="18"/>
                    </a:lnTo>
                    <a:lnTo>
                      <a:pt x="198" y="18"/>
                    </a:lnTo>
                    <a:lnTo>
                      <a:pt x="194" y="20"/>
                    </a:lnTo>
                    <a:lnTo>
                      <a:pt x="191" y="23"/>
                    </a:lnTo>
                    <a:lnTo>
                      <a:pt x="191" y="24"/>
                    </a:lnTo>
                    <a:lnTo>
                      <a:pt x="188" y="25"/>
                    </a:lnTo>
                    <a:lnTo>
                      <a:pt x="188" y="25"/>
                    </a:lnTo>
                    <a:lnTo>
                      <a:pt x="185" y="25"/>
                    </a:lnTo>
                    <a:lnTo>
                      <a:pt x="182" y="24"/>
                    </a:lnTo>
                    <a:lnTo>
                      <a:pt x="179" y="21"/>
                    </a:lnTo>
                    <a:lnTo>
                      <a:pt x="158" y="21"/>
                    </a:lnTo>
                    <a:lnTo>
                      <a:pt x="158" y="21"/>
                    </a:lnTo>
                    <a:lnTo>
                      <a:pt x="155" y="18"/>
                    </a:lnTo>
                    <a:lnTo>
                      <a:pt x="154" y="18"/>
                    </a:lnTo>
                    <a:lnTo>
                      <a:pt x="151" y="18"/>
                    </a:lnTo>
                    <a:lnTo>
                      <a:pt x="151" y="18"/>
                    </a:lnTo>
                    <a:lnTo>
                      <a:pt x="145" y="23"/>
                    </a:lnTo>
                    <a:lnTo>
                      <a:pt x="47" y="23"/>
                    </a:lnTo>
                    <a:lnTo>
                      <a:pt x="47" y="23"/>
                    </a:lnTo>
                    <a:lnTo>
                      <a:pt x="47" y="55"/>
                    </a:lnTo>
                    <a:lnTo>
                      <a:pt x="33" y="55"/>
                    </a:lnTo>
                    <a:lnTo>
                      <a:pt x="33" y="108"/>
                    </a:lnTo>
                    <a:lnTo>
                      <a:pt x="33" y="108"/>
                    </a:lnTo>
                    <a:lnTo>
                      <a:pt x="33" y="117"/>
                    </a:lnTo>
                    <a:lnTo>
                      <a:pt x="31" y="122"/>
                    </a:lnTo>
                    <a:lnTo>
                      <a:pt x="30" y="125"/>
                    </a:lnTo>
                    <a:lnTo>
                      <a:pt x="30" y="125"/>
                    </a:lnTo>
                    <a:lnTo>
                      <a:pt x="23" y="128"/>
                    </a:lnTo>
                    <a:lnTo>
                      <a:pt x="19" y="131"/>
                    </a:lnTo>
                    <a:lnTo>
                      <a:pt x="17" y="132"/>
                    </a:lnTo>
                    <a:lnTo>
                      <a:pt x="17" y="134"/>
                    </a:lnTo>
                    <a:lnTo>
                      <a:pt x="17" y="134"/>
                    </a:lnTo>
                    <a:lnTo>
                      <a:pt x="16" y="141"/>
                    </a:lnTo>
                    <a:lnTo>
                      <a:pt x="13" y="142"/>
                    </a:lnTo>
                    <a:lnTo>
                      <a:pt x="10" y="144"/>
                    </a:lnTo>
                    <a:lnTo>
                      <a:pt x="10" y="144"/>
                    </a:lnTo>
                    <a:lnTo>
                      <a:pt x="9" y="145"/>
                    </a:lnTo>
                    <a:lnTo>
                      <a:pt x="9" y="146"/>
                    </a:lnTo>
                    <a:lnTo>
                      <a:pt x="7" y="151"/>
                    </a:lnTo>
                    <a:lnTo>
                      <a:pt x="7" y="154"/>
                    </a:lnTo>
                    <a:lnTo>
                      <a:pt x="6" y="155"/>
                    </a:lnTo>
                    <a:lnTo>
                      <a:pt x="3" y="155"/>
                    </a:lnTo>
                    <a:lnTo>
                      <a:pt x="3" y="155"/>
                    </a:lnTo>
                    <a:lnTo>
                      <a:pt x="2" y="156"/>
                    </a:lnTo>
                    <a:lnTo>
                      <a:pt x="2" y="156"/>
                    </a:lnTo>
                    <a:lnTo>
                      <a:pt x="2" y="161"/>
                    </a:lnTo>
                    <a:lnTo>
                      <a:pt x="3" y="163"/>
                    </a:lnTo>
                    <a:lnTo>
                      <a:pt x="3" y="166"/>
                    </a:lnTo>
                    <a:lnTo>
                      <a:pt x="3" y="168"/>
                    </a:lnTo>
                    <a:lnTo>
                      <a:pt x="3" y="168"/>
                    </a:lnTo>
                    <a:lnTo>
                      <a:pt x="0" y="171"/>
                    </a:lnTo>
                    <a:lnTo>
                      <a:pt x="0" y="173"/>
                    </a:lnTo>
                    <a:lnTo>
                      <a:pt x="2" y="176"/>
                    </a:lnTo>
                    <a:lnTo>
                      <a:pt x="4" y="176"/>
                    </a:lnTo>
                    <a:lnTo>
                      <a:pt x="4" y="176"/>
                    </a:lnTo>
                    <a:lnTo>
                      <a:pt x="7" y="178"/>
                    </a:lnTo>
                    <a:lnTo>
                      <a:pt x="9" y="181"/>
                    </a:lnTo>
                    <a:lnTo>
                      <a:pt x="7" y="188"/>
                    </a:lnTo>
                    <a:lnTo>
                      <a:pt x="7" y="188"/>
                    </a:lnTo>
                    <a:lnTo>
                      <a:pt x="9" y="192"/>
                    </a:lnTo>
                    <a:lnTo>
                      <a:pt x="11" y="195"/>
                    </a:lnTo>
                    <a:lnTo>
                      <a:pt x="16" y="198"/>
                    </a:lnTo>
                    <a:lnTo>
                      <a:pt x="13" y="205"/>
                    </a:lnTo>
                    <a:lnTo>
                      <a:pt x="13" y="205"/>
                    </a:lnTo>
                    <a:lnTo>
                      <a:pt x="19" y="212"/>
                    </a:lnTo>
                    <a:lnTo>
                      <a:pt x="26" y="220"/>
                    </a:lnTo>
                    <a:lnTo>
                      <a:pt x="26" y="220"/>
                    </a:lnTo>
                    <a:lnTo>
                      <a:pt x="29" y="227"/>
                    </a:lnTo>
                    <a:lnTo>
                      <a:pt x="29" y="232"/>
                    </a:lnTo>
                    <a:lnTo>
                      <a:pt x="29" y="233"/>
                    </a:lnTo>
                    <a:lnTo>
                      <a:pt x="26" y="235"/>
                    </a:lnTo>
                    <a:lnTo>
                      <a:pt x="26" y="235"/>
                    </a:lnTo>
                    <a:lnTo>
                      <a:pt x="24" y="237"/>
                    </a:lnTo>
                    <a:lnTo>
                      <a:pt x="23" y="239"/>
                    </a:lnTo>
                    <a:lnTo>
                      <a:pt x="24" y="240"/>
                    </a:lnTo>
                    <a:lnTo>
                      <a:pt x="31" y="242"/>
                    </a:lnTo>
                    <a:lnTo>
                      <a:pt x="33" y="246"/>
                    </a:lnTo>
                    <a:lnTo>
                      <a:pt x="33" y="246"/>
                    </a:lnTo>
                    <a:lnTo>
                      <a:pt x="39" y="247"/>
                    </a:lnTo>
                    <a:lnTo>
                      <a:pt x="43" y="249"/>
                    </a:lnTo>
                    <a:lnTo>
                      <a:pt x="46" y="253"/>
                    </a:lnTo>
                    <a:lnTo>
                      <a:pt x="46" y="253"/>
                    </a:lnTo>
                    <a:lnTo>
                      <a:pt x="51" y="259"/>
                    </a:lnTo>
                    <a:lnTo>
                      <a:pt x="53" y="260"/>
                    </a:lnTo>
                    <a:lnTo>
                      <a:pt x="53" y="263"/>
                    </a:lnTo>
                    <a:lnTo>
                      <a:pt x="53" y="263"/>
                    </a:lnTo>
                    <a:lnTo>
                      <a:pt x="54" y="264"/>
                    </a:lnTo>
                    <a:lnTo>
                      <a:pt x="56" y="266"/>
                    </a:lnTo>
                    <a:lnTo>
                      <a:pt x="63" y="272"/>
                    </a:lnTo>
                    <a:lnTo>
                      <a:pt x="63" y="272"/>
                    </a:lnTo>
                    <a:lnTo>
                      <a:pt x="67" y="274"/>
                    </a:lnTo>
                    <a:lnTo>
                      <a:pt x="68" y="277"/>
                    </a:lnTo>
                    <a:lnTo>
                      <a:pt x="68" y="282"/>
                    </a:lnTo>
                    <a:lnTo>
                      <a:pt x="68" y="282"/>
                    </a:lnTo>
                    <a:lnTo>
                      <a:pt x="71" y="284"/>
                    </a:lnTo>
                    <a:lnTo>
                      <a:pt x="74" y="287"/>
                    </a:lnTo>
                    <a:lnTo>
                      <a:pt x="80" y="290"/>
                    </a:lnTo>
                    <a:lnTo>
                      <a:pt x="84" y="300"/>
                    </a:lnTo>
                    <a:lnTo>
                      <a:pt x="84" y="300"/>
                    </a:lnTo>
                    <a:lnTo>
                      <a:pt x="85" y="301"/>
                    </a:lnTo>
                    <a:lnTo>
                      <a:pt x="88" y="303"/>
                    </a:lnTo>
                    <a:lnTo>
                      <a:pt x="88" y="303"/>
                    </a:lnTo>
                    <a:lnTo>
                      <a:pt x="90" y="307"/>
                    </a:lnTo>
                    <a:lnTo>
                      <a:pt x="93" y="310"/>
                    </a:lnTo>
                    <a:lnTo>
                      <a:pt x="94" y="311"/>
                    </a:lnTo>
                    <a:lnTo>
                      <a:pt x="94" y="311"/>
                    </a:lnTo>
                    <a:lnTo>
                      <a:pt x="98" y="313"/>
                    </a:lnTo>
                    <a:lnTo>
                      <a:pt x="101" y="313"/>
                    </a:lnTo>
                    <a:lnTo>
                      <a:pt x="104" y="311"/>
                    </a:lnTo>
                    <a:lnTo>
                      <a:pt x="104" y="311"/>
                    </a:lnTo>
                    <a:lnTo>
                      <a:pt x="108" y="310"/>
                    </a:lnTo>
                    <a:lnTo>
                      <a:pt x="111" y="310"/>
                    </a:lnTo>
                    <a:lnTo>
                      <a:pt x="114" y="313"/>
                    </a:lnTo>
                    <a:lnTo>
                      <a:pt x="114" y="313"/>
                    </a:lnTo>
                    <a:lnTo>
                      <a:pt x="117" y="311"/>
                    </a:lnTo>
                    <a:lnTo>
                      <a:pt x="118" y="310"/>
                    </a:lnTo>
                    <a:lnTo>
                      <a:pt x="121" y="310"/>
                    </a:lnTo>
                    <a:lnTo>
                      <a:pt x="121" y="310"/>
                    </a:lnTo>
                    <a:lnTo>
                      <a:pt x="140" y="326"/>
                    </a:lnTo>
                    <a:lnTo>
                      <a:pt x="140" y="326"/>
                    </a:lnTo>
                    <a:lnTo>
                      <a:pt x="145" y="324"/>
                    </a:lnTo>
                    <a:lnTo>
                      <a:pt x="152" y="323"/>
                    </a:lnTo>
                    <a:lnTo>
                      <a:pt x="152" y="323"/>
                    </a:lnTo>
                    <a:lnTo>
                      <a:pt x="155" y="323"/>
                    </a:lnTo>
                    <a:lnTo>
                      <a:pt x="158" y="326"/>
                    </a:lnTo>
                    <a:lnTo>
                      <a:pt x="159" y="327"/>
                    </a:lnTo>
                    <a:lnTo>
                      <a:pt x="162" y="326"/>
                    </a:lnTo>
                    <a:lnTo>
                      <a:pt x="162" y="326"/>
                    </a:lnTo>
                    <a:lnTo>
                      <a:pt x="167" y="323"/>
                    </a:lnTo>
                    <a:lnTo>
                      <a:pt x="171" y="321"/>
                    </a:lnTo>
                    <a:lnTo>
                      <a:pt x="174" y="323"/>
                    </a:lnTo>
                    <a:lnTo>
                      <a:pt x="174" y="323"/>
                    </a:lnTo>
                    <a:lnTo>
                      <a:pt x="179" y="323"/>
                    </a:lnTo>
                    <a:lnTo>
                      <a:pt x="182" y="323"/>
                    </a:lnTo>
                    <a:lnTo>
                      <a:pt x="184" y="321"/>
                    </a:lnTo>
                    <a:lnTo>
                      <a:pt x="184" y="321"/>
                    </a:lnTo>
                    <a:lnTo>
                      <a:pt x="185" y="319"/>
                    </a:lnTo>
                    <a:lnTo>
                      <a:pt x="189" y="317"/>
                    </a:lnTo>
                    <a:lnTo>
                      <a:pt x="189" y="317"/>
                    </a:lnTo>
                    <a:lnTo>
                      <a:pt x="191" y="314"/>
                    </a:lnTo>
                    <a:lnTo>
                      <a:pt x="191" y="314"/>
                    </a:lnTo>
                    <a:lnTo>
                      <a:pt x="192" y="311"/>
                    </a:lnTo>
                    <a:lnTo>
                      <a:pt x="196" y="309"/>
                    </a:lnTo>
                    <a:lnTo>
                      <a:pt x="204" y="306"/>
                    </a:lnTo>
                    <a:lnTo>
                      <a:pt x="204" y="306"/>
                    </a:lnTo>
                    <a:lnTo>
                      <a:pt x="209" y="304"/>
                    </a:lnTo>
                    <a:lnTo>
                      <a:pt x="212" y="306"/>
                    </a:lnTo>
                    <a:lnTo>
                      <a:pt x="213" y="306"/>
                    </a:lnTo>
                    <a:lnTo>
                      <a:pt x="213" y="306"/>
                    </a:lnTo>
                    <a:lnTo>
                      <a:pt x="218" y="309"/>
                    </a:lnTo>
                    <a:lnTo>
                      <a:pt x="218" y="309"/>
                    </a:lnTo>
                    <a:lnTo>
                      <a:pt x="219" y="299"/>
                    </a:lnTo>
                    <a:lnTo>
                      <a:pt x="219" y="296"/>
                    </a:lnTo>
                    <a:lnTo>
                      <a:pt x="218" y="294"/>
                    </a:lnTo>
                    <a:lnTo>
                      <a:pt x="218" y="294"/>
                    </a:lnTo>
                    <a:lnTo>
                      <a:pt x="213" y="294"/>
                    </a:lnTo>
                    <a:lnTo>
                      <a:pt x="209" y="292"/>
                    </a:lnTo>
                    <a:lnTo>
                      <a:pt x="206" y="289"/>
                    </a:lnTo>
                    <a:lnTo>
                      <a:pt x="202" y="283"/>
                    </a:lnTo>
                    <a:lnTo>
                      <a:pt x="202" y="283"/>
                    </a:lnTo>
                    <a:lnTo>
                      <a:pt x="199" y="277"/>
                    </a:lnTo>
                    <a:lnTo>
                      <a:pt x="195" y="273"/>
                    </a:lnTo>
                    <a:lnTo>
                      <a:pt x="191" y="269"/>
                    </a:lnTo>
                    <a:lnTo>
                      <a:pt x="189" y="264"/>
                    </a:lnTo>
                    <a:lnTo>
                      <a:pt x="189" y="264"/>
                    </a:lnTo>
                    <a:lnTo>
                      <a:pt x="186" y="262"/>
                    </a:lnTo>
                    <a:lnTo>
                      <a:pt x="181" y="260"/>
                    </a:lnTo>
                    <a:lnTo>
                      <a:pt x="177" y="259"/>
                    </a:lnTo>
                    <a:lnTo>
                      <a:pt x="174" y="257"/>
                    </a:lnTo>
                    <a:lnTo>
                      <a:pt x="174" y="257"/>
                    </a:lnTo>
                    <a:lnTo>
                      <a:pt x="174" y="255"/>
                    </a:lnTo>
                    <a:lnTo>
                      <a:pt x="175" y="253"/>
                    </a:lnTo>
                    <a:lnTo>
                      <a:pt x="177" y="252"/>
                    </a:lnTo>
                    <a:lnTo>
                      <a:pt x="177" y="247"/>
                    </a:lnTo>
                    <a:lnTo>
                      <a:pt x="177" y="247"/>
                    </a:lnTo>
                    <a:lnTo>
                      <a:pt x="178" y="246"/>
                    </a:lnTo>
                    <a:lnTo>
                      <a:pt x="179" y="246"/>
                    </a:lnTo>
                    <a:lnTo>
                      <a:pt x="184" y="245"/>
                    </a:lnTo>
                    <a:lnTo>
                      <a:pt x="189" y="245"/>
                    </a:lnTo>
                    <a:lnTo>
                      <a:pt x="189" y="245"/>
                    </a:lnTo>
                    <a:lnTo>
                      <a:pt x="191" y="237"/>
                    </a:lnTo>
                    <a:lnTo>
                      <a:pt x="192" y="227"/>
                    </a:lnTo>
                    <a:lnTo>
                      <a:pt x="192" y="227"/>
                    </a:lnTo>
                    <a:lnTo>
                      <a:pt x="194" y="223"/>
                    </a:lnTo>
                    <a:lnTo>
                      <a:pt x="195" y="219"/>
                    </a:lnTo>
                    <a:lnTo>
                      <a:pt x="198" y="215"/>
                    </a:lnTo>
                    <a:lnTo>
                      <a:pt x="198" y="213"/>
                    </a:lnTo>
                    <a:lnTo>
                      <a:pt x="196" y="212"/>
                    </a:lnTo>
                    <a:lnTo>
                      <a:pt x="196" y="212"/>
                    </a:lnTo>
                    <a:lnTo>
                      <a:pt x="196" y="210"/>
                    </a:lnTo>
                    <a:lnTo>
                      <a:pt x="198" y="209"/>
                    </a:lnTo>
                    <a:lnTo>
                      <a:pt x="204" y="205"/>
                    </a:lnTo>
                    <a:lnTo>
                      <a:pt x="204" y="205"/>
                    </a:lnTo>
                    <a:lnTo>
                      <a:pt x="205" y="202"/>
                    </a:lnTo>
                    <a:lnTo>
                      <a:pt x="206" y="198"/>
                    </a:lnTo>
                    <a:lnTo>
                      <a:pt x="206" y="193"/>
                    </a:lnTo>
                    <a:lnTo>
                      <a:pt x="209" y="189"/>
                    </a:lnTo>
                    <a:lnTo>
                      <a:pt x="209" y="189"/>
                    </a:lnTo>
                    <a:lnTo>
                      <a:pt x="213" y="182"/>
                    </a:lnTo>
                    <a:lnTo>
                      <a:pt x="216" y="179"/>
                    </a:lnTo>
                    <a:lnTo>
                      <a:pt x="219" y="178"/>
                    </a:lnTo>
                    <a:lnTo>
                      <a:pt x="219" y="178"/>
                    </a:lnTo>
                    <a:lnTo>
                      <a:pt x="221" y="178"/>
                    </a:lnTo>
                    <a:lnTo>
                      <a:pt x="223" y="175"/>
                    </a:lnTo>
                    <a:lnTo>
                      <a:pt x="225" y="172"/>
                    </a:lnTo>
                    <a:lnTo>
                      <a:pt x="225" y="169"/>
                    </a:lnTo>
                    <a:lnTo>
                      <a:pt x="225" y="169"/>
                    </a:lnTo>
                    <a:lnTo>
                      <a:pt x="226" y="166"/>
                    </a:lnTo>
                    <a:lnTo>
                      <a:pt x="229" y="162"/>
                    </a:lnTo>
                    <a:lnTo>
                      <a:pt x="231" y="156"/>
                    </a:lnTo>
                    <a:lnTo>
                      <a:pt x="232" y="151"/>
                    </a:lnTo>
                    <a:lnTo>
                      <a:pt x="232" y="151"/>
                    </a:lnTo>
                    <a:lnTo>
                      <a:pt x="229" y="139"/>
                    </a:lnTo>
                    <a:lnTo>
                      <a:pt x="231" y="134"/>
                    </a:lnTo>
                    <a:lnTo>
                      <a:pt x="232" y="129"/>
                    </a:lnTo>
                    <a:lnTo>
                      <a:pt x="232" y="129"/>
                    </a:lnTo>
                    <a:lnTo>
                      <a:pt x="238" y="121"/>
                    </a:lnTo>
                    <a:lnTo>
                      <a:pt x="239" y="117"/>
                    </a:lnTo>
                    <a:lnTo>
                      <a:pt x="238" y="114"/>
                    </a:lnTo>
                    <a:lnTo>
                      <a:pt x="238" y="114"/>
                    </a:lnTo>
                    <a:lnTo>
                      <a:pt x="239" y="111"/>
                    </a:lnTo>
                    <a:lnTo>
                      <a:pt x="242" y="108"/>
                    </a:lnTo>
                    <a:lnTo>
                      <a:pt x="248" y="104"/>
                    </a:lnTo>
                    <a:lnTo>
                      <a:pt x="248" y="104"/>
                    </a:lnTo>
                    <a:lnTo>
                      <a:pt x="253" y="99"/>
                    </a:lnTo>
                    <a:lnTo>
                      <a:pt x="258" y="95"/>
                    </a:lnTo>
                    <a:lnTo>
                      <a:pt x="263" y="89"/>
                    </a:lnTo>
                    <a:lnTo>
                      <a:pt x="263" y="89"/>
                    </a:lnTo>
                    <a:lnTo>
                      <a:pt x="258" y="84"/>
                    </a:lnTo>
                    <a:lnTo>
                      <a:pt x="253" y="81"/>
                    </a:lnTo>
                    <a:lnTo>
                      <a:pt x="253" y="81"/>
                    </a:lnTo>
                    <a:lnTo>
                      <a:pt x="249" y="78"/>
                    </a:lnTo>
                    <a:lnTo>
                      <a:pt x="246" y="72"/>
                    </a:lnTo>
                    <a:lnTo>
                      <a:pt x="243" y="64"/>
                    </a:lnTo>
                    <a:lnTo>
                      <a:pt x="243" y="55"/>
                    </a:lnTo>
                    <a:lnTo>
                      <a:pt x="243" y="55"/>
                    </a:lnTo>
                    <a:lnTo>
                      <a:pt x="243" y="47"/>
                    </a:lnTo>
                    <a:lnTo>
                      <a:pt x="242" y="40"/>
                    </a:lnTo>
                    <a:lnTo>
                      <a:pt x="239" y="30"/>
                    </a:lnTo>
                    <a:lnTo>
                      <a:pt x="239" y="30"/>
                    </a:lnTo>
                    <a:lnTo>
                      <a:pt x="238" y="25"/>
                    </a:lnTo>
                    <a:lnTo>
                      <a:pt x="235" y="21"/>
                    </a:lnTo>
                    <a:lnTo>
                      <a:pt x="231" y="17"/>
                    </a:lnTo>
                    <a:lnTo>
                      <a:pt x="226" y="13"/>
                    </a:lnTo>
                    <a:lnTo>
                      <a:pt x="226" y="13"/>
                    </a:lnTo>
                    <a:lnTo>
                      <a:pt x="222" y="10"/>
                    </a:lnTo>
                    <a:lnTo>
                      <a:pt x="219" y="7"/>
                    </a:lnTo>
                    <a:lnTo>
                      <a:pt x="218" y="4"/>
                    </a:lnTo>
                    <a:lnTo>
                      <a:pt x="216" y="0"/>
                    </a:lnTo>
                    <a:lnTo>
                      <a:pt x="216" y="0"/>
                    </a:lnTo>
                    <a:lnTo>
                      <a:pt x="216" y="1"/>
                    </a:lnTo>
                    <a:lnTo>
                      <a:pt x="216" y="1"/>
                    </a:lnTo>
                    <a:lnTo>
                      <a:pt x="212" y="7"/>
                    </a:lnTo>
                    <a:lnTo>
                      <a:pt x="208" y="7"/>
                    </a:lnTo>
                    <a:lnTo>
                      <a:pt x="208" y="7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64" name="Libya">
                <a:extLst>
                  <a:ext uri="{FF2B5EF4-FFF2-40B4-BE49-F238E27FC236}">
                    <a16:creationId xmlns:a16="http://schemas.microsoft.com/office/drawing/2014/main" id="{639A7FC5-1293-B5D5-FD5A-70FC2DCDBA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9804" y="3491420"/>
                <a:ext cx="359588" cy="344790"/>
              </a:xfrm>
              <a:custGeom>
                <a:avLst/>
                <a:gdLst/>
                <a:ahLst/>
                <a:cxnLst>
                  <a:cxn ang="0">
                    <a:pos x="21" y="18"/>
                  </a:cxn>
                  <a:cxn ang="0">
                    <a:pos x="13" y="28"/>
                  </a:cxn>
                  <a:cxn ang="0">
                    <a:pos x="13" y="37"/>
                  </a:cxn>
                  <a:cxn ang="0">
                    <a:pos x="7" y="47"/>
                  </a:cxn>
                  <a:cxn ang="0">
                    <a:pos x="0" y="54"/>
                  </a:cxn>
                  <a:cxn ang="0">
                    <a:pos x="3" y="59"/>
                  </a:cxn>
                  <a:cxn ang="0">
                    <a:pos x="9" y="74"/>
                  </a:cxn>
                  <a:cxn ang="0">
                    <a:pos x="7" y="85"/>
                  </a:cxn>
                  <a:cxn ang="0">
                    <a:pos x="9" y="92"/>
                  </a:cxn>
                  <a:cxn ang="0">
                    <a:pos x="4" y="98"/>
                  </a:cxn>
                  <a:cxn ang="0">
                    <a:pos x="6" y="106"/>
                  </a:cxn>
                  <a:cxn ang="0">
                    <a:pos x="9" y="113"/>
                  </a:cxn>
                  <a:cxn ang="0">
                    <a:pos x="1" y="119"/>
                  </a:cxn>
                  <a:cxn ang="0">
                    <a:pos x="1" y="123"/>
                  </a:cxn>
                  <a:cxn ang="0">
                    <a:pos x="9" y="132"/>
                  </a:cxn>
                  <a:cxn ang="0">
                    <a:pos x="10" y="143"/>
                  </a:cxn>
                  <a:cxn ang="0">
                    <a:pos x="14" y="149"/>
                  </a:cxn>
                  <a:cxn ang="0">
                    <a:pos x="21" y="150"/>
                  </a:cxn>
                  <a:cxn ang="0">
                    <a:pos x="30" y="153"/>
                  </a:cxn>
                  <a:cxn ang="0">
                    <a:pos x="36" y="155"/>
                  </a:cxn>
                  <a:cxn ang="0">
                    <a:pos x="41" y="167"/>
                  </a:cxn>
                  <a:cxn ang="0">
                    <a:pos x="64" y="172"/>
                  </a:cxn>
                  <a:cxn ang="0">
                    <a:pos x="75" y="182"/>
                  </a:cxn>
                  <a:cxn ang="0">
                    <a:pos x="225" y="224"/>
                  </a:cxn>
                  <a:cxn ang="0">
                    <a:pos x="239" y="68"/>
                  </a:cxn>
                  <a:cxn ang="0">
                    <a:pos x="238" y="54"/>
                  </a:cxn>
                  <a:cxn ang="0">
                    <a:pos x="239" y="44"/>
                  </a:cxn>
                  <a:cxn ang="0">
                    <a:pos x="240" y="31"/>
                  </a:cxn>
                  <a:cxn ang="0">
                    <a:pos x="243" y="20"/>
                  </a:cxn>
                  <a:cxn ang="0">
                    <a:pos x="242" y="20"/>
                  </a:cxn>
                  <a:cxn ang="0">
                    <a:pos x="221" y="14"/>
                  </a:cxn>
                  <a:cxn ang="0">
                    <a:pos x="213" y="11"/>
                  </a:cxn>
                  <a:cxn ang="0">
                    <a:pos x="201" y="2"/>
                  </a:cxn>
                  <a:cxn ang="0">
                    <a:pos x="191" y="1"/>
                  </a:cxn>
                  <a:cxn ang="0">
                    <a:pos x="164" y="14"/>
                  </a:cxn>
                  <a:cxn ang="0">
                    <a:pos x="161" y="20"/>
                  </a:cxn>
                  <a:cxn ang="0">
                    <a:pos x="164" y="35"/>
                  </a:cxn>
                  <a:cxn ang="0">
                    <a:pos x="162" y="41"/>
                  </a:cxn>
                  <a:cxn ang="0">
                    <a:pos x="144" y="45"/>
                  </a:cxn>
                  <a:cxn ang="0">
                    <a:pos x="131" y="35"/>
                  </a:cxn>
                  <a:cxn ang="0">
                    <a:pos x="108" y="29"/>
                  </a:cxn>
                  <a:cxn ang="0">
                    <a:pos x="97" y="27"/>
                  </a:cxn>
                  <a:cxn ang="0">
                    <a:pos x="93" y="18"/>
                  </a:cxn>
                  <a:cxn ang="0">
                    <a:pos x="87" y="11"/>
                  </a:cxn>
                  <a:cxn ang="0">
                    <a:pos x="75" y="7"/>
                  </a:cxn>
                  <a:cxn ang="0">
                    <a:pos x="53" y="4"/>
                  </a:cxn>
                  <a:cxn ang="0">
                    <a:pos x="43" y="2"/>
                  </a:cxn>
                  <a:cxn ang="0">
                    <a:pos x="34" y="8"/>
                  </a:cxn>
                  <a:cxn ang="0">
                    <a:pos x="31" y="12"/>
                  </a:cxn>
                </a:cxnLst>
                <a:rect l="0" t="0" r="r" b="b"/>
                <a:pathLst>
                  <a:path w="243" h="233">
                    <a:moveTo>
                      <a:pt x="27" y="12"/>
                    </a:moveTo>
                    <a:lnTo>
                      <a:pt x="27" y="12"/>
                    </a:lnTo>
                    <a:lnTo>
                      <a:pt x="21" y="18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3" y="28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13" y="37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7" y="47"/>
                    </a:lnTo>
                    <a:lnTo>
                      <a:pt x="4" y="49"/>
                    </a:lnTo>
                    <a:lnTo>
                      <a:pt x="1" y="52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6"/>
                    </a:lnTo>
                    <a:lnTo>
                      <a:pt x="3" y="59"/>
                    </a:lnTo>
                    <a:lnTo>
                      <a:pt x="7" y="68"/>
                    </a:lnTo>
                    <a:lnTo>
                      <a:pt x="7" y="68"/>
                    </a:lnTo>
                    <a:lnTo>
                      <a:pt x="9" y="74"/>
                    </a:lnTo>
                    <a:lnTo>
                      <a:pt x="7" y="78"/>
                    </a:lnTo>
                    <a:lnTo>
                      <a:pt x="6" y="81"/>
                    </a:lnTo>
                    <a:lnTo>
                      <a:pt x="7" y="85"/>
                    </a:lnTo>
                    <a:lnTo>
                      <a:pt x="7" y="85"/>
                    </a:lnTo>
                    <a:lnTo>
                      <a:pt x="9" y="89"/>
                    </a:lnTo>
                    <a:lnTo>
                      <a:pt x="9" y="92"/>
                    </a:lnTo>
                    <a:lnTo>
                      <a:pt x="6" y="96"/>
                    </a:lnTo>
                    <a:lnTo>
                      <a:pt x="6" y="96"/>
                    </a:lnTo>
                    <a:lnTo>
                      <a:pt x="4" y="98"/>
                    </a:lnTo>
                    <a:lnTo>
                      <a:pt x="4" y="101"/>
                    </a:lnTo>
                    <a:lnTo>
                      <a:pt x="6" y="106"/>
                    </a:lnTo>
                    <a:lnTo>
                      <a:pt x="6" y="106"/>
                    </a:lnTo>
                    <a:lnTo>
                      <a:pt x="7" y="111"/>
                    </a:lnTo>
                    <a:lnTo>
                      <a:pt x="9" y="112"/>
                    </a:lnTo>
                    <a:lnTo>
                      <a:pt x="9" y="113"/>
                    </a:lnTo>
                    <a:lnTo>
                      <a:pt x="9" y="113"/>
                    </a:lnTo>
                    <a:lnTo>
                      <a:pt x="4" y="116"/>
                    </a:lnTo>
                    <a:lnTo>
                      <a:pt x="1" y="119"/>
                    </a:lnTo>
                    <a:lnTo>
                      <a:pt x="1" y="121"/>
                    </a:lnTo>
                    <a:lnTo>
                      <a:pt x="1" y="121"/>
                    </a:lnTo>
                    <a:lnTo>
                      <a:pt x="1" y="123"/>
                    </a:lnTo>
                    <a:lnTo>
                      <a:pt x="3" y="125"/>
                    </a:lnTo>
                    <a:lnTo>
                      <a:pt x="9" y="132"/>
                    </a:lnTo>
                    <a:lnTo>
                      <a:pt x="9" y="132"/>
                    </a:lnTo>
                    <a:lnTo>
                      <a:pt x="10" y="135"/>
                    </a:lnTo>
                    <a:lnTo>
                      <a:pt x="10" y="138"/>
                    </a:lnTo>
                    <a:lnTo>
                      <a:pt x="10" y="143"/>
                    </a:lnTo>
                    <a:lnTo>
                      <a:pt x="10" y="143"/>
                    </a:lnTo>
                    <a:lnTo>
                      <a:pt x="11" y="146"/>
                    </a:lnTo>
                    <a:lnTo>
                      <a:pt x="14" y="149"/>
                    </a:lnTo>
                    <a:lnTo>
                      <a:pt x="17" y="150"/>
                    </a:lnTo>
                    <a:lnTo>
                      <a:pt x="21" y="150"/>
                    </a:lnTo>
                    <a:lnTo>
                      <a:pt x="21" y="150"/>
                    </a:lnTo>
                    <a:lnTo>
                      <a:pt x="24" y="150"/>
                    </a:lnTo>
                    <a:lnTo>
                      <a:pt x="27" y="152"/>
                    </a:lnTo>
                    <a:lnTo>
                      <a:pt x="30" y="153"/>
                    </a:lnTo>
                    <a:lnTo>
                      <a:pt x="33" y="153"/>
                    </a:lnTo>
                    <a:lnTo>
                      <a:pt x="33" y="153"/>
                    </a:lnTo>
                    <a:lnTo>
                      <a:pt x="36" y="155"/>
                    </a:lnTo>
                    <a:lnTo>
                      <a:pt x="37" y="157"/>
                    </a:lnTo>
                    <a:lnTo>
                      <a:pt x="41" y="167"/>
                    </a:lnTo>
                    <a:lnTo>
                      <a:pt x="41" y="167"/>
                    </a:lnTo>
                    <a:lnTo>
                      <a:pt x="51" y="167"/>
                    </a:lnTo>
                    <a:lnTo>
                      <a:pt x="58" y="169"/>
                    </a:lnTo>
                    <a:lnTo>
                      <a:pt x="64" y="172"/>
                    </a:lnTo>
                    <a:lnTo>
                      <a:pt x="64" y="172"/>
                    </a:lnTo>
                    <a:lnTo>
                      <a:pt x="73" y="179"/>
                    </a:lnTo>
                    <a:lnTo>
                      <a:pt x="75" y="182"/>
                    </a:lnTo>
                    <a:lnTo>
                      <a:pt x="102" y="167"/>
                    </a:lnTo>
                    <a:lnTo>
                      <a:pt x="225" y="233"/>
                    </a:lnTo>
                    <a:lnTo>
                      <a:pt x="225" y="224"/>
                    </a:lnTo>
                    <a:lnTo>
                      <a:pt x="239" y="224"/>
                    </a:lnTo>
                    <a:lnTo>
                      <a:pt x="239" y="224"/>
                    </a:lnTo>
                    <a:lnTo>
                      <a:pt x="239" y="68"/>
                    </a:lnTo>
                    <a:lnTo>
                      <a:pt x="239" y="68"/>
                    </a:lnTo>
                    <a:lnTo>
                      <a:pt x="239" y="59"/>
                    </a:lnTo>
                    <a:lnTo>
                      <a:pt x="238" y="54"/>
                    </a:lnTo>
                    <a:lnTo>
                      <a:pt x="238" y="48"/>
                    </a:lnTo>
                    <a:lnTo>
                      <a:pt x="239" y="44"/>
                    </a:lnTo>
                    <a:lnTo>
                      <a:pt x="239" y="44"/>
                    </a:lnTo>
                    <a:lnTo>
                      <a:pt x="240" y="39"/>
                    </a:lnTo>
                    <a:lnTo>
                      <a:pt x="240" y="35"/>
                    </a:lnTo>
                    <a:lnTo>
                      <a:pt x="240" y="31"/>
                    </a:lnTo>
                    <a:lnTo>
                      <a:pt x="240" y="24"/>
                    </a:lnTo>
                    <a:lnTo>
                      <a:pt x="240" y="24"/>
                    </a:lnTo>
                    <a:lnTo>
                      <a:pt x="243" y="20"/>
                    </a:lnTo>
                    <a:lnTo>
                      <a:pt x="243" y="20"/>
                    </a:lnTo>
                    <a:lnTo>
                      <a:pt x="242" y="20"/>
                    </a:lnTo>
                    <a:lnTo>
                      <a:pt x="242" y="20"/>
                    </a:lnTo>
                    <a:lnTo>
                      <a:pt x="240" y="18"/>
                    </a:lnTo>
                    <a:lnTo>
                      <a:pt x="236" y="17"/>
                    </a:lnTo>
                    <a:lnTo>
                      <a:pt x="221" y="14"/>
                    </a:lnTo>
                    <a:lnTo>
                      <a:pt x="221" y="14"/>
                    </a:lnTo>
                    <a:lnTo>
                      <a:pt x="216" y="12"/>
                    </a:lnTo>
                    <a:lnTo>
                      <a:pt x="213" y="11"/>
                    </a:lnTo>
                    <a:lnTo>
                      <a:pt x="209" y="7"/>
                    </a:lnTo>
                    <a:lnTo>
                      <a:pt x="205" y="4"/>
                    </a:lnTo>
                    <a:lnTo>
                      <a:pt x="201" y="2"/>
                    </a:lnTo>
                    <a:lnTo>
                      <a:pt x="196" y="1"/>
                    </a:lnTo>
                    <a:lnTo>
                      <a:pt x="196" y="1"/>
                    </a:lnTo>
                    <a:lnTo>
                      <a:pt x="191" y="1"/>
                    </a:lnTo>
                    <a:lnTo>
                      <a:pt x="184" y="2"/>
                    </a:lnTo>
                    <a:lnTo>
                      <a:pt x="172" y="7"/>
                    </a:lnTo>
                    <a:lnTo>
                      <a:pt x="164" y="14"/>
                    </a:lnTo>
                    <a:lnTo>
                      <a:pt x="161" y="17"/>
                    </a:lnTo>
                    <a:lnTo>
                      <a:pt x="161" y="20"/>
                    </a:lnTo>
                    <a:lnTo>
                      <a:pt x="161" y="20"/>
                    </a:lnTo>
                    <a:lnTo>
                      <a:pt x="161" y="24"/>
                    </a:lnTo>
                    <a:lnTo>
                      <a:pt x="164" y="29"/>
                    </a:lnTo>
                    <a:lnTo>
                      <a:pt x="164" y="35"/>
                    </a:lnTo>
                    <a:lnTo>
                      <a:pt x="164" y="38"/>
                    </a:lnTo>
                    <a:lnTo>
                      <a:pt x="162" y="41"/>
                    </a:lnTo>
                    <a:lnTo>
                      <a:pt x="162" y="41"/>
                    </a:lnTo>
                    <a:lnTo>
                      <a:pt x="158" y="44"/>
                    </a:lnTo>
                    <a:lnTo>
                      <a:pt x="151" y="45"/>
                    </a:lnTo>
                    <a:lnTo>
                      <a:pt x="144" y="45"/>
                    </a:lnTo>
                    <a:lnTo>
                      <a:pt x="138" y="41"/>
                    </a:lnTo>
                    <a:lnTo>
                      <a:pt x="138" y="41"/>
                    </a:lnTo>
                    <a:lnTo>
                      <a:pt x="131" y="35"/>
                    </a:lnTo>
                    <a:lnTo>
                      <a:pt x="124" y="32"/>
                    </a:lnTo>
                    <a:lnTo>
                      <a:pt x="115" y="31"/>
                    </a:lnTo>
                    <a:lnTo>
                      <a:pt x="108" y="29"/>
                    </a:lnTo>
                    <a:lnTo>
                      <a:pt x="108" y="29"/>
                    </a:lnTo>
                    <a:lnTo>
                      <a:pt x="101" y="29"/>
                    </a:lnTo>
                    <a:lnTo>
                      <a:pt x="97" y="27"/>
                    </a:lnTo>
                    <a:lnTo>
                      <a:pt x="93" y="22"/>
                    </a:lnTo>
                    <a:lnTo>
                      <a:pt x="93" y="18"/>
                    </a:lnTo>
                    <a:lnTo>
                      <a:pt x="93" y="18"/>
                    </a:lnTo>
                    <a:lnTo>
                      <a:pt x="93" y="15"/>
                    </a:lnTo>
                    <a:lnTo>
                      <a:pt x="90" y="12"/>
                    </a:lnTo>
                    <a:lnTo>
                      <a:pt x="87" y="11"/>
                    </a:lnTo>
                    <a:lnTo>
                      <a:pt x="83" y="10"/>
                    </a:lnTo>
                    <a:lnTo>
                      <a:pt x="83" y="10"/>
                    </a:lnTo>
                    <a:lnTo>
                      <a:pt x="75" y="7"/>
                    </a:lnTo>
                    <a:lnTo>
                      <a:pt x="70" y="5"/>
                    </a:lnTo>
                    <a:lnTo>
                      <a:pt x="63" y="2"/>
                    </a:lnTo>
                    <a:lnTo>
                      <a:pt x="53" y="4"/>
                    </a:lnTo>
                    <a:lnTo>
                      <a:pt x="53" y="4"/>
                    </a:lnTo>
                    <a:lnTo>
                      <a:pt x="47" y="4"/>
                    </a:lnTo>
                    <a:lnTo>
                      <a:pt x="43" y="2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3" y="11"/>
                    </a:lnTo>
                    <a:lnTo>
                      <a:pt x="31" y="12"/>
                    </a:lnTo>
                    <a:lnTo>
                      <a:pt x="27" y="12"/>
                    </a:lnTo>
                    <a:lnTo>
                      <a:pt x="27" y="12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65" name="Eritrea">
                <a:extLst>
                  <a:ext uri="{FF2B5EF4-FFF2-40B4-BE49-F238E27FC236}">
                    <a16:creationId xmlns:a16="http://schemas.microsoft.com/office/drawing/2014/main" id="{9DE024D1-54B8-E543-548E-A7A7247D53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792" y="3873204"/>
                <a:ext cx="158338" cy="137620"/>
              </a:xfrm>
              <a:custGeom>
                <a:avLst/>
                <a:gdLst/>
                <a:ahLst/>
                <a:cxnLst>
                  <a:cxn ang="0">
                    <a:pos x="19" y="15"/>
                  </a:cxn>
                  <a:cxn ang="0">
                    <a:pos x="10" y="22"/>
                  </a:cxn>
                  <a:cxn ang="0">
                    <a:pos x="9" y="25"/>
                  </a:cxn>
                  <a:cxn ang="0">
                    <a:pos x="9" y="32"/>
                  </a:cxn>
                  <a:cxn ang="0">
                    <a:pos x="3" y="40"/>
                  </a:cxn>
                  <a:cxn ang="0">
                    <a:pos x="0" y="50"/>
                  </a:cxn>
                  <a:cxn ang="0">
                    <a:pos x="3" y="62"/>
                  </a:cxn>
                  <a:cxn ang="0">
                    <a:pos x="16" y="63"/>
                  </a:cxn>
                  <a:cxn ang="0">
                    <a:pos x="17" y="63"/>
                  </a:cxn>
                  <a:cxn ang="0">
                    <a:pos x="21" y="57"/>
                  </a:cxn>
                  <a:cxn ang="0">
                    <a:pos x="23" y="55"/>
                  </a:cxn>
                  <a:cxn ang="0">
                    <a:pos x="26" y="55"/>
                  </a:cxn>
                  <a:cxn ang="0">
                    <a:pos x="29" y="56"/>
                  </a:cxn>
                  <a:cxn ang="0">
                    <a:pos x="36" y="60"/>
                  </a:cxn>
                  <a:cxn ang="0">
                    <a:pos x="39" y="59"/>
                  </a:cxn>
                  <a:cxn ang="0">
                    <a:pos x="46" y="59"/>
                  </a:cxn>
                  <a:cxn ang="0">
                    <a:pos x="53" y="60"/>
                  </a:cxn>
                  <a:cxn ang="0">
                    <a:pos x="61" y="59"/>
                  </a:cxn>
                  <a:cxn ang="0">
                    <a:pos x="80" y="76"/>
                  </a:cxn>
                  <a:cxn ang="0">
                    <a:pos x="95" y="93"/>
                  </a:cxn>
                  <a:cxn ang="0">
                    <a:pos x="95" y="93"/>
                  </a:cxn>
                  <a:cxn ang="0">
                    <a:pos x="103" y="93"/>
                  </a:cxn>
                  <a:cxn ang="0">
                    <a:pos x="107" y="89"/>
                  </a:cxn>
                  <a:cxn ang="0">
                    <a:pos x="100" y="82"/>
                  </a:cxn>
                  <a:cxn ang="0">
                    <a:pos x="90" y="70"/>
                  </a:cxn>
                  <a:cxn ang="0">
                    <a:pos x="76" y="57"/>
                  </a:cxn>
                  <a:cxn ang="0">
                    <a:pos x="64" y="53"/>
                  </a:cxn>
                  <a:cxn ang="0">
                    <a:pos x="63" y="52"/>
                  </a:cxn>
                  <a:cxn ang="0">
                    <a:pos x="58" y="47"/>
                  </a:cxn>
                  <a:cxn ang="0">
                    <a:pos x="54" y="42"/>
                  </a:cxn>
                  <a:cxn ang="0">
                    <a:pos x="51" y="40"/>
                  </a:cxn>
                  <a:cxn ang="0">
                    <a:pos x="44" y="26"/>
                  </a:cxn>
                  <a:cxn ang="0">
                    <a:pos x="43" y="19"/>
                  </a:cxn>
                  <a:cxn ang="0">
                    <a:pos x="40" y="10"/>
                  </a:cxn>
                  <a:cxn ang="0">
                    <a:pos x="34" y="0"/>
                  </a:cxn>
                  <a:cxn ang="0">
                    <a:pos x="24" y="10"/>
                  </a:cxn>
                  <a:cxn ang="0">
                    <a:pos x="19" y="15"/>
                  </a:cxn>
                </a:cxnLst>
                <a:rect l="0" t="0" r="r" b="b"/>
                <a:pathLst>
                  <a:path w="107" h="93">
                    <a:moveTo>
                      <a:pt x="19" y="15"/>
                    </a:moveTo>
                    <a:lnTo>
                      <a:pt x="19" y="15"/>
                    </a:lnTo>
                    <a:lnTo>
                      <a:pt x="13" y="19"/>
                    </a:lnTo>
                    <a:lnTo>
                      <a:pt x="10" y="22"/>
                    </a:lnTo>
                    <a:lnTo>
                      <a:pt x="9" y="25"/>
                    </a:lnTo>
                    <a:lnTo>
                      <a:pt x="9" y="25"/>
                    </a:lnTo>
                    <a:lnTo>
                      <a:pt x="10" y="28"/>
                    </a:lnTo>
                    <a:lnTo>
                      <a:pt x="9" y="32"/>
                    </a:lnTo>
                    <a:lnTo>
                      <a:pt x="3" y="40"/>
                    </a:lnTo>
                    <a:lnTo>
                      <a:pt x="3" y="40"/>
                    </a:lnTo>
                    <a:lnTo>
                      <a:pt x="2" y="45"/>
                    </a:lnTo>
                    <a:lnTo>
                      <a:pt x="0" y="50"/>
                    </a:lnTo>
                    <a:lnTo>
                      <a:pt x="3" y="62"/>
                    </a:lnTo>
                    <a:lnTo>
                      <a:pt x="3" y="62"/>
                    </a:lnTo>
                    <a:lnTo>
                      <a:pt x="12" y="62"/>
                    </a:lnTo>
                    <a:lnTo>
                      <a:pt x="16" y="63"/>
                    </a:lnTo>
                    <a:lnTo>
                      <a:pt x="16" y="63"/>
                    </a:lnTo>
                    <a:lnTo>
                      <a:pt x="17" y="63"/>
                    </a:lnTo>
                    <a:lnTo>
                      <a:pt x="19" y="63"/>
                    </a:lnTo>
                    <a:lnTo>
                      <a:pt x="21" y="57"/>
                    </a:lnTo>
                    <a:lnTo>
                      <a:pt x="21" y="57"/>
                    </a:lnTo>
                    <a:lnTo>
                      <a:pt x="23" y="55"/>
                    </a:lnTo>
                    <a:lnTo>
                      <a:pt x="24" y="53"/>
                    </a:lnTo>
                    <a:lnTo>
                      <a:pt x="26" y="55"/>
                    </a:lnTo>
                    <a:lnTo>
                      <a:pt x="29" y="56"/>
                    </a:lnTo>
                    <a:lnTo>
                      <a:pt x="29" y="56"/>
                    </a:lnTo>
                    <a:lnTo>
                      <a:pt x="33" y="59"/>
                    </a:lnTo>
                    <a:lnTo>
                      <a:pt x="36" y="60"/>
                    </a:lnTo>
                    <a:lnTo>
                      <a:pt x="39" y="59"/>
                    </a:lnTo>
                    <a:lnTo>
                      <a:pt x="39" y="59"/>
                    </a:lnTo>
                    <a:lnTo>
                      <a:pt x="43" y="59"/>
                    </a:lnTo>
                    <a:lnTo>
                      <a:pt x="46" y="59"/>
                    </a:lnTo>
                    <a:lnTo>
                      <a:pt x="46" y="59"/>
                    </a:lnTo>
                    <a:lnTo>
                      <a:pt x="53" y="60"/>
                    </a:lnTo>
                    <a:lnTo>
                      <a:pt x="61" y="59"/>
                    </a:lnTo>
                    <a:lnTo>
                      <a:pt x="61" y="59"/>
                    </a:lnTo>
                    <a:lnTo>
                      <a:pt x="68" y="65"/>
                    </a:lnTo>
                    <a:lnTo>
                      <a:pt x="80" y="76"/>
                    </a:lnTo>
                    <a:lnTo>
                      <a:pt x="95" y="93"/>
                    </a:lnTo>
                    <a:lnTo>
                      <a:pt x="95" y="93"/>
                    </a:lnTo>
                    <a:lnTo>
                      <a:pt x="95" y="93"/>
                    </a:lnTo>
                    <a:lnTo>
                      <a:pt x="95" y="93"/>
                    </a:lnTo>
                    <a:lnTo>
                      <a:pt x="100" y="93"/>
                    </a:lnTo>
                    <a:lnTo>
                      <a:pt x="103" y="93"/>
                    </a:lnTo>
                    <a:lnTo>
                      <a:pt x="103" y="93"/>
                    </a:lnTo>
                    <a:lnTo>
                      <a:pt x="107" y="89"/>
                    </a:lnTo>
                    <a:lnTo>
                      <a:pt x="107" y="89"/>
                    </a:lnTo>
                    <a:lnTo>
                      <a:pt x="100" y="82"/>
                    </a:lnTo>
                    <a:lnTo>
                      <a:pt x="90" y="70"/>
                    </a:lnTo>
                    <a:lnTo>
                      <a:pt x="90" y="70"/>
                    </a:lnTo>
                    <a:lnTo>
                      <a:pt x="83" y="63"/>
                    </a:lnTo>
                    <a:lnTo>
                      <a:pt x="76" y="57"/>
                    </a:lnTo>
                    <a:lnTo>
                      <a:pt x="70" y="53"/>
                    </a:lnTo>
                    <a:lnTo>
                      <a:pt x="64" y="53"/>
                    </a:lnTo>
                    <a:lnTo>
                      <a:pt x="64" y="53"/>
                    </a:lnTo>
                    <a:lnTo>
                      <a:pt x="63" y="52"/>
                    </a:lnTo>
                    <a:lnTo>
                      <a:pt x="61" y="52"/>
                    </a:lnTo>
                    <a:lnTo>
                      <a:pt x="58" y="47"/>
                    </a:lnTo>
                    <a:lnTo>
                      <a:pt x="57" y="45"/>
                    </a:lnTo>
                    <a:lnTo>
                      <a:pt x="54" y="42"/>
                    </a:lnTo>
                    <a:lnTo>
                      <a:pt x="54" y="42"/>
                    </a:lnTo>
                    <a:lnTo>
                      <a:pt x="51" y="40"/>
                    </a:lnTo>
                    <a:lnTo>
                      <a:pt x="47" y="33"/>
                    </a:lnTo>
                    <a:lnTo>
                      <a:pt x="44" y="26"/>
                    </a:lnTo>
                    <a:lnTo>
                      <a:pt x="43" y="19"/>
                    </a:lnTo>
                    <a:lnTo>
                      <a:pt x="43" y="19"/>
                    </a:lnTo>
                    <a:lnTo>
                      <a:pt x="41" y="15"/>
                    </a:lnTo>
                    <a:lnTo>
                      <a:pt x="40" y="1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9" y="6"/>
                    </a:lnTo>
                    <a:lnTo>
                      <a:pt x="24" y="10"/>
                    </a:lnTo>
                    <a:lnTo>
                      <a:pt x="19" y="15"/>
                    </a:lnTo>
                    <a:lnTo>
                      <a:pt x="19" y="15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</p:grpSp>
        <p:grpSp>
          <p:nvGrpSpPr>
            <p:cNvPr id="190" name="Asia">
              <a:extLst>
                <a:ext uri="{FF2B5EF4-FFF2-40B4-BE49-F238E27FC236}">
                  <a16:creationId xmlns:a16="http://schemas.microsoft.com/office/drawing/2014/main" id="{50DB1C79-EC78-C710-108A-416E08071B97}"/>
                </a:ext>
              </a:extLst>
            </p:cNvPr>
            <p:cNvGrpSpPr/>
            <p:nvPr/>
          </p:nvGrpSpPr>
          <p:grpSpPr>
            <a:xfrm>
              <a:off x="7467761" y="3361769"/>
              <a:ext cx="2216715" cy="1682513"/>
              <a:chOff x="5943760" y="2896547"/>
              <a:chExt cx="2216715" cy="1682513"/>
            </a:xfrm>
            <a:solidFill>
              <a:schemeClr val="bg1">
                <a:lumMod val="75000"/>
              </a:schemeClr>
            </a:solidFill>
          </p:grpSpPr>
          <p:sp>
            <p:nvSpPr>
              <p:cNvPr id="294" name="China (Aksai Chin)">
                <a:extLst>
                  <a:ext uri="{FF2B5EF4-FFF2-40B4-BE49-F238E27FC236}">
                    <a16:creationId xmlns:a16="http://schemas.microsoft.com/office/drawing/2014/main" id="{11073858-7ADE-29F4-4FF5-42EFE1F728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4607" y="3417430"/>
                <a:ext cx="54753" cy="50312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3" y="0"/>
                  </a:cxn>
                  <a:cxn ang="0">
                    <a:pos x="7" y="3"/>
                  </a:cxn>
                  <a:cxn ang="0">
                    <a:pos x="3" y="5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3" y="14"/>
                  </a:cxn>
                  <a:cxn ang="0">
                    <a:pos x="3" y="14"/>
                  </a:cxn>
                  <a:cxn ang="0">
                    <a:pos x="5" y="17"/>
                  </a:cxn>
                  <a:cxn ang="0">
                    <a:pos x="6" y="20"/>
                  </a:cxn>
                  <a:cxn ang="0">
                    <a:pos x="13" y="25"/>
                  </a:cxn>
                  <a:cxn ang="0">
                    <a:pos x="13" y="25"/>
                  </a:cxn>
                  <a:cxn ang="0">
                    <a:pos x="15" y="27"/>
                  </a:cxn>
                  <a:cxn ang="0">
                    <a:pos x="15" y="28"/>
                  </a:cxn>
                  <a:cxn ang="0">
                    <a:pos x="15" y="34"/>
                  </a:cxn>
                  <a:cxn ang="0">
                    <a:pos x="15" y="34"/>
                  </a:cxn>
                  <a:cxn ang="0">
                    <a:pos x="22" y="34"/>
                  </a:cxn>
                  <a:cxn ang="0">
                    <a:pos x="22" y="34"/>
                  </a:cxn>
                  <a:cxn ang="0">
                    <a:pos x="26" y="31"/>
                  </a:cxn>
                  <a:cxn ang="0">
                    <a:pos x="30" y="25"/>
                  </a:cxn>
                  <a:cxn ang="0">
                    <a:pos x="37" y="14"/>
                  </a:cxn>
                  <a:cxn ang="0">
                    <a:pos x="37" y="14"/>
                  </a:cxn>
                  <a:cxn ang="0">
                    <a:pos x="37" y="13"/>
                  </a:cxn>
                  <a:cxn ang="0">
                    <a:pos x="36" y="11"/>
                  </a:cxn>
                  <a:cxn ang="0">
                    <a:pos x="30" y="5"/>
                  </a:cxn>
                  <a:cxn ang="0">
                    <a:pos x="24" y="1"/>
                  </a:cxn>
                  <a:cxn ang="0">
                    <a:pos x="19" y="0"/>
                  </a:cxn>
                  <a:cxn ang="0">
                    <a:pos x="19" y="0"/>
                  </a:cxn>
                </a:cxnLst>
                <a:rect l="0" t="0" r="r" b="b"/>
                <a:pathLst>
                  <a:path w="37" h="34">
                    <a:moveTo>
                      <a:pt x="19" y="0"/>
                    </a:moveTo>
                    <a:lnTo>
                      <a:pt x="19" y="0"/>
                    </a:lnTo>
                    <a:lnTo>
                      <a:pt x="13" y="0"/>
                    </a:lnTo>
                    <a:lnTo>
                      <a:pt x="7" y="3"/>
                    </a:lnTo>
                    <a:lnTo>
                      <a:pt x="3" y="5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3" y="14"/>
                    </a:lnTo>
                    <a:lnTo>
                      <a:pt x="3" y="14"/>
                    </a:lnTo>
                    <a:lnTo>
                      <a:pt x="5" y="17"/>
                    </a:lnTo>
                    <a:lnTo>
                      <a:pt x="6" y="20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5" y="27"/>
                    </a:lnTo>
                    <a:lnTo>
                      <a:pt x="15" y="28"/>
                    </a:lnTo>
                    <a:lnTo>
                      <a:pt x="15" y="34"/>
                    </a:lnTo>
                    <a:lnTo>
                      <a:pt x="15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6" y="31"/>
                    </a:lnTo>
                    <a:lnTo>
                      <a:pt x="30" y="25"/>
                    </a:lnTo>
                    <a:lnTo>
                      <a:pt x="37" y="14"/>
                    </a:lnTo>
                    <a:lnTo>
                      <a:pt x="37" y="14"/>
                    </a:lnTo>
                    <a:lnTo>
                      <a:pt x="37" y="13"/>
                    </a:lnTo>
                    <a:lnTo>
                      <a:pt x="36" y="11"/>
                    </a:lnTo>
                    <a:lnTo>
                      <a:pt x="30" y="5"/>
                    </a:lnTo>
                    <a:lnTo>
                      <a:pt x="24" y="1"/>
                    </a:lnTo>
                    <a:lnTo>
                      <a:pt x="19" y="0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95" name="Indonesia">
                <a:extLst>
                  <a:ext uri="{FF2B5EF4-FFF2-40B4-BE49-F238E27FC236}">
                    <a16:creationId xmlns:a16="http://schemas.microsoft.com/office/drawing/2014/main" id="{BA73E89D-03DC-D18F-DBFF-4AA6049773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57870" y="4180999"/>
                <a:ext cx="1086162" cy="383264"/>
              </a:xfrm>
              <a:custGeom>
                <a:avLst/>
                <a:gdLst/>
                <a:ahLst/>
                <a:cxnLst>
                  <a:cxn ang="0">
                    <a:pos x="397" y="182"/>
                  </a:cxn>
                  <a:cxn ang="0">
                    <a:pos x="406" y="138"/>
                  </a:cxn>
                  <a:cxn ang="0">
                    <a:pos x="418" y="167"/>
                  </a:cxn>
                  <a:cxn ang="0">
                    <a:pos x="431" y="135"/>
                  </a:cxn>
                  <a:cxn ang="0">
                    <a:pos x="448" y="103"/>
                  </a:cxn>
                  <a:cxn ang="0">
                    <a:pos x="396" y="103"/>
                  </a:cxn>
                  <a:cxn ang="0">
                    <a:pos x="461" y="84"/>
                  </a:cxn>
                  <a:cxn ang="0">
                    <a:pos x="420" y="71"/>
                  </a:cxn>
                  <a:cxn ang="0">
                    <a:pos x="389" y="103"/>
                  </a:cxn>
                  <a:cxn ang="0">
                    <a:pos x="169" y="162"/>
                  </a:cxn>
                  <a:cxn ang="0">
                    <a:pos x="181" y="134"/>
                  </a:cxn>
                  <a:cxn ang="0">
                    <a:pos x="167" y="127"/>
                  </a:cxn>
                  <a:cxn ang="0">
                    <a:pos x="151" y="123"/>
                  </a:cxn>
                  <a:cxn ang="0">
                    <a:pos x="132" y="97"/>
                  </a:cxn>
                  <a:cxn ang="0">
                    <a:pos x="115" y="74"/>
                  </a:cxn>
                  <a:cxn ang="0">
                    <a:pos x="86" y="57"/>
                  </a:cxn>
                  <a:cxn ang="0">
                    <a:pos x="41" y="13"/>
                  </a:cxn>
                  <a:cxn ang="0">
                    <a:pos x="6" y="19"/>
                  </a:cxn>
                  <a:cxn ang="0">
                    <a:pos x="57" y="81"/>
                  </a:cxn>
                  <a:cxn ang="0">
                    <a:pos x="110" y="152"/>
                  </a:cxn>
                  <a:cxn ang="0">
                    <a:pos x="154" y="184"/>
                  </a:cxn>
                  <a:cxn ang="0">
                    <a:pos x="537" y="74"/>
                  </a:cxn>
                  <a:cxn ang="0">
                    <a:pos x="517" y="64"/>
                  </a:cxn>
                  <a:cxn ang="0">
                    <a:pos x="528" y="86"/>
                  </a:cxn>
                  <a:cxn ang="0">
                    <a:pos x="502" y="142"/>
                  </a:cxn>
                  <a:cxn ang="0">
                    <a:pos x="421" y="228"/>
                  </a:cxn>
                  <a:cxn ang="0">
                    <a:pos x="443" y="232"/>
                  </a:cxn>
                  <a:cxn ang="0">
                    <a:pos x="525" y="144"/>
                  </a:cxn>
                  <a:cxn ang="0">
                    <a:pos x="568" y="148"/>
                  </a:cxn>
                  <a:cxn ang="0">
                    <a:pos x="276" y="214"/>
                  </a:cxn>
                  <a:cxn ang="0">
                    <a:pos x="245" y="199"/>
                  </a:cxn>
                  <a:cxn ang="0">
                    <a:pos x="174" y="188"/>
                  </a:cxn>
                  <a:cxn ang="0">
                    <a:pos x="181" y="211"/>
                  </a:cxn>
                  <a:cxn ang="0">
                    <a:pos x="246" y="225"/>
                  </a:cxn>
                  <a:cxn ang="0">
                    <a:pos x="310" y="231"/>
                  </a:cxn>
                  <a:cxn ang="0">
                    <a:pos x="677" y="117"/>
                  </a:cxn>
                  <a:cxn ang="0">
                    <a:pos x="636" y="145"/>
                  </a:cxn>
                  <a:cxn ang="0">
                    <a:pos x="586" y="101"/>
                  </a:cxn>
                  <a:cxn ang="0">
                    <a:pos x="586" y="120"/>
                  </a:cxn>
                  <a:cxn ang="0">
                    <a:pos x="606" y="134"/>
                  </a:cxn>
                  <a:cxn ang="0">
                    <a:pos x="606" y="158"/>
                  </a:cxn>
                  <a:cxn ang="0">
                    <a:pos x="642" y="165"/>
                  </a:cxn>
                  <a:cxn ang="0">
                    <a:pos x="702" y="211"/>
                  </a:cxn>
                  <a:cxn ang="0">
                    <a:pos x="717" y="224"/>
                  </a:cxn>
                  <a:cxn ang="0">
                    <a:pos x="470" y="239"/>
                  </a:cxn>
                  <a:cxn ang="0">
                    <a:pos x="454" y="259"/>
                  </a:cxn>
                  <a:cxn ang="0">
                    <a:pos x="474" y="236"/>
                  </a:cxn>
                  <a:cxn ang="0">
                    <a:pos x="377" y="76"/>
                  </a:cxn>
                  <a:cxn ang="0">
                    <a:pos x="353" y="37"/>
                  </a:cxn>
                  <a:cxn ang="0">
                    <a:pos x="343" y="22"/>
                  </a:cxn>
                  <a:cxn ang="0">
                    <a:pos x="316" y="50"/>
                  </a:cxn>
                  <a:cxn ang="0">
                    <a:pos x="282" y="67"/>
                  </a:cxn>
                  <a:cxn ang="0">
                    <a:pos x="235" y="71"/>
                  </a:cxn>
                  <a:cxn ang="0">
                    <a:pos x="215" y="81"/>
                  </a:cxn>
                  <a:cxn ang="0">
                    <a:pos x="242" y="135"/>
                  </a:cxn>
                  <a:cxn ang="0">
                    <a:pos x="286" y="145"/>
                  </a:cxn>
                  <a:cxn ang="0">
                    <a:pos x="336" y="134"/>
                  </a:cxn>
                  <a:cxn ang="0">
                    <a:pos x="406" y="259"/>
                  </a:cxn>
                  <a:cxn ang="0">
                    <a:pos x="347" y="228"/>
                  </a:cxn>
                  <a:cxn ang="0">
                    <a:pos x="356" y="239"/>
                  </a:cxn>
                  <a:cxn ang="0">
                    <a:pos x="354" y="225"/>
                  </a:cxn>
                </a:cxnLst>
                <a:rect l="0" t="0" r="r" b="b"/>
                <a:pathLst>
                  <a:path w="734" h="259">
                    <a:moveTo>
                      <a:pt x="386" y="150"/>
                    </a:moveTo>
                    <a:lnTo>
                      <a:pt x="386" y="150"/>
                    </a:lnTo>
                    <a:lnTo>
                      <a:pt x="387" y="150"/>
                    </a:lnTo>
                    <a:lnTo>
                      <a:pt x="390" y="151"/>
                    </a:lnTo>
                    <a:lnTo>
                      <a:pt x="391" y="155"/>
                    </a:lnTo>
                    <a:lnTo>
                      <a:pt x="391" y="161"/>
                    </a:lnTo>
                    <a:lnTo>
                      <a:pt x="390" y="167"/>
                    </a:lnTo>
                    <a:lnTo>
                      <a:pt x="390" y="167"/>
                    </a:lnTo>
                    <a:lnTo>
                      <a:pt x="389" y="179"/>
                    </a:lnTo>
                    <a:lnTo>
                      <a:pt x="389" y="184"/>
                    </a:lnTo>
                    <a:lnTo>
                      <a:pt x="390" y="185"/>
                    </a:lnTo>
                    <a:lnTo>
                      <a:pt x="393" y="185"/>
                    </a:lnTo>
                    <a:lnTo>
                      <a:pt x="393" y="185"/>
                    </a:lnTo>
                    <a:lnTo>
                      <a:pt x="397" y="182"/>
                    </a:lnTo>
                    <a:lnTo>
                      <a:pt x="400" y="178"/>
                    </a:lnTo>
                    <a:lnTo>
                      <a:pt x="401" y="172"/>
                    </a:lnTo>
                    <a:lnTo>
                      <a:pt x="401" y="171"/>
                    </a:lnTo>
                    <a:lnTo>
                      <a:pt x="400" y="169"/>
                    </a:lnTo>
                    <a:lnTo>
                      <a:pt x="400" y="169"/>
                    </a:lnTo>
                    <a:lnTo>
                      <a:pt x="399" y="168"/>
                    </a:lnTo>
                    <a:lnTo>
                      <a:pt x="399" y="164"/>
                    </a:lnTo>
                    <a:lnTo>
                      <a:pt x="397" y="155"/>
                    </a:lnTo>
                    <a:lnTo>
                      <a:pt x="397" y="147"/>
                    </a:lnTo>
                    <a:lnTo>
                      <a:pt x="399" y="140"/>
                    </a:lnTo>
                    <a:lnTo>
                      <a:pt x="399" y="140"/>
                    </a:lnTo>
                    <a:lnTo>
                      <a:pt x="400" y="138"/>
                    </a:lnTo>
                    <a:lnTo>
                      <a:pt x="401" y="138"/>
                    </a:lnTo>
                    <a:lnTo>
                      <a:pt x="406" y="138"/>
                    </a:lnTo>
                    <a:lnTo>
                      <a:pt x="408" y="140"/>
                    </a:lnTo>
                    <a:lnTo>
                      <a:pt x="408" y="141"/>
                    </a:lnTo>
                    <a:lnTo>
                      <a:pt x="410" y="144"/>
                    </a:lnTo>
                    <a:lnTo>
                      <a:pt x="408" y="147"/>
                    </a:lnTo>
                    <a:lnTo>
                      <a:pt x="408" y="147"/>
                    </a:lnTo>
                    <a:lnTo>
                      <a:pt x="408" y="150"/>
                    </a:lnTo>
                    <a:lnTo>
                      <a:pt x="408" y="151"/>
                    </a:lnTo>
                    <a:lnTo>
                      <a:pt x="411" y="154"/>
                    </a:lnTo>
                    <a:lnTo>
                      <a:pt x="416" y="158"/>
                    </a:lnTo>
                    <a:lnTo>
                      <a:pt x="416" y="160"/>
                    </a:lnTo>
                    <a:lnTo>
                      <a:pt x="417" y="162"/>
                    </a:lnTo>
                    <a:lnTo>
                      <a:pt x="417" y="162"/>
                    </a:lnTo>
                    <a:lnTo>
                      <a:pt x="417" y="165"/>
                    </a:lnTo>
                    <a:lnTo>
                      <a:pt x="418" y="167"/>
                    </a:lnTo>
                    <a:lnTo>
                      <a:pt x="420" y="168"/>
                    </a:lnTo>
                    <a:lnTo>
                      <a:pt x="421" y="168"/>
                    </a:lnTo>
                    <a:lnTo>
                      <a:pt x="431" y="165"/>
                    </a:lnTo>
                    <a:lnTo>
                      <a:pt x="431" y="165"/>
                    </a:lnTo>
                    <a:lnTo>
                      <a:pt x="436" y="162"/>
                    </a:lnTo>
                    <a:lnTo>
                      <a:pt x="437" y="160"/>
                    </a:lnTo>
                    <a:lnTo>
                      <a:pt x="436" y="157"/>
                    </a:lnTo>
                    <a:lnTo>
                      <a:pt x="433" y="152"/>
                    </a:lnTo>
                    <a:lnTo>
                      <a:pt x="433" y="152"/>
                    </a:lnTo>
                    <a:lnTo>
                      <a:pt x="431" y="150"/>
                    </a:lnTo>
                    <a:lnTo>
                      <a:pt x="431" y="148"/>
                    </a:lnTo>
                    <a:lnTo>
                      <a:pt x="431" y="142"/>
                    </a:lnTo>
                    <a:lnTo>
                      <a:pt x="431" y="138"/>
                    </a:lnTo>
                    <a:lnTo>
                      <a:pt x="431" y="135"/>
                    </a:lnTo>
                    <a:lnTo>
                      <a:pt x="430" y="134"/>
                    </a:lnTo>
                    <a:lnTo>
                      <a:pt x="430" y="134"/>
                    </a:lnTo>
                    <a:lnTo>
                      <a:pt x="424" y="130"/>
                    </a:lnTo>
                    <a:lnTo>
                      <a:pt x="421" y="125"/>
                    </a:lnTo>
                    <a:lnTo>
                      <a:pt x="421" y="123"/>
                    </a:lnTo>
                    <a:lnTo>
                      <a:pt x="421" y="121"/>
                    </a:lnTo>
                    <a:lnTo>
                      <a:pt x="424" y="121"/>
                    </a:lnTo>
                    <a:lnTo>
                      <a:pt x="424" y="121"/>
                    </a:lnTo>
                    <a:lnTo>
                      <a:pt x="431" y="118"/>
                    </a:lnTo>
                    <a:lnTo>
                      <a:pt x="440" y="113"/>
                    </a:lnTo>
                    <a:lnTo>
                      <a:pt x="447" y="107"/>
                    </a:lnTo>
                    <a:lnTo>
                      <a:pt x="448" y="105"/>
                    </a:lnTo>
                    <a:lnTo>
                      <a:pt x="448" y="103"/>
                    </a:lnTo>
                    <a:lnTo>
                      <a:pt x="448" y="103"/>
                    </a:lnTo>
                    <a:lnTo>
                      <a:pt x="445" y="101"/>
                    </a:lnTo>
                    <a:lnTo>
                      <a:pt x="443" y="101"/>
                    </a:lnTo>
                    <a:lnTo>
                      <a:pt x="431" y="103"/>
                    </a:lnTo>
                    <a:lnTo>
                      <a:pt x="421" y="107"/>
                    </a:lnTo>
                    <a:lnTo>
                      <a:pt x="417" y="110"/>
                    </a:lnTo>
                    <a:lnTo>
                      <a:pt x="416" y="113"/>
                    </a:lnTo>
                    <a:lnTo>
                      <a:pt x="416" y="113"/>
                    </a:lnTo>
                    <a:lnTo>
                      <a:pt x="414" y="115"/>
                    </a:lnTo>
                    <a:lnTo>
                      <a:pt x="411" y="115"/>
                    </a:lnTo>
                    <a:lnTo>
                      <a:pt x="407" y="115"/>
                    </a:lnTo>
                    <a:lnTo>
                      <a:pt x="404" y="114"/>
                    </a:lnTo>
                    <a:lnTo>
                      <a:pt x="400" y="111"/>
                    </a:lnTo>
                    <a:lnTo>
                      <a:pt x="397" y="107"/>
                    </a:lnTo>
                    <a:lnTo>
                      <a:pt x="396" y="103"/>
                    </a:lnTo>
                    <a:lnTo>
                      <a:pt x="396" y="97"/>
                    </a:lnTo>
                    <a:lnTo>
                      <a:pt x="396" y="97"/>
                    </a:lnTo>
                    <a:lnTo>
                      <a:pt x="399" y="91"/>
                    </a:lnTo>
                    <a:lnTo>
                      <a:pt x="403" y="88"/>
                    </a:lnTo>
                    <a:lnTo>
                      <a:pt x="410" y="86"/>
                    </a:lnTo>
                    <a:lnTo>
                      <a:pt x="418" y="83"/>
                    </a:lnTo>
                    <a:lnTo>
                      <a:pt x="427" y="83"/>
                    </a:lnTo>
                    <a:lnTo>
                      <a:pt x="436" y="83"/>
                    </a:lnTo>
                    <a:lnTo>
                      <a:pt x="443" y="83"/>
                    </a:lnTo>
                    <a:lnTo>
                      <a:pt x="448" y="86"/>
                    </a:lnTo>
                    <a:lnTo>
                      <a:pt x="448" y="86"/>
                    </a:lnTo>
                    <a:lnTo>
                      <a:pt x="453" y="86"/>
                    </a:lnTo>
                    <a:lnTo>
                      <a:pt x="457" y="86"/>
                    </a:lnTo>
                    <a:lnTo>
                      <a:pt x="461" y="84"/>
                    </a:lnTo>
                    <a:lnTo>
                      <a:pt x="465" y="81"/>
                    </a:lnTo>
                    <a:lnTo>
                      <a:pt x="472" y="76"/>
                    </a:lnTo>
                    <a:lnTo>
                      <a:pt x="477" y="68"/>
                    </a:lnTo>
                    <a:lnTo>
                      <a:pt x="477" y="68"/>
                    </a:lnTo>
                    <a:lnTo>
                      <a:pt x="477" y="66"/>
                    </a:lnTo>
                    <a:lnTo>
                      <a:pt x="477" y="66"/>
                    </a:lnTo>
                    <a:lnTo>
                      <a:pt x="472" y="67"/>
                    </a:lnTo>
                    <a:lnTo>
                      <a:pt x="460" y="76"/>
                    </a:lnTo>
                    <a:lnTo>
                      <a:pt x="460" y="76"/>
                    </a:lnTo>
                    <a:lnTo>
                      <a:pt x="455" y="77"/>
                    </a:lnTo>
                    <a:lnTo>
                      <a:pt x="451" y="77"/>
                    </a:lnTo>
                    <a:lnTo>
                      <a:pt x="440" y="76"/>
                    </a:lnTo>
                    <a:lnTo>
                      <a:pt x="428" y="74"/>
                    </a:lnTo>
                    <a:lnTo>
                      <a:pt x="420" y="71"/>
                    </a:lnTo>
                    <a:lnTo>
                      <a:pt x="420" y="71"/>
                    </a:lnTo>
                    <a:lnTo>
                      <a:pt x="416" y="70"/>
                    </a:lnTo>
                    <a:lnTo>
                      <a:pt x="413" y="70"/>
                    </a:lnTo>
                    <a:lnTo>
                      <a:pt x="408" y="73"/>
                    </a:lnTo>
                    <a:lnTo>
                      <a:pt x="406" y="77"/>
                    </a:lnTo>
                    <a:lnTo>
                      <a:pt x="403" y="78"/>
                    </a:lnTo>
                    <a:lnTo>
                      <a:pt x="400" y="78"/>
                    </a:lnTo>
                    <a:lnTo>
                      <a:pt x="400" y="78"/>
                    </a:lnTo>
                    <a:lnTo>
                      <a:pt x="397" y="80"/>
                    </a:lnTo>
                    <a:lnTo>
                      <a:pt x="394" y="83"/>
                    </a:lnTo>
                    <a:lnTo>
                      <a:pt x="393" y="90"/>
                    </a:lnTo>
                    <a:lnTo>
                      <a:pt x="390" y="98"/>
                    </a:lnTo>
                    <a:lnTo>
                      <a:pt x="390" y="101"/>
                    </a:lnTo>
                    <a:lnTo>
                      <a:pt x="389" y="103"/>
                    </a:lnTo>
                    <a:lnTo>
                      <a:pt x="389" y="103"/>
                    </a:lnTo>
                    <a:lnTo>
                      <a:pt x="386" y="107"/>
                    </a:lnTo>
                    <a:lnTo>
                      <a:pt x="383" y="114"/>
                    </a:lnTo>
                    <a:lnTo>
                      <a:pt x="380" y="123"/>
                    </a:lnTo>
                    <a:lnTo>
                      <a:pt x="376" y="134"/>
                    </a:lnTo>
                    <a:lnTo>
                      <a:pt x="376" y="134"/>
                    </a:lnTo>
                    <a:lnTo>
                      <a:pt x="373" y="138"/>
                    </a:lnTo>
                    <a:lnTo>
                      <a:pt x="373" y="141"/>
                    </a:lnTo>
                    <a:lnTo>
                      <a:pt x="373" y="144"/>
                    </a:lnTo>
                    <a:lnTo>
                      <a:pt x="374" y="147"/>
                    </a:lnTo>
                    <a:lnTo>
                      <a:pt x="380" y="148"/>
                    </a:lnTo>
                    <a:lnTo>
                      <a:pt x="386" y="150"/>
                    </a:lnTo>
                    <a:lnTo>
                      <a:pt x="386" y="150"/>
                    </a:lnTo>
                    <a:close/>
                    <a:moveTo>
                      <a:pt x="169" y="162"/>
                    </a:moveTo>
                    <a:lnTo>
                      <a:pt x="169" y="162"/>
                    </a:lnTo>
                    <a:lnTo>
                      <a:pt x="169" y="157"/>
                    </a:lnTo>
                    <a:lnTo>
                      <a:pt x="169" y="152"/>
                    </a:lnTo>
                    <a:lnTo>
                      <a:pt x="171" y="145"/>
                    </a:lnTo>
                    <a:lnTo>
                      <a:pt x="171" y="145"/>
                    </a:lnTo>
                    <a:lnTo>
                      <a:pt x="171" y="142"/>
                    </a:lnTo>
                    <a:lnTo>
                      <a:pt x="172" y="141"/>
                    </a:lnTo>
                    <a:lnTo>
                      <a:pt x="175" y="141"/>
                    </a:lnTo>
                    <a:lnTo>
                      <a:pt x="178" y="141"/>
                    </a:lnTo>
                    <a:lnTo>
                      <a:pt x="178" y="141"/>
                    </a:lnTo>
                    <a:lnTo>
                      <a:pt x="179" y="141"/>
                    </a:lnTo>
                    <a:lnTo>
                      <a:pt x="179" y="141"/>
                    </a:lnTo>
                    <a:lnTo>
                      <a:pt x="181" y="137"/>
                    </a:lnTo>
                    <a:lnTo>
                      <a:pt x="181" y="134"/>
                    </a:lnTo>
                    <a:lnTo>
                      <a:pt x="178" y="131"/>
                    </a:lnTo>
                    <a:lnTo>
                      <a:pt x="178" y="131"/>
                    </a:lnTo>
                    <a:lnTo>
                      <a:pt x="177" y="130"/>
                    </a:lnTo>
                    <a:lnTo>
                      <a:pt x="174" y="125"/>
                    </a:lnTo>
                    <a:lnTo>
                      <a:pt x="169" y="121"/>
                    </a:lnTo>
                    <a:lnTo>
                      <a:pt x="168" y="120"/>
                    </a:lnTo>
                    <a:lnTo>
                      <a:pt x="165" y="118"/>
                    </a:lnTo>
                    <a:lnTo>
                      <a:pt x="165" y="118"/>
                    </a:lnTo>
                    <a:lnTo>
                      <a:pt x="161" y="120"/>
                    </a:lnTo>
                    <a:lnTo>
                      <a:pt x="160" y="123"/>
                    </a:lnTo>
                    <a:lnTo>
                      <a:pt x="161" y="124"/>
                    </a:lnTo>
                    <a:lnTo>
                      <a:pt x="164" y="125"/>
                    </a:lnTo>
                    <a:lnTo>
                      <a:pt x="164" y="125"/>
                    </a:lnTo>
                    <a:lnTo>
                      <a:pt x="167" y="127"/>
                    </a:lnTo>
                    <a:lnTo>
                      <a:pt x="168" y="128"/>
                    </a:lnTo>
                    <a:lnTo>
                      <a:pt x="169" y="131"/>
                    </a:lnTo>
                    <a:lnTo>
                      <a:pt x="169" y="134"/>
                    </a:lnTo>
                    <a:lnTo>
                      <a:pt x="169" y="134"/>
                    </a:lnTo>
                    <a:lnTo>
                      <a:pt x="168" y="134"/>
                    </a:lnTo>
                    <a:lnTo>
                      <a:pt x="167" y="132"/>
                    </a:lnTo>
                    <a:lnTo>
                      <a:pt x="164" y="131"/>
                    </a:lnTo>
                    <a:lnTo>
                      <a:pt x="160" y="131"/>
                    </a:lnTo>
                    <a:lnTo>
                      <a:pt x="160" y="131"/>
                    </a:lnTo>
                    <a:lnTo>
                      <a:pt x="157" y="130"/>
                    </a:lnTo>
                    <a:lnTo>
                      <a:pt x="157" y="130"/>
                    </a:lnTo>
                    <a:lnTo>
                      <a:pt x="155" y="127"/>
                    </a:lnTo>
                    <a:lnTo>
                      <a:pt x="154" y="124"/>
                    </a:lnTo>
                    <a:lnTo>
                      <a:pt x="151" y="123"/>
                    </a:lnTo>
                    <a:lnTo>
                      <a:pt x="150" y="123"/>
                    </a:lnTo>
                    <a:lnTo>
                      <a:pt x="150" y="123"/>
                    </a:lnTo>
                    <a:lnTo>
                      <a:pt x="147" y="121"/>
                    </a:lnTo>
                    <a:lnTo>
                      <a:pt x="145" y="120"/>
                    </a:lnTo>
                    <a:lnTo>
                      <a:pt x="142" y="114"/>
                    </a:lnTo>
                    <a:lnTo>
                      <a:pt x="140" y="110"/>
                    </a:lnTo>
                    <a:lnTo>
                      <a:pt x="138" y="108"/>
                    </a:lnTo>
                    <a:lnTo>
                      <a:pt x="135" y="108"/>
                    </a:lnTo>
                    <a:lnTo>
                      <a:pt x="135" y="108"/>
                    </a:lnTo>
                    <a:lnTo>
                      <a:pt x="131" y="107"/>
                    </a:lnTo>
                    <a:lnTo>
                      <a:pt x="128" y="104"/>
                    </a:lnTo>
                    <a:lnTo>
                      <a:pt x="130" y="100"/>
                    </a:lnTo>
                    <a:lnTo>
                      <a:pt x="132" y="97"/>
                    </a:lnTo>
                    <a:lnTo>
                      <a:pt x="132" y="97"/>
                    </a:lnTo>
                    <a:lnTo>
                      <a:pt x="132" y="94"/>
                    </a:lnTo>
                    <a:lnTo>
                      <a:pt x="132" y="93"/>
                    </a:lnTo>
                    <a:lnTo>
                      <a:pt x="130" y="90"/>
                    </a:lnTo>
                    <a:lnTo>
                      <a:pt x="125" y="86"/>
                    </a:lnTo>
                    <a:lnTo>
                      <a:pt x="124" y="84"/>
                    </a:lnTo>
                    <a:lnTo>
                      <a:pt x="124" y="81"/>
                    </a:lnTo>
                    <a:lnTo>
                      <a:pt x="124" y="81"/>
                    </a:lnTo>
                    <a:lnTo>
                      <a:pt x="124" y="80"/>
                    </a:lnTo>
                    <a:lnTo>
                      <a:pt x="123" y="78"/>
                    </a:lnTo>
                    <a:lnTo>
                      <a:pt x="120" y="78"/>
                    </a:lnTo>
                    <a:lnTo>
                      <a:pt x="117" y="77"/>
                    </a:lnTo>
                    <a:lnTo>
                      <a:pt x="115" y="76"/>
                    </a:lnTo>
                    <a:lnTo>
                      <a:pt x="115" y="74"/>
                    </a:lnTo>
                    <a:lnTo>
                      <a:pt x="115" y="74"/>
                    </a:lnTo>
                    <a:lnTo>
                      <a:pt x="114" y="73"/>
                    </a:lnTo>
                    <a:lnTo>
                      <a:pt x="113" y="71"/>
                    </a:lnTo>
                    <a:lnTo>
                      <a:pt x="110" y="70"/>
                    </a:lnTo>
                    <a:lnTo>
                      <a:pt x="107" y="67"/>
                    </a:lnTo>
                    <a:lnTo>
                      <a:pt x="107" y="67"/>
                    </a:lnTo>
                    <a:lnTo>
                      <a:pt x="104" y="64"/>
                    </a:lnTo>
                    <a:lnTo>
                      <a:pt x="103" y="64"/>
                    </a:lnTo>
                    <a:lnTo>
                      <a:pt x="100" y="63"/>
                    </a:lnTo>
                    <a:lnTo>
                      <a:pt x="97" y="61"/>
                    </a:lnTo>
                    <a:lnTo>
                      <a:pt x="97" y="61"/>
                    </a:lnTo>
                    <a:lnTo>
                      <a:pt x="94" y="59"/>
                    </a:lnTo>
                    <a:lnTo>
                      <a:pt x="91" y="57"/>
                    </a:lnTo>
                    <a:lnTo>
                      <a:pt x="87" y="56"/>
                    </a:lnTo>
                    <a:lnTo>
                      <a:pt x="86" y="57"/>
                    </a:lnTo>
                    <a:lnTo>
                      <a:pt x="86" y="57"/>
                    </a:lnTo>
                    <a:lnTo>
                      <a:pt x="81" y="56"/>
                    </a:lnTo>
                    <a:lnTo>
                      <a:pt x="78" y="53"/>
                    </a:lnTo>
                    <a:lnTo>
                      <a:pt x="74" y="49"/>
                    </a:lnTo>
                    <a:lnTo>
                      <a:pt x="71" y="43"/>
                    </a:lnTo>
                    <a:lnTo>
                      <a:pt x="71" y="43"/>
                    </a:lnTo>
                    <a:lnTo>
                      <a:pt x="70" y="40"/>
                    </a:lnTo>
                    <a:lnTo>
                      <a:pt x="66" y="37"/>
                    </a:lnTo>
                    <a:lnTo>
                      <a:pt x="57" y="31"/>
                    </a:lnTo>
                    <a:lnTo>
                      <a:pt x="49" y="24"/>
                    </a:lnTo>
                    <a:lnTo>
                      <a:pt x="46" y="22"/>
                    </a:lnTo>
                    <a:lnTo>
                      <a:pt x="44" y="19"/>
                    </a:lnTo>
                    <a:lnTo>
                      <a:pt x="44" y="19"/>
                    </a:lnTo>
                    <a:lnTo>
                      <a:pt x="41" y="13"/>
                    </a:lnTo>
                    <a:lnTo>
                      <a:pt x="36" y="10"/>
                    </a:lnTo>
                    <a:lnTo>
                      <a:pt x="30" y="9"/>
                    </a:lnTo>
                    <a:lnTo>
                      <a:pt x="22" y="7"/>
                    </a:lnTo>
                    <a:lnTo>
                      <a:pt x="22" y="7"/>
                    </a:lnTo>
                    <a:lnTo>
                      <a:pt x="16" y="7"/>
                    </a:lnTo>
                    <a:lnTo>
                      <a:pt x="13" y="6"/>
                    </a:lnTo>
                    <a:lnTo>
                      <a:pt x="7" y="3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6" y="19"/>
                    </a:lnTo>
                    <a:lnTo>
                      <a:pt x="14" y="27"/>
                    </a:lnTo>
                    <a:lnTo>
                      <a:pt x="22" y="33"/>
                    </a:lnTo>
                    <a:lnTo>
                      <a:pt x="22" y="33"/>
                    </a:lnTo>
                    <a:lnTo>
                      <a:pt x="24" y="34"/>
                    </a:lnTo>
                    <a:lnTo>
                      <a:pt x="27" y="37"/>
                    </a:lnTo>
                    <a:lnTo>
                      <a:pt x="31" y="46"/>
                    </a:lnTo>
                    <a:lnTo>
                      <a:pt x="37" y="51"/>
                    </a:lnTo>
                    <a:lnTo>
                      <a:pt x="40" y="54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7" y="57"/>
                    </a:lnTo>
                    <a:lnTo>
                      <a:pt x="50" y="60"/>
                    </a:lnTo>
                    <a:lnTo>
                      <a:pt x="53" y="71"/>
                    </a:lnTo>
                    <a:lnTo>
                      <a:pt x="57" y="81"/>
                    </a:lnTo>
                    <a:lnTo>
                      <a:pt x="59" y="86"/>
                    </a:lnTo>
                    <a:lnTo>
                      <a:pt x="61" y="87"/>
                    </a:lnTo>
                    <a:lnTo>
                      <a:pt x="61" y="87"/>
                    </a:lnTo>
                    <a:lnTo>
                      <a:pt x="64" y="88"/>
                    </a:lnTo>
                    <a:lnTo>
                      <a:pt x="67" y="93"/>
                    </a:lnTo>
                    <a:lnTo>
                      <a:pt x="76" y="101"/>
                    </a:lnTo>
                    <a:lnTo>
                      <a:pt x="81" y="114"/>
                    </a:lnTo>
                    <a:lnTo>
                      <a:pt x="86" y="124"/>
                    </a:lnTo>
                    <a:lnTo>
                      <a:pt x="86" y="124"/>
                    </a:lnTo>
                    <a:lnTo>
                      <a:pt x="87" y="128"/>
                    </a:lnTo>
                    <a:lnTo>
                      <a:pt x="90" y="132"/>
                    </a:lnTo>
                    <a:lnTo>
                      <a:pt x="97" y="140"/>
                    </a:lnTo>
                    <a:lnTo>
                      <a:pt x="104" y="145"/>
                    </a:lnTo>
                    <a:lnTo>
                      <a:pt x="110" y="152"/>
                    </a:lnTo>
                    <a:lnTo>
                      <a:pt x="110" y="152"/>
                    </a:lnTo>
                    <a:lnTo>
                      <a:pt x="115" y="160"/>
                    </a:lnTo>
                    <a:lnTo>
                      <a:pt x="124" y="167"/>
                    </a:lnTo>
                    <a:lnTo>
                      <a:pt x="132" y="172"/>
                    </a:lnTo>
                    <a:lnTo>
                      <a:pt x="138" y="177"/>
                    </a:lnTo>
                    <a:lnTo>
                      <a:pt x="138" y="177"/>
                    </a:lnTo>
                    <a:lnTo>
                      <a:pt x="142" y="184"/>
                    </a:lnTo>
                    <a:lnTo>
                      <a:pt x="144" y="187"/>
                    </a:lnTo>
                    <a:lnTo>
                      <a:pt x="145" y="187"/>
                    </a:lnTo>
                    <a:lnTo>
                      <a:pt x="147" y="185"/>
                    </a:lnTo>
                    <a:lnTo>
                      <a:pt x="147" y="185"/>
                    </a:lnTo>
                    <a:lnTo>
                      <a:pt x="147" y="184"/>
                    </a:lnTo>
                    <a:lnTo>
                      <a:pt x="150" y="184"/>
                    </a:lnTo>
                    <a:lnTo>
                      <a:pt x="154" y="184"/>
                    </a:lnTo>
                    <a:lnTo>
                      <a:pt x="164" y="185"/>
                    </a:lnTo>
                    <a:lnTo>
                      <a:pt x="164" y="185"/>
                    </a:lnTo>
                    <a:lnTo>
                      <a:pt x="165" y="185"/>
                    </a:lnTo>
                    <a:lnTo>
                      <a:pt x="167" y="182"/>
                    </a:lnTo>
                    <a:lnTo>
                      <a:pt x="168" y="177"/>
                    </a:lnTo>
                    <a:lnTo>
                      <a:pt x="168" y="168"/>
                    </a:lnTo>
                    <a:lnTo>
                      <a:pt x="169" y="162"/>
                    </a:lnTo>
                    <a:lnTo>
                      <a:pt x="169" y="162"/>
                    </a:lnTo>
                    <a:close/>
                    <a:moveTo>
                      <a:pt x="531" y="86"/>
                    </a:moveTo>
                    <a:lnTo>
                      <a:pt x="531" y="86"/>
                    </a:lnTo>
                    <a:lnTo>
                      <a:pt x="537" y="86"/>
                    </a:lnTo>
                    <a:lnTo>
                      <a:pt x="538" y="84"/>
                    </a:lnTo>
                    <a:lnTo>
                      <a:pt x="538" y="83"/>
                    </a:lnTo>
                    <a:lnTo>
                      <a:pt x="537" y="74"/>
                    </a:lnTo>
                    <a:lnTo>
                      <a:pt x="537" y="74"/>
                    </a:lnTo>
                    <a:lnTo>
                      <a:pt x="537" y="73"/>
                    </a:lnTo>
                    <a:lnTo>
                      <a:pt x="535" y="71"/>
                    </a:lnTo>
                    <a:lnTo>
                      <a:pt x="532" y="71"/>
                    </a:lnTo>
                    <a:lnTo>
                      <a:pt x="529" y="71"/>
                    </a:lnTo>
                    <a:lnTo>
                      <a:pt x="528" y="71"/>
                    </a:lnTo>
                    <a:lnTo>
                      <a:pt x="528" y="70"/>
                    </a:lnTo>
                    <a:lnTo>
                      <a:pt x="528" y="70"/>
                    </a:lnTo>
                    <a:lnTo>
                      <a:pt x="527" y="66"/>
                    </a:lnTo>
                    <a:lnTo>
                      <a:pt x="525" y="61"/>
                    </a:lnTo>
                    <a:lnTo>
                      <a:pt x="524" y="60"/>
                    </a:lnTo>
                    <a:lnTo>
                      <a:pt x="521" y="60"/>
                    </a:lnTo>
                    <a:lnTo>
                      <a:pt x="519" y="61"/>
                    </a:lnTo>
                    <a:lnTo>
                      <a:pt x="517" y="64"/>
                    </a:lnTo>
                    <a:lnTo>
                      <a:pt x="517" y="64"/>
                    </a:lnTo>
                    <a:lnTo>
                      <a:pt x="514" y="68"/>
                    </a:lnTo>
                    <a:lnTo>
                      <a:pt x="514" y="74"/>
                    </a:lnTo>
                    <a:lnTo>
                      <a:pt x="514" y="80"/>
                    </a:lnTo>
                    <a:lnTo>
                      <a:pt x="515" y="86"/>
                    </a:lnTo>
                    <a:lnTo>
                      <a:pt x="519" y="96"/>
                    </a:lnTo>
                    <a:lnTo>
                      <a:pt x="522" y="98"/>
                    </a:lnTo>
                    <a:lnTo>
                      <a:pt x="525" y="98"/>
                    </a:lnTo>
                    <a:lnTo>
                      <a:pt x="525" y="98"/>
                    </a:lnTo>
                    <a:lnTo>
                      <a:pt x="527" y="98"/>
                    </a:lnTo>
                    <a:lnTo>
                      <a:pt x="527" y="96"/>
                    </a:lnTo>
                    <a:lnTo>
                      <a:pt x="527" y="91"/>
                    </a:lnTo>
                    <a:lnTo>
                      <a:pt x="527" y="87"/>
                    </a:lnTo>
                    <a:lnTo>
                      <a:pt x="528" y="86"/>
                    </a:lnTo>
                    <a:lnTo>
                      <a:pt x="531" y="86"/>
                    </a:lnTo>
                    <a:lnTo>
                      <a:pt x="531" y="86"/>
                    </a:lnTo>
                    <a:close/>
                    <a:moveTo>
                      <a:pt x="492" y="145"/>
                    </a:moveTo>
                    <a:lnTo>
                      <a:pt x="492" y="145"/>
                    </a:lnTo>
                    <a:lnTo>
                      <a:pt x="494" y="148"/>
                    </a:lnTo>
                    <a:lnTo>
                      <a:pt x="495" y="150"/>
                    </a:lnTo>
                    <a:lnTo>
                      <a:pt x="501" y="152"/>
                    </a:lnTo>
                    <a:lnTo>
                      <a:pt x="507" y="154"/>
                    </a:lnTo>
                    <a:lnTo>
                      <a:pt x="509" y="152"/>
                    </a:lnTo>
                    <a:lnTo>
                      <a:pt x="512" y="151"/>
                    </a:lnTo>
                    <a:lnTo>
                      <a:pt x="512" y="151"/>
                    </a:lnTo>
                    <a:lnTo>
                      <a:pt x="512" y="148"/>
                    </a:lnTo>
                    <a:lnTo>
                      <a:pt x="509" y="145"/>
                    </a:lnTo>
                    <a:lnTo>
                      <a:pt x="502" y="142"/>
                    </a:lnTo>
                    <a:lnTo>
                      <a:pt x="498" y="141"/>
                    </a:lnTo>
                    <a:lnTo>
                      <a:pt x="495" y="141"/>
                    </a:lnTo>
                    <a:lnTo>
                      <a:pt x="492" y="142"/>
                    </a:lnTo>
                    <a:lnTo>
                      <a:pt x="492" y="145"/>
                    </a:lnTo>
                    <a:lnTo>
                      <a:pt x="492" y="145"/>
                    </a:lnTo>
                    <a:close/>
                    <a:moveTo>
                      <a:pt x="455" y="225"/>
                    </a:moveTo>
                    <a:lnTo>
                      <a:pt x="455" y="225"/>
                    </a:lnTo>
                    <a:lnTo>
                      <a:pt x="450" y="225"/>
                    </a:lnTo>
                    <a:lnTo>
                      <a:pt x="445" y="225"/>
                    </a:lnTo>
                    <a:lnTo>
                      <a:pt x="438" y="228"/>
                    </a:lnTo>
                    <a:lnTo>
                      <a:pt x="430" y="229"/>
                    </a:lnTo>
                    <a:lnTo>
                      <a:pt x="426" y="229"/>
                    </a:lnTo>
                    <a:lnTo>
                      <a:pt x="421" y="228"/>
                    </a:lnTo>
                    <a:lnTo>
                      <a:pt x="421" y="228"/>
                    </a:lnTo>
                    <a:lnTo>
                      <a:pt x="416" y="226"/>
                    </a:lnTo>
                    <a:lnTo>
                      <a:pt x="410" y="226"/>
                    </a:lnTo>
                    <a:lnTo>
                      <a:pt x="400" y="226"/>
                    </a:lnTo>
                    <a:lnTo>
                      <a:pt x="393" y="229"/>
                    </a:lnTo>
                    <a:lnTo>
                      <a:pt x="391" y="231"/>
                    </a:lnTo>
                    <a:lnTo>
                      <a:pt x="391" y="232"/>
                    </a:lnTo>
                    <a:lnTo>
                      <a:pt x="391" y="232"/>
                    </a:lnTo>
                    <a:lnTo>
                      <a:pt x="394" y="235"/>
                    </a:lnTo>
                    <a:lnTo>
                      <a:pt x="400" y="236"/>
                    </a:lnTo>
                    <a:lnTo>
                      <a:pt x="417" y="238"/>
                    </a:lnTo>
                    <a:lnTo>
                      <a:pt x="417" y="238"/>
                    </a:lnTo>
                    <a:lnTo>
                      <a:pt x="426" y="236"/>
                    </a:lnTo>
                    <a:lnTo>
                      <a:pt x="434" y="233"/>
                    </a:lnTo>
                    <a:lnTo>
                      <a:pt x="443" y="232"/>
                    </a:lnTo>
                    <a:lnTo>
                      <a:pt x="450" y="231"/>
                    </a:lnTo>
                    <a:lnTo>
                      <a:pt x="450" y="231"/>
                    </a:lnTo>
                    <a:lnTo>
                      <a:pt x="460" y="228"/>
                    </a:lnTo>
                    <a:lnTo>
                      <a:pt x="461" y="228"/>
                    </a:lnTo>
                    <a:lnTo>
                      <a:pt x="461" y="226"/>
                    </a:lnTo>
                    <a:lnTo>
                      <a:pt x="455" y="225"/>
                    </a:lnTo>
                    <a:lnTo>
                      <a:pt x="455" y="225"/>
                    </a:lnTo>
                    <a:close/>
                    <a:moveTo>
                      <a:pt x="556" y="138"/>
                    </a:moveTo>
                    <a:lnTo>
                      <a:pt x="556" y="138"/>
                    </a:lnTo>
                    <a:lnTo>
                      <a:pt x="546" y="137"/>
                    </a:lnTo>
                    <a:lnTo>
                      <a:pt x="535" y="138"/>
                    </a:lnTo>
                    <a:lnTo>
                      <a:pt x="527" y="140"/>
                    </a:lnTo>
                    <a:lnTo>
                      <a:pt x="525" y="142"/>
                    </a:lnTo>
                    <a:lnTo>
                      <a:pt x="525" y="144"/>
                    </a:lnTo>
                    <a:lnTo>
                      <a:pt x="525" y="144"/>
                    </a:lnTo>
                    <a:lnTo>
                      <a:pt x="527" y="145"/>
                    </a:lnTo>
                    <a:lnTo>
                      <a:pt x="528" y="147"/>
                    </a:lnTo>
                    <a:lnTo>
                      <a:pt x="532" y="148"/>
                    </a:lnTo>
                    <a:lnTo>
                      <a:pt x="546" y="148"/>
                    </a:lnTo>
                    <a:lnTo>
                      <a:pt x="546" y="148"/>
                    </a:lnTo>
                    <a:lnTo>
                      <a:pt x="554" y="148"/>
                    </a:lnTo>
                    <a:lnTo>
                      <a:pt x="559" y="151"/>
                    </a:lnTo>
                    <a:lnTo>
                      <a:pt x="564" y="154"/>
                    </a:lnTo>
                    <a:lnTo>
                      <a:pt x="568" y="155"/>
                    </a:lnTo>
                    <a:lnTo>
                      <a:pt x="568" y="155"/>
                    </a:lnTo>
                    <a:lnTo>
                      <a:pt x="569" y="154"/>
                    </a:lnTo>
                    <a:lnTo>
                      <a:pt x="569" y="152"/>
                    </a:lnTo>
                    <a:lnTo>
                      <a:pt x="568" y="148"/>
                    </a:lnTo>
                    <a:lnTo>
                      <a:pt x="564" y="142"/>
                    </a:lnTo>
                    <a:lnTo>
                      <a:pt x="561" y="141"/>
                    </a:lnTo>
                    <a:lnTo>
                      <a:pt x="556" y="138"/>
                    </a:lnTo>
                    <a:lnTo>
                      <a:pt x="556" y="138"/>
                    </a:lnTo>
                    <a:close/>
                    <a:moveTo>
                      <a:pt x="306" y="221"/>
                    </a:moveTo>
                    <a:lnTo>
                      <a:pt x="306" y="221"/>
                    </a:lnTo>
                    <a:lnTo>
                      <a:pt x="306" y="218"/>
                    </a:lnTo>
                    <a:lnTo>
                      <a:pt x="303" y="218"/>
                    </a:lnTo>
                    <a:lnTo>
                      <a:pt x="296" y="218"/>
                    </a:lnTo>
                    <a:lnTo>
                      <a:pt x="286" y="218"/>
                    </a:lnTo>
                    <a:lnTo>
                      <a:pt x="279" y="216"/>
                    </a:lnTo>
                    <a:lnTo>
                      <a:pt x="279" y="216"/>
                    </a:lnTo>
                    <a:lnTo>
                      <a:pt x="276" y="215"/>
                    </a:lnTo>
                    <a:lnTo>
                      <a:pt x="276" y="214"/>
                    </a:lnTo>
                    <a:lnTo>
                      <a:pt x="280" y="211"/>
                    </a:lnTo>
                    <a:lnTo>
                      <a:pt x="288" y="208"/>
                    </a:lnTo>
                    <a:lnTo>
                      <a:pt x="295" y="205"/>
                    </a:lnTo>
                    <a:lnTo>
                      <a:pt x="295" y="205"/>
                    </a:lnTo>
                    <a:lnTo>
                      <a:pt x="296" y="204"/>
                    </a:lnTo>
                    <a:lnTo>
                      <a:pt x="296" y="202"/>
                    </a:lnTo>
                    <a:lnTo>
                      <a:pt x="293" y="201"/>
                    </a:lnTo>
                    <a:lnTo>
                      <a:pt x="286" y="202"/>
                    </a:lnTo>
                    <a:lnTo>
                      <a:pt x="276" y="205"/>
                    </a:lnTo>
                    <a:lnTo>
                      <a:pt x="276" y="205"/>
                    </a:lnTo>
                    <a:lnTo>
                      <a:pt x="269" y="205"/>
                    </a:lnTo>
                    <a:lnTo>
                      <a:pt x="263" y="205"/>
                    </a:lnTo>
                    <a:lnTo>
                      <a:pt x="253" y="202"/>
                    </a:lnTo>
                    <a:lnTo>
                      <a:pt x="245" y="199"/>
                    </a:lnTo>
                    <a:lnTo>
                      <a:pt x="243" y="199"/>
                    </a:lnTo>
                    <a:lnTo>
                      <a:pt x="242" y="201"/>
                    </a:lnTo>
                    <a:lnTo>
                      <a:pt x="242" y="201"/>
                    </a:lnTo>
                    <a:lnTo>
                      <a:pt x="241" y="202"/>
                    </a:lnTo>
                    <a:lnTo>
                      <a:pt x="238" y="204"/>
                    </a:lnTo>
                    <a:lnTo>
                      <a:pt x="228" y="201"/>
                    </a:lnTo>
                    <a:lnTo>
                      <a:pt x="216" y="197"/>
                    </a:lnTo>
                    <a:lnTo>
                      <a:pt x="208" y="194"/>
                    </a:lnTo>
                    <a:lnTo>
                      <a:pt x="208" y="194"/>
                    </a:lnTo>
                    <a:lnTo>
                      <a:pt x="201" y="189"/>
                    </a:lnTo>
                    <a:lnTo>
                      <a:pt x="189" y="187"/>
                    </a:lnTo>
                    <a:lnTo>
                      <a:pt x="184" y="187"/>
                    </a:lnTo>
                    <a:lnTo>
                      <a:pt x="178" y="187"/>
                    </a:lnTo>
                    <a:lnTo>
                      <a:pt x="174" y="188"/>
                    </a:lnTo>
                    <a:lnTo>
                      <a:pt x="171" y="191"/>
                    </a:lnTo>
                    <a:lnTo>
                      <a:pt x="171" y="191"/>
                    </a:lnTo>
                    <a:lnTo>
                      <a:pt x="167" y="195"/>
                    </a:lnTo>
                    <a:lnTo>
                      <a:pt x="164" y="197"/>
                    </a:lnTo>
                    <a:lnTo>
                      <a:pt x="162" y="197"/>
                    </a:lnTo>
                    <a:lnTo>
                      <a:pt x="164" y="201"/>
                    </a:lnTo>
                    <a:lnTo>
                      <a:pt x="164" y="201"/>
                    </a:lnTo>
                    <a:lnTo>
                      <a:pt x="165" y="204"/>
                    </a:lnTo>
                    <a:lnTo>
                      <a:pt x="168" y="204"/>
                    </a:lnTo>
                    <a:lnTo>
                      <a:pt x="175" y="204"/>
                    </a:lnTo>
                    <a:lnTo>
                      <a:pt x="175" y="204"/>
                    </a:lnTo>
                    <a:lnTo>
                      <a:pt x="177" y="204"/>
                    </a:lnTo>
                    <a:lnTo>
                      <a:pt x="178" y="208"/>
                    </a:lnTo>
                    <a:lnTo>
                      <a:pt x="181" y="211"/>
                    </a:lnTo>
                    <a:lnTo>
                      <a:pt x="184" y="212"/>
                    </a:lnTo>
                    <a:lnTo>
                      <a:pt x="184" y="212"/>
                    </a:lnTo>
                    <a:lnTo>
                      <a:pt x="199" y="215"/>
                    </a:lnTo>
                    <a:lnTo>
                      <a:pt x="208" y="216"/>
                    </a:lnTo>
                    <a:lnTo>
                      <a:pt x="211" y="215"/>
                    </a:lnTo>
                    <a:lnTo>
                      <a:pt x="212" y="215"/>
                    </a:lnTo>
                    <a:lnTo>
                      <a:pt x="212" y="215"/>
                    </a:lnTo>
                    <a:lnTo>
                      <a:pt x="214" y="214"/>
                    </a:lnTo>
                    <a:lnTo>
                      <a:pt x="216" y="212"/>
                    </a:lnTo>
                    <a:lnTo>
                      <a:pt x="225" y="214"/>
                    </a:lnTo>
                    <a:lnTo>
                      <a:pt x="234" y="216"/>
                    </a:lnTo>
                    <a:lnTo>
                      <a:pt x="242" y="222"/>
                    </a:lnTo>
                    <a:lnTo>
                      <a:pt x="242" y="222"/>
                    </a:lnTo>
                    <a:lnTo>
                      <a:pt x="246" y="225"/>
                    </a:lnTo>
                    <a:lnTo>
                      <a:pt x="252" y="226"/>
                    </a:lnTo>
                    <a:lnTo>
                      <a:pt x="262" y="229"/>
                    </a:lnTo>
                    <a:lnTo>
                      <a:pt x="273" y="229"/>
                    </a:lnTo>
                    <a:lnTo>
                      <a:pt x="282" y="229"/>
                    </a:lnTo>
                    <a:lnTo>
                      <a:pt x="282" y="229"/>
                    </a:lnTo>
                    <a:lnTo>
                      <a:pt x="289" y="229"/>
                    </a:lnTo>
                    <a:lnTo>
                      <a:pt x="295" y="231"/>
                    </a:lnTo>
                    <a:lnTo>
                      <a:pt x="300" y="231"/>
                    </a:lnTo>
                    <a:lnTo>
                      <a:pt x="302" y="231"/>
                    </a:lnTo>
                    <a:lnTo>
                      <a:pt x="303" y="229"/>
                    </a:lnTo>
                    <a:lnTo>
                      <a:pt x="303" y="229"/>
                    </a:lnTo>
                    <a:lnTo>
                      <a:pt x="305" y="229"/>
                    </a:lnTo>
                    <a:lnTo>
                      <a:pt x="306" y="229"/>
                    </a:lnTo>
                    <a:lnTo>
                      <a:pt x="310" y="231"/>
                    </a:lnTo>
                    <a:lnTo>
                      <a:pt x="316" y="232"/>
                    </a:lnTo>
                    <a:lnTo>
                      <a:pt x="319" y="232"/>
                    </a:lnTo>
                    <a:lnTo>
                      <a:pt x="323" y="231"/>
                    </a:lnTo>
                    <a:lnTo>
                      <a:pt x="323" y="231"/>
                    </a:lnTo>
                    <a:lnTo>
                      <a:pt x="325" y="228"/>
                    </a:lnTo>
                    <a:lnTo>
                      <a:pt x="325" y="226"/>
                    </a:lnTo>
                    <a:lnTo>
                      <a:pt x="317" y="225"/>
                    </a:lnTo>
                    <a:lnTo>
                      <a:pt x="310" y="224"/>
                    </a:lnTo>
                    <a:lnTo>
                      <a:pt x="307" y="222"/>
                    </a:lnTo>
                    <a:lnTo>
                      <a:pt x="306" y="221"/>
                    </a:lnTo>
                    <a:lnTo>
                      <a:pt x="306" y="221"/>
                    </a:lnTo>
                    <a:close/>
                    <a:moveTo>
                      <a:pt x="680" y="117"/>
                    </a:moveTo>
                    <a:lnTo>
                      <a:pt x="680" y="117"/>
                    </a:lnTo>
                    <a:lnTo>
                      <a:pt x="677" y="117"/>
                    </a:lnTo>
                    <a:lnTo>
                      <a:pt x="674" y="118"/>
                    </a:lnTo>
                    <a:lnTo>
                      <a:pt x="672" y="124"/>
                    </a:lnTo>
                    <a:lnTo>
                      <a:pt x="669" y="128"/>
                    </a:lnTo>
                    <a:lnTo>
                      <a:pt x="667" y="130"/>
                    </a:lnTo>
                    <a:lnTo>
                      <a:pt x="666" y="130"/>
                    </a:lnTo>
                    <a:lnTo>
                      <a:pt x="666" y="130"/>
                    </a:lnTo>
                    <a:lnTo>
                      <a:pt x="663" y="130"/>
                    </a:lnTo>
                    <a:lnTo>
                      <a:pt x="660" y="131"/>
                    </a:lnTo>
                    <a:lnTo>
                      <a:pt x="655" y="137"/>
                    </a:lnTo>
                    <a:lnTo>
                      <a:pt x="647" y="142"/>
                    </a:lnTo>
                    <a:lnTo>
                      <a:pt x="639" y="147"/>
                    </a:lnTo>
                    <a:lnTo>
                      <a:pt x="639" y="147"/>
                    </a:lnTo>
                    <a:lnTo>
                      <a:pt x="638" y="147"/>
                    </a:lnTo>
                    <a:lnTo>
                      <a:pt x="636" y="145"/>
                    </a:lnTo>
                    <a:lnTo>
                      <a:pt x="632" y="142"/>
                    </a:lnTo>
                    <a:lnTo>
                      <a:pt x="630" y="137"/>
                    </a:lnTo>
                    <a:lnTo>
                      <a:pt x="629" y="130"/>
                    </a:lnTo>
                    <a:lnTo>
                      <a:pt x="625" y="115"/>
                    </a:lnTo>
                    <a:lnTo>
                      <a:pt x="623" y="110"/>
                    </a:lnTo>
                    <a:lnTo>
                      <a:pt x="622" y="107"/>
                    </a:lnTo>
                    <a:lnTo>
                      <a:pt x="622" y="107"/>
                    </a:lnTo>
                    <a:lnTo>
                      <a:pt x="619" y="104"/>
                    </a:lnTo>
                    <a:lnTo>
                      <a:pt x="615" y="101"/>
                    </a:lnTo>
                    <a:lnTo>
                      <a:pt x="603" y="98"/>
                    </a:lnTo>
                    <a:lnTo>
                      <a:pt x="598" y="97"/>
                    </a:lnTo>
                    <a:lnTo>
                      <a:pt x="592" y="98"/>
                    </a:lnTo>
                    <a:lnTo>
                      <a:pt x="588" y="100"/>
                    </a:lnTo>
                    <a:lnTo>
                      <a:pt x="586" y="101"/>
                    </a:lnTo>
                    <a:lnTo>
                      <a:pt x="586" y="101"/>
                    </a:lnTo>
                    <a:lnTo>
                      <a:pt x="585" y="104"/>
                    </a:lnTo>
                    <a:lnTo>
                      <a:pt x="582" y="105"/>
                    </a:lnTo>
                    <a:lnTo>
                      <a:pt x="578" y="107"/>
                    </a:lnTo>
                    <a:lnTo>
                      <a:pt x="573" y="108"/>
                    </a:lnTo>
                    <a:lnTo>
                      <a:pt x="572" y="110"/>
                    </a:lnTo>
                    <a:lnTo>
                      <a:pt x="572" y="113"/>
                    </a:lnTo>
                    <a:lnTo>
                      <a:pt x="572" y="113"/>
                    </a:lnTo>
                    <a:lnTo>
                      <a:pt x="572" y="115"/>
                    </a:lnTo>
                    <a:lnTo>
                      <a:pt x="573" y="117"/>
                    </a:lnTo>
                    <a:lnTo>
                      <a:pt x="581" y="117"/>
                    </a:lnTo>
                    <a:lnTo>
                      <a:pt x="581" y="117"/>
                    </a:lnTo>
                    <a:lnTo>
                      <a:pt x="583" y="117"/>
                    </a:lnTo>
                    <a:lnTo>
                      <a:pt x="586" y="120"/>
                    </a:lnTo>
                    <a:lnTo>
                      <a:pt x="589" y="127"/>
                    </a:lnTo>
                    <a:lnTo>
                      <a:pt x="589" y="127"/>
                    </a:lnTo>
                    <a:lnTo>
                      <a:pt x="591" y="130"/>
                    </a:lnTo>
                    <a:lnTo>
                      <a:pt x="593" y="130"/>
                    </a:lnTo>
                    <a:lnTo>
                      <a:pt x="601" y="131"/>
                    </a:lnTo>
                    <a:lnTo>
                      <a:pt x="615" y="128"/>
                    </a:lnTo>
                    <a:lnTo>
                      <a:pt x="615" y="128"/>
                    </a:lnTo>
                    <a:lnTo>
                      <a:pt x="619" y="130"/>
                    </a:lnTo>
                    <a:lnTo>
                      <a:pt x="619" y="132"/>
                    </a:lnTo>
                    <a:lnTo>
                      <a:pt x="618" y="134"/>
                    </a:lnTo>
                    <a:lnTo>
                      <a:pt x="613" y="134"/>
                    </a:lnTo>
                    <a:lnTo>
                      <a:pt x="613" y="134"/>
                    </a:lnTo>
                    <a:lnTo>
                      <a:pt x="609" y="132"/>
                    </a:lnTo>
                    <a:lnTo>
                      <a:pt x="606" y="134"/>
                    </a:lnTo>
                    <a:lnTo>
                      <a:pt x="603" y="135"/>
                    </a:lnTo>
                    <a:lnTo>
                      <a:pt x="601" y="135"/>
                    </a:lnTo>
                    <a:lnTo>
                      <a:pt x="601" y="135"/>
                    </a:lnTo>
                    <a:lnTo>
                      <a:pt x="592" y="135"/>
                    </a:lnTo>
                    <a:lnTo>
                      <a:pt x="589" y="137"/>
                    </a:lnTo>
                    <a:lnTo>
                      <a:pt x="591" y="138"/>
                    </a:lnTo>
                    <a:lnTo>
                      <a:pt x="591" y="138"/>
                    </a:lnTo>
                    <a:lnTo>
                      <a:pt x="596" y="144"/>
                    </a:lnTo>
                    <a:lnTo>
                      <a:pt x="599" y="147"/>
                    </a:lnTo>
                    <a:lnTo>
                      <a:pt x="601" y="152"/>
                    </a:lnTo>
                    <a:lnTo>
                      <a:pt x="601" y="152"/>
                    </a:lnTo>
                    <a:lnTo>
                      <a:pt x="601" y="155"/>
                    </a:lnTo>
                    <a:lnTo>
                      <a:pt x="602" y="157"/>
                    </a:lnTo>
                    <a:lnTo>
                      <a:pt x="606" y="158"/>
                    </a:lnTo>
                    <a:lnTo>
                      <a:pt x="609" y="155"/>
                    </a:lnTo>
                    <a:lnTo>
                      <a:pt x="610" y="154"/>
                    </a:lnTo>
                    <a:lnTo>
                      <a:pt x="612" y="152"/>
                    </a:lnTo>
                    <a:lnTo>
                      <a:pt x="612" y="152"/>
                    </a:lnTo>
                    <a:lnTo>
                      <a:pt x="612" y="151"/>
                    </a:lnTo>
                    <a:lnTo>
                      <a:pt x="612" y="150"/>
                    </a:lnTo>
                    <a:lnTo>
                      <a:pt x="615" y="151"/>
                    </a:lnTo>
                    <a:lnTo>
                      <a:pt x="620" y="154"/>
                    </a:lnTo>
                    <a:lnTo>
                      <a:pt x="628" y="157"/>
                    </a:lnTo>
                    <a:lnTo>
                      <a:pt x="628" y="157"/>
                    </a:lnTo>
                    <a:lnTo>
                      <a:pt x="633" y="160"/>
                    </a:lnTo>
                    <a:lnTo>
                      <a:pt x="635" y="162"/>
                    </a:lnTo>
                    <a:lnTo>
                      <a:pt x="636" y="164"/>
                    </a:lnTo>
                    <a:lnTo>
                      <a:pt x="642" y="165"/>
                    </a:lnTo>
                    <a:lnTo>
                      <a:pt x="642" y="165"/>
                    </a:lnTo>
                    <a:lnTo>
                      <a:pt x="652" y="167"/>
                    </a:lnTo>
                    <a:lnTo>
                      <a:pt x="665" y="169"/>
                    </a:lnTo>
                    <a:lnTo>
                      <a:pt x="677" y="175"/>
                    </a:lnTo>
                    <a:lnTo>
                      <a:pt x="687" y="181"/>
                    </a:lnTo>
                    <a:lnTo>
                      <a:pt x="687" y="181"/>
                    </a:lnTo>
                    <a:lnTo>
                      <a:pt x="692" y="185"/>
                    </a:lnTo>
                    <a:lnTo>
                      <a:pt x="693" y="189"/>
                    </a:lnTo>
                    <a:lnTo>
                      <a:pt x="693" y="194"/>
                    </a:lnTo>
                    <a:lnTo>
                      <a:pt x="696" y="199"/>
                    </a:lnTo>
                    <a:lnTo>
                      <a:pt x="696" y="199"/>
                    </a:lnTo>
                    <a:lnTo>
                      <a:pt x="700" y="204"/>
                    </a:lnTo>
                    <a:lnTo>
                      <a:pt x="702" y="208"/>
                    </a:lnTo>
                    <a:lnTo>
                      <a:pt x="702" y="211"/>
                    </a:lnTo>
                    <a:lnTo>
                      <a:pt x="700" y="212"/>
                    </a:lnTo>
                    <a:lnTo>
                      <a:pt x="699" y="212"/>
                    </a:lnTo>
                    <a:lnTo>
                      <a:pt x="696" y="214"/>
                    </a:lnTo>
                    <a:lnTo>
                      <a:pt x="696" y="214"/>
                    </a:lnTo>
                    <a:lnTo>
                      <a:pt x="689" y="215"/>
                    </a:lnTo>
                    <a:lnTo>
                      <a:pt x="684" y="218"/>
                    </a:lnTo>
                    <a:lnTo>
                      <a:pt x="680" y="222"/>
                    </a:lnTo>
                    <a:lnTo>
                      <a:pt x="680" y="224"/>
                    </a:lnTo>
                    <a:lnTo>
                      <a:pt x="680" y="226"/>
                    </a:lnTo>
                    <a:lnTo>
                      <a:pt x="680" y="226"/>
                    </a:lnTo>
                    <a:lnTo>
                      <a:pt x="683" y="226"/>
                    </a:lnTo>
                    <a:lnTo>
                      <a:pt x="686" y="228"/>
                    </a:lnTo>
                    <a:lnTo>
                      <a:pt x="697" y="226"/>
                    </a:lnTo>
                    <a:lnTo>
                      <a:pt x="717" y="224"/>
                    </a:lnTo>
                    <a:lnTo>
                      <a:pt x="717" y="224"/>
                    </a:lnTo>
                    <a:lnTo>
                      <a:pt x="721" y="225"/>
                    </a:lnTo>
                    <a:lnTo>
                      <a:pt x="724" y="228"/>
                    </a:lnTo>
                    <a:lnTo>
                      <a:pt x="729" y="232"/>
                    </a:lnTo>
                    <a:lnTo>
                      <a:pt x="734" y="238"/>
                    </a:lnTo>
                    <a:lnTo>
                      <a:pt x="734" y="135"/>
                    </a:lnTo>
                    <a:lnTo>
                      <a:pt x="734" y="135"/>
                    </a:lnTo>
                    <a:lnTo>
                      <a:pt x="702" y="124"/>
                    </a:lnTo>
                    <a:lnTo>
                      <a:pt x="687" y="118"/>
                    </a:lnTo>
                    <a:lnTo>
                      <a:pt x="680" y="117"/>
                    </a:lnTo>
                    <a:lnTo>
                      <a:pt x="680" y="117"/>
                    </a:lnTo>
                    <a:close/>
                    <a:moveTo>
                      <a:pt x="474" y="236"/>
                    </a:moveTo>
                    <a:lnTo>
                      <a:pt x="474" y="236"/>
                    </a:lnTo>
                    <a:lnTo>
                      <a:pt x="470" y="239"/>
                    </a:lnTo>
                    <a:lnTo>
                      <a:pt x="470" y="239"/>
                    </a:lnTo>
                    <a:lnTo>
                      <a:pt x="468" y="242"/>
                    </a:lnTo>
                    <a:lnTo>
                      <a:pt x="467" y="243"/>
                    </a:lnTo>
                    <a:lnTo>
                      <a:pt x="467" y="243"/>
                    </a:lnTo>
                    <a:lnTo>
                      <a:pt x="465" y="243"/>
                    </a:lnTo>
                    <a:lnTo>
                      <a:pt x="464" y="243"/>
                    </a:lnTo>
                    <a:lnTo>
                      <a:pt x="461" y="241"/>
                    </a:lnTo>
                    <a:lnTo>
                      <a:pt x="461" y="241"/>
                    </a:lnTo>
                    <a:lnTo>
                      <a:pt x="455" y="245"/>
                    </a:lnTo>
                    <a:lnTo>
                      <a:pt x="451" y="251"/>
                    </a:lnTo>
                    <a:lnTo>
                      <a:pt x="451" y="255"/>
                    </a:lnTo>
                    <a:lnTo>
                      <a:pt x="453" y="258"/>
                    </a:lnTo>
                    <a:lnTo>
                      <a:pt x="454" y="259"/>
                    </a:lnTo>
                    <a:lnTo>
                      <a:pt x="454" y="259"/>
                    </a:lnTo>
                    <a:lnTo>
                      <a:pt x="457" y="259"/>
                    </a:lnTo>
                    <a:lnTo>
                      <a:pt x="458" y="259"/>
                    </a:lnTo>
                    <a:lnTo>
                      <a:pt x="464" y="256"/>
                    </a:lnTo>
                    <a:lnTo>
                      <a:pt x="470" y="252"/>
                    </a:lnTo>
                    <a:lnTo>
                      <a:pt x="474" y="248"/>
                    </a:lnTo>
                    <a:lnTo>
                      <a:pt x="474" y="248"/>
                    </a:lnTo>
                    <a:lnTo>
                      <a:pt x="477" y="245"/>
                    </a:lnTo>
                    <a:lnTo>
                      <a:pt x="477" y="245"/>
                    </a:lnTo>
                    <a:lnTo>
                      <a:pt x="478" y="243"/>
                    </a:lnTo>
                    <a:lnTo>
                      <a:pt x="478" y="243"/>
                    </a:lnTo>
                    <a:lnTo>
                      <a:pt x="480" y="242"/>
                    </a:lnTo>
                    <a:lnTo>
                      <a:pt x="480" y="242"/>
                    </a:lnTo>
                    <a:lnTo>
                      <a:pt x="474" y="236"/>
                    </a:lnTo>
                    <a:lnTo>
                      <a:pt x="474" y="236"/>
                    </a:lnTo>
                    <a:close/>
                    <a:moveTo>
                      <a:pt x="343" y="115"/>
                    </a:moveTo>
                    <a:lnTo>
                      <a:pt x="343" y="115"/>
                    </a:lnTo>
                    <a:lnTo>
                      <a:pt x="347" y="110"/>
                    </a:lnTo>
                    <a:lnTo>
                      <a:pt x="350" y="104"/>
                    </a:lnTo>
                    <a:lnTo>
                      <a:pt x="352" y="97"/>
                    </a:lnTo>
                    <a:lnTo>
                      <a:pt x="352" y="90"/>
                    </a:lnTo>
                    <a:lnTo>
                      <a:pt x="352" y="90"/>
                    </a:lnTo>
                    <a:lnTo>
                      <a:pt x="353" y="87"/>
                    </a:lnTo>
                    <a:lnTo>
                      <a:pt x="354" y="84"/>
                    </a:lnTo>
                    <a:lnTo>
                      <a:pt x="363" y="81"/>
                    </a:lnTo>
                    <a:lnTo>
                      <a:pt x="370" y="78"/>
                    </a:lnTo>
                    <a:lnTo>
                      <a:pt x="376" y="77"/>
                    </a:lnTo>
                    <a:lnTo>
                      <a:pt x="376" y="77"/>
                    </a:lnTo>
                    <a:lnTo>
                      <a:pt x="377" y="76"/>
                    </a:lnTo>
                    <a:lnTo>
                      <a:pt x="377" y="73"/>
                    </a:lnTo>
                    <a:lnTo>
                      <a:pt x="374" y="70"/>
                    </a:lnTo>
                    <a:lnTo>
                      <a:pt x="370" y="66"/>
                    </a:lnTo>
                    <a:lnTo>
                      <a:pt x="366" y="64"/>
                    </a:lnTo>
                    <a:lnTo>
                      <a:pt x="366" y="64"/>
                    </a:lnTo>
                    <a:lnTo>
                      <a:pt x="363" y="61"/>
                    </a:lnTo>
                    <a:lnTo>
                      <a:pt x="362" y="57"/>
                    </a:lnTo>
                    <a:lnTo>
                      <a:pt x="362" y="54"/>
                    </a:lnTo>
                    <a:lnTo>
                      <a:pt x="360" y="51"/>
                    </a:lnTo>
                    <a:lnTo>
                      <a:pt x="360" y="51"/>
                    </a:lnTo>
                    <a:lnTo>
                      <a:pt x="356" y="47"/>
                    </a:lnTo>
                    <a:lnTo>
                      <a:pt x="353" y="43"/>
                    </a:lnTo>
                    <a:lnTo>
                      <a:pt x="353" y="39"/>
                    </a:lnTo>
                    <a:lnTo>
                      <a:pt x="353" y="37"/>
                    </a:lnTo>
                    <a:lnTo>
                      <a:pt x="354" y="37"/>
                    </a:lnTo>
                    <a:lnTo>
                      <a:pt x="354" y="37"/>
                    </a:lnTo>
                    <a:lnTo>
                      <a:pt x="356" y="36"/>
                    </a:lnTo>
                    <a:lnTo>
                      <a:pt x="357" y="34"/>
                    </a:lnTo>
                    <a:lnTo>
                      <a:pt x="356" y="31"/>
                    </a:lnTo>
                    <a:lnTo>
                      <a:pt x="354" y="27"/>
                    </a:lnTo>
                    <a:lnTo>
                      <a:pt x="354" y="26"/>
                    </a:lnTo>
                    <a:lnTo>
                      <a:pt x="356" y="24"/>
                    </a:lnTo>
                    <a:lnTo>
                      <a:pt x="356" y="24"/>
                    </a:lnTo>
                    <a:lnTo>
                      <a:pt x="359" y="23"/>
                    </a:lnTo>
                    <a:lnTo>
                      <a:pt x="359" y="23"/>
                    </a:lnTo>
                    <a:lnTo>
                      <a:pt x="350" y="22"/>
                    </a:lnTo>
                    <a:lnTo>
                      <a:pt x="350" y="22"/>
                    </a:lnTo>
                    <a:lnTo>
                      <a:pt x="343" y="22"/>
                    </a:lnTo>
                    <a:lnTo>
                      <a:pt x="335" y="22"/>
                    </a:lnTo>
                    <a:lnTo>
                      <a:pt x="332" y="23"/>
                    </a:lnTo>
                    <a:lnTo>
                      <a:pt x="329" y="24"/>
                    </a:lnTo>
                    <a:lnTo>
                      <a:pt x="326" y="27"/>
                    </a:lnTo>
                    <a:lnTo>
                      <a:pt x="326" y="31"/>
                    </a:lnTo>
                    <a:lnTo>
                      <a:pt x="326" y="31"/>
                    </a:lnTo>
                    <a:lnTo>
                      <a:pt x="326" y="36"/>
                    </a:lnTo>
                    <a:lnTo>
                      <a:pt x="325" y="37"/>
                    </a:lnTo>
                    <a:lnTo>
                      <a:pt x="322" y="40"/>
                    </a:lnTo>
                    <a:lnTo>
                      <a:pt x="317" y="43"/>
                    </a:lnTo>
                    <a:lnTo>
                      <a:pt x="316" y="44"/>
                    </a:lnTo>
                    <a:lnTo>
                      <a:pt x="316" y="46"/>
                    </a:lnTo>
                    <a:lnTo>
                      <a:pt x="316" y="46"/>
                    </a:lnTo>
                    <a:lnTo>
                      <a:pt x="316" y="50"/>
                    </a:lnTo>
                    <a:lnTo>
                      <a:pt x="315" y="53"/>
                    </a:lnTo>
                    <a:lnTo>
                      <a:pt x="312" y="56"/>
                    </a:lnTo>
                    <a:lnTo>
                      <a:pt x="312" y="61"/>
                    </a:lnTo>
                    <a:lnTo>
                      <a:pt x="312" y="61"/>
                    </a:lnTo>
                    <a:lnTo>
                      <a:pt x="312" y="66"/>
                    </a:lnTo>
                    <a:lnTo>
                      <a:pt x="309" y="67"/>
                    </a:lnTo>
                    <a:lnTo>
                      <a:pt x="303" y="68"/>
                    </a:lnTo>
                    <a:lnTo>
                      <a:pt x="298" y="70"/>
                    </a:lnTo>
                    <a:lnTo>
                      <a:pt x="298" y="70"/>
                    </a:lnTo>
                    <a:lnTo>
                      <a:pt x="292" y="71"/>
                    </a:lnTo>
                    <a:lnTo>
                      <a:pt x="290" y="71"/>
                    </a:lnTo>
                    <a:lnTo>
                      <a:pt x="288" y="68"/>
                    </a:lnTo>
                    <a:lnTo>
                      <a:pt x="282" y="67"/>
                    </a:lnTo>
                    <a:lnTo>
                      <a:pt x="282" y="67"/>
                    </a:lnTo>
                    <a:lnTo>
                      <a:pt x="276" y="68"/>
                    </a:lnTo>
                    <a:lnTo>
                      <a:pt x="273" y="70"/>
                    </a:lnTo>
                    <a:lnTo>
                      <a:pt x="269" y="73"/>
                    </a:lnTo>
                    <a:lnTo>
                      <a:pt x="266" y="74"/>
                    </a:lnTo>
                    <a:lnTo>
                      <a:pt x="266" y="74"/>
                    </a:lnTo>
                    <a:lnTo>
                      <a:pt x="261" y="74"/>
                    </a:lnTo>
                    <a:lnTo>
                      <a:pt x="255" y="74"/>
                    </a:lnTo>
                    <a:lnTo>
                      <a:pt x="249" y="74"/>
                    </a:lnTo>
                    <a:lnTo>
                      <a:pt x="245" y="76"/>
                    </a:lnTo>
                    <a:lnTo>
                      <a:pt x="245" y="76"/>
                    </a:lnTo>
                    <a:lnTo>
                      <a:pt x="243" y="77"/>
                    </a:lnTo>
                    <a:lnTo>
                      <a:pt x="242" y="76"/>
                    </a:lnTo>
                    <a:lnTo>
                      <a:pt x="239" y="74"/>
                    </a:lnTo>
                    <a:lnTo>
                      <a:pt x="235" y="71"/>
                    </a:lnTo>
                    <a:lnTo>
                      <a:pt x="232" y="70"/>
                    </a:lnTo>
                    <a:lnTo>
                      <a:pt x="232" y="70"/>
                    </a:lnTo>
                    <a:lnTo>
                      <a:pt x="231" y="68"/>
                    </a:lnTo>
                    <a:lnTo>
                      <a:pt x="229" y="66"/>
                    </a:lnTo>
                    <a:lnTo>
                      <a:pt x="226" y="59"/>
                    </a:lnTo>
                    <a:lnTo>
                      <a:pt x="226" y="59"/>
                    </a:lnTo>
                    <a:lnTo>
                      <a:pt x="225" y="59"/>
                    </a:lnTo>
                    <a:lnTo>
                      <a:pt x="225" y="59"/>
                    </a:lnTo>
                    <a:lnTo>
                      <a:pt x="222" y="60"/>
                    </a:lnTo>
                    <a:lnTo>
                      <a:pt x="221" y="61"/>
                    </a:lnTo>
                    <a:lnTo>
                      <a:pt x="215" y="68"/>
                    </a:lnTo>
                    <a:lnTo>
                      <a:pt x="214" y="76"/>
                    </a:lnTo>
                    <a:lnTo>
                      <a:pt x="214" y="78"/>
                    </a:lnTo>
                    <a:lnTo>
                      <a:pt x="215" y="81"/>
                    </a:lnTo>
                    <a:lnTo>
                      <a:pt x="215" y="81"/>
                    </a:lnTo>
                    <a:lnTo>
                      <a:pt x="219" y="87"/>
                    </a:lnTo>
                    <a:lnTo>
                      <a:pt x="221" y="93"/>
                    </a:lnTo>
                    <a:lnTo>
                      <a:pt x="222" y="98"/>
                    </a:lnTo>
                    <a:lnTo>
                      <a:pt x="224" y="104"/>
                    </a:lnTo>
                    <a:lnTo>
                      <a:pt x="224" y="104"/>
                    </a:lnTo>
                    <a:lnTo>
                      <a:pt x="226" y="107"/>
                    </a:lnTo>
                    <a:lnTo>
                      <a:pt x="232" y="110"/>
                    </a:lnTo>
                    <a:lnTo>
                      <a:pt x="235" y="114"/>
                    </a:lnTo>
                    <a:lnTo>
                      <a:pt x="236" y="117"/>
                    </a:lnTo>
                    <a:lnTo>
                      <a:pt x="238" y="120"/>
                    </a:lnTo>
                    <a:lnTo>
                      <a:pt x="238" y="120"/>
                    </a:lnTo>
                    <a:lnTo>
                      <a:pt x="239" y="128"/>
                    </a:lnTo>
                    <a:lnTo>
                      <a:pt x="242" y="135"/>
                    </a:lnTo>
                    <a:lnTo>
                      <a:pt x="248" y="141"/>
                    </a:lnTo>
                    <a:lnTo>
                      <a:pt x="249" y="141"/>
                    </a:lnTo>
                    <a:lnTo>
                      <a:pt x="252" y="141"/>
                    </a:lnTo>
                    <a:lnTo>
                      <a:pt x="252" y="141"/>
                    </a:lnTo>
                    <a:lnTo>
                      <a:pt x="256" y="140"/>
                    </a:lnTo>
                    <a:lnTo>
                      <a:pt x="261" y="141"/>
                    </a:lnTo>
                    <a:lnTo>
                      <a:pt x="263" y="144"/>
                    </a:lnTo>
                    <a:lnTo>
                      <a:pt x="265" y="147"/>
                    </a:lnTo>
                    <a:lnTo>
                      <a:pt x="265" y="147"/>
                    </a:lnTo>
                    <a:lnTo>
                      <a:pt x="266" y="148"/>
                    </a:lnTo>
                    <a:lnTo>
                      <a:pt x="269" y="148"/>
                    </a:lnTo>
                    <a:lnTo>
                      <a:pt x="275" y="147"/>
                    </a:lnTo>
                    <a:lnTo>
                      <a:pt x="282" y="145"/>
                    </a:lnTo>
                    <a:lnTo>
                      <a:pt x="286" y="145"/>
                    </a:lnTo>
                    <a:lnTo>
                      <a:pt x="286" y="145"/>
                    </a:lnTo>
                    <a:lnTo>
                      <a:pt x="298" y="148"/>
                    </a:lnTo>
                    <a:lnTo>
                      <a:pt x="303" y="151"/>
                    </a:lnTo>
                    <a:lnTo>
                      <a:pt x="306" y="152"/>
                    </a:lnTo>
                    <a:lnTo>
                      <a:pt x="307" y="154"/>
                    </a:lnTo>
                    <a:lnTo>
                      <a:pt x="307" y="154"/>
                    </a:lnTo>
                    <a:lnTo>
                      <a:pt x="307" y="155"/>
                    </a:lnTo>
                    <a:lnTo>
                      <a:pt x="309" y="157"/>
                    </a:lnTo>
                    <a:lnTo>
                      <a:pt x="316" y="155"/>
                    </a:lnTo>
                    <a:lnTo>
                      <a:pt x="330" y="151"/>
                    </a:lnTo>
                    <a:lnTo>
                      <a:pt x="330" y="151"/>
                    </a:lnTo>
                    <a:lnTo>
                      <a:pt x="333" y="148"/>
                    </a:lnTo>
                    <a:lnTo>
                      <a:pt x="335" y="144"/>
                    </a:lnTo>
                    <a:lnTo>
                      <a:pt x="336" y="134"/>
                    </a:lnTo>
                    <a:lnTo>
                      <a:pt x="339" y="123"/>
                    </a:lnTo>
                    <a:lnTo>
                      <a:pt x="340" y="118"/>
                    </a:lnTo>
                    <a:lnTo>
                      <a:pt x="343" y="115"/>
                    </a:lnTo>
                    <a:lnTo>
                      <a:pt x="343" y="115"/>
                    </a:lnTo>
                    <a:close/>
                    <a:moveTo>
                      <a:pt x="379" y="248"/>
                    </a:moveTo>
                    <a:lnTo>
                      <a:pt x="379" y="248"/>
                    </a:lnTo>
                    <a:lnTo>
                      <a:pt x="381" y="251"/>
                    </a:lnTo>
                    <a:lnTo>
                      <a:pt x="384" y="252"/>
                    </a:lnTo>
                    <a:lnTo>
                      <a:pt x="389" y="253"/>
                    </a:lnTo>
                    <a:lnTo>
                      <a:pt x="393" y="255"/>
                    </a:lnTo>
                    <a:lnTo>
                      <a:pt x="393" y="255"/>
                    </a:lnTo>
                    <a:lnTo>
                      <a:pt x="396" y="258"/>
                    </a:lnTo>
                    <a:lnTo>
                      <a:pt x="401" y="259"/>
                    </a:lnTo>
                    <a:lnTo>
                      <a:pt x="406" y="259"/>
                    </a:lnTo>
                    <a:lnTo>
                      <a:pt x="407" y="258"/>
                    </a:lnTo>
                    <a:lnTo>
                      <a:pt x="407" y="256"/>
                    </a:lnTo>
                    <a:lnTo>
                      <a:pt x="407" y="256"/>
                    </a:lnTo>
                    <a:lnTo>
                      <a:pt x="406" y="253"/>
                    </a:lnTo>
                    <a:lnTo>
                      <a:pt x="403" y="251"/>
                    </a:lnTo>
                    <a:lnTo>
                      <a:pt x="391" y="246"/>
                    </a:lnTo>
                    <a:lnTo>
                      <a:pt x="381" y="246"/>
                    </a:lnTo>
                    <a:lnTo>
                      <a:pt x="379" y="246"/>
                    </a:lnTo>
                    <a:lnTo>
                      <a:pt x="379" y="248"/>
                    </a:lnTo>
                    <a:lnTo>
                      <a:pt x="379" y="248"/>
                    </a:lnTo>
                    <a:close/>
                    <a:moveTo>
                      <a:pt x="354" y="225"/>
                    </a:moveTo>
                    <a:lnTo>
                      <a:pt x="354" y="225"/>
                    </a:lnTo>
                    <a:lnTo>
                      <a:pt x="352" y="226"/>
                    </a:lnTo>
                    <a:lnTo>
                      <a:pt x="347" y="228"/>
                    </a:lnTo>
                    <a:lnTo>
                      <a:pt x="343" y="228"/>
                    </a:lnTo>
                    <a:lnTo>
                      <a:pt x="340" y="226"/>
                    </a:lnTo>
                    <a:lnTo>
                      <a:pt x="340" y="226"/>
                    </a:lnTo>
                    <a:lnTo>
                      <a:pt x="337" y="225"/>
                    </a:lnTo>
                    <a:lnTo>
                      <a:pt x="336" y="225"/>
                    </a:lnTo>
                    <a:lnTo>
                      <a:pt x="333" y="228"/>
                    </a:lnTo>
                    <a:lnTo>
                      <a:pt x="332" y="231"/>
                    </a:lnTo>
                    <a:lnTo>
                      <a:pt x="332" y="235"/>
                    </a:lnTo>
                    <a:lnTo>
                      <a:pt x="332" y="235"/>
                    </a:lnTo>
                    <a:lnTo>
                      <a:pt x="335" y="236"/>
                    </a:lnTo>
                    <a:lnTo>
                      <a:pt x="340" y="239"/>
                    </a:lnTo>
                    <a:lnTo>
                      <a:pt x="347" y="241"/>
                    </a:lnTo>
                    <a:lnTo>
                      <a:pt x="350" y="241"/>
                    </a:lnTo>
                    <a:lnTo>
                      <a:pt x="356" y="239"/>
                    </a:lnTo>
                    <a:lnTo>
                      <a:pt x="356" y="239"/>
                    </a:lnTo>
                    <a:lnTo>
                      <a:pt x="363" y="236"/>
                    </a:lnTo>
                    <a:lnTo>
                      <a:pt x="370" y="235"/>
                    </a:lnTo>
                    <a:lnTo>
                      <a:pt x="374" y="235"/>
                    </a:lnTo>
                    <a:lnTo>
                      <a:pt x="377" y="233"/>
                    </a:lnTo>
                    <a:lnTo>
                      <a:pt x="379" y="232"/>
                    </a:lnTo>
                    <a:lnTo>
                      <a:pt x="379" y="232"/>
                    </a:lnTo>
                    <a:lnTo>
                      <a:pt x="377" y="229"/>
                    </a:lnTo>
                    <a:lnTo>
                      <a:pt x="376" y="228"/>
                    </a:lnTo>
                    <a:lnTo>
                      <a:pt x="367" y="225"/>
                    </a:lnTo>
                    <a:lnTo>
                      <a:pt x="359" y="224"/>
                    </a:lnTo>
                    <a:lnTo>
                      <a:pt x="356" y="224"/>
                    </a:lnTo>
                    <a:lnTo>
                      <a:pt x="354" y="225"/>
                    </a:lnTo>
                    <a:lnTo>
                      <a:pt x="354" y="225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96" name="China">
                <a:extLst>
                  <a:ext uri="{FF2B5EF4-FFF2-40B4-BE49-F238E27FC236}">
                    <a16:creationId xmlns:a16="http://schemas.microsoft.com/office/drawing/2014/main" id="{6D586F32-4A3A-2233-E4BF-ABF0192DEF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75460" y="2896547"/>
                <a:ext cx="1422073" cy="976657"/>
              </a:xfrm>
              <a:custGeom>
                <a:avLst/>
                <a:gdLst/>
                <a:ahLst/>
                <a:cxnLst>
                  <a:cxn ang="0">
                    <a:pos x="911" y="124"/>
                  </a:cxn>
                  <a:cxn ang="0">
                    <a:pos x="870" y="89"/>
                  </a:cxn>
                  <a:cxn ang="0">
                    <a:pos x="833" y="43"/>
                  </a:cxn>
                  <a:cxn ang="0">
                    <a:pos x="793" y="3"/>
                  </a:cxn>
                  <a:cxn ang="0">
                    <a:pos x="732" y="17"/>
                  </a:cxn>
                  <a:cxn ang="0">
                    <a:pos x="712" y="72"/>
                  </a:cxn>
                  <a:cxn ang="0">
                    <a:pos x="655" y="120"/>
                  </a:cxn>
                  <a:cxn ang="0">
                    <a:pos x="707" y="126"/>
                  </a:cxn>
                  <a:cxn ang="0">
                    <a:pos x="676" y="150"/>
                  </a:cxn>
                  <a:cxn ang="0">
                    <a:pos x="598" y="178"/>
                  </a:cxn>
                  <a:cxn ang="0">
                    <a:pos x="557" y="228"/>
                  </a:cxn>
                  <a:cxn ang="0">
                    <a:pos x="466" y="239"/>
                  </a:cxn>
                  <a:cxn ang="0">
                    <a:pos x="346" y="224"/>
                  </a:cxn>
                  <a:cxn ang="0">
                    <a:pos x="312" y="184"/>
                  </a:cxn>
                  <a:cxn ang="0">
                    <a:pos x="269" y="141"/>
                  </a:cxn>
                  <a:cxn ang="0">
                    <a:pos x="220" y="93"/>
                  </a:cxn>
                  <a:cxn ang="0">
                    <a:pos x="197" y="107"/>
                  </a:cxn>
                  <a:cxn ang="0">
                    <a:pos x="158" y="137"/>
                  </a:cxn>
                  <a:cxn ang="0">
                    <a:pos x="126" y="171"/>
                  </a:cxn>
                  <a:cxn ang="0">
                    <a:pos x="111" y="212"/>
                  </a:cxn>
                  <a:cxn ang="0">
                    <a:pos x="74" y="252"/>
                  </a:cxn>
                  <a:cxn ang="0">
                    <a:pos x="23" y="265"/>
                  </a:cxn>
                  <a:cxn ang="0">
                    <a:pos x="16" y="305"/>
                  </a:cxn>
                  <a:cxn ang="0">
                    <a:pos x="57" y="359"/>
                  </a:cxn>
                  <a:cxn ang="0">
                    <a:pos x="89" y="386"/>
                  </a:cxn>
                  <a:cxn ang="0">
                    <a:pos x="74" y="416"/>
                  </a:cxn>
                  <a:cxn ang="0">
                    <a:pos x="110" y="454"/>
                  </a:cxn>
                  <a:cxn ang="0">
                    <a:pos x="183" y="488"/>
                  </a:cxn>
                  <a:cxn ang="0">
                    <a:pos x="232" y="501"/>
                  </a:cxn>
                  <a:cxn ang="0">
                    <a:pos x="279" y="498"/>
                  </a:cxn>
                  <a:cxn ang="0">
                    <a:pos x="332" y="474"/>
                  </a:cxn>
                  <a:cxn ang="0">
                    <a:pos x="369" y="488"/>
                  </a:cxn>
                  <a:cxn ang="0">
                    <a:pos x="363" y="550"/>
                  </a:cxn>
                  <a:cxn ang="0">
                    <a:pos x="385" y="578"/>
                  </a:cxn>
                  <a:cxn ang="0">
                    <a:pos x="410" y="605"/>
                  </a:cxn>
                  <a:cxn ang="0">
                    <a:pos x="426" y="591"/>
                  </a:cxn>
                  <a:cxn ang="0">
                    <a:pos x="460" y="587"/>
                  </a:cxn>
                  <a:cxn ang="0">
                    <a:pos x="507" y="587"/>
                  </a:cxn>
                  <a:cxn ang="0">
                    <a:pos x="544" y="604"/>
                  </a:cxn>
                  <a:cxn ang="0">
                    <a:pos x="564" y="626"/>
                  </a:cxn>
                  <a:cxn ang="0">
                    <a:pos x="632" y="588"/>
                  </a:cxn>
                  <a:cxn ang="0">
                    <a:pos x="690" y="557"/>
                  </a:cxn>
                  <a:cxn ang="0">
                    <a:pos x="716" y="530"/>
                  </a:cxn>
                  <a:cxn ang="0">
                    <a:pos x="744" y="490"/>
                  </a:cxn>
                  <a:cxn ang="0">
                    <a:pos x="752" y="458"/>
                  </a:cxn>
                  <a:cxn ang="0">
                    <a:pos x="754" y="443"/>
                  </a:cxn>
                  <a:cxn ang="0">
                    <a:pos x="753" y="427"/>
                  </a:cxn>
                  <a:cxn ang="0">
                    <a:pos x="715" y="375"/>
                  </a:cxn>
                  <a:cxn ang="0">
                    <a:pos x="737" y="340"/>
                  </a:cxn>
                  <a:cxn ang="0">
                    <a:pos x="742" y="319"/>
                  </a:cxn>
                  <a:cxn ang="0">
                    <a:pos x="697" y="312"/>
                  </a:cxn>
                  <a:cxn ang="0">
                    <a:pos x="712" y="282"/>
                  </a:cxn>
                  <a:cxn ang="0">
                    <a:pos x="749" y="279"/>
                  </a:cxn>
                  <a:cxn ang="0">
                    <a:pos x="791" y="278"/>
                  </a:cxn>
                  <a:cxn ang="0">
                    <a:pos x="858" y="247"/>
                  </a:cxn>
                  <a:cxn ang="0">
                    <a:pos x="884" y="218"/>
                  </a:cxn>
                  <a:cxn ang="0">
                    <a:pos x="904" y="183"/>
                  </a:cxn>
                  <a:cxn ang="0">
                    <a:pos x="941" y="164"/>
                  </a:cxn>
                  <a:cxn ang="0">
                    <a:pos x="725" y="574"/>
                  </a:cxn>
                  <a:cxn ang="0">
                    <a:pos x="732" y="555"/>
                  </a:cxn>
                  <a:cxn ang="0">
                    <a:pos x="567" y="653"/>
                  </a:cxn>
                </a:cxnLst>
                <a:rect l="0" t="0" r="r" b="b"/>
                <a:pathLst>
                  <a:path w="961" h="660">
                    <a:moveTo>
                      <a:pt x="959" y="118"/>
                    </a:moveTo>
                    <a:lnTo>
                      <a:pt x="959" y="118"/>
                    </a:lnTo>
                    <a:lnTo>
                      <a:pt x="958" y="116"/>
                    </a:lnTo>
                    <a:lnTo>
                      <a:pt x="958" y="113"/>
                    </a:lnTo>
                    <a:lnTo>
                      <a:pt x="954" y="113"/>
                    </a:lnTo>
                    <a:lnTo>
                      <a:pt x="949" y="113"/>
                    </a:lnTo>
                    <a:lnTo>
                      <a:pt x="946" y="114"/>
                    </a:lnTo>
                    <a:lnTo>
                      <a:pt x="946" y="114"/>
                    </a:lnTo>
                    <a:lnTo>
                      <a:pt x="942" y="116"/>
                    </a:lnTo>
                    <a:lnTo>
                      <a:pt x="938" y="116"/>
                    </a:lnTo>
                    <a:lnTo>
                      <a:pt x="934" y="117"/>
                    </a:lnTo>
                    <a:lnTo>
                      <a:pt x="931" y="120"/>
                    </a:lnTo>
                    <a:lnTo>
                      <a:pt x="931" y="120"/>
                    </a:lnTo>
                    <a:lnTo>
                      <a:pt x="928" y="123"/>
                    </a:lnTo>
                    <a:lnTo>
                      <a:pt x="925" y="124"/>
                    </a:lnTo>
                    <a:lnTo>
                      <a:pt x="917" y="124"/>
                    </a:lnTo>
                    <a:lnTo>
                      <a:pt x="917" y="124"/>
                    </a:lnTo>
                    <a:lnTo>
                      <a:pt x="911" y="124"/>
                    </a:lnTo>
                    <a:lnTo>
                      <a:pt x="905" y="123"/>
                    </a:lnTo>
                    <a:lnTo>
                      <a:pt x="901" y="120"/>
                    </a:lnTo>
                    <a:lnTo>
                      <a:pt x="901" y="117"/>
                    </a:lnTo>
                    <a:lnTo>
                      <a:pt x="901" y="117"/>
                    </a:lnTo>
                    <a:lnTo>
                      <a:pt x="899" y="114"/>
                    </a:lnTo>
                    <a:lnTo>
                      <a:pt x="898" y="111"/>
                    </a:lnTo>
                    <a:lnTo>
                      <a:pt x="897" y="107"/>
                    </a:lnTo>
                    <a:lnTo>
                      <a:pt x="897" y="104"/>
                    </a:lnTo>
                    <a:lnTo>
                      <a:pt x="897" y="104"/>
                    </a:lnTo>
                    <a:lnTo>
                      <a:pt x="897" y="101"/>
                    </a:lnTo>
                    <a:lnTo>
                      <a:pt x="894" y="100"/>
                    </a:lnTo>
                    <a:lnTo>
                      <a:pt x="890" y="99"/>
                    </a:lnTo>
                    <a:lnTo>
                      <a:pt x="885" y="96"/>
                    </a:lnTo>
                    <a:lnTo>
                      <a:pt x="885" y="96"/>
                    </a:lnTo>
                    <a:lnTo>
                      <a:pt x="881" y="93"/>
                    </a:lnTo>
                    <a:lnTo>
                      <a:pt x="877" y="90"/>
                    </a:lnTo>
                    <a:lnTo>
                      <a:pt x="872" y="89"/>
                    </a:lnTo>
                    <a:lnTo>
                      <a:pt x="870" y="89"/>
                    </a:lnTo>
                    <a:lnTo>
                      <a:pt x="870" y="89"/>
                    </a:lnTo>
                    <a:lnTo>
                      <a:pt x="867" y="89"/>
                    </a:lnTo>
                    <a:lnTo>
                      <a:pt x="864" y="87"/>
                    </a:lnTo>
                    <a:lnTo>
                      <a:pt x="860" y="84"/>
                    </a:lnTo>
                    <a:lnTo>
                      <a:pt x="854" y="83"/>
                    </a:lnTo>
                    <a:lnTo>
                      <a:pt x="854" y="83"/>
                    </a:lnTo>
                    <a:lnTo>
                      <a:pt x="850" y="82"/>
                    </a:lnTo>
                    <a:lnTo>
                      <a:pt x="847" y="80"/>
                    </a:lnTo>
                    <a:lnTo>
                      <a:pt x="847" y="77"/>
                    </a:lnTo>
                    <a:lnTo>
                      <a:pt x="848" y="74"/>
                    </a:lnTo>
                    <a:lnTo>
                      <a:pt x="848" y="74"/>
                    </a:lnTo>
                    <a:lnTo>
                      <a:pt x="847" y="70"/>
                    </a:lnTo>
                    <a:lnTo>
                      <a:pt x="844" y="66"/>
                    </a:lnTo>
                    <a:lnTo>
                      <a:pt x="840" y="54"/>
                    </a:lnTo>
                    <a:lnTo>
                      <a:pt x="840" y="54"/>
                    </a:lnTo>
                    <a:lnTo>
                      <a:pt x="838" y="52"/>
                    </a:lnTo>
                    <a:lnTo>
                      <a:pt x="835" y="47"/>
                    </a:lnTo>
                    <a:lnTo>
                      <a:pt x="833" y="43"/>
                    </a:lnTo>
                    <a:lnTo>
                      <a:pt x="830" y="36"/>
                    </a:lnTo>
                    <a:lnTo>
                      <a:pt x="830" y="36"/>
                    </a:lnTo>
                    <a:lnTo>
                      <a:pt x="828" y="29"/>
                    </a:lnTo>
                    <a:lnTo>
                      <a:pt x="826" y="26"/>
                    </a:lnTo>
                    <a:lnTo>
                      <a:pt x="823" y="25"/>
                    </a:lnTo>
                    <a:lnTo>
                      <a:pt x="823" y="22"/>
                    </a:lnTo>
                    <a:lnTo>
                      <a:pt x="823" y="22"/>
                    </a:lnTo>
                    <a:lnTo>
                      <a:pt x="823" y="19"/>
                    </a:lnTo>
                    <a:lnTo>
                      <a:pt x="821" y="17"/>
                    </a:lnTo>
                    <a:lnTo>
                      <a:pt x="818" y="15"/>
                    </a:lnTo>
                    <a:lnTo>
                      <a:pt x="816" y="12"/>
                    </a:lnTo>
                    <a:lnTo>
                      <a:pt x="813" y="9"/>
                    </a:lnTo>
                    <a:lnTo>
                      <a:pt x="813" y="9"/>
                    </a:lnTo>
                    <a:lnTo>
                      <a:pt x="808" y="8"/>
                    </a:lnTo>
                    <a:lnTo>
                      <a:pt x="804" y="6"/>
                    </a:lnTo>
                    <a:lnTo>
                      <a:pt x="798" y="6"/>
                    </a:lnTo>
                    <a:lnTo>
                      <a:pt x="793" y="3"/>
                    </a:lnTo>
                    <a:lnTo>
                      <a:pt x="793" y="3"/>
                    </a:lnTo>
                    <a:lnTo>
                      <a:pt x="787" y="2"/>
                    </a:lnTo>
                    <a:lnTo>
                      <a:pt x="783" y="2"/>
                    </a:lnTo>
                    <a:lnTo>
                      <a:pt x="779" y="2"/>
                    </a:lnTo>
                    <a:lnTo>
                      <a:pt x="774" y="0"/>
                    </a:lnTo>
                    <a:lnTo>
                      <a:pt x="774" y="0"/>
                    </a:lnTo>
                    <a:lnTo>
                      <a:pt x="769" y="0"/>
                    </a:lnTo>
                    <a:lnTo>
                      <a:pt x="762" y="0"/>
                    </a:lnTo>
                    <a:lnTo>
                      <a:pt x="752" y="3"/>
                    </a:lnTo>
                    <a:lnTo>
                      <a:pt x="752" y="3"/>
                    </a:lnTo>
                    <a:lnTo>
                      <a:pt x="743" y="3"/>
                    </a:lnTo>
                    <a:lnTo>
                      <a:pt x="736" y="5"/>
                    </a:lnTo>
                    <a:lnTo>
                      <a:pt x="733" y="6"/>
                    </a:lnTo>
                    <a:lnTo>
                      <a:pt x="730" y="9"/>
                    </a:lnTo>
                    <a:lnTo>
                      <a:pt x="730" y="9"/>
                    </a:lnTo>
                    <a:lnTo>
                      <a:pt x="727" y="15"/>
                    </a:lnTo>
                    <a:lnTo>
                      <a:pt x="727" y="17"/>
                    </a:lnTo>
                    <a:lnTo>
                      <a:pt x="730" y="17"/>
                    </a:lnTo>
                    <a:lnTo>
                      <a:pt x="732" y="17"/>
                    </a:lnTo>
                    <a:lnTo>
                      <a:pt x="732" y="17"/>
                    </a:lnTo>
                    <a:lnTo>
                      <a:pt x="733" y="19"/>
                    </a:lnTo>
                    <a:lnTo>
                      <a:pt x="734" y="22"/>
                    </a:lnTo>
                    <a:lnTo>
                      <a:pt x="737" y="29"/>
                    </a:lnTo>
                    <a:lnTo>
                      <a:pt x="737" y="29"/>
                    </a:lnTo>
                    <a:lnTo>
                      <a:pt x="736" y="32"/>
                    </a:lnTo>
                    <a:lnTo>
                      <a:pt x="734" y="35"/>
                    </a:lnTo>
                    <a:lnTo>
                      <a:pt x="730" y="37"/>
                    </a:lnTo>
                    <a:lnTo>
                      <a:pt x="730" y="37"/>
                    </a:lnTo>
                    <a:lnTo>
                      <a:pt x="727" y="39"/>
                    </a:lnTo>
                    <a:lnTo>
                      <a:pt x="725" y="43"/>
                    </a:lnTo>
                    <a:lnTo>
                      <a:pt x="720" y="53"/>
                    </a:lnTo>
                    <a:lnTo>
                      <a:pt x="720" y="53"/>
                    </a:lnTo>
                    <a:lnTo>
                      <a:pt x="715" y="62"/>
                    </a:lnTo>
                    <a:lnTo>
                      <a:pt x="713" y="66"/>
                    </a:lnTo>
                    <a:lnTo>
                      <a:pt x="712" y="69"/>
                    </a:lnTo>
                    <a:lnTo>
                      <a:pt x="712" y="69"/>
                    </a:lnTo>
                    <a:lnTo>
                      <a:pt x="712" y="72"/>
                    </a:lnTo>
                    <a:lnTo>
                      <a:pt x="710" y="73"/>
                    </a:lnTo>
                    <a:lnTo>
                      <a:pt x="705" y="76"/>
                    </a:lnTo>
                    <a:lnTo>
                      <a:pt x="705" y="76"/>
                    </a:lnTo>
                    <a:lnTo>
                      <a:pt x="697" y="80"/>
                    </a:lnTo>
                    <a:lnTo>
                      <a:pt x="690" y="84"/>
                    </a:lnTo>
                    <a:lnTo>
                      <a:pt x="690" y="84"/>
                    </a:lnTo>
                    <a:lnTo>
                      <a:pt x="682" y="84"/>
                    </a:lnTo>
                    <a:lnTo>
                      <a:pt x="676" y="82"/>
                    </a:lnTo>
                    <a:lnTo>
                      <a:pt x="675" y="80"/>
                    </a:lnTo>
                    <a:lnTo>
                      <a:pt x="675" y="80"/>
                    </a:lnTo>
                    <a:lnTo>
                      <a:pt x="673" y="79"/>
                    </a:lnTo>
                    <a:lnTo>
                      <a:pt x="670" y="77"/>
                    </a:lnTo>
                    <a:lnTo>
                      <a:pt x="658" y="103"/>
                    </a:lnTo>
                    <a:lnTo>
                      <a:pt x="656" y="111"/>
                    </a:lnTo>
                    <a:lnTo>
                      <a:pt x="656" y="111"/>
                    </a:lnTo>
                    <a:lnTo>
                      <a:pt x="653" y="113"/>
                    </a:lnTo>
                    <a:lnTo>
                      <a:pt x="652" y="116"/>
                    </a:lnTo>
                    <a:lnTo>
                      <a:pt x="655" y="120"/>
                    </a:lnTo>
                    <a:lnTo>
                      <a:pt x="655" y="120"/>
                    </a:lnTo>
                    <a:lnTo>
                      <a:pt x="659" y="123"/>
                    </a:lnTo>
                    <a:lnTo>
                      <a:pt x="662" y="123"/>
                    </a:lnTo>
                    <a:lnTo>
                      <a:pt x="665" y="121"/>
                    </a:lnTo>
                    <a:lnTo>
                      <a:pt x="670" y="120"/>
                    </a:lnTo>
                    <a:lnTo>
                      <a:pt x="670" y="120"/>
                    </a:lnTo>
                    <a:lnTo>
                      <a:pt x="678" y="121"/>
                    </a:lnTo>
                    <a:lnTo>
                      <a:pt x="682" y="124"/>
                    </a:lnTo>
                    <a:lnTo>
                      <a:pt x="685" y="124"/>
                    </a:lnTo>
                    <a:lnTo>
                      <a:pt x="686" y="124"/>
                    </a:lnTo>
                    <a:lnTo>
                      <a:pt x="686" y="123"/>
                    </a:lnTo>
                    <a:lnTo>
                      <a:pt x="686" y="123"/>
                    </a:lnTo>
                    <a:lnTo>
                      <a:pt x="689" y="118"/>
                    </a:lnTo>
                    <a:lnTo>
                      <a:pt x="693" y="117"/>
                    </a:lnTo>
                    <a:lnTo>
                      <a:pt x="697" y="117"/>
                    </a:lnTo>
                    <a:lnTo>
                      <a:pt x="702" y="120"/>
                    </a:lnTo>
                    <a:lnTo>
                      <a:pt x="702" y="120"/>
                    </a:lnTo>
                    <a:lnTo>
                      <a:pt x="707" y="126"/>
                    </a:lnTo>
                    <a:lnTo>
                      <a:pt x="715" y="131"/>
                    </a:lnTo>
                    <a:lnTo>
                      <a:pt x="720" y="137"/>
                    </a:lnTo>
                    <a:lnTo>
                      <a:pt x="722" y="140"/>
                    </a:lnTo>
                    <a:lnTo>
                      <a:pt x="723" y="143"/>
                    </a:lnTo>
                    <a:lnTo>
                      <a:pt x="723" y="143"/>
                    </a:lnTo>
                    <a:lnTo>
                      <a:pt x="722" y="144"/>
                    </a:lnTo>
                    <a:lnTo>
                      <a:pt x="720" y="146"/>
                    </a:lnTo>
                    <a:lnTo>
                      <a:pt x="716" y="146"/>
                    </a:lnTo>
                    <a:lnTo>
                      <a:pt x="712" y="146"/>
                    </a:lnTo>
                    <a:lnTo>
                      <a:pt x="706" y="144"/>
                    </a:lnTo>
                    <a:lnTo>
                      <a:pt x="706" y="144"/>
                    </a:lnTo>
                    <a:lnTo>
                      <a:pt x="702" y="144"/>
                    </a:lnTo>
                    <a:lnTo>
                      <a:pt x="696" y="146"/>
                    </a:lnTo>
                    <a:lnTo>
                      <a:pt x="690" y="147"/>
                    </a:lnTo>
                    <a:lnTo>
                      <a:pt x="686" y="148"/>
                    </a:lnTo>
                    <a:lnTo>
                      <a:pt x="686" y="148"/>
                    </a:lnTo>
                    <a:lnTo>
                      <a:pt x="680" y="148"/>
                    </a:lnTo>
                    <a:lnTo>
                      <a:pt x="676" y="150"/>
                    </a:lnTo>
                    <a:lnTo>
                      <a:pt x="670" y="153"/>
                    </a:lnTo>
                    <a:lnTo>
                      <a:pt x="666" y="157"/>
                    </a:lnTo>
                    <a:lnTo>
                      <a:pt x="666" y="157"/>
                    </a:lnTo>
                    <a:lnTo>
                      <a:pt x="662" y="161"/>
                    </a:lnTo>
                    <a:lnTo>
                      <a:pt x="661" y="165"/>
                    </a:lnTo>
                    <a:lnTo>
                      <a:pt x="656" y="168"/>
                    </a:lnTo>
                    <a:lnTo>
                      <a:pt x="652" y="170"/>
                    </a:lnTo>
                    <a:lnTo>
                      <a:pt x="652" y="170"/>
                    </a:lnTo>
                    <a:lnTo>
                      <a:pt x="641" y="171"/>
                    </a:lnTo>
                    <a:lnTo>
                      <a:pt x="635" y="174"/>
                    </a:lnTo>
                    <a:lnTo>
                      <a:pt x="628" y="177"/>
                    </a:lnTo>
                    <a:lnTo>
                      <a:pt x="628" y="177"/>
                    </a:lnTo>
                    <a:lnTo>
                      <a:pt x="619" y="181"/>
                    </a:lnTo>
                    <a:lnTo>
                      <a:pt x="612" y="183"/>
                    </a:lnTo>
                    <a:lnTo>
                      <a:pt x="606" y="181"/>
                    </a:lnTo>
                    <a:lnTo>
                      <a:pt x="602" y="180"/>
                    </a:lnTo>
                    <a:lnTo>
                      <a:pt x="602" y="180"/>
                    </a:lnTo>
                    <a:lnTo>
                      <a:pt x="598" y="178"/>
                    </a:lnTo>
                    <a:lnTo>
                      <a:pt x="594" y="178"/>
                    </a:lnTo>
                    <a:lnTo>
                      <a:pt x="589" y="180"/>
                    </a:lnTo>
                    <a:lnTo>
                      <a:pt x="587" y="184"/>
                    </a:lnTo>
                    <a:lnTo>
                      <a:pt x="587" y="184"/>
                    </a:lnTo>
                    <a:lnTo>
                      <a:pt x="585" y="185"/>
                    </a:lnTo>
                    <a:lnTo>
                      <a:pt x="585" y="188"/>
                    </a:lnTo>
                    <a:lnTo>
                      <a:pt x="588" y="192"/>
                    </a:lnTo>
                    <a:lnTo>
                      <a:pt x="589" y="197"/>
                    </a:lnTo>
                    <a:lnTo>
                      <a:pt x="591" y="202"/>
                    </a:lnTo>
                    <a:lnTo>
                      <a:pt x="591" y="202"/>
                    </a:lnTo>
                    <a:lnTo>
                      <a:pt x="589" y="205"/>
                    </a:lnTo>
                    <a:lnTo>
                      <a:pt x="588" y="207"/>
                    </a:lnTo>
                    <a:lnTo>
                      <a:pt x="584" y="210"/>
                    </a:lnTo>
                    <a:lnTo>
                      <a:pt x="577" y="212"/>
                    </a:lnTo>
                    <a:lnTo>
                      <a:pt x="571" y="218"/>
                    </a:lnTo>
                    <a:lnTo>
                      <a:pt x="571" y="218"/>
                    </a:lnTo>
                    <a:lnTo>
                      <a:pt x="564" y="224"/>
                    </a:lnTo>
                    <a:lnTo>
                      <a:pt x="557" y="228"/>
                    </a:lnTo>
                    <a:lnTo>
                      <a:pt x="548" y="229"/>
                    </a:lnTo>
                    <a:lnTo>
                      <a:pt x="542" y="229"/>
                    </a:lnTo>
                    <a:lnTo>
                      <a:pt x="542" y="229"/>
                    </a:lnTo>
                    <a:lnTo>
                      <a:pt x="527" y="228"/>
                    </a:lnTo>
                    <a:lnTo>
                      <a:pt x="515" y="228"/>
                    </a:lnTo>
                    <a:lnTo>
                      <a:pt x="511" y="229"/>
                    </a:lnTo>
                    <a:lnTo>
                      <a:pt x="505" y="231"/>
                    </a:lnTo>
                    <a:lnTo>
                      <a:pt x="505" y="231"/>
                    </a:lnTo>
                    <a:lnTo>
                      <a:pt x="497" y="237"/>
                    </a:lnTo>
                    <a:lnTo>
                      <a:pt x="488" y="241"/>
                    </a:lnTo>
                    <a:lnTo>
                      <a:pt x="483" y="245"/>
                    </a:lnTo>
                    <a:lnTo>
                      <a:pt x="478" y="245"/>
                    </a:lnTo>
                    <a:lnTo>
                      <a:pt x="478" y="245"/>
                    </a:lnTo>
                    <a:lnTo>
                      <a:pt x="474" y="244"/>
                    </a:lnTo>
                    <a:lnTo>
                      <a:pt x="473" y="242"/>
                    </a:lnTo>
                    <a:lnTo>
                      <a:pt x="470" y="239"/>
                    </a:lnTo>
                    <a:lnTo>
                      <a:pt x="466" y="239"/>
                    </a:lnTo>
                    <a:lnTo>
                      <a:pt x="466" y="239"/>
                    </a:lnTo>
                    <a:lnTo>
                      <a:pt x="460" y="239"/>
                    </a:lnTo>
                    <a:lnTo>
                      <a:pt x="457" y="239"/>
                    </a:lnTo>
                    <a:lnTo>
                      <a:pt x="449" y="235"/>
                    </a:lnTo>
                    <a:lnTo>
                      <a:pt x="449" y="235"/>
                    </a:lnTo>
                    <a:lnTo>
                      <a:pt x="446" y="234"/>
                    </a:lnTo>
                    <a:lnTo>
                      <a:pt x="441" y="234"/>
                    </a:lnTo>
                    <a:lnTo>
                      <a:pt x="437" y="234"/>
                    </a:lnTo>
                    <a:lnTo>
                      <a:pt x="431" y="231"/>
                    </a:lnTo>
                    <a:lnTo>
                      <a:pt x="431" y="231"/>
                    </a:lnTo>
                    <a:lnTo>
                      <a:pt x="424" y="228"/>
                    </a:lnTo>
                    <a:lnTo>
                      <a:pt x="416" y="227"/>
                    </a:lnTo>
                    <a:lnTo>
                      <a:pt x="403" y="225"/>
                    </a:lnTo>
                    <a:lnTo>
                      <a:pt x="403" y="225"/>
                    </a:lnTo>
                    <a:lnTo>
                      <a:pt x="385" y="224"/>
                    </a:lnTo>
                    <a:lnTo>
                      <a:pt x="365" y="224"/>
                    </a:lnTo>
                    <a:lnTo>
                      <a:pt x="365" y="224"/>
                    </a:lnTo>
                    <a:lnTo>
                      <a:pt x="352" y="224"/>
                    </a:lnTo>
                    <a:lnTo>
                      <a:pt x="346" y="224"/>
                    </a:lnTo>
                    <a:lnTo>
                      <a:pt x="345" y="222"/>
                    </a:lnTo>
                    <a:lnTo>
                      <a:pt x="343" y="222"/>
                    </a:lnTo>
                    <a:lnTo>
                      <a:pt x="343" y="222"/>
                    </a:lnTo>
                    <a:lnTo>
                      <a:pt x="342" y="218"/>
                    </a:lnTo>
                    <a:lnTo>
                      <a:pt x="339" y="215"/>
                    </a:lnTo>
                    <a:lnTo>
                      <a:pt x="336" y="211"/>
                    </a:lnTo>
                    <a:lnTo>
                      <a:pt x="335" y="205"/>
                    </a:lnTo>
                    <a:lnTo>
                      <a:pt x="335" y="205"/>
                    </a:lnTo>
                    <a:lnTo>
                      <a:pt x="332" y="200"/>
                    </a:lnTo>
                    <a:lnTo>
                      <a:pt x="329" y="195"/>
                    </a:lnTo>
                    <a:lnTo>
                      <a:pt x="326" y="192"/>
                    </a:lnTo>
                    <a:lnTo>
                      <a:pt x="322" y="192"/>
                    </a:lnTo>
                    <a:lnTo>
                      <a:pt x="322" y="192"/>
                    </a:lnTo>
                    <a:lnTo>
                      <a:pt x="319" y="190"/>
                    </a:lnTo>
                    <a:lnTo>
                      <a:pt x="316" y="188"/>
                    </a:lnTo>
                    <a:lnTo>
                      <a:pt x="315" y="185"/>
                    </a:lnTo>
                    <a:lnTo>
                      <a:pt x="312" y="184"/>
                    </a:lnTo>
                    <a:lnTo>
                      <a:pt x="312" y="184"/>
                    </a:lnTo>
                    <a:lnTo>
                      <a:pt x="309" y="184"/>
                    </a:lnTo>
                    <a:lnTo>
                      <a:pt x="308" y="181"/>
                    </a:lnTo>
                    <a:lnTo>
                      <a:pt x="303" y="178"/>
                    </a:lnTo>
                    <a:lnTo>
                      <a:pt x="299" y="177"/>
                    </a:lnTo>
                    <a:lnTo>
                      <a:pt x="299" y="177"/>
                    </a:lnTo>
                    <a:lnTo>
                      <a:pt x="292" y="177"/>
                    </a:lnTo>
                    <a:lnTo>
                      <a:pt x="281" y="175"/>
                    </a:lnTo>
                    <a:lnTo>
                      <a:pt x="269" y="173"/>
                    </a:lnTo>
                    <a:lnTo>
                      <a:pt x="265" y="171"/>
                    </a:lnTo>
                    <a:lnTo>
                      <a:pt x="264" y="168"/>
                    </a:lnTo>
                    <a:lnTo>
                      <a:pt x="264" y="168"/>
                    </a:lnTo>
                    <a:lnTo>
                      <a:pt x="262" y="165"/>
                    </a:lnTo>
                    <a:lnTo>
                      <a:pt x="264" y="163"/>
                    </a:lnTo>
                    <a:lnTo>
                      <a:pt x="266" y="158"/>
                    </a:lnTo>
                    <a:lnTo>
                      <a:pt x="266" y="155"/>
                    </a:lnTo>
                    <a:lnTo>
                      <a:pt x="266" y="155"/>
                    </a:lnTo>
                    <a:lnTo>
                      <a:pt x="269" y="146"/>
                    </a:lnTo>
                    <a:lnTo>
                      <a:pt x="269" y="141"/>
                    </a:lnTo>
                    <a:lnTo>
                      <a:pt x="268" y="140"/>
                    </a:lnTo>
                    <a:lnTo>
                      <a:pt x="268" y="140"/>
                    </a:lnTo>
                    <a:lnTo>
                      <a:pt x="262" y="134"/>
                    </a:lnTo>
                    <a:lnTo>
                      <a:pt x="261" y="131"/>
                    </a:lnTo>
                    <a:lnTo>
                      <a:pt x="259" y="127"/>
                    </a:lnTo>
                    <a:lnTo>
                      <a:pt x="259" y="127"/>
                    </a:lnTo>
                    <a:lnTo>
                      <a:pt x="258" y="123"/>
                    </a:lnTo>
                    <a:lnTo>
                      <a:pt x="254" y="120"/>
                    </a:lnTo>
                    <a:lnTo>
                      <a:pt x="249" y="117"/>
                    </a:lnTo>
                    <a:lnTo>
                      <a:pt x="245" y="116"/>
                    </a:lnTo>
                    <a:lnTo>
                      <a:pt x="245" y="116"/>
                    </a:lnTo>
                    <a:lnTo>
                      <a:pt x="242" y="116"/>
                    </a:lnTo>
                    <a:lnTo>
                      <a:pt x="238" y="113"/>
                    </a:lnTo>
                    <a:lnTo>
                      <a:pt x="231" y="109"/>
                    </a:lnTo>
                    <a:lnTo>
                      <a:pt x="231" y="109"/>
                    </a:lnTo>
                    <a:lnTo>
                      <a:pt x="224" y="103"/>
                    </a:lnTo>
                    <a:lnTo>
                      <a:pt x="222" y="100"/>
                    </a:lnTo>
                    <a:lnTo>
                      <a:pt x="220" y="93"/>
                    </a:lnTo>
                    <a:lnTo>
                      <a:pt x="220" y="93"/>
                    </a:lnTo>
                    <a:lnTo>
                      <a:pt x="220" y="91"/>
                    </a:lnTo>
                    <a:lnTo>
                      <a:pt x="220" y="91"/>
                    </a:lnTo>
                    <a:lnTo>
                      <a:pt x="214" y="90"/>
                    </a:lnTo>
                    <a:lnTo>
                      <a:pt x="214" y="90"/>
                    </a:lnTo>
                    <a:lnTo>
                      <a:pt x="211" y="90"/>
                    </a:lnTo>
                    <a:lnTo>
                      <a:pt x="210" y="87"/>
                    </a:lnTo>
                    <a:lnTo>
                      <a:pt x="210" y="87"/>
                    </a:lnTo>
                    <a:lnTo>
                      <a:pt x="208" y="91"/>
                    </a:lnTo>
                    <a:lnTo>
                      <a:pt x="205" y="93"/>
                    </a:lnTo>
                    <a:lnTo>
                      <a:pt x="204" y="96"/>
                    </a:lnTo>
                    <a:lnTo>
                      <a:pt x="204" y="99"/>
                    </a:lnTo>
                    <a:lnTo>
                      <a:pt x="204" y="99"/>
                    </a:lnTo>
                    <a:lnTo>
                      <a:pt x="202" y="101"/>
                    </a:lnTo>
                    <a:lnTo>
                      <a:pt x="202" y="104"/>
                    </a:lnTo>
                    <a:lnTo>
                      <a:pt x="200" y="106"/>
                    </a:lnTo>
                    <a:lnTo>
                      <a:pt x="197" y="107"/>
                    </a:lnTo>
                    <a:lnTo>
                      <a:pt x="197" y="107"/>
                    </a:lnTo>
                    <a:lnTo>
                      <a:pt x="192" y="107"/>
                    </a:lnTo>
                    <a:lnTo>
                      <a:pt x="190" y="110"/>
                    </a:lnTo>
                    <a:lnTo>
                      <a:pt x="187" y="114"/>
                    </a:lnTo>
                    <a:lnTo>
                      <a:pt x="185" y="120"/>
                    </a:lnTo>
                    <a:lnTo>
                      <a:pt x="185" y="120"/>
                    </a:lnTo>
                    <a:lnTo>
                      <a:pt x="187" y="124"/>
                    </a:lnTo>
                    <a:lnTo>
                      <a:pt x="188" y="127"/>
                    </a:lnTo>
                    <a:lnTo>
                      <a:pt x="188" y="130"/>
                    </a:lnTo>
                    <a:lnTo>
                      <a:pt x="188" y="133"/>
                    </a:lnTo>
                    <a:lnTo>
                      <a:pt x="188" y="133"/>
                    </a:lnTo>
                    <a:lnTo>
                      <a:pt x="185" y="134"/>
                    </a:lnTo>
                    <a:lnTo>
                      <a:pt x="181" y="137"/>
                    </a:lnTo>
                    <a:lnTo>
                      <a:pt x="177" y="138"/>
                    </a:lnTo>
                    <a:lnTo>
                      <a:pt x="173" y="137"/>
                    </a:lnTo>
                    <a:lnTo>
                      <a:pt x="173" y="137"/>
                    </a:lnTo>
                    <a:lnTo>
                      <a:pt x="167" y="137"/>
                    </a:lnTo>
                    <a:lnTo>
                      <a:pt x="158" y="137"/>
                    </a:lnTo>
                    <a:lnTo>
                      <a:pt x="158" y="137"/>
                    </a:lnTo>
                    <a:lnTo>
                      <a:pt x="154" y="136"/>
                    </a:lnTo>
                    <a:lnTo>
                      <a:pt x="151" y="133"/>
                    </a:lnTo>
                    <a:lnTo>
                      <a:pt x="150" y="133"/>
                    </a:lnTo>
                    <a:lnTo>
                      <a:pt x="147" y="137"/>
                    </a:lnTo>
                    <a:lnTo>
                      <a:pt x="147" y="137"/>
                    </a:lnTo>
                    <a:lnTo>
                      <a:pt x="141" y="154"/>
                    </a:lnTo>
                    <a:lnTo>
                      <a:pt x="138" y="163"/>
                    </a:lnTo>
                    <a:lnTo>
                      <a:pt x="137" y="165"/>
                    </a:lnTo>
                    <a:lnTo>
                      <a:pt x="138" y="167"/>
                    </a:lnTo>
                    <a:lnTo>
                      <a:pt x="138" y="167"/>
                    </a:lnTo>
                    <a:lnTo>
                      <a:pt x="140" y="170"/>
                    </a:lnTo>
                    <a:lnTo>
                      <a:pt x="140" y="171"/>
                    </a:lnTo>
                    <a:lnTo>
                      <a:pt x="140" y="174"/>
                    </a:lnTo>
                    <a:lnTo>
                      <a:pt x="138" y="174"/>
                    </a:lnTo>
                    <a:lnTo>
                      <a:pt x="138" y="174"/>
                    </a:lnTo>
                    <a:lnTo>
                      <a:pt x="131" y="174"/>
                    </a:lnTo>
                    <a:lnTo>
                      <a:pt x="126" y="171"/>
                    </a:lnTo>
                    <a:lnTo>
                      <a:pt x="126" y="171"/>
                    </a:lnTo>
                    <a:lnTo>
                      <a:pt x="124" y="171"/>
                    </a:lnTo>
                    <a:lnTo>
                      <a:pt x="120" y="173"/>
                    </a:lnTo>
                    <a:lnTo>
                      <a:pt x="116" y="174"/>
                    </a:lnTo>
                    <a:lnTo>
                      <a:pt x="111" y="174"/>
                    </a:lnTo>
                    <a:lnTo>
                      <a:pt x="111" y="174"/>
                    </a:lnTo>
                    <a:lnTo>
                      <a:pt x="104" y="177"/>
                    </a:lnTo>
                    <a:lnTo>
                      <a:pt x="101" y="180"/>
                    </a:lnTo>
                    <a:lnTo>
                      <a:pt x="101" y="180"/>
                    </a:lnTo>
                    <a:lnTo>
                      <a:pt x="101" y="181"/>
                    </a:lnTo>
                    <a:lnTo>
                      <a:pt x="101" y="181"/>
                    </a:lnTo>
                    <a:lnTo>
                      <a:pt x="104" y="184"/>
                    </a:lnTo>
                    <a:lnTo>
                      <a:pt x="106" y="187"/>
                    </a:lnTo>
                    <a:lnTo>
                      <a:pt x="106" y="195"/>
                    </a:lnTo>
                    <a:lnTo>
                      <a:pt x="106" y="195"/>
                    </a:lnTo>
                    <a:lnTo>
                      <a:pt x="107" y="198"/>
                    </a:lnTo>
                    <a:lnTo>
                      <a:pt x="109" y="204"/>
                    </a:lnTo>
                    <a:lnTo>
                      <a:pt x="111" y="210"/>
                    </a:lnTo>
                    <a:lnTo>
                      <a:pt x="111" y="212"/>
                    </a:lnTo>
                    <a:lnTo>
                      <a:pt x="111" y="212"/>
                    </a:lnTo>
                    <a:lnTo>
                      <a:pt x="110" y="215"/>
                    </a:lnTo>
                    <a:lnTo>
                      <a:pt x="107" y="218"/>
                    </a:lnTo>
                    <a:lnTo>
                      <a:pt x="104" y="221"/>
                    </a:lnTo>
                    <a:lnTo>
                      <a:pt x="103" y="225"/>
                    </a:lnTo>
                    <a:lnTo>
                      <a:pt x="103" y="225"/>
                    </a:lnTo>
                    <a:lnTo>
                      <a:pt x="104" y="231"/>
                    </a:lnTo>
                    <a:lnTo>
                      <a:pt x="103" y="234"/>
                    </a:lnTo>
                    <a:lnTo>
                      <a:pt x="103" y="235"/>
                    </a:lnTo>
                    <a:lnTo>
                      <a:pt x="103" y="235"/>
                    </a:lnTo>
                    <a:lnTo>
                      <a:pt x="96" y="238"/>
                    </a:lnTo>
                    <a:lnTo>
                      <a:pt x="89" y="242"/>
                    </a:lnTo>
                    <a:lnTo>
                      <a:pt x="89" y="242"/>
                    </a:lnTo>
                    <a:lnTo>
                      <a:pt x="82" y="245"/>
                    </a:lnTo>
                    <a:lnTo>
                      <a:pt x="77" y="247"/>
                    </a:lnTo>
                    <a:lnTo>
                      <a:pt x="76" y="249"/>
                    </a:lnTo>
                    <a:lnTo>
                      <a:pt x="76" y="249"/>
                    </a:lnTo>
                    <a:lnTo>
                      <a:pt x="74" y="252"/>
                    </a:lnTo>
                    <a:lnTo>
                      <a:pt x="72" y="255"/>
                    </a:lnTo>
                    <a:lnTo>
                      <a:pt x="67" y="256"/>
                    </a:lnTo>
                    <a:lnTo>
                      <a:pt x="63" y="256"/>
                    </a:lnTo>
                    <a:lnTo>
                      <a:pt x="63" y="256"/>
                    </a:lnTo>
                    <a:lnTo>
                      <a:pt x="54" y="255"/>
                    </a:lnTo>
                    <a:lnTo>
                      <a:pt x="52" y="256"/>
                    </a:lnTo>
                    <a:lnTo>
                      <a:pt x="49" y="261"/>
                    </a:lnTo>
                    <a:lnTo>
                      <a:pt x="49" y="261"/>
                    </a:lnTo>
                    <a:lnTo>
                      <a:pt x="45" y="264"/>
                    </a:lnTo>
                    <a:lnTo>
                      <a:pt x="43" y="265"/>
                    </a:lnTo>
                    <a:lnTo>
                      <a:pt x="39" y="266"/>
                    </a:lnTo>
                    <a:lnTo>
                      <a:pt x="39" y="266"/>
                    </a:lnTo>
                    <a:lnTo>
                      <a:pt x="36" y="268"/>
                    </a:lnTo>
                    <a:lnTo>
                      <a:pt x="33" y="266"/>
                    </a:lnTo>
                    <a:lnTo>
                      <a:pt x="29" y="264"/>
                    </a:lnTo>
                    <a:lnTo>
                      <a:pt x="29" y="264"/>
                    </a:lnTo>
                    <a:lnTo>
                      <a:pt x="26" y="264"/>
                    </a:lnTo>
                    <a:lnTo>
                      <a:pt x="23" y="265"/>
                    </a:lnTo>
                    <a:lnTo>
                      <a:pt x="19" y="266"/>
                    </a:lnTo>
                    <a:lnTo>
                      <a:pt x="19" y="266"/>
                    </a:lnTo>
                    <a:lnTo>
                      <a:pt x="17" y="268"/>
                    </a:lnTo>
                    <a:lnTo>
                      <a:pt x="15" y="269"/>
                    </a:lnTo>
                    <a:lnTo>
                      <a:pt x="13" y="271"/>
                    </a:lnTo>
                    <a:lnTo>
                      <a:pt x="10" y="272"/>
                    </a:lnTo>
                    <a:lnTo>
                      <a:pt x="10" y="272"/>
                    </a:lnTo>
                    <a:lnTo>
                      <a:pt x="5" y="274"/>
                    </a:lnTo>
                    <a:lnTo>
                      <a:pt x="3" y="275"/>
                    </a:lnTo>
                    <a:lnTo>
                      <a:pt x="3" y="276"/>
                    </a:lnTo>
                    <a:lnTo>
                      <a:pt x="3" y="276"/>
                    </a:lnTo>
                    <a:lnTo>
                      <a:pt x="2" y="281"/>
                    </a:lnTo>
                    <a:lnTo>
                      <a:pt x="0" y="285"/>
                    </a:lnTo>
                    <a:lnTo>
                      <a:pt x="0" y="285"/>
                    </a:lnTo>
                    <a:lnTo>
                      <a:pt x="3" y="299"/>
                    </a:lnTo>
                    <a:lnTo>
                      <a:pt x="3" y="299"/>
                    </a:lnTo>
                    <a:lnTo>
                      <a:pt x="10" y="302"/>
                    </a:lnTo>
                    <a:lnTo>
                      <a:pt x="16" y="305"/>
                    </a:lnTo>
                    <a:lnTo>
                      <a:pt x="17" y="306"/>
                    </a:lnTo>
                    <a:lnTo>
                      <a:pt x="19" y="309"/>
                    </a:lnTo>
                    <a:lnTo>
                      <a:pt x="19" y="309"/>
                    </a:lnTo>
                    <a:lnTo>
                      <a:pt x="22" y="330"/>
                    </a:lnTo>
                    <a:lnTo>
                      <a:pt x="22" y="330"/>
                    </a:lnTo>
                    <a:lnTo>
                      <a:pt x="22" y="330"/>
                    </a:lnTo>
                    <a:lnTo>
                      <a:pt x="22" y="330"/>
                    </a:lnTo>
                    <a:lnTo>
                      <a:pt x="32" y="338"/>
                    </a:lnTo>
                    <a:lnTo>
                      <a:pt x="35" y="340"/>
                    </a:lnTo>
                    <a:lnTo>
                      <a:pt x="36" y="342"/>
                    </a:lnTo>
                    <a:lnTo>
                      <a:pt x="36" y="342"/>
                    </a:lnTo>
                    <a:lnTo>
                      <a:pt x="37" y="348"/>
                    </a:lnTo>
                    <a:lnTo>
                      <a:pt x="40" y="350"/>
                    </a:lnTo>
                    <a:lnTo>
                      <a:pt x="45" y="355"/>
                    </a:lnTo>
                    <a:lnTo>
                      <a:pt x="45" y="355"/>
                    </a:lnTo>
                    <a:lnTo>
                      <a:pt x="57" y="360"/>
                    </a:lnTo>
                    <a:lnTo>
                      <a:pt x="57" y="360"/>
                    </a:lnTo>
                    <a:lnTo>
                      <a:pt x="57" y="359"/>
                    </a:lnTo>
                    <a:lnTo>
                      <a:pt x="64" y="359"/>
                    </a:lnTo>
                    <a:lnTo>
                      <a:pt x="64" y="359"/>
                    </a:lnTo>
                    <a:lnTo>
                      <a:pt x="67" y="362"/>
                    </a:lnTo>
                    <a:lnTo>
                      <a:pt x="67" y="362"/>
                    </a:lnTo>
                    <a:lnTo>
                      <a:pt x="70" y="357"/>
                    </a:lnTo>
                    <a:lnTo>
                      <a:pt x="74" y="355"/>
                    </a:lnTo>
                    <a:lnTo>
                      <a:pt x="80" y="352"/>
                    </a:lnTo>
                    <a:lnTo>
                      <a:pt x="86" y="352"/>
                    </a:lnTo>
                    <a:lnTo>
                      <a:pt x="86" y="352"/>
                    </a:lnTo>
                    <a:lnTo>
                      <a:pt x="91" y="353"/>
                    </a:lnTo>
                    <a:lnTo>
                      <a:pt x="97" y="357"/>
                    </a:lnTo>
                    <a:lnTo>
                      <a:pt x="103" y="363"/>
                    </a:lnTo>
                    <a:lnTo>
                      <a:pt x="104" y="365"/>
                    </a:lnTo>
                    <a:lnTo>
                      <a:pt x="104" y="366"/>
                    </a:lnTo>
                    <a:lnTo>
                      <a:pt x="104" y="366"/>
                    </a:lnTo>
                    <a:lnTo>
                      <a:pt x="97" y="377"/>
                    </a:lnTo>
                    <a:lnTo>
                      <a:pt x="93" y="383"/>
                    </a:lnTo>
                    <a:lnTo>
                      <a:pt x="89" y="386"/>
                    </a:lnTo>
                    <a:lnTo>
                      <a:pt x="89" y="386"/>
                    </a:lnTo>
                    <a:lnTo>
                      <a:pt x="82" y="386"/>
                    </a:lnTo>
                    <a:lnTo>
                      <a:pt x="82" y="386"/>
                    </a:lnTo>
                    <a:lnTo>
                      <a:pt x="80" y="392"/>
                    </a:lnTo>
                    <a:lnTo>
                      <a:pt x="80" y="392"/>
                    </a:lnTo>
                    <a:lnTo>
                      <a:pt x="82" y="394"/>
                    </a:lnTo>
                    <a:lnTo>
                      <a:pt x="83" y="399"/>
                    </a:lnTo>
                    <a:lnTo>
                      <a:pt x="89" y="406"/>
                    </a:lnTo>
                    <a:lnTo>
                      <a:pt x="89" y="406"/>
                    </a:lnTo>
                    <a:lnTo>
                      <a:pt x="90" y="409"/>
                    </a:lnTo>
                    <a:lnTo>
                      <a:pt x="90" y="410"/>
                    </a:lnTo>
                    <a:lnTo>
                      <a:pt x="87" y="413"/>
                    </a:lnTo>
                    <a:lnTo>
                      <a:pt x="83" y="413"/>
                    </a:lnTo>
                    <a:lnTo>
                      <a:pt x="80" y="412"/>
                    </a:lnTo>
                    <a:lnTo>
                      <a:pt x="80" y="412"/>
                    </a:lnTo>
                    <a:lnTo>
                      <a:pt x="77" y="412"/>
                    </a:lnTo>
                    <a:lnTo>
                      <a:pt x="74" y="413"/>
                    </a:lnTo>
                    <a:lnTo>
                      <a:pt x="74" y="416"/>
                    </a:lnTo>
                    <a:lnTo>
                      <a:pt x="76" y="419"/>
                    </a:lnTo>
                    <a:lnTo>
                      <a:pt x="76" y="419"/>
                    </a:lnTo>
                    <a:lnTo>
                      <a:pt x="77" y="422"/>
                    </a:lnTo>
                    <a:lnTo>
                      <a:pt x="77" y="426"/>
                    </a:lnTo>
                    <a:lnTo>
                      <a:pt x="79" y="430"/>
                    </a:lnTo>
                    <a:lnTo>
                      <a:pt x="82" y="431"/>
                    </a:lnTo>
                    <a:lnTo>
                      <a:pt x="82" y="431"/>
                    </a:lnTo>
                    <a:lnTo>
                      <a:pt x="84" y="433"/>
                    </a:lnTo>
                    <a:lnTo>
                      <a:pt x="87" y="437"/>
                    </a:lnTo>
                    <a:lnTo>
                      <a:pt x="91" y="440"/>
                    </a:lnTo>
                    <a:lnTo>
                      <a:pt x="94" y="441"/>
                    </a:lnTo>
                    <a:lnTo>
                      <a:pt x="94" y="441"/>
                    </a:lnTo>
                    <a:lnTo>
                      <a:pt x="99" y="443"/>
                    </a:lnTo>
                    <a:lnTo>
                      <a:pt x="101" y="446"/>
                    </a:lnTo>
                    <a:lnTo>
                      <a:pt x="104" y="449"/>
                    </a:lnTo>
                    <a:lnTo>
                      <a:pt x="104" y="449"/>
                    </a:lnTo>
                    <a:lnTo>
                      <a:pt x="107" y="451"/>
                    </a:lnTo>
                    <a:lnTo>
                      <a:pt x="110" y="454"/>
                    </a:lnTo>
                    <a:lnTo>
                      <a:pt x="111" y="456"/>
                    </a:lnTo>
                    <a:lnTo>
                      <a:pt x="111" y="456"/>
                    </a:lnTo>
                    <a:lnTo>
                      <a:pt x="111" y="457"/>
                    </a:lnTo>
                    <a:lnTo>
                      <a:pt x="111" y="457"/>
                    </a:lnTo>
                    <a:lnTo>
                      <a:pt x="117" y="456"/>
                    </a:lnTo>
                    <a:lnTo>
                      <a:pt x="120" y="456"/>
                    </a:lnTo>
                    <a:lnTo>
                      <a:pt x="121" y="454"/>
                    </a:lnTo>
                    <a:lnTo>
                      <a:pt x="121" y="454"/>
                    </a:lnTo>
                    <a:lnTo>
                      <a:pt x="123" y="453"/>
                    </a:lnTo>
                    <a:lnTo>
                      <a:pt x="126" y="453"/>
                    </a:lnTo>
                    <a:lnTo>
                      <a:pt x="130" y="454"/>
                    </a:lnTo>
                    <a:lnTo>
                      <a:pt x="134" y="457"/>
                    </a:lnTo>
                    <a:lnTo>
                      <a:pt x="134" y="457"/>
                    </a:lnTo>
                    <a:lnTo>
                      <a:pt x="148" y="468"/>
                    </a:lnTo>
                    <a:lnTo>
                      <a:pt x="167" y="480"/>
                    </a:lnTo>
                    <a:lnTo>
                      <a:pt x="167" y="480"/>
                    </a:lnTo>
                    <a:lnTo>
                      <a:pt x="174" y="486"/>
                    </a:lnTo>
                    <a:lnTo>
                      <a:pt x="183" y="488"/>
                    </a:lnTo>
                    <a:lnTo>
                      <a:pt x="191" y="491"/>
                    </a:lnTo>
                    <a:lnTo>
                      <a:pt x="197" y="493"/>
                    </a:lnTo>
                    <a:lnTo>
                      <a:pt x="197" y="493"/>
                    </a:lnTo>
                    <a:lnTo>
                      <a:pt x="202" y="494"/>
                    </a:lnTo>
                    <a:lnTo>
                      <a:pt x="207" y="495"/>
                    </a:lnTo>
                    <a:lnTo>
                      <a:pt x="212" y="497"/>
                    </a:lnTo>
                    <a:lnTo>
                      <a:pt x="218" y="497"/>
                    </a:lnTo>
                    <a:lnTo>
                      <a:pt x="218" y="497"/>
                    </a:lnTo>
                    <a:lnTo>
                      <a:pt x="222" y="497"/>
                    </a:lnTo>
                    <a:lnTo>
                      <a:pt x="222" y="497"/>
                    </a:lnTo>
                    <a:lnTo>
                      <a:pt x="224" y="495"/>
                    </a:lnTo>
                    <a:lnTo>
                      <a:pt x="227" y="493"/>
                    </a:lnTo>
                    <a:lnTo>
                      <a:pt x="227" y="493"/>
                    </a:lnTo>
                    <a:lnTo>
                      <a:pt x="229" y="491"/>
                    </a:lnTo>
                    <a:lnTo>
                      <a:pt x="231" y="494"/>
                    </a:lnTo>
                    <a:lnTo>
                      <a:pt x="232" y="497"/>
                    </a:lnTo>
                    <a:lnTo>
                      <a:pt x="232" y="501"/>
                    </a:lnTo>
                    <a:lnTo>
                      <a:pt x="232" y="501"/>
                    </a:lnTo>
                    <a:lnTo>
                      <a:pt x="232" y="505"/>
                    </a:lnTo>
                    <a:lnTo>
                      <a:pt x="234" y="508"/>
                    </a:lnTo>
                    <a:lnTo>
                      <a:pt x="234" y="508"/>
                    </a:lnTo>
                    <a:lnTo>
                      <a:pt x="237" y="501"/>
                    </a:lnTo>
                    <a:lnTo>
                      <a:pt x="237" y="501"/>
                    </a:lnTo>
                    <a:lnTo>
                      <a:pt x="239" y="497"/>
                    </a:lnTo>
                    <a:lnTo>
                      <a:pt x="242" y="494"/>
                    </a:lnTo>
                    <a:lnTo>
                      <a:pt x="248" y="491"/>
                    </a:lnTo>
                    <a:lnTo>
                      <a:pt x="248" y="491"/>
                    </a:lnTo>
                    <a:lnTo>
                      <a:pt x="251" y="490"/>
                    </a:lnTo>
                    <a:lnTo>
                      <a:pt x="254" y="490"/>
                    </a:lnTo>
                    <a:lnTo>
                      <a:pt x="261" y="494"/>
                    </a:lnTo>
                    <a:lnTo>
                      <a:pt x="261" y="494"/>
                    </a:lnTo>
                    <a:lnTo>
                      <a:pt x="265" y="494"/>
                    </a:lnTo>
                    <a:lnTo>
                      <a:pt x="269" y="494"/>
                    </a:lnTo>
                    <a:lnTo>
                      <a:pt x="274" y="494"/>
                    </a:lnTo>
                    <a:lnTo>
                      <a:pt x="279" y="498"/>
                    </a:lnTo>
                    <a:lnTo>
                      <a:pt x="279" y="498"/>
                    </a:lnTo>
                    <a:lnTo>
                      <a:pt x="285" y="497"/>
                    </a:lnTo>
                    <a:lnTo>
                      <a:pt x="285" y="497"/>
                    </a:lnTo>
                    <a:lnTo>
                      <a:pt x="289" y="494"/>
                    </a:lnTo>
                    <a:lnTo>
                      <a:pt x="293" y="490"/>
                    </a:lnTo>
                    <a:lnTo>
                      <a:pt x="293" y="490"/>
                    </a:lnTo>
                    <a:lnTo>
                      <a:pt x="296" y="486"/>
                    </a:lnTo>
                    <a:lnTo>
                      <a:pt x="298" y="484"/>
                    </a:lnTo>
                    <a:lnTo>
                      <a:pt x="299" y="484"/>
                    </a:lnTo>
                    <a:lnTo>
                      <a:pt x="299" y="484"/>
                    </a:lnTo>
                    <a:lnTo>
                      <a:pt x="302" y="483"/>
                    </a:lnTo>
                    <a:lnTo>
                      <a:pt x="305" y="481"/>
                    </a:lnTo>
                    <a:lnTo>
                      <a:pt x="308" y="478"/>
                    </a:lnTo>
                    <a:lnTo>
                      <a:pt x="313" y="474"/>
                    </a:lnTo>
                    <a:lnTo>
                      <a:pt x="313" y="474"/>
                    </a:lnTo>
                    <a:lnTo>
                      <a:pt x="319" y="473"/>
                    </a:lnTo>
                    <a:lnTo>
                      <a:pt x="325" y="474"/>
                    </a:lnTo>
                    <a:lnTo>
                      <a:pt x="329" y="474"/>
                    </a:lnTo>
                    <a:lnTo>
                      <a:pt x="332" y="474"/>
                    </a:lnTo>
                    <a:lnTo>
                      <a:pt x="332" y="474"/>
                    </a:lnTo>
                    <a:lnTo>
                      <a:pt x="338" y="471"/>
                    </a:lnTo>
                    <a:lnTo>
                      <a:pt x="339" y="471"/>
                    </a:lnTo>
                    <a:lnTo>
                      <a:pt x="340" y="473"/>
                    </a:lnTo>
                    <a:lnTo>
                      <a:pt x="340" y="473"/>
                    </a:lnTo>
                    <a:lnTo>
                      <a:pt x="342" y="476"/>
                    </a:lnTo>
                    <a:lnTo>
                      <a:pt x="343" y="478"/>
                    </a:lnTo>
                    <a:lnTo>
                      <a:pt x="346" y="484"/>
                    </a:lnTo>
                    <a:lnTo>
                      <a:pt x="346" y="484"/>
                    </a:lnTo>
                    <a:lnTo>
                      <a:pt x="349" y="486"/>
                    </a:lnTo>
                    <a:lnTo>
                      <a:pt x="352" y="487"/>
                    </a:lnTo>
                    <a:lnTo>
                      <a:pt x="356" y="488"/>
                    </a:lnTo>
                    <a:lnTo>
                      <a:pt x="356" y="488"/>
                    </a:lnTo>
                    <a:lnTo>
                      <a:pt x="359" y="487"/>
                    </a:lnTo>
                    <a:lnTo>
                      <a:pt x="359" y="487"/>
                    </a:lnTo>
                    <a:lnTo>
                      <a:pt x="362" y="486"/>
                    </a:lnTo>
                    <a:lnTo>
                      <a:pt x="366" y="487"/>
                    </a:lnTo>
                    <a:lnTo>
                      <a:pt x="369" y="488"/>
                    </a:lnTo>
                    <a:lnTo>
                      <a:pt x="369" y="491"/>
                    </a:lnTo>
                    <a:lnTo>
                      <a:pt x="369" y="491"/>
                    </a:lnTo>
                    <a:lnTo>
                      <a:pt x="370" y="497"/>
                    </a:lnTo>
                    <a:lnTo>
                      <a:pt x="372" y="500"/>
                    </a:lnTo>
                    <a:lnTo>
                      <a:pt x="373" y="500"/>
                    </a:lnTo>
                    <a:lnTo>
                      <a:pt x="373" y="500"/>
                    </a:lnTo>
                    <a:lnTo>
                      <a:pt x="375" y="500"/>
                    </a:lnTo>
                    <a:lnTo>
                      <a:pt x="377" y="501"/>
                    </a:lnTo>
                    <a:lnTo>
                      <a:pt x="379" y="504"/>
                    </a:lnTo>
                    <a:lnTo>
                      <a:pt x="379" y="508"/>
                    </a:lnTo>
                    <a:lnTo>
                      <a:pt x="379" y="508"/>
                    </a:lnTo>
                    <a:lnTo>
                      <a:pt x="380" y="520"/>
                    </a:lnTo>
                    <a:lnTo>
                      <a:pt x="379" y="527"/>
                    </a:lnTo>
                    <a:lnTo>
                      <a:pt x="376" y="531"/>
                    </a:lnTo>
                    <a:lnTo>
                      <a:pt x="376" y="531"/>
                    </a:lnTo>
                    <a:lnTo>
                      <a:pt x="370" y="538"/>
                    </a:lnTo>
                    <a:lnTo>
                      <a:pt x="366" y="544"/>
                    </a:lnTo>
                    <a:lnTo>
                      <a:pt x="363" y="550"/>
                    </a:lnTo>
                    <a:lnTo>
                      <a:pt x="362" y="554"/>
                    </a:lnTo>
                    <a:lnTo>
                      <a:pt x="362" y="554"/>
                    </a:lnTo>
                    <a:lnTo>
                      <a:pt x="363" y="557"/>
                    </a:lnTo>
                    <a:lnTo>
                      <a:pt x="362" y="561"/>
                    </a:lnTo>
                    <a:lnTo>
                      <a:pt x="363" y="562"/>
                    </a:lnTo>
                    <a:lnTo>
                      <a:pt x="365" y="562"/>
                    </a:lnTo>
                    <a:lnTo>
                      <a:pt x="365" y="562"/>
                    </a:lnTo>
                    <a:lnTo>
                      <a:pt x="370" y="561"/>
                    </a:lnTo>
                    <a:lnTo>
                      <a:pt x="375" y="561"/>
                    </a:lnTo>
                    <a:lnTo>
                      <a:pt x="379" y="562"/>
                    </a:lnTo>
                    <a:lnTo>
                      <a:pt x="380" y="564"/>
                    </a:lnTo>
                    <a:lnTo>
                      <a:pt x="380" y="565"/>
                    </a:lnTo>
                    <a:lnTo>
                      <a:pt x="380" y="565"/>
                    </a:lnTo>
                    <a:lnTo>
                      <a:pt x="379" y="568"/>
                    </a:lnTo>
                    <a:lnTo>
                      <a:pt x="380" y="572"/>
                    </a:lnTo>
                    <a:lnTo>
                      <a:pt x="382" y="577"/>
                    </a:lnTo>
                    <a:lnTo>
                      <a:pt x="385" y="578"/>
                    </a:lnTo>
                    <a:lnTo>
                      <a:pt x="385" y="578"/>
                    </a:lnTo>
                    <a:lnTo>
                      <a:pt x="387" y="578"/>
                    </a:lnTo>
                    <a:lnTo>
                      <a:pt x="390" y="579"/>
                    </a:lnTo>
                    <a:lnTo>
                      <a:pt x="392" y="582"/>
                    </a:lnTo>
                    <a:lnTo>
                      <a:pt x="390" y="585"/>
                    </a:lnTo>
                    <a:lnTo>
                      <a:pt x="390" y="585"/>
                    </a:lnTo>
                    <a:lnTo>
                      <a:pt x="389" y="592"/>
                    </a:lnTo>
                    <a:lnTo>
                      <a:pt x="389" y="595"/>
                    </a:lnTo>
                    <a:lnTo>
                      <a:pt x="390" y="595"/>
                    </a:lnTo>
                    <a:lnTo>
                      <a:pt x="390" y="595"/>
                    </a:lnTo>
                    <a:lnTo>
                      <a:pt x="397" y="596"/>
                    </a:lnTo>
                    <a:lnTo>
                      <a:pt x="399" y="598"/>
                    </a:lnTo>
                    <a:lnTo>
                      <a:pt x="400" y="599"/>
                    </a:lnTo>
                    <a:lnTo>
                      <a:pt x="400" y="599"/>
                    </a:lnTo>
                    <a:lnTo>
                      <a:pt x="400" y="604"/>
                    </a:lnTo>
                    <a:lnTo>
                      <a:pt x="402" y="605"/>
                    </a:lnTo>
                    <a:lnTo>
                      <a:pt x="404" y="606"/>
                    </a:lnTo>
                    <a:lnTo>
                      <a:pt x="410" y="605"/>
                    </a:lnTo>
                    <a:lnTo>
                      <a:pt x="410" y="605"/>
                    </a:lnTo>
                    <a:lnTo>
                      <a:pt x="414" y="604"/>
                    </a:lnTo>
                    <a:lnTo>
                      <a:pt x="416" y="604"/>
                    </a:lnTo>
                    <a:lnTo>
                      <a:pt x="417" y="604"/>
                    </a:lnTo>
                    <a:lnTo>
                      <a:pt x="417" y="604"/>
                    </a:lnTo>
                    <a:lnTo>
                      <a:pt x="419" y="605"/>
                    </a:lnTo>
                    <a:lnTo>
                      <a:pt x="420" y="606"/>
                    </a:lnTo>
                    <a:lnTo>
                      <a:pt x="422" y="609"/>
                    </a:lnTo>
                    <a:lnTo>
                      <a:pt x="424" y="611"/>
                    </a:lnTo>
                    <a:lnTo>
                      <a:pt x="424" y="611"/>
                    </a:lnTo>
                    <a:lnTo>
                      <a:pt x="426" y="611"/>
                    </a:lnTo>
                    <a:lnTo>
                      <a:pt x="427" y="611"/>
                    </a:lnTo>
                    <a:lnTo>
                      <a:pt x="427" y="606"/>
                    </a:lnTo>
                    <a:lnTo>
                      <a:pt x="427" y="602"/>
                    </a:lnTo>
                    <a:lnTo>
                      <a:pt x="426" y="599"/>
                    </a:lnTo>
                    <a:lnTo>
                      <a:pt x="426" y="599"/>
                    </a:lnTo>
                    <a:lnTo>
                      <a:pt x="424" y="596"/>
                    </a:lnTo>
                    <a:lnTo>
                      <a:pt x="426" y="594"/>
                    </a:lnTo>
                    <a:lnTo>
                      <a:pt x="426" y="591"/>
                    </a:lnTo>
                    <a:lnTo>
                      <a:pt x="427" y="591"/>
                    </a:lnTo>
                    <a:lnTo>
                      <a:pt x="427" y="591"/>
                    </a:lnTo>
                    <a:lnTo>
                      <a:pt x="430" y="591"/>
                    </a:lnTo>
                    <a:lnTo>
                      <a:pt x="433" y="591"/>
                    </a:lnTo>
                    <a:lnTo>
                      <a:pt x="436" y="589"/>
                    </a:lnTo>
                    <a:lnTo>
                      <a:pt x="439" y="587"/>
                    </a:lnTo>
                    <a:lnTo>
                      <a:pt x="439" y="587"/>
                    </a:lnTo>
                    <a:lnTo>
                      <a:pt x="440" y="585"/>
                    </a:lnTo>
                    <a:lnTo>
                      <a:pt x="441" y="585"/>
                    </a:lnTo>
                    <a:lnTo>
                      <a:pt x="444" y="587"/>
                    </a:lnTo>
                    <a:lnTo>
                      <a:pt x="449" y="587"/>
                    </a:lnTo>
                    <a:lnTo>
                      <a:pt x="450" y="587"/>
                    </a:lnTo>
                    <a:lnTo>
                      <a:pt x="450" y="585"/>
                    </a:lnTo>
                    <a:lnTo>
                      <a:pt x="450" y="585"/>
                    </a:lnTo>
                    <a:lnTo>
                      <a:pt x="451" y="584"/>
                    </a:lnTo>
                    <a:lnTo>
                      <a:pt x="453" y="584"/>
                    </a:lnTo>
                    <a:lnTo>
                      <a:pt x="457" y="585"/>
                    </a:lnTo>
                    <a:lnTo>
                      <a:pt x="460" y="587"/>
                    </a:lnTo>
                    <a:lnTo>
                      <a:pt x="464" y="585"/>
                    </a:lnTo>
                    <a:lnTo>
                      <a:pt x="464" y="585"/>
                    </a:lnTo>
                    <a:lnTo>
                      <a:pt x="468" y="584"/>
                    </a:lnTo>
                    <a:lnTo>
                      <a:pt x="471" y="585"/>
                    </a:lnTo>
                    <a:lnTo>
                      <a:pt x="473" y="585"/>
                    </a:lnTo>
                    <a:lnTo>
                      <a:pt x="476" y="584"/>
                    </a:lnTo>
                    <a:lnTo>
                      <a:pt x="476" y="584"/>
                    </a:lnTo>
                    <a:lnTo>
                      <a:pt x="478" y="579"/>
                    </a:lnTo>
                    <a:lnTo>
                      <a:pt x="481" y="577"/>
                    </a:lnTo>
                    <a:lnTo>
                      <a:pt x="486" y="575"/>
                    </a:lnTo>
                    <a:lnTo>
                      <a:pt x="488" y="575"/>
                    </a:lnTo>
                    <a:lnTo>
                      <a:pt x="488" y="575"/>
                    </a:lnTo>
                    <a:lnTo>
                      <a:pt x="491" y="579"/>
                    </a:lnTo>
                    <a:lnTo>
                      <a:pt x="495" y="581"/>
                    </a:lnTo>
                    <a:lnTo>
                      <a:pt x="501" y="582"/>
                    </a:lnTo>
                    <a:lnTo>
                      <a:pt x="501" y="582"/>
                    </a:lnTo>
                    <a:lnTo>
                      <a:pt x="507" y="584"/>
                    </a:lnTo>
                    <a:lnTo>
                      <a:pt x="507" y="587"/>
                    </a:lnTo>
                    <a:lnTo>
                      <a:pt x="505" y="592"/>
                    </a:lnTo>
                    <a:lnTo>
                      <a:pt x="505" y="592"/>
                    </a:lnTo>
                    <a:lnTo>
                      <a:pt x="507" y="595"/>
                    </a:lnTo>
                    <a:lnTo>
                      <a:pt x="513" y="599"/>
                    </a:lnTo>
                    <a:lnTo>
                      <a:pt x="517" y="602"/>
                    </a:lnTo>
                    <a:lnTo>
                      <a:pt x="521" y="604"/>
                    </a:lnTo>
                    <a:lnTo>
                      <a:pt x="521" y="604"/>
                    </a:lnTo>
                    <a:lnTo>
                      <a:pt x="525" y="606"/>
                    </a:lnTo>
                    <a:lnTo>
                      <a:pt x="525" y="606"/>
                    </a:lnTo>
                    <a:lnTo>
                      <a:pt x="528" y="606"/>
                    </a:lnTo>
                    <a:lnTo>
                      <a:pt x="531" y="606"/>
                    </a:lnTo>
                    <a:lnTo>
                      <a:pt x="532" y="605"/>
                    </a:lnTo>
                    <a:lnTo>
                      <a:pt x="535" y="604"/>
                    </a:lnTo>
                    <a:lnTo>
                      <a:pt x="535" y="604"/>
                    </a:lnTo>
                    <a:lnTo>
                      <a:pt x="537" y="602"/>
                    </a:lnTo>
                    <a:lnTo>
                      <a:pt x="538" y="601"/>
                    </a:lnTo>
                    <a:lnTo>
                      <a:pt x="541" y="602"/>
                    </a:lnTo>
                    <a:lnTo>
                      <a:pt x="544" y="604"/>
                    </a:lnTo>
                    <a:lnTo>
                      <a:pt x="544" y="604"/>
                    </a:lnTo>
                    <a:lnTo>
                      <a:pt x="545" y="606"/>
                    </a:lnTo>
                    <a:lnTo>
                      <a:pt x="547" y="606"/>
                    </a:lnTo>
                    <a:lnTo>
                      <a:pt x="550" y="606"/>
                    </a:lnTo>
                    <a:lnTo>
                      <a:pt x="552" y="604"/>
                    </a:lnTo>
                    <a:lnTo>
                      <a:pt x="552" y="604"/>
                    </a:lnTo>
                    <a:lnTo>
                      <a:pt x="554" y="604"/>
                    </a:lnTo>
                    <a:lnTo>
                      <a:pt x="555" y="604"/>
                    </a:lnTo>
                    <a:lnTo>
                      <a:pt x="558" y="605"/>
                    </a:lnTo>
                    <a:lnTo>
                      <a:pt x="558" y="608"/>
                    </a:lnTo>
                    <a:lnTo>
                      <a:pt x="557" y="611"/>
                    </a:lnTo>
                    <a:lnTo>
                      <a:pt x="557" y="611"/>
                    </a:lnTo>
                    <a:lnTo>
                      <a:pt x="555" y="614"/>
                    </a:lnTo>
                    <a:lnTo>
                      <a:pt x="555" y="616"/>
                    </a:lnTo>
                    <a:lnTo>
                      <a:pt x="558" y="621"/>
                    </a:lnTo>
                    <a:lnTo>
                      <a:pt x="561" y="625"/>
                    </a:lnTo>
                    <a:lnTo>
                      <a:pt x="561" y="625"/>
                    </a:lnTo>
                    <a:lnTo>
                      <a:pt x="564" y="626"/>
                    </a:lnTo>
                    <a:lnTo>
                      <a:pt x="565" y="625"/>
                    </a:lnTo>
                    <a:lnTo>
                      <a:pt x="565" y="622"/>
                    </a:lnTo>
                    <a:lnTo>
                      <a:pt x="565" y="618"/>
                    </a:lnTo>
                    <a:lnTo>
                      <a:pt x="565" y="618"/>
                    </a:lnTo>
                    <a:lnTo>
                      <a:pt x="565" y="615"/>
                    </a:lnTo>
                    <a:lnTo>
                      <a:pt x="569" y="612"/>
                    </a:lnTo>
                    <a:lnTo>
                      <a:pt x="578" y="608"/>
                    </a:lnTo>
                    <a:lnTo>
                      <a:pt x="588" y="605"/>
                    </a:lnTo>
                    <a:lnTo>
                      <a:pt x="588" y="605"/>
                    </a:lnTo>
                    <a:lnTo>
                      <a:pt x="598" y="599"/>
                    </a:lnTo>
                    <a:lnTo>
                      <a:pt x="608" y="594"/>
                    </a:lnTo>
                    <a:lnTo>
                      <a:pt x="615" y="589"/>
                    </a:lnTo>
                    <a:lnTo>
                      <a:pt x="619" y="587"/>
                    </a:lnTo>
                    <a:lnTo>
                      <a:pt x="619" y="587"/>
                    </a:lnTo>
                    <a:lnTo>
                      <a:pt x="621" y="585"/>
                    </a:lnTo>
                    <a:lnTo>
                      <a:pt x="625" y="587"/>
                    </a:lnTo>
                    <a:lnTo>
                      <a:pt x="629" y="588"/>
                    </a:lnTo>
                    <a:lnTo>
                      <a:pt x="632" y="588"/>
                    </a:lnTo>
                    <a:lnTo>
                      <a:pt x="635" y="587"/>
                    </a:lnTo>
                    <a:lnTo>
                      <a:pt x="635" y="587"/>
                    </a:lnTo>
                    <a:lnTo>
                      <a:pt x="641" y="584"/>
                    </a:lnTo>
                    <a:lnTo>
                      <a:pt x="648" y="584"/>
                    </a:lnTo>
                    <a:lnTo>
                      <a:pt x="662" y="582"/>
                    </a:lnTo>
                    <a:lnTo>
                      <a:pt x="662" y="582"/>
                    </a:lnTo>
                    <a:lnTo>
                      <a:pt x="665" y="581"/>
                    </a:lnTo>
                    <a:lnTo>
                      <a:pt x="666" y="579"/>
                    </a:lnTo>
                    <a:lnTo>
                      <a:pt x="672" y="574"/>
                    </a:lnTo>
                    <a:lnTo>
                      <a:pt x="672" y="574"/>
                    </a:lnTo>
                    <a:lnTo>
                      <a:pt x="676" y="569"/>
                    </a:lnTo>
                    <a:lnTo>
                      <a:pt x="678" y="568"/>
                    </a:lnTo>
                    <a:lnTo>
                      <a:pt x="680" y="567"/>
                    </a:lnTo>
                    <a:lnTo>
                      <a:pt x="680" y="567"/>
                    </a:lnTo>
                    <a:lnTo>
                      <a:pt x="685" y="564"/>
                    </a:lnTo>
                    <a:lnTo>
                      <a:pt x="688" y="562"/>
                    </a:lnTo>
                    <a:lnTo>
                      <a:pt x="689" y="559"/>
                    </a:lnTo>
                    <a:lnTo>
                      <a:pt x="690" y="557"/>
                    </a:lnTo>
                    <a:lnTo>
                      <a:pt x="690" y="557"/>
                    </a:lnTo>
                    <a:lnTo>
                      <a:pt x="692" y="555"/>
                    </a:lnTo>
                    <a:lnTo>
                      <a:pt x="696" y="554"/>
                    </a:lnTo>
                    <a:lnTo>
                      <a:pt x="699" y="551"/>
                    </a:lnTo>
                    <a:lnTo>
                      <a:pt x="702" y="550"/>
                    </a:lnTo>
                    <a:lnTo>
                      <a:pt x="702" y="550"/>
                    </a:lnTo>
                    <a:lnTo>
                      <a:pt x="702" y="548"/>
                    </a:lnTo>
                    <a:lnTo>
                      <a:pt x="705" y="547"/>
                    </a:lnTo>
                    <a:lnTo>
                      <a:pt x="707" y="544"/>
                    </a:lnTo>
                    <a:lnTo>
                      <a:pt x="709" y="542"/>
                    </a:lnTo>
                    <a:lnTo>
                      <a:pt x="709" y="542"/>
                    </a:lnTo>
                    <a:lnTo>
                      <a:pt x="710" y="540"/>
                    </a:lnTo>
                    <a:lnTo>
                      <a:pt x="712" y="538"/>
                    </a:lnTo>
                    <a:lnTo>
                      <a:pt x="715" y="538"/>
                    </a:lnTo>
                    <a:lnTo>
                      <a:pt x="716" y="535"/>
                    </a:lnTo>
                    <a:lnTo>
                      <a:pt x="716" y="535"/>
                    </a:lnTo>
                    <a:lnTo>
                      <a:pt x="717" y="532"/>
                    </a:lnTo>
                    <a:lnTo>
                      <a:pt x="716" y="530"/>
                    </a:lnTo>
                    <a:lnTo>
                      <a:pt x="716" y="525"/>
                    </a:lnTo>
                    <a:lnTo>
                      <a:pt x="719" y="524"/>
                    </a:lnTo>
                    <a:lnTo>
                      <a:pt x="719" y="524"/>
                    </a:lnTo>
                    <a:lnTo>
                      <a:pt x="719" y="523"/>
                    </a:lnTo>
                    <a:lnTo>
                      <a:pt x="719" y="520"/>
                    </a:lnTo>
                    <a:lnTo>
                      <a:pt x="716" y="515"/>
                    </a:lnTo>
                    <a:lnTo>
                      <a:pt x="716" y="515"/>
                    </a:lnTo>
                    <a:lnTo>
                      <a:pt x="717" y="514"/>
                    </a:lnTo>
                    <a:lnTo>
                      <a:pt x="720" y="514"/>
                    </a:lnTo>
                    <a:lnTo>
                      <a:pt x="727" y="511"/>
                    </a:lnTo>
                    <a:lnTo>
                      <a:pt x="727" y="511"/>
                    </a:lnTo>
                    <a:lnTo>
                      <a:pt x="732" y="505"/>
                    </a:lnTo>
                    <a:lnTo>
                      <a:pt x="734" y="500"/>
                    </a:lnTo>
                    <a:lnTo>
                      <a:pt x="734" y="500"/>
                    </a:lnTo>
                    <a:lnTo>
                      <a:pt x="736" y="495"/>
                    </a:lnTo>
                    <a:lnTo>
                      <a:pt x="739" y="493"/>
                    </a:lnTo>
                    <a:lnTo>
                      <a:pt x="744" y="490"/>
                    </a:lnTo>
                    <a:lnTo>
                      <a:pt x="744" y="490"/>
                    </a:lnTo>
                    <a:lnTo>
                      <a:pt x="747" y="488"/>
                    </a:lnTo>
                    <a:lnTo>
                      <a:pt x="749" y="484"/>
                    </a:lnTo>
                    <a:lnTo>
                      <a:pt x="749" y="477"/>
                    </a:lnTo>
                    <a:lnTo>
                      <a:pt x="749" y="477"/>
                    </a:lnTo>
                    <a:lnTo>
                      <a:pt x="749" y="474"/>
                    </a:lnTo>
                    <a:lnTo>
                      <a:pt x="750" y="473"/>
                    </a:lnTo>
                    <a:lnTo>
                      <a:pt x="752" y="471"/>
                    </a:lnTo>
                    <a:lnTo>
                      <a:pt x="752" y="470"/>
                    </a:lnTo>
                    <a:lnTo>
                      <a:pt x="752" y="470"/>
                    </a:lnTo>
                    <a:lnTo>
                      <a:pt x="750" y="468"/>
                    </a:lnTo>
                    <a:lnTo>
                      <a:pt x="752" y="466"/>
                    </a:lnTo>
                    <a:lnTo>
                      <a:pt x="754" y="463"/>
                    </a:lnTo>
                    <a:lnTo>
                      <a:pt x="757" y="461"/>
                    </a:lnTo>
                    <a:lnTo>
                      <a:pt x="757" y="461"/>
                    </a:lnTo>
                    <a:lnTo>
                      <a:pt x="760" y="460"/>
                    </a:lnTo>
                    <a:lnTo>
                      <a:pt x="757" y="458"/>
                    </a:lnTo>
                    <a:lnTo>
                      <a:pt x="754" y="458"/>
                    </a:lnTo>
                    <a:lnTo>
                      <a:pt x="752" y="458"/>
                    </a:lnTo>
                    <a:lnTo>
                      <a:pt x="752" y="458"/>
                    </a:lnTo>
                    <a:lnTo>
                      <a:pt x="750" y="460"/>
                    </a:lnTo>
                    <a:lnTo>
                      <a:pt x="749" y="458"/>
                    </a:lnTo>
                    <a:lnTo>
                      <a:pt x="746" y="457"/>
                    </a:lnTo>
                    <a:lnTo>
                      <a:pt x="744" y="454"/>
                    </a:lnTo>
                    <a:lnTo>
                      <a:pt x="743" y="454"/>
                    </a:lnTo>
                    <a:lnTo>
                      <a:pt x="742" y="456"/>
                    </a:lnTo>
                    <a:lnTo>
                      <a:pt x="742" y="456"/>
                    </a:lnTo>
                    <a:lnTo>
                      <a:pt x="739" y="457"/>
                    </a:lnTo>
                    <a:lnTo>
                      <a:pt x="736" y="456"/>
                    </a:lnTo>
                    <a:lnTo>
                      <a:pt x="734" y="454"/>
                    </a:lnTo>
                    <a:lnTo>
                      <a:pt x="734" y="453"/>
                    </a:lnTo>
                    <a:lnTo>
                      <a:pt x="736" y="453"/>
                    </a:lnTo>
                    <a:lnTo>
                      <a:pt x="736" y="453"/>
                    </a:lnTo>
                    <a:lnTo>
                      <a:pt x="746" y="449"/>
                    </a:lnTo>
                    <a:lnTo>
                      <a:pt x="753" y="444"/>
                    </a:lnTo>
                    <a:lnTo>
                      <a:pt x="753" y="444"/>
                    </a:lnTo>
                    <a:lnTo>
                      <a:pt x="754" y="443"/>
                    </a:lnTo>
                    <a:lnTo>
                      <a:pt x="753" y="441"/>
                    </a:lnTo>
                    <a:lnTo>
                      <a:pt x="752" y="439"/>
                    </a:lnTo>
                    <a:lnTo>
                      <a:pt x="747" y="436"/>
                    </a:lnTo>
                    <a:lnTo>
                      <a:pt x="743" y="436"/>
                    </a:lnTo>
                    <a:lnTo>
                      <a:pt x="743" y="436"/>
                    </a:lnTo>
                    <a:lnTo>
                      <a:pt x="740" y="434"/>
                    </a:lnTo>
                    <a:lnTo>
                      <a:pt x="736" y="430"/>
                    </a:lnTo>
                    <a:lnTo>
                      <a:pt x="733" y="426"/>
                    </a:lnTo>
                    <a:lnTo>
                      <a:pt x="729" y="424"/>
                    </a:lnTo>
                    <a:lnTo>
                      <a:pt x="729" y="424"/>
                    </a:lnTo>
                    <a:lnTo>
                      <a:pt x="727" y="424"/>
                    </a:lnTo>
                    <a:lnTo>
                      <a:pt x="730" y="423"/>
                    </a:lnTo>
                    <a:lnTo>
                      <a:pt x="733" y="423"/>
                    </a:lnTo>
                    <a:lnTo>
                      <a:pt x="739" y="424"/>
                    </a:lnTo>
                    <a:lnTo>
                      <a:pt x="739" y="424"/>
                    </a:lnTo>
                    <a:lnTo>
                      <a:pt x="746" y="427"/>
                    </a:lnTo>
                    <a:lnTo>
                      <a:pt x="750" y="429"/>
                    </a:lnTo>
                    <a:lnTo>
                      <a:pt x="753" y="427"/>
                    </a:lnTo>
                    <a:lnTo>
                      <a:pt x="753" y="427"/>
                    </a:lnTo>
                    <a:lnTo>
                      <a:pt x="753" y="426"/>
                    </a:lnTo>
                    <a:lnTo>
                      <a:pt x="752" y="424"/>
                    </a:lnTo>
                    <a:lnTo>
                      <a:pt x="749" y="420"/>
                    </a:lnTo>
                    <a:lnTo>
                      <a:pt x="739" y="412"/>
                    </a:lnTo>
                    <a:lnTo>
                      <a:pt x="739" y="412"/>
                    </a:lnTo>
                    <a:lnTo>
                      <a:pt x="737" y="409"/>
                    </a:lnTo>
                    <a:lnTo>
                      <a:pt x="737" y="406"/>
                    </a:lnTo>
                    <a:lnTo>
                      <a:pt x="737" y="404"/>
                    </a:lnTo>
                    <a:lnTo>
                      <a:pt x="736" y="402"/>
                    </a:lnTo>
                    <a:lnTo>
                      <a:pt x="736" y="402"/>
                    </a:lnTo>
                    <a:lnTo>
                      <a:pt x="733" y="399"/>
                    </a:lnTo>
                    <a:lnTo>
                      <a:pt x="730" y="394"/>
                    </a:lnTo>
                    <a:lnTo>
                      <a:pt x="726" y="383"/>
                    </a:lnTo>
                    <a:lnTo>
                      <a:pt x="726" y="383"/>
                    </a:lnTo>
                    <a:lnTo>
                      <a:pt x="723" y="379"/>
                    </a:lnTo>
                    <a:lnTo>
                      <a:pt x="719" y="377"/>
                    </a:lnTo>
                    <a:lnTo>
                      <a:pt x="715" y="375"/>
                    </a:lnTo>
                    <a:lnTo>
                      <a:pt x="712" y="373"/>
                    </a:lnTo>
                    <a:lnTo>
                      <a:pt x="712" y="373"/>
                    </a:lnTo>
                    <a:lnTo>
                      <a:pt x="710" y="369"/>
                    </a:lnTo>
                    <a:lnTo>
                      <a:pt x="712" y="365"/>
                    </a:lnTo>
                    <a:lnTo>
                      <a:pt x="715" y="360"/>
                    </a:lnTo>
                    <a:lnTo>
                      <a:pt x="719" y="357"/>
                    </a:lnTo>
                    <a:lnTo>
                      <a:pt x="719" y="357"/>
                    </a:lnTo>
                    <a:lnTo>
                      <a:pt x="723" y="355"/>
                    </a:lnTo>
                    <a:lnTo>
                      <a:pt x="725" y="352"/>
                    </a:lnTo>
                    <a:lnTo>
                      <a:pt x="725" y="350"/>
                    </a:lnTo>
                    <a:lnTo>
                      <a:pt x="727" y="349"/>
                    </a:lnTo>
                    <a:lnTo>
                      <a:pt x="727" y="349"/>
                    </a:lnTo>
                    <a:lnTo>
                      <a:pt x="729" y="349"/>
                    </a:lnTo>
                    <a:lnTo>
                      <a:pt x="732" y="349"/>
                    </a:lnTo>
                    <a:lnTo>
                      <a:pt x="733" y="346"/>
                    </a:lnTo>
                    <a:lnTo>
                      <a:pt x="736" y="343"/>
                    </a:lnTo>
                    <a:lnTo>
                      <a:pt x="736" y="343"/>
                    </a:lnTo>
                    <a:lnTo>
                      <a:pt x="737" y="340"/>
                    </a:lnTo>
                    <a:lnTo>
                      <a:pt x="740" y="339"/>
                    </a:lnTo>
                    <a:lnTo>
                      <a:pt x="743" y="339"/>
                    </a:lnTo>
                    <a:lnTo>
                      <a:pt x="746" y="338"/>
                    </a:lnTo>
                    <a:lnTo>
                      <a:pt x="746" y="338"/>
                    </a:lnTo>
                    <a:lnTo>
                      <a:pt x="749" y="336"/>
                    </a:lnTo>
                    <a:lnTo>
                      <a:pt x="754" y="335"/>
                    </a:lnTo>
                    <a:lnTo>
                      <a:pt x="759" y="335"/>
                    </a:lnTo>
                    <a:lnTo>
                      <a:pt x="763" y="333"/>
                    </a:lnTo>
                    <a:lnTo>
                      <a:pt x="763" y="333"/>
                    </a:lnTo>
                    <a:lnTo>
                      <a:pt x="764" y="332"/>
                    </a:lnTo>
                    <a:lnTo>
                      <a:pt x="764" y="329"/>
                    </a:lnTo>
                    <a:lnTo>
                      <a:pt x="763" y="326"/>
                    </a:lnTo>
                    <a:lnTo>
                      <a:pt x="759" y="323"/>
                    </a:lnTo>
                    <a:lnTo>
                      <a:pt x="754" y="322"/>
                    </a:lnTo>
                    <a:lnTo>
                      <a:pt x="754" y="322"/>
                    </a:lnTo>
                    <a:lnTo>
                      <a:pt x="750" y="323"/>
                    </a:lnTo>
                    <a:lnTo>
                      <a:pt x="746" y="322"/>
                    </a:lnTo>
                    <a:lnTo>
                      <a:pt x="742" y="319"/>
                    </a:lnTo>
                    <a:lnTo>
                      <a:pt x="739" y="316"/>
                    </a:lnTo>
                    <a:lnTo>
                      <a:pt x="739" y="316"/>
                    </a:lnTo>
                    <a:lnTo>
                      <a:pt x="737" y="315"/>
                    </a:lnTo>
                    <a:lnTo>
                      <a:pt x="734" y="315"/>
                    </a:lnTo>
                    <a:lnTo>
                      <a:pt x="729" y="319"/>
                    </a:lnTo>
                    <a:lnTo>
                      <a:pt x="723" y="326"/>
                    </a:lnTo>
                    <a:lnTo>
                      <a:pt x="717" y="330"/>
                    </a:lnTo>
                    <a:lnTo>
                      <a:pt x="717" y="330"/>
                    </a:lnTo>
                    <a:lnTo>
                      <a:pt x="715" y="330"/>
                    </a:lnTo>
                    <a:lnTo>
                      <a:pt x="712" y="330"/>
                    </a:lnTo>
                    <a:lnTo>
                      <a:pt x="709" y="328"/>
                    </a:lnTo>
                    <a:lnTo>
                      <a:pt x="706" y="322"/>
                    </a:lnTo>
                    <a:lnTo>
                      <a:pt x="707" y="318"/>
                    </a:lnTo>
                    <a:lnTo>
                      <a:pt x="707" y="318"/>
                    </a:lnTo>
                    <a:lnTo>
                      <a:pt x="707" y="315"/>
                    </a:lnTo>
                    <a:lnTo>
                      <a:pt x="707" y="313"/>
                    </a:lnTo>
                    <a:lnTo>
                      <a:pt x="705" y="312"/>
                    </a:lnTo>
                    <a:lnTo>
                      <a:pt x="697" y="312"/>
                    </a:lnTo>
                    <a:lnTo>
                      <a:pt x="690" y="312"/>
                    </a:lnTo>
                    <a:lnTo>
                      <a:pt x="690" y="312"/>
                    </a:lnTo>
                    <a:lnTo>
                      <a:pt x="688" y="311"/>
                    </a:lnTo>
                    <a:lnTo>
                      <a:pt x="685" y="309"/>
                    </a:lnTo>
                    <a:lnTo>
                      <a:pt x="685" y="306"/>
                    </a:lnTo>
                    <a:lnTo>
                      <a:pt x="685" y="302"/>
                    </a:lnTo>
                    <a:lnTo>
                      <a:pt x="686" y="295"/>
                    </a:lnTo>
                    <a:lnTo>
                      <a:pt x="688" y="293"/>
                    </a:lnTo>
                    <a:lnTo>
                      <a:pt x="690" y="292"/>
                    </a:lnTo>
                    <a:lnTo>
                      <a:pt x="690" y="292"/>
                    </a:lnTo>
                    <a:lnTo>
                      <a:pt x="696" y="292"/>
                    </a:lnTo>
                    <a:lnTo>
                      <a:pt x="702" y="293"/>
                    </a:lnTo>
                    <a:lnTo>
                      <a:pt x="705" y="292"/>
                    </a:lnTo>
                    <a:lnTo>
                      <a:pt x="706" y="292"/>
                    </a:lnTo>
                    <a:lnTo>
                      <a:pt x="709" y="289"/>
                    </a:lnTo>
                    <a:lnTo>
                      <a:pt x="710" y="286"/>
                    </a:lnTo>
                    <a:lnTo>
                      <a:pt x="710" y="286"/>
                    </a:lnTo>
                    <a:lnTo>
                      <a:pt x="712" y="282"/>
                    </a:lnTo>
                    <a:lnTo>
                      <a:pt x="713" y="281"/>
                    </a:lnTo>
                    <a:lnTo>
                      <a:pt x="717" y="279"/>
                    </a:lnTo>
                    <a:lnTo>
                      <a:pt x="723" y="278"/>
                    </a:lnTo>
                    <a:lnTo>
                      <a:pt x="726" y="276"/>
                    </a:lnTo>
                    <a:lnTo>
                      <a:pt x="729" y="272"/>
                    </a:lnTo>
                    <a:lnTo>
                      <a:pt x="729" y="272"/>
                    </a:lnTo>
                    <a:lnTo>
                      <a:pt x="736" y="266"/>
                    </a:lnTo>
                    <a:lnTo>
                      <a:pt x="743" y="261"/>
                    </a:lnTo>
                    <a:lnTo>
                      <a:pt x="747" y="259"/>
                    </a:lnTo>
                    <a:lnTo>
                      <a:pt x="750" y="259"/>
                    </a:lnTo>
                    <a:lnTo>
                      <a:pt x="753" y="261"/>
                    </a:lnTo>
                    <a:lnTo>
                      <a:pt x="756" y="262"/>
                    </a:lnTo>
                    <a:lnTo>
                      <a:pt x="756" y="262"/>
                    </a:lnTo>
                    <a:lnTo>
                      <a:pt x="759" y="265"/>
                    </a:lnTo>
                    <a:lnTo>
                      <a:pt x="759" y="268"/>
                    </a:lnTo>
                    <a:lnTo>
                      <a:pt x="757" y="271"/>
                    </a:lnTo>
                    <a:lnTo>
                      <a:pt x="754" y="274"/>
                    </a:lnTo>
                    <a:lnTo>
                      <a:pt x="749" y="279"/>
                    </a:lnTo>
                    <a:lnTo>
                      <a:pt x="746" y="284"/>
                    </a:lnTo>
                    <a:lnTo>
                      <a:pt x="746" y="284"/>
                    </a:lnTo>
                    <a:lnTo>
                      <a:pt x="744" y="288"/>
                    </a:lnTo>
                    <a:lnTo>
                      <a:pt x="744" y="291"/>
                    </a:lnTo>
                    <a:lnTo>
                      <a:pt x="744" y="293"/>
                    </a:lnTo>
                    <a:lnTo>
                      <a:pt x="743" y="296"/>
                    </a:lnTo>
                    <a:lnTo>
                      <a:pt x="743" y="296"/>
                    </a:lnTo>
                    <a:lnTo>
                      <a:pt x="742" y="299"/>
                    </a:lnTo>
                    <a:lnTo>
                      <a:pt x="743" y="301"/>
                    </a:lnTo>
                    <a:lnTo>
                      <a:pt x="747" y="299"/>
                    </a:lnTo>
                    <a:lnTo>
                      <a:pt x="754" y="296"/>
                    </a:lnTo>
                    <a:lnTo>
                      <a:pt x="754" y="296"/>
                    </a:lnTo>
                    <a:lnTo>
                      <a:pt x="769" y="286"/>
                    </a:lnTo>
                    <a:lnTo>
                      <a:pt x="784" y="279"/>
                    </a:lnTo>
                    <a:lnTo>
                      <a:pt x="784" y="279"/>
                    </a:lnTo>
                    <a:lnTo>
                      <a:pt x="787" y="278"/>
                    </a:lnTo>
                    <a:lnTo>
                      <a:pt x="791" y="278"/>
                    </a:lnTo>
                    <a:lnTo>
                      <a:pt x="791" y="278"/>
                    </a:lnTo>
                    <a:lnTo>
                      <a:pt x="794" y="274"/>
                    </a:lnTo>
                    <a:lnTo>
                      <a:pt x="796" y="271"/>
                    </a:lnTo>
                    <a:lnTo>
                      <a:pt x="796" y="271"/>
                    </a:lnTo>
                    <a:lnTo>
                      <a:pt x="813" y="264"/>
                    </a:lnTo>
                    <a:lnTo>
                      <a:pt x="821" y="259"/>
                    </a:lnTo>
                    <a:lnTo>
                      <a:pt x="826" y="255"/>
                    </a:lnTo>
                    <a:lnTo>
                      <a:pt x="826" y="255"/>
                    </a:lnTo>
                    <a:lnTo>
                      <a:pt x="831" y="248"/>
                    </a:lnTo>
                    <a:lnTo>
                      <a:pt x="834" y="245"/>
                    </a:lnTo>
                    <a:lnTo>
                      <a:pt x="837" y="244"/>
                    </a:lnTo>
                    <a:lnTo>
                      <a:pt x="837" y="244"/>
                    </a:lnTo>
                    <a:lnTo>
                      <a:pt x="838" y="244"/>
                    </a:lnTo>
                    <a:lnTo>
                      <a:pt x="841" y="245"/>
                    </a:lnTo>
                    <a:lnTo>
                      <a:pt x="843" y="247"/>
                    </a:lnTo>
                    <a:lnTo>
                      <a:pt x="847" y="248"/>
                    </a:lnTo>
                    <a:lnTo>
                      <a:pt x="847" y="248"/>
                    </a:lnTo>
                    <a:lnTo>
                      <a:pt x="855" y="248"/>
                    </a:lnTo>
                    <a:lnTo>
                      <a:pt x="858" y="247"/>
                    </a:lnTo>
                    <a:lnTo>
                      <a:pt x="857" y="245"/>
                    </a:lnTo>
                    <a:lnTo>
                      <a:pt x="857" y="245"/>
                    </a:lnTo>
                    <a:lnTo>
                      <a:pt x="855" y="241"/>
                    </a:lnTo>
                    <a:lnTo>
                      <a:pt x="857" y="239"/>
                    </a:lnTo>
                    <a:lnTo>
                      <a:pt x="864" y="238"/>
                    </a:lnTo>
                    <a:lnTo>
                      <a:pt x="864" y="238"/>
                    </a:lnTo>
                    <a:lnTo>
                      <a:pt x="867" y="237"/>
                    </a:lnTo>
                    <a:lnTo>
                      <a:pt x="870" y="234"/>
                    </a:lnTo>
                    <a:lnTo>
                      <a:pt x="871" y="231"/>
                    </a:lnTo>
                    <a:lnTo>
                      <a:pt x="874" y="229"/>
                    </a:lnTo>
                    <a:lnTo>
                      <a:pt x="874" y="229"/>
                    </a:lnTo>
                    <a:lnTo>
                      <a:pt x="877" y="229"/>
                    </a:lnTo>
                    <a:lnTo>
                      <a:pt x="878" y="228"/>
                    </a:lnTo>
                    <a:lnTo>
                      <a:pt x="880" y="224"/>
                    </a:lnTo>
                    <a:lnTo>
                      <a:pt x="881" y="219"/>
                    </a:lnTo>
                    <a:lnTo>
                      <a:pt x="882" y="218"/>
                    </a:lnTo>
                    <a:lnTo>
                      <a:pt x="884" y="218"/>
                    </a:lnTo>
                    <a:lnTo>
                      <a:pt x="884" y="218"/>
                    </a:lnTo>
                    <a:lnTo>
                      <a:pt x="887" y="218"/>
                    </a:lnTo>
                    <a:lnTo>
                      <a:pt x="890" y="221"/>
                    </a:lnTo>
                    <a:lnTo>
                      <a:pt x="894" y="222"/>
                    </a:lnTo>
                    <a:lnTo>
                      <a:pt x="897" y="222"/>
                    </a:lnTo>
                    <a:lnTo>
                      <a:pt x="897" y="222"/>
                    </a:lnTo>
                    <a:lnTo>
                      <a:pt x="902" y="224"/>
                    </a:lnTo>
                    <a:lnTo>
                      <a:pt x="902" y="224"/>
                    </a:lnTo>
                    <a:lnTo>
                      <a:pt x="905" y="221"/>
                    </a:lnTo>
                    <a:lnTo>
                      <a:pt x="905" y="221"/>
                    </a:lnTo>
                    <a:lnTo>
                      <a:pt x="905" y="211"/>
                    </a:lnTo>
                    <a:lnTo>
                      <a:pt x="905" y="205"/>
                    </a:lnTo>
                    <a:lnTo>
                      <a:pt x="905" y="205"/>
                    </a:lnTo>
                    <a:lnTo>
                      <a:pt x="904" y="201"/>
                    </a:lnTo>
                    <a:lnTo>
                      <a:pt x="904" y="198"/>
                    </a:lnTo>
                    <a:lnTo>
                      <a:pt x="904" y="192"/>
                    </a:lnTo>
                    <a:lnTo>
                      <a:pt x="904" y="192"/>
                    </a:lnTo>
                    <a:lnTo>
                      <a:pt x="902" y="185"/>
                    </a:lnTo>
                    <a:lnTo>
                      <a:pt x="904" y="183"/>
                    </a:lnTo>
                    <a:lnTo>
                      <a:pt x="907" y="181"/>
                    </a:lnTo>
                    <a:lnTo>
                      <a:pt x="907" y="181"/>
                    </a:lnTo>
                    <a:lnTo>
                      <a:pt x="909" y="180"/>
                    </a:lnTo>
                    <a:lnTo>
                      <a:pt x="912" y="177"/>
                    </a:lnTo>
                    <a:lnTo>
                      <a:pt x="915" y="174"/>
                    </a:lnTo>
                    <a:lnTo>
                      <a:pt x="918" y="174"/>
                    </a:lnTo>
                    <a:lnTo>
                      <a:pt x="919" y="174"/>
                    </a:lnTo>
                    <a:lnTo>
                      <a:pt x="919" y="174"/>
                    </a:lnTo>
                    <a:lnTo>
                      <a:pt x="924" y="177"/>
                    </a:lnTo>
                    <a:lnTo>
                      <a:pt x="928" y="177"/>
                    </a:lnTo>
                    <a:lnTo>
                      <a:pt x="932" y="177"/>
                    </a:lnTo>
                    <a:lnTo>
                      <a:pt x="934" y="175"/>
                    </a:lnTo>
                    <a:lnTo>
                      <a:pt x="934" y="174"/>
                    </a:lnTo>
                    <a:lnTo>
                      <a:pt x="934" y="174"/>
                    </a:lnTo>
                    <a:lnTo>
                      <a:pt x="935" y="171"/>
                    </a:lnTo>
                    <a:lnTo>
                      <a:pt x="936" y="170"/>
                    </a:lnTo>
                    <a:lnTo>
                      <a:pt x="939" y="167"/>
                    </a:lnTo>
                    <a:lnTo>
                      <a:pt x="941" y="164"/>
                    </a:lnTo>
                    <a:lnTo>
                      <a:pt x="941" y="164"/>
                    </a:lnTo>
                    <a:lnTo>
                      <a:pt x="942" y="160"/>
                    </a:lnTo>
                    <a:lnTo>
                      <a:pt x="945" y="157"/>
                    </a:lnTo>
                    <a:lnTo>
                      <a:pt x="948" y="155"/>
                    </a:lnTo>
                    <a:lnTo>
                      <a:pt x="951" y="151"/>
                    </a:lnTo>
                    <a:lnTo>
                      <a:pt x="951" y="151"/>
                    </a:lnTo>
                    <a:lnTo>
                      <a:pt x="954" y="140"/>
                    </a:lnTo>
                    <a:lnTo>
                      <a:pt x="956" y="134"/>
                    </a:lnTo>
                    <a:lnTo>
                      <a:pt x="959" y="131"/>
                    </a:lnTo>
                    <a:lnTo>
                      <a:pt x="959" y="131"/>
                    </a:lnTo>
                    <a:lnTo>
                      <a:pt x="961" y="128"/>
                    </a:lnTo>
                    <a:lnTo>
                      <a:pt x="961" y="127"/>
                    </a:lnTo>
                    <a:lnTo>
                      <a:pt x="959" y="123"/>
                    </a:lnTo>
                    <a:lnTo>
                      <a:pt x="959" y="118"/>
                    </a:lnTo>
                    <a:lnTo>
                      <a:pt x="959" y="118"/>
                    </a:lnTo>
                    <a:close/>
                    <a:moveTo>
                      <a:pt x="726" y="567"/>
                    </a:moveTo>
                    <a:lnTo>
                      <a:pt x="726" y="567"/>
                    </a:lnTo>
                    <a:lnTo>
                      <a:pt x="725" y="574"/>
                    </a:lnTo>
                    <a:lnTo>
                      <a:pt x="725" y="579"/>
                    </a:lnTo>
                    <a:lnTo>
                      <a:pt x="726" y="584"/>
                    </a:lnTo>
                    <a:lnTo>
                      <a:pt x="727" y="588"/>
                    </a:lnTo>
                    <a:lnTo>
                      <a:pt x="732" y="594"/>
                    </a:lnTo>
                    <a:lnTo>
                      <a:pt x="734" y="595"/>
                    </a:lnTo>
                    <a:lnTo>
                      <a:pt x="734" y="595"/>
                    </a:lnTo>
                    <a:lnTo>
                      <a:pt x="740" y="587"/>
                    </a:lnTo>
                    <a:lnTo>
                      <a:pt x="749" y="571"/>
                    </a:lnTo>
                    <a:lnTo>
                      <a:pt x="754" y="554"/>
                    </a:lnTo>
                    <a:lnTo>
                      <a:pt x="756" y="548"/>
                    </a:lnTo>
                    <a:lnTo>
                      <a:pt x="754" y="545"/>
                    </a:lnTo>
                    <a:lnTo>
                      <a:pt x="754" y="545"/>
                    </a:lnTo>
                    <a:lnTo>
                      <a:pt x="753" y="544"/>
                    </a:lnTo>
                    <a:lnTo>
                      <a:pt x="749" y="542"/>
                    </a:lnTo>
                    <a:lnTo>
                      <a:pt x="744" y="544"/>
                    </a:lnTo>
                    <a:lnTo>
                      <a:pt x="740" y="547"/>
                    </a:lnTo>
                    <a:lnTo>
                      <a:pt x="736" y="550"/>
                    </a:lnTo>
                    <a:lnTo>
                      <a:pt x="732" y="555"/>
                    </a:lnTo>
                    <a:lnTo>
                      <a:pt x="729" y="561"/>
                    </a:lnTo>
                    <a:lnTo>
                      <a:pt x="726" y="567"/>
                    </a:lnTo>
                    <a:lnTo>
                      <a:pt x="726" y="567"/>
                    </a:lnTo>
                    <a:close/>
                    <a:moveTo>
                      <a:pt x="557" y="632"/>
                    </a:moveTo>
                    <a:lnTo>
                      <a:pt x="557" y="632"/>
                    </a:lnTo>
                    <a:lnTo>
                      <a:pt x="551" y="633"/>
                    </a:lnTo>
                    <a:lnTo>
                      <a:pt x="544" y="638"/>
                    </a:lnTo>
                    <a:lnTo>
                      <a:pt x="542" y="641"/>
                    </a:lnTo>
                    <a:lnTo>
                      <a:pt x="540" y="645"/>
                    </a:lnTo>
                    <a:lnTo>
                      <a:pt x="540" y="649"/>
                    </a:lnTo>
                    <a:lnTo>
                      <a:pt x="541" y="653"/>
                    </a:lnTo>
                    <a:lnTo>
                      <a:pt x="541" y="653"/>
                    </a:lnTo>
                    <a:lnTo>
                      <a:pt x="544" y="658"/>
                    </a:lnTo>
                    <a:lnTo>
                      <a:pt x="548" y="659"/>
                    </a:lnTo>
                    <a:lnTo>
                      <a:pt x="552" y="660"/>
                    </a:lnTo>
                    <a:lnTo>
                      <a:pt x="557" y="659"/>
                    </a:lnTo>
                    <a:lnTo>
                      <a:pt x="565" y="656"/>
                    </a:lnTo>
                    <a:lnTo>
                      <a:pt x="567" y="653"/>
                    </a:lnTo>
                    <a:lnTo>
                      <a:pt x="568" y="652"/>
                    </a:lnTo>
                    <a:lnTo>
                      <a:pt x="568" y="652"/>
                    </a:lnTo>
                    <a:lnTo>
                      <a:pt x="569" y="648"/>
                    </a:lnTo>
                    <a:lnTo>
                      <a:pt x="574" y="642"/>
                    </a:lnTo>
                    <a:lnTo>
                      <a:pt x="577" y="636"/>
                    </a:lnTo>
                    <a:lnTo>
                      <a:pt x="577" y="633"/>
                    </a:lnTo>
                    <a:lnTo>
                      <a:pt x="577" y="633"/>
                    </a:lnTo>
                    <a:lnTo>
                      <a:pt x="577" y="632"/>
                    </a:lnTo>
                    <a:lnTo>
                      <a:pt x="574" y="631"/>
                    </a:lnTo>
                    <a:lnTo>
                      <a:pt x="569" y="631"/>
                    </a:lnTo>
                    <a:lnTo>
                      <a:pt x="557" y="632"/>
                    </a:lnTo>
                    <a:lnTo>
                      <a:pt x="557" y="632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97" name="India">
                <a:extLst>
                  <a:ext uri="{FF2B5EF4-FFF2-40B4-BE49-F238E27FC236}">
                    <a16:creationId xmlns:a16="http://schemas.microsoft.com/office/drawing/2014/main" id="{19203E85-E3E9-39CF-73B2-D71875E017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43760" y="3427788"/>
                <a:ext cx="658504" cy="694019"/>
              </a:xfrm>
              <a:custGeom>
                <a:avLst/>
                <a:gdLst/>
                <a:ahLst/>
                <a:cxnLst>
                  <a:cxn ang="0">
                    <a:pos x="321" y="185"/>
                  </a:cxn>
                  <a:cxn ang="0">
                    <a:pos x="313" y="168"/>
                  </a:cxn>
                  <a:cxn ang="0">
                    <a:pos x="337" y="176"/>
                  </a:cxn>
                  <a:cxn ang="0">
                    <a:pos x="374" y="185"/>
                  </a:cxn>
                  <a:cxn ang="0">
                    <a:pos x="360" y="205"/>
                  </a:cxn>
                  <a:cxn ang="0">
                    <a:pos x="367" y="215"/>
                  </a:cxn>
                  <a:cxn ang="0">
                    <a:pos x="381" y="237"/>
                  </a:cxn>
                  <a:cxn ang="0">
                    <a:pos x="388" y="206"/>
                  </a:cxn>
                  <a:cxn ang="0">
                    <a:pos x="405" y="196"/>
                  </a:cxn>
                  <a:cxn ang="0">
                    <a:pos x="412" y="162"/>
                  </a:cxn>
                  <a:cxn ang="0">
                    <a:pos x="438" y="149"/>
                  </a:cxn>
                  <a:cxn ang="0">
                    <a:pos x="441" y="136"/>
                  </a:cxn>
                  <a:cxn ang="0">
                    <a:pos x="435" y="125"/>
                  </a:cxn>
                  <a:cxn ang="0">
                    <a:pos x="418" y="115"/>
                  </a:cxn>
                  <a:cxn ang="0">
                    <a:pos x="388" y="125"/>
                  </a:cxn>
                  <a:cxn ang="0">
                    <a:pos x="367" y="141"/>
                  </a:cxn>
                  <a:cxn ang="0">
                    <a:pos x="353" y="156"/>
                  </a:cxn>
                  <a:cxn ang="0">
                    <a:pos x="328" y="154"/>
                  </a:cxn>
                  <a:cxn ang="0">
                    <a:pos x="320" y="135"/>
                  </a:cxn>
                  <a:cxn ang="0">
                    <a:pos x="311" y="151"/>
                  </a:cxn>
                  <a:cxn ang="0">
                    <a:pos x="277" y="158"/>
                  </a:cxn>
                  <a:cxn ang="0">
                    <a:pos x="243" y="145"/>
                  </a:cxn>
                  <a:cxn ang="0">
                    <a:pos x="213" y="134"/>
                  </a:cxn>
                  <a:cxn ang="0">
                    <a:pos x="193" y="122"/>
                  </a:cxn>
                  <a:cxn ang="0">
                    <a:pos x="199" y="99"/>
                  </a:cxn>
                  <a:cxn ang="0">
                    <a:pos x="183" y="82"/>
                  </a:cxn>
                  <a:cxn ang="0">
                    <a:pos x="166" y="63"/>
                  </a:cxn>
                  <a:cxn ang="0">
                    <a:pos x="176" y="54"/>
                  </a:cxn>
                  <a:cxn ang="0">
                    <a:pos x="171" y="26"/>
                  </a:cxn>
                  <a:cxn ang="0">
                    <a:pos x="158" y="4"/>
                  </a:cxn>
                  <a:cxn ang="0">
                    <a:pos x="134" y="14"/>
                  </a:cxn>
                  <a:cxn ang="0">
                    <a:pos x="95" y="14"/>
                  </a:cxn>
                  <a:cxn ang="0">
                    <a:pos x="97" y="45"/>
                  </a:cxn>
                  <a:cxn ang="0">
                    <a:pos x="112" y="60"/>
                  </a:cxn>
                  <a:cxn ang="0">
                    <a:pos x="101" y="84"/>
                  </a:cxn>
                  <a:cxn ang="0">
                    <a:pos x="88" y="98"/>
                  </a:cxn>
                  <a:cxn ang="0">
                    <a:pos x="64" y="124"/>
                  </a:cxn>
                  <a:cxn ang="0">
                    <a:pos x="45" y="136"/>
                  </a:cxn>
                  <a:cxn ang="0">
                    <a:pos x="25" y="144"/>
                  </a:cxn>
                  <a:cxn ang="0">
                    <a:pos x="30" y="164"/>
                  </a:cxn>
                  <a:cxn ang="0">
                    <a:pos x="42" y="195"/>
                  </a:cxn>
                  <a:cxn ang="0">
                    <a:pos x="15" y="199"/>
                  </a:cxn>
                  <a:cxn ang="0">
                    <a:pos x="14" y="223"/>
                  </a:cxn>
                  <a:cxn ang="0">
                    <a:pos x="31" y="226"/>
                  </a:cxn>
                  <a:cxn ang="0">
                    <a:pos x="40" y="259"/>
                  </a:cxn>
                  <a:cxn ang="0">
                    <a:pos x="61" y="243"/>
                  </a:cxn>
                  <a:cxn ang="0">
                    <a:pos x="70" y="252"/>
                  </a:cxn>
                  <a:cxn ang="0">
                    <a:pos x="72" y="293"/>
                  </a:cxn>
                  <a:cxn ang="0">
                    <a:pos x="99" y="375"/>
                  </a:cxn>
                  <a:cxn ang="0">
                    <a:pos x="126" y="444"/>
                  </a:cxn>
                  <a:cxn ang="0">
                    <a:pos x="156" y="458"/>
                  </a:cxn>
                  <a:cxn ang="0">
                    <a:pos x="175" y="434"/>
                  </a:cxn>
                  <a:cxn ang="0">
                    <a:pos x="186" y="401"/>
                  </a:cxn>
                  <a:cxn ang="0">
                    <a:pos x="190" y="354"/>
                  </a:cxn>
                  <a:cxn ang="0">
                    <a:pos x="212" y="330"/>
                  </a:cxn>
                  <a:cxn ang="0">
                    <a:pos x="263" y="284"/>
                  </a:cxn>
                  <a:cxn ang="0">
                    <a:pos x="291" y="252"/>
                  </a:cxn>
                  <a:cxn ang="0">
                    <a:pos x="324" y="233"/>
                  </a:cxn>
                </a:cxnLst>
                <a:rect l="0" t="0" r="r" b="b"/>
                <a:pathLst>
                  <a:path w="445" h="469">
                    <a:moveTo>
                      <a:pt x="318" y="212"/>
                    </a:moveTo>
                    <a:lnTo>
                      <a:pt x="318" y="212"/>
                    </a:lnTo>
                    <a:lnTo>
                      <a:pt x="316" y="199"/>
                    </a:lnTo>
                    <a:lnTo>
                      <a:pt x="314" y="193"/>
                    </a:lnTo>
                    <a:lnTo>
                      <a:pt x="314" y="188"/>
                    </a:lnTo>
                    <a:lnTo>
                      <a:pt x="314" y="188"/>
                    </a:lnTo>
                    <a:lnTo>
                      <a:pt x="317" y="186"/>
                    </a:lnTo>
                    <a:lnTo>
                      <a:pt x="318" y="185"/>
                    </a:lnTo>
                    <a:lnTo>
                      <a:pt x="321" y="185"/>
                    </a:lnTo>
                    <a:lnTo>
                      <a:pt x="324" y="182"/>
                    </a:lnTo>
                    <a:lnTo>
                      <a:pt x="324" y="182"/>
                    </a:lnTo>
                    <a:lnTo>
                      <a:pt x="323" y="179"/>
                    </a:lnTo>
                    <a:lnTo>
                      <a:pt x="321" y="178"/>
                    </a:lnTo>
                    <a:lnTo>
                      <a:pt x="317" y="175"/>
                    </a:lnTo>
                    <a:lnTo>
                      <a:pt x="313" y="172"/>
                    </a:lnTo>
                    <a:lnTo>
                      <a:pt x="311" y="171"/>
                    </a:lnTo>
                    <a:lnTo>
                      <a:pt x="313" y="168"/>
                    </a:lnTo>
                    <a:lnTo>
                      <a:pt x="313" y="168"/>
                    </a:lnTo>
                    <a:lnTo>
                      <a:pt x="317" y="165"/>
                    </a:lnTo>
                    <a:lnTo>
                      <a:pt x="318" y="165"/>
                    </a:lnTo>
                    <a:lnTo>
                      <a:pt x="321" y="166"/>
                    </a:lnTo>
                    <a:lnTo>
                      <a:pt x="327" y="168"/>
                    </a:lnTo>
                    <a:lnTo>
                      <a:pt x="327" y="168"/>
                    </a:lnTo>
                    <a:lnTo>
                      <a:pt x="331" y="169"/>
                    </a:lnTo>
                    <a:lnTo>
                      <a:pt x="334" y="171"/>
                    </a:lnTo>
                    <a:lnTo>
                      <a:pt x="337" y="173"/>
                    </a:lnTo>
                    <a:lnTo>
                      <a:pt x="337" y="176"/>
                    </a:lnTo>
                    <a:lnTo>
                      <a:pt x="337" y="176"/>
                    </a:lnTo>
                    <a:lnTo>
                      <a:pt x="338" y="179"/>
                    </a:lnTo>
                    <a:lnTo>
                      <a:pt x="341" y="182"/>
                    </a:lnTo>
                    <a:lnTo>
                      <a:pt x="344" y="185"/>
                    </a:lnTo>
                    <a:lnTo>
                      <a:pt x="344" y="185"/>
                    </a:lnTo>
                    <a:lnTo>
                      <a:pt x="363" y="183"/>
                    </a:lnTo>
                    <a:lnTo>
                      <a:pt x="363" y="183"/>
                    </a:lnTo>
                    <a:lnTo>
                      <a:pt x="371" y="183"/>
                    </a:lnTo>
                    <a:lnTo>
                      <a:pt x="374" y="185"/>
                    </a:lnTo>
                    <a:lnTo>
                      <a:pt x="374" y="188"/>
                    </a:lnTo>
                    <a:lnTo>
                      <a:pt x="374" y="188"/>
                    </a:lnTo>
                    <a:lnTo>
                      <a:pt x="374" y="192"/>
                    </a:lnTo>
                    <a:lnTo>
                      <a:pt x="370" y="196"/>
                    </a:lnTo>
                    <a:lnTo>
                      <a:pt x="367" y="202"/>
                    </a:lnTo>
                    <a:lnTo>
                      <a:pt x="364" y="203"/>
                    </a:lnTo>
                    <a:lnTo>
                      <a:pt x="363" y="203"/>
                    </a:lnTo>
                    <a:lnTo>
                      <a:pt x="363" y="203"/>
                    </a:lnTo>
                    <a:lnTo>
                      <a:pt x="360" y="205"/>
                    </a:lnTo>
                    <a:lnTo>
                      <a:pt x="358" y="206"/>
                    </a:lnTo>
                    <a:lnTo>
                      <a:pt x="357" y="212"/>
                    </a:lnTo>
                    <a:lnTo>
                      <a:pt x="358" y="218"/>
                    </a:lnTo>
                    <a:lnTo>
                      <a:pt x="360" y="220"/>
                    </a:lnTo>
                    <a:lnTo>
                      <a:pt x="361" y="220"/>
                    </a:lnTo>
                    <a:lnTo>
                      <a:pt x="361" y="220"/>
                    </a:lnTo>
                    <a:lnTo>
                      <a:pt x="363" y="220"/>
                    </a:lnTo>
                    <a:lnTo>
                      <a:pt x="364" y="219"/>
                    </a:lnTo>
                    <a:lnTo>
                      <a:pt x="367" y="215"/>
                    </a:lnTo>
                    <a:lnTo>
                      <a:pt x="370" y="210"/>
                    </a:lnTo>
                    <a:lnTo>
                      <a:pt x="373" y="208"/>
                    </a:lnTo>
                    <a:lnTo>
                      <a:pt x="373" y="208"/>
                    </a:lnTo>
                    <a:lnTo>
                      <a:pt x="374" y="210"/>
                    </a:lnTo>
                    <a:lnTo>
                      <a:pt x="375" y="218"/>
                    </a:lnTo>
                    <a:lnTo>
                      <a:pt x="380" y="239"/>
                    </a:lnTo>
                    <a:lnTo>
                      <a:pt x="380" y="239"/>
                    </a:lnTo>
                    <a:lnTo>
                      <a:pt x="381" y="237"/>
                    </a:lnTo>
                    <a:lnTo>
                      <a:pt x="381" y="237"/>
                    </a:lnTo>
                    <a:lnTo>
                      <a:pt x="382" y="237"/>
                    </a:lnTo>
                    <a:lnTo>
                      <a:pt x="384" y="236"/>
                    </a:lnTo>
                    <a:lnTo>
                      <a:pt x="384" y="230"/>
                    </a:lnTo>
                    <a:lnTo>
                      <a:pt x="384" y="225"/>
                    </a:lnTo>
                    <a:lnTo>
                      <a:pt x="385" y="220"/>
                    </a:lnTo>
                    <a:lnTo>
                      <a:pt x="385" y="220"/>
                    </a:lnTo>
                    <a:lnTo>
                      <a:pt x="387" y="216"/>
                    </a:lnTo>
                    <a:lnTo>
                      <a:pt x="388" y="212"/>
                    </a:lnTo>
                    <a:lnTo>
                      <a:pt x="388" y="206"/>
                    </a:lnTo>
                    <a:lnTo>
                      <a:pt x="390" y="205"/>
                    </a:lnTo>
                    <a:lnTo>
                      <a:pt x="390" y="205"/>
                    </a:lnTo>
                    <a:lnTo>
                      <a:pt x="397" y="206"/>
                    </a:lnTo>
                    <a:lnTo>
                      <a:pt x="400" y="206"/>
                    </a:lnTo>
                    <a:lnTo>
                      <a:pt x="401" y="206"/>
                    </a:lnTo>
                    <a:lnTo>
                      <a:pt x="401" y="205"/>
                    </a:lnTo>
                    <a:lnTo>
                      <a:pt x="401" y="205"/>
                    </a:lnTo>
                    <a:lnTo>
                      <a:pt x="402" y="202"/>
                    </a:lnTo>
                    <a:lnTo>
                      <a:pt x="405" y="196"/>
                    </a:lnTo>
                    <a:lnTo>
                      <a:pt x="407" y="191"/>
                    </a:lnTo>
                    <a:lnTo>
                      <a:pt x="407" y="186"/>
                    </a:lnTo>
                    <a:lnTo>
                      <a:pt x="407" y="186"/>
                    </a:lnTo>
                    <a:lnTo>
                      <a:pt x="408" y="182"/>
                    </a:lnTo>
                    <a:lnTo>
                      <a:pt x="410" y="176"/>
                    </a:lnTo>
                    <a:lnTo>
                      <a:pt x="411" y="172"/>
                    </a:lnTo>
                    <a:lnTo>
                      <a:pt x="412" y="166"/>
                    </a:lnTo>
                    <a:lnTo>
                      <a:pt x="412" y="166"/>
                    </a:lnTo>
                    <a:lnTo>
                      <a:pt x="412" y="162"/>
                    </a:lnTo>
                    <a:lnTo>
                      <a:pt x="415" y="159"/>
                    </a:lnTo>
                    <a:lnTo>
                      <a:pt x="422" y="154"/>
                    </a:lnTo>
                    <a:lnTo>
                      <a:pt x="422" y="154"/>
                    </a:lnTo>
                    <a:lnTo>
                      <a:pt x="431" y="148"/>
                    </a:lnTo>
                    <a:lnTo>
                      <a:pt x="434" y="146"/>
                    </a:lnTo>
                    <a:lnTo>
                      <a:pt x="435" y="146"/>
                    </a:lnTo>
                    <a:lnTo>
                      <a:pt x="435" y="148"/>
                    </a:lnTo>
                    <a:lnTo>
                      <a:pt x="435" y="148"/>
                    </a:lnTo>
                    <a:lnTo>
                      <a:pt x="438" y="149"/>
                    </a:lnTo>
                    <a:lnTo>
                      <a:pt x="441" y="151"/>
                    </a:lnTo>
                    <a:lnTo>
                      <a:pt x="444" y="151"/>
                    </a:lnTo>
                    <a:lnTo>
                      <a:pt x="444" y="149"/>
                    </a:lnTo>
                    <a:lnTo>
                      <a:pt x="442" y="148"/>
                    </a:lnTo>
                    <a:lnTo>
                      <a:pt x="442" y="148"/>
                    </a:lnTo>
                    <a:lnTo>
                      <a:pt x="441" y="144"/>
                    </a:lnTo>
                    <a:lnTo>
                      <a:pt x="439" y="141"/>
                    </a:lnTo>
                    <a:lnTo>
                      <a:pt x="439" y="138"/>
                    </a:lnTo>
                    <a:lnTo>
                      <a:pt x="441" y="136"/>
                    </a:lnTo>
                    <a:lnTo>
                      <a:pt x="441" y="136"/>
                    </a:lnTo>
                    <a:lnTo>
                      <a:pt x="444" y="135"/>
                    </a:lnTo>
                    <a:lnTo>
                      <a:pt x="444" y="132"/>
                    </a:lnTo>
                    <a:lnTo>
                      <a:pt x="445" y="129"/>
                    </a:lnTo>
                    <a:lnTo>
                      <a:pt x="445" y="129"/>
                    </a:lnTo>
                    <a:lnTo>
                      <a:pt x="441" y="128"/>
                    </a:lnTo>
                    <a:lnTo>
                      <a:pt x="438" y="127"/>
                    </a:lnTo>
                    <a:lnTo>
                      <a:pt x="435" y="125"/>
                    </a:lnTo>
                    <a:lnTo>
                      <a:pt x="435" y="125"/>
                    </a:lnTo>
                    <a:lnTo>
                      <a:pt x="432" y="119"/>
                    </a:lnTo>
                    <a:lnTo>
                      <a:pt x="431" y="117"/>
                    </a:lnTo>
                    <a:lnTo>
                      <a:pt x="429" y="114"/>
                    </a:lnTo>
                    <a:lnTo>
                      <a:pt x="429" y="114"/>
                    </a:lnTo>
                    <a:lnTo>
                      <a:pt x="428" y="112"/>
                    </a:lnTo>
                    <a:lnTo>
                      <a:pt x="427" y="112"/>
                    </a:lnTo>
                    <a:lnTo>
                      <a:pt x="421" y="115"/>
                    </a:lnTo>
                    <a:lnTo>
                      <a:pt x="421" y="115"/>
                    </a:lnTo>
                    <a:lnTo>
                      <a:pt x="418" y="115"/>
                    </a:lnTo>
                    <a:lnTo>
                      <a:pt x="414" y="115"/>
                    </a:lnTo>
                    <a:lnTo>
                      <a:pt x="408" y="114"/>
                    </a:lnTo>
                    <a:lnTo>
                      <a:pt x="402" y="115"/>
                    </a:lnTo>
                    <a:lnTo>
                      <a:pt x="402" y="115"/>
                    </a:lnTo>
                    <a:lnTo>
                      <a:pt x="397" y="119"/>
                    </a:lnTo>
                    <a:lnTo>
                      <a:pt x="394" y="122"/>
                    </a:lnTo>
                    <a:lnTo>
                      <a:pt x="391" y="124"/>
                    </a:lnTo>
                    <a:lnTo>
                      <a:pt x="388" y="125"/>
                    </a:lnTo>
                    <a:lnTo>
                      <a:pt x="388" y="125"/>
                    </a:lnTo>
                    <a:lnTo>
                      <a:pt x="387" y="125"/>
                    </a:lnTo>
                    <a:lnTo>
                      <a:pt x="385" y="127"/>
                    </a:lnTo>
                    <a:lnTo>
                      <a:pt x="382" y="131"/>
                    </a:lnTo>
                    <a:lnTo>
                      <a:pt x="382" y="131"/>
                    </a:lnTo>
                    <a:lnTo>
                      <a:pt x="378" y="135"/>
                    </a:lnTo>
                    <a:lnTo>
                      <a:pt x="374" y="138"/>
                    </a:lnTo>
                    <a:lnTo>
                      <a:pt x="374" y="138"/>
                    </a:lnTo>
                    <a:lnTo>
                      <a:pt x="370" y="139"/>
                    </a:lnTo>
                    <a:lnTo>
                      <a:pt x="367" y="141"/>
                    </a:lnTo>
                    <a:lnTo>
                      <a:pt x="367" y="141"/>
                    </a:lnTo>
                    <a:lnTo>
                      <a:pt x="368" y="146"/>
                    </a:lnTo>
                    <a:lnTo>
                      <a:pt x="368" y="151"/>
                    </a:lnTo>
                    <a:lnTo>
                      <a:pt x="368" y="155"/>
                    </a:lnTo>
                    <a:lnTo>
                      <a:pt x="368" y="155"/>
                    </a:lnTo>
                    <a:lnTo>
                      <a:pt x="365" y="156"/>
                    </a:lnTo>
                    <a:lnTo>
                      <a:pt x="361" y="156"/>
                    </a:lnTo>
                    <a:lnTo>
                      <a:pt x="357" y="156"/>
                    </a:lnTo>
                    <a:lnTo>
                      <a:pt x="353" y="156"/>
                    </a:lnTo>
                    <a:lnTo>
                      <a:pt x="353" y="156"/>
                    </a:lnTo>
                    <a:lnTo>
                      <a:pt x="347" y="158"/>
                    </a:lnTo>
                    <a:lnTo>
                      <a:pt x="344" y="156"/>
                    </a:lnTo>
                    <a:lnTo>
                      <a:pt x="341" y="155"/>
                    </a:lnTo>
                    <a:lnTo>
                      <a:pt x="337" y="155"/>
                    </a:lnTo>
                    <a:lnTo>
                      <a:pt x="337" y="155"/>
                    </a:lnTo>
                    <a:lnTo>
                      <a:pt x="334" y="155"/>
                    </a:lnTo>
                    <a:lnTo>
                      <a:pt x="331" y="155"/>
                    </a:lnTo>
                    <a:lnTo>
                      <a:pt x="328" y="154"/>
                    </a:lnTo>
                    <a:lnTo>
                      <a:pt x="326" y="154"/>
                    </a:lnTo>
                    <a:lnTo>
                      <a:pt x="326" y="154"/>
                    </a:lnTo>
                    <a:lnTo>
                      <a:pt x="324" y="152"/>
                    </a:lnTo>
                    <a:lnTo>
                      <a:pt x="323" y="149"/>
                    </a:lnTo>
                    <a:lnTo>
                      <a:pt x="321" y="146"/>
                    </a:lnTo>
                    <a:lnTo>
                      <a:pt x="321" y="142"/>
                    </a:lnTo>
                    <a:lnTo>
                      <a:pt x="321" y="142"/>
                    </a:lnTo>
                    <a:lnTo>
                      <a:pt x="321" y="138"/>
                    </a:lnTo>
                    <a:lnTo>
                      <a:pt x="320" y="135"/>
                    </a:lnTo>
                    <a:lnTo>
                      <a:pt x="318" y="132"/>
                    </a:lnTo>
                    <a:lnTo>
                      <a:pt x="316" y="134"/>
                    </a:lnTo>
                    <a:lnTo>
                      <a:pt x="316" y="134"/>
                    </a:lnTo>
                    <a:lnTo>
                      <a:pt x="314" y="136"/>
                    </a:lnTo>
                    <a:lnTo>
                      <a:pt x="311" y="136"/>
                    </a:lnTo>
                    <a:lnTo>
                      <a:pt x="310" y="138"/>
                    </a:lnTo>
                    <a:lnTo>
                      <a:pt x="310" y="142"/>
                    </a:lnTo>
                    <a:lnTo>
                      <a:pt x="310" y="142"/>
                    </a:lnTo>
                    <a:lnTo>
                      <a:pt x="311" y="151"/>
                    </a:lnTo>
                    <a:lnTo>
                      <a:pt x="311" y="155"/>
                    </a:lnTo>
                    <a:lnTo>
                      <a:pt x="309" y="158"/>
                    </a:lnTo>
                    <a:lnTo>
                      <a:pt x="309" y="158"/>
                    </a:lnTo>
                    <a:lnTo>
                      <a:pt x="304" y="161"/>
                    </a:lnTo>
                    <a:lnTo>
                      <a:pt x="296" y="162"/>
                    </a:lnTo>
                    <a:lnTo>
                      <a:pt x="287" y="162"/>
                    </a:lnTo>
                    <a:lnTo>
                      <a:pt x="281" y="161"/>
                    </a:lnTo>
                    <a:lnTo>
                      <a:pt x="281" y="161"/>
                    </a:lnTo>
                    <a:lnTo>
                      <a:pt x="277" y="158"/>
                    </a:lnTo>
                    <a:lnTo>
                      <a:pt x="270" y="156"/>
                    </a:lnTo>
                    <a:lnTo>
                      <a:pt x="263" y="155"/>
                    </a:lnTo>
                    <a:lnTo>
                      <a:pt x="260" y="152"/>
                    </a:lnTo>
                    <a:lnTo>
                      <a:pt x="260" y="152"/>
                    </a:lnTo>
                    <a:lnTo>
                      <a:pt x="257" y="146"/>
                    </a:lnTo>
                    <a:lnTo>
                      <a:pt x="254" y="145"/>
                    </a:lnTo>
                    <a:lnTo>
                      <a:pt x="252" y="144"/>
                    </a:lnTo>
                    <a:lnTo>
                      <a:pt x="252" y="144"/>
                    </a:lnTo>
                    <a:lnTo>
                      <a:pt x="243" y="145"/>
                    </a:lnTo>
                    <a:lnTo>
                      <a:pt x="239" y="146"/>
                    </a:lnTo>
                    <a:lnTo>
                      <a:pt x="236" y="146"/>
                    </a:lnTo>
                    <a:lnTo>
                      <a:pt x="236" y="146"/>
                    </a:lnTo>
                    <a:lnTo>
                      <a:pt x="230" y="142"/>
                    </a:lnTo>
                    <a:lnTo>
                      <a:pt x="226" y="139"/>
                    </a:lnTo>
                    <a:lnTo>
                      <a:pt x="223" y="138"/>
                    </a:lnTo>
                    <a:lnTo>
                      <a:pt x="223" y="138"/>
                    </a:lnTo>
                    <a:lnTo>
                      <a:pt x="216" y="136"/>
                    </a:lnTo>
                    <a:lnTo>
                      <a:pt x="213" y="134"/>
                    </a:lnTo>
                    <a:lnTo>
                      <a:pt x="210" y="132"/>
                    </a:lnTo>
                    <a:lnTo>
                      <a:pt x="210" y="132"/>
                    </a:lnTo>
                    <a:lnTo>
                      <a:pt x="209" y="131"/>
                    </a:lnTo>
                    <a:lnTo>
                      <a:pt x="205" y="129"/>
                    </a:lnTo>
                    <a:lnTo>
                      <a:pt x="200" y="128"/>
                    </a:lnTo>
                    <a:lnTo>
                      <a:pt x="199" y="125"/>
                    </a:lnTo>
                    <a:lnTo>
                      <a:pt x="199" y="125"/>
                    </a:lnTo>
                    <a:lnTo>
                      <a:pt x="196" y="124"/>
                    </a:lnTo>
                    <a:lnTo>
                      <a:pt x="193" y="122"/>
                    </a:lnTo>
                    <a:lnTo>
                      <a:pt x="190" y="121"/>
                    </a:lnTo>
                    <a:lnTo>
                      <a:pt x="190" y="119"/>
                    </a:lnTo>
                    <a:lnTo>
                      <a:pt x="190" y="119"/>
                    </a:lnTo>
                    <a:lnTo>
                      <a:pt x="192" y="114"/>
                    </a:lnTo>
                    <a:lnTo>
                      <a:pt x="193" y="107"/>
                    </a:lnTo>
                    <a:lnTo>
                      <a:pt x="193" y="107"/>
                    </a:lnTo>
                    <a:lnTo>
                      <a:pt x="193" y="105"/>
                    </a:lnTo>
                    <a:lnTo>
                      <a:pt x="196" y="102"/>
                    </a:lnTo>
                    <a:lnTo>
                      <a:pt x="199" y="99"/>
                    </a:lnTo>
                    <a:lnTo>
                      <a:pt x="200" y="97"/>
                    </a:lnTo>
                    <a:lnTo>
                      <a:pt x="200" y="97"/>
                    </a:lnTo>
                    <a:lnTo>
                      <a:pt x="199" y="95"/>
                    </a:lnTo>
                    <a:lnTo>
                      <a:pt x="196" y="92"/>
                    </a:lnTo>
                    <a:lnTo>
                      <a:pt x="193" y="90"/>
                    </a:lnTo>
                    <a:lnTo>
                      <a:pt x="193" y="90"/>
                    </a:lnTo>
                    <a:lnTo>
                      <a:pt x="190" y="87"/>
                    </a:lnTo>
                    <a:lnTo>
                      <a:pt x="188" y="84"/>
                    </a:lnTo>
                    <a:lnTo>
                      <a:pt x="183" y="82"/>
                    </a:lnTo>
                    <a:lnTo>
                      <a:pt x="183" y="82"/>
                    </a:lnTo>
                    <a:lnTo>
                      <a:pt x="180" y="81"/>
                    </a:lnTo>
                    <a:lnTo>
                      <a:pt x="176" y="78"/>
                    </a:lnTo>
                    <a:lnTo>
                      <a:pt x="173" y="74"/>
                    </a:lnTo>
                    <a:lnTo>
                      <a:pt x="171" y="72"/>
                    </a:lnTo>
                    <a:lnTo>
                      <a:pt x="171" y="72"/>
                    </a:lnTo>
                    <a:lnTo>
                      <a:pt x="168" y="71"/>
                    </a:lnTo>
                    <a:lnTo>
                      <a:pt x="166" y="67"/>
                    </a:lnTo>
                    <a:lnTo>
                      <a:pt x="166" y="63"/>
                    </a:lnTo>
                    <a:lnTo>
                      <a:pt x="165" y="60"/>
                    </a:lnTo>
                    <a:lnTo>
                      <a:pt x="165" y="60"/>
                    </a:lnTo>
                    <a:lnTo>
                      <a:pt x="163" y="57"/>
                    </a:lnTo>
                    <a:lnTo>
                      <a:pt x="163" y="54"/>
                    </a:lnTo>
                    <a:lnTo>
                      <a:pt x="166" y="53"/>
                    </a:lnTo>
                    <a:lnTo>
                      <a:pt x="169" y="53"/>
                    </a:lnTo>
                    <a:lnTo>
                      <a:pt x="169" y="53"/>
                    </a:lnTo>
                    <a:lnTo>
                      <a:pt x="172" y="54"/>
                    </a:lnTo>
                    <a:lnTo>
                      <a:pt x="176" y="54"/>
                    </a:lnTo>
                    <a:lnTo>
                      <a:pt x="179" y="51"/>
                    </a:lnTo>
                    <a:lnTo>
                      <a:pt x="179" y="50"/>
                    </a:lnTo>
                    <a:lnTo>
                      <a:pt x="178" y="47"/>
                    </a:lnTo>
                    <a:lnTo>
                      <a:pt x="178" y="47"/>
                    </a:lnTo>
                    <a:lnTo>
                      <a:pt x="172" y="40"/>
                    </a:lnTo>
                    <a:lnTo>
                      <a:pt x="171" y="35"/>
                    </a:lnTo>
                    <a:lnTo>
                      <a:pt x="169" y="33"/>
                    </a:lnTo>
                    <a:lnTo>
                      <a:pt x="169" y="33"/>
                    </a:lnTo>
                    <a:lnTo>
                      <a:pt x="171" y="26"/>
                    </a:lnTo>
                    <a:lnTo>
                      <a:pt x="171" y="21"/>
                    </a:lnTo>
                    <a:lnTo>
                      <a:pt x="171" y="20"/>
                    </a:lnTo>
                    <a:lnTo>
                      <a:pt x="169" y="18"/>
                    </a:lnTo>
                    <a:lnTo>
                      <a:pt x="169" y="18"/>
                    </a:lnTo>
                    <a:lnTo>
                      <a:pt x="162" y="13"/>
                    </a:lnTo>
                    <a:lnTo>
                      <a:pt x="161" y="10"/>
                    </a:lnTo>
                    <a:lnTo>
                      <a:pt x="159" y="7"/>
                    </a:lnTo>
                    <a:lnTo>
                      <a:pt x="159" y="7"/>
                    </a:lnTo>
                    <a:lnTo>
                      <a:pt x="158" y="4"/>
                    </a:lnTo>
                    <a:lnTo>
                      <a:pt x="155" y="1"/>
                    </a:lnTo>
                    <a:lnTo>
                      <a:pt x="153" y="0"/>
                    </a:lnTo>
                    <a:lnTo>
                      <a:pt x="146" y="0"/>
                    </a:lnTo>
                    <a:lnTo>
                      <a:pt x="146" y="0"/>
                    </a:lnTo>
                    <a:lnTo>
                      <a:pt x="145" y="6"/>
                    </a:lnTo>
                    <a:lnTo>
                      <a:pt x="142" y="10"/>
                    </a:lnTo>
                    <a:lnTo>
                      <a:pt x="141" y="11"/>
                    </a:lnTo>
                    <a:lnTo>
                      <a:pt x="141" y="11"/>
                    </a:lnTo>
                    <a:lnTo>
                      <a:pt x="134" y="14"/>
                    </a:lnTo>
                    <a:lnTo>
                      <a:pt x="124" y="18"/>
                    </a:lnTo>
                    <a:lnTo>
                      <a:pt x="124" y="18"/>
                    </a:lnTo>
                    <a:lnTo>
                      <a:pt x="122" y="18"/>
                    </a:lnTo>
                    <a:lnTo>
                      <a:pt x="119" y="18"/>
                    </a:lnTo>
                    <a:lnTo>
                      <a:pt x="114" y="17"/>
                    </a:lnTo>
                    <a:lnTo>
                      <a:pt x="106" y="14"/>
                    </a:lnTo>
                    <a:lnTo>
                      <a:pt x="101" y="14"/>
                    </a:lnTo>
                    <a:lnTo>
                      <a:pt x="101" y="14"/>
                    </a:lnTo>
                    <a:lnTo>
                      <a:pt x="95" y="14"/>
                    </a:lnTo>
                    <a:lnTo>
                      <a:pt x="92" y="17"/>
                    </a:lnTo>
                    <a:lnTo>
                      <a:pt x="91" y="20"/>
                    </a:lnTo>
                    <a:lnTo>
                      <a:pt x="92" y="23"/>
                    </a:lnTo>
                    <a:lnTo>
                      <a:pt x="92" y="23"/>
                    </a:lnTo>
                    <a:lnTo>
                      <a:pt x="94" y="26"/>
                    </a:lnTo>
                    <a:lnTo>
                      <a:pt x="95" y="31"/>
                    </a:lnTo>
                    <a:lnTo>
                      <a:pt x="95" y="38"/>
                    </a:lnTo>
                    <a:lnTo>
                      <a:pt x="95" y="38"/>
                    </a:lnTo>
                    <a:lnTo>
                      <a:pt x="97" y="45"/>
                    </a:lnTo>
                    <a:lnTo>
                      <a:pt x="101" y="51"/>
                    </a:lnTo>
                    <a:lnTo>
                      <a:pt x="102" y="53"/>
                    </a:lnTo>
                    <a:lnTo>
                      <a:pt x="104" y="53"/>
                    </a:lnTo>
                    <a:lnTo>
                      <a:pt x="104" y="53"/>
                    </a:lnTo>
                    <a:lnTo>
                      <a:pt x="108" y="53"/>
                    </a:lnTo>
                    <a:lnTo>
                      <a:pt x="112" y="55"/>
                    </a:lnTo>
                    <a:lnTo>
                      <a:pt x="114" y="58"/>
                    </a:lnTo>
                    <a:lnTo>
                      <a:pt x="114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08" y="61"/>
                    </a:lnTo>
                    <a:lnTo>
                      <a:pt x="106" y="64"/>
                    </a:lnTo>
                    <a:lnTo>
                      <a:pt x="104" y="68"/>
                    </a:lnTo>
                    <a:lnTo>
                      <a:pt x="104" y="72"/>
                    </a:lnTo>
                    <a:lnTo>
                      <a:pt x="104" y="72"/>
                    </a:lnTo>
                    <a:lnTo>
                      <a:pt x="104" y="80"/>
                    </a:lnTo>
                    <a:lnTo>
                      <a:pt x="102" y="82"/>
                    </a:lnTo>
                    <a:lnTo>
                      <a:pt x="101" y="84"/>
                    </a:lnTo>
                    <a:lnTo>
                      <a:pt x="101" y="84"/>
                    </a:lnTo>
                    <a:lnTo>
                      <a:pt x="98" y="84"/>
                    </a:lnTo>
                    <a:lnTo>
                      <a:pt x="95" y="85"/>
                    </a:lnTo>
                    <a:lnTo>
                      <a:pt x="94" y="88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92" y="95"/>
                    </a:lnTo>
                    <a:lnTo>
                      <a:pt x="91" y="97"/>
                    </a:lnTo>
                    <a:lnTo>
                      <a:pt x="88" y="98"/>
                    </a:lnTo>
                    <a:lnTo>
                      <a:pt x="85" y="99"/>
                    </a:lnTo>
                    <a:lnTo>
                      <a:pt x="84" y="101"/>
                    </a:lnTo>
                    <a:lnTo>
                      <a:pt x="84" y="101"/>
                    </a:lnTo>
                    <a:lnTo>
                      <a:pt x="81" y="109"/>
                    </a:lnTo>
                    <a:lnTo>
                      <a:pt x="77" y="118"/>
                    </a:lnTo>
                    <a:lnTo>
                      <a:pt x="77" y="118"/>
                    </a:lnTo>
                    <a:lnTo>
                      <a:pt x="70" y="121"/>
                    </a:lnTo>
                    <a:lnTo>
                      <a:pt x="65" y="122"/>
                    </a:lnTo>
                    <a:lnTo>
                      <a:pt x="64" y="124"/>
                    </a:lnTo>
                    <a:lnTo>
                      <a:pt x="64" y="125"/>
                    </a:lnTo>
                    <a:lnTo>
                      <a:pt x="64" y="125"/>
                    </a:lnTo>
                    <a:lnTo>
                      <a:pt x="62" y="129"/>
                    </a:lnTo>
                    <a:lnTo>
                      <a:pt x="60" y="134"/>
                    </a:lnTo>
                    <a:lnTo>
                      <a:pt x="57" y="136"/>
                    </a:lnTo>
                    <a:lnTo>
                      <a:pt x="55" y="138"/>
                    </a:lnTo>
                    <a:lnTo>
                      <a:pt x="55" y="138"/>
                    </a:lnTo>
                    <a:lnTo>
                      <a:pt x="48" y="136"/>
                    </a:lnTo>
                    <a:lnTo>
                      <a:pt x="45" y="136"/>
                    </a:lnTo>
                    <a:lnTo>
                      <a:pt x="44" y="138"/>
                    </a:lnTo>
                    <a:lnTo>
                      <a:pt x="44" y="138"/>
                    </a:lnTo>
                    <a:lnTo>
                      <a:pt x="42" y="139"/>
                    </a:lnTo>
                    <a:lnTo>
                      <a:pt x="41" y="139"/>
                    </a:lnTo>
                    <a:lnTo>
                      <a:pt x="38" y="138"/>
                    </a:lnTo>
                    <a:lnTo>
                      <a:pt x="34" y="136"/>
                    </a:lnTo>
                    <a:lnTo>
                      <a:pt x="33" y="136"/>
                    </a:lnTo>
                    <a:lnTo>
                      <a:pt x="33" y="136"/>
                    </a:lnTo>
                    <a:lnTo>
                      <a:pt x="25" y="144"/>
                    </a:lnTo>
                    <a:lnTo>
                      <a:pt x="21" y="148"/>
                    </a:lnTo>
                    <a:lnTo>
                      <a:pt x="20" y="152"/>
                    </a:lnTo>
                    <a:lnTo>
                      <a:pt x="20" y="152"/>
                    </a:lnTo>
                    <a:lnTo>
                      <a:pt x="20" y="154"/>
                    </a:lnTo>
                    <a:lnTo>
                      <a:pt x="21" y="155"/>
                    </a:lnTo>
                    <a:lnTo>
                      <a:pt x="25" y="158"/>
                    </a:lnTo>
                    <a:lnTo>
                      <a:pt x="28" y="159"/>
                    </a:lnTo>
                    <a:lnTo>
                      <a:pt x="30" y="162"/>
                    </a:lnTo>
                    <a:lnTo>
                      <a:pt x="30" y="164"/>
                    </a:lnTo>
                    <a:lnTo>
                      <a:pt x="30" y="164"/>
                    </a:lnTo>
                    <a:lnTo>
                      <a:pt x="30" y="168"/>
                    </a:lnTo>
                    <a:lnTo>
                      <a:pt x="33" y="173"/>
                    </a:lnTo>
                    <a:lnTo>
                      <a:pt x="37" y="181"/>
                    </a:lnTo>
                    <a:lnTo>
                      <a:pt x="37" y="181"/>
                    </a:lnTo>
                    <a:lnTo>
                      <a:pt x="42" y="188"/>
                    </a:lnTo>
                    <a:lnTo>
                      <a:pt x="44" y="192"/>
                    </a:lnTo>
                    <a:lnTo>
                      <a:pt x="42" y="195"/>
                    </a:lnTo>
                    <a:lnTo>
                      <a:pt x="42" y="195"/>
                    </a:lnTo>
                    <a:lnTo>
                      <a:pt x="41" y="198"/>
                    </a:lnTo>
                    <a:lnTo>
                      <a:pt x="38" y="198"/>
                    </a:lnTo>
                    <a:lnTo>
                      <a:pt x="31" y="198"/>
                    </a:lnTo>
                    <a:lnTo>
                      <a:pt x="31" y="198"/>
                    </a:lnTo>
                    <a:lnTo>
                      <a:pt x="27" y="198"/>
                    </a:lnTo>
                    <a:lnTo>
                      <a:pt x="24" y="199"/>
                    </a:lnTo>
                    <a:lnTo>
                      <a:pt x="21" y="199"/>
                    </a:lnTo>
                    <a:lnTo>
                      <a:pt x="15" y="199"/>
                    </a:lnTo>
                    <a:lnTo>
                      <a:pt x="15" y="199"/>
                    </a:lnTo>
                    <a:lnTo>
                      <a:pt x="10" y="199"/>
                    </a:lnTo>
                    <a:lnTo>
                      <a:pt x="5" y="200"/>
                    </a:lnTo>
                    <a:lnTo>
                      <a:pt x="1" y="209"/>
                    </a:lnTo>
                    <a:lnTo>
                      <a:pt x="1" y="209"/>
                    </a:lnTo>
                    <a:lnTo>
                      <a:pt x="0" y="210"/>
                    </a:lnTo>
                    <a:lnTo>
                      <a:pt x="0" y="210"/>
                    </a:lnTo>
                    <a:lnTo>
                      <a:pt x="5" y="216"/>
                    </a:lnTo>
                    <a:lnTo>
                      <a:pt x="10" y="220"/>
                    </a:lnTo>
                    <a:lnTo>
                      <a:pt x="14" y="223"/>
                    </a:lnTo>
                    <a:lnTo>
                      <a:pt x="14" y="223"/>
                    </a:lnTo>
                    <a:lnTo>
                      <a:pt x="18" y="225"/>
                    </a:lnTo>
                    <a:lnTo>
                      <a:pt x="21" y="225"/>
                    </a:lnTo>
                    <a:lnTo>
                      <a:pt x="27" y="223"/>
                    </a:lnTo>
                    <a:lnTo>
                      <a:pt x="31" y="222"/>
                    </a:lnTo>
                    <a:lnTo>
                      <a:pt x="31" y="222"/>
                    </a:lnTo>
                    <a:lnTo>
                      <a:pt x="33" y="225"/>
                    </a:lnTo>
                    <a:lnTo>
                      <a:pt x="33" y="225"/>
                    </a:lnTo>
                    <a:lnTo>
                      <a:pt x="31" y="226"/>
                    </a:lnTo>
                    <a:lnTo>
                      <a:pt x="28" y="228"/>
                    </a:lnTo>
                    <a:lnTo>
                      <a:pt x="21" y="230"/>
                    </a:lnTo>
                    <a:lnTo>
                      <a:pt x="14" y="230"/>
                    </a:lnTo>
                    <a:lnTo>
                      <a:pt x="10" y="232"/>
                    </a:lnTo>
                    <a:lnTo>
                      <a:pt x="10" y="232"/>
                    </a:lnTo>
                    <a:lnTo>
                      <a:pt x="13" y="237"/>
                    </a:lnTo>
                    <a:lnTo>
                      <a:pt x="23" y="247"/>
                    </a:lnTo>
                    <a:lnTo>
                      <a:pt x="34" y="256"/>
                    </a:lnTo>
                    <a:lnTo>
                      <a:pt x="40" y="259"/>
                    </a:lnTo>
                    <a:lnTo>
                      <a:pt x="44" y="260"/>
                    </a:lnTo>
                    <a:lnTo>
                      <a:pt x="44" y="260"/>
                    </a:lnTo>
                    <a:lnTo>
                      <a:pt x="48" y="259"/>
                    </a:lnTo>
                    <a:lnTo>
                      <a:pt x="52" y="256"/>
                    </a:lnTo>
                    <a:lnTo>
                      <a:pt x="58" y="252"/>
                    </a:lnTo>
                    <a:lnTo>
                      <a:pt x="61" y="246"/>
                    </a:lnTo>
                    <a:lnTo>
                      <a:pt x="61" y="245"/>
                    </a:lnTo>
                    <a:lnTo>
                      <a:pt x="61" y="243"/>
                    </a:lnTo>
                    <a:lnTo>
                      <a:pt x="61" y="243"/>
                    </a:lnTo>
                    <a:lnTo>
                      <a:pt x="60" y="240"/>
                    </a:lnTo>
                    <a:lnTo>
                      <a:pt x="61" y="237"/>
                    </a:lnTo>
                    <a:lnTo>
                      <a:pt x="64" y="235"/>
                    </a:lnTo>
                    <a:lnTo>
                      <a:pt x="65" y="235"/>
                    </a:lnTo>
                    <a:lnTo>
                      <a:pt x="65" y="235"/>
                    </a:lnTo>
                    <a:lnTo>
                      <a:pt x="67" y="237"/>
                    </a:lnTo>
                    <a:lnTo>
                      <a:pt x="68" y="243"/>
                    </a:lnTo>
                    <a:lnTo>
                      <a:pt x="68" y="247"/>
                    </a:lnTo>
                    <a:lnTo>
                      <a:pt x="70" y="252"/>
                    </a:lnTo>
                    <a:lnTo>
                      <a:pt x="70" y="252"/>
                    </a:lnTo>
                    <a:lnTo>
                      <a:pt x="71" y="255"/>
                    </a:lnTo>
                    <a:lnTo>
                      <a:pt x="72" y="257"/>
                    </a:lnTo>
                    <a:lnTo>
                      <a:pt x="70" y="266"/>
                    </a:lnTo>
                    <a:lnTo>
                      <a:pt x="70" y="266"/>
                    </a:lnTo>
                    <a:lnTo>
                      <a:pt x="70" y="272"/>
                    </a:lnTo>
                    <a:lnTo>
                      <a:pt x="70" y="279"/>
                    </a:lnTo>
                    <a:lnTo>
                      <a:pt x="72" y="293"/>
                    </a:lnTo>
                    <a:lnTo>
                      <a:pt x="72" y="293"/>
                    </a:lnTo>
                    <a:lnTo>
                      <a:pt x="77" y="306"/>
                    </a:lnTo>
                    <a:lnTo>
                      <a:pt x="81" y="321"/>
                    </a:lnTo>
                    <a:lnTo>
                      <a:pt x="81" y="321"/>
                    </a:lnTo>
                    <a:lnTo>
                      <a:pt x="82" y="331"/>
                    </a:lnTo>
                    <a:lnTo>
                      <a:pt x="87" y="343"/>
                    </a:lnTo>
                    <a:lnTo>
                      <a:pt x="91" y="354"/>
                    </a:lnTo>
                    <a:lnTo>
                      <a:pt x="95" y="366"/>
                    </a:lnTo>
                    <a:lnTo>
                      <a:pt x="95" y="366"/>
                    </a:lnTo>
                    <a:lnTo>
                      <a:pt x="99" y="375"/>
                    </a:lnTo>
                    <a:lnTo>
                      <a:pt x="104" y="388"/>
                    </a:lnTo>
                    <a:lnTo>
                      <a:pt x="108" y="400"/>
                    </a:lnTo>
                    <a:lnTo>
                      <a:pt x="111" y="407"/>
                    </a:lnTo>
                    <a:lnTo>
                      <a:pt x="111" y="407"/>
                    </a:lnTo>
                    <a:lnTo>
                      <a:pt x="119" y="421"/>
                    </a:lnTo>
                    <a:lnTo>
                      <a:pt x="124" y="431"/>
                    </a:lnTo>
                    <a:lnTo>
                      <a:pt x="126" y="439"/>
                    </a:lnTo>
                    <a:lnTo>
                      <a:pt x="126" y="439"/>
                    </a:lnTo>
                    <a:lnTo>
                      <a:pt x="126" y="444"/>
                    </a:lnTo>
                    <a:lnTo>
                      <a:pt x="128" y="448"/>
                    </a:lnTo>
                    <a:lnTo>
                      <a:pt x="132" y="457"/>
                    </a:lnTo>
                    <a:lnTo>
                      <a:pt x="138" y="464"/>
                    </a:lnTo>
                    <a:lnTo>
                      <a:pt x="142" y="468"/>
                    </a:lnTo>
                    <a:lnTo>
                      <a:pt x="142" y="468"/>
                    </a:lnTo>
                    <a:lnTo>
                      <a:pt x="145" y="469"/>
                    </a:lnTo>
                    <a:lnTo>
                      <a:pt x="149" y="467"/>
                    </a:lnTo>
                    <a:lnTo>
                      <a:pt x="153" y="464"/>
                    </a:lnTo>
                    <a:lnTo>
                      <a:pt x="156" y="458"/>
                    </a:lnTo>
                    <a:lnTo>
                      <a:pt x="156" y="458"/>
                    </a:lnTo>
                    <a:lnTo>
                      <a:pt x="159" y="454"/>
                    </a:lnTo>
                    <a:lnTo>
                      <a:pt x="165" y="451"/>
                    </a:lnTo>
                    <a:lnTo>
                      <a:pt x="169" y="448"/>
                    </a:lnTo>
                    <a:lnTo>
                      <a:pt x="171" y="445"/>
                    </a:lnTo>
                    <a:lnTo>
                      <a:pt x="172" y="444"/>
                    </a:lnTo>
                    <a:lnTo>
                      <a:pt x="172" y="444"/>
                    </a:lnTo>
                    <a:lnTo>
                      <a:pt x="173" y="437"/>
                    </a:lnTo>
                    <a:lnTo>
                      <a:pt x="175" y="434"/>
                    </a:lnTo>
                    <a:lnTo>
                      <a:pt x="178" y="432"/>
                    </a:lnTo>
                    <a:lnTo>
                      <a:pt x="178" y="432"/>
                    </a:lnTo>
                    <a:lnTo>
                      <a:pt x="180" y="431"/>
                    </a:lnTo>
                    <a:lnTo>
                      <a:pt x="182" y="430"/>
                    </a:lnTo>
                    <a:lnTo>
                      <a:pt x="182" y="421"/>
                    </a:lnTo>
                    <a:lnTo>
                      <a:pt x="182" y="421"/>
                    </a:lnTo>
                    <a:lnTo>
                      <a:pt x="183" y="411"/>
                    </a:lnTo>
                    <a:lnTo>
                      <a:pt x="185" y="405"/>
                    </a:lnTo>
                    <a:lnTo>
                      <a:pt x="186" y="401"/>
                    </a:lnTo>
                    <a:lnTo>
                      <a:pt x="186" y="401"/>
                    </a:lnTo>
                    <a:lnTo>
                      <a:pt x="189" y="395"/>
                    </a:lnTo>
                    <a:lnTo>
                      <a:pt x="190" y="388"/>
                    </a:lnTo>
                    <a:lnTo>
                      <a:pt x="190" y="381"/>
                    </a:lnTo>
                    <a:lnTo>
                      <a:pt x="189" y="375"/>
                    </a:lnTo>
                    <a:lnTo>
                      <a:pt x="189" y="375"/>
                    </a:lnTo>
                    <a:lnTo>
                      <a:pt x="188" y="370"/>
                    </a:lnTo>
                    <a:lnTo>
                      <a:pt x="188" y="366"/>
                    </a:lnTo>
                    <a:lnTo>
                      <a:pt x="190" y="354"/>
                    </a:lnTo>
                    <a:lnTo>
                      <a:pt x="190" y="354"/>
                    </a:lnTo>
                    <a:lnTo>
                      <a:pt x="192" y="346"/>
                    </a:lnTo>
                    <a:lnTo>
                      <a:pt x="193" y="343"/>
                    </a:lnTo>
                    <a:lnTo>
                      <a:pt x="196" y="341"/>
                    </a:lnTo>
                    <a:lnTo>
                      <a:pt x="196" y="341"/>
                    </a:lnTo>
                    <a:lnTo>
                      <a:pt x="200" y="340"/>
                    </a:lnTo>
                    <a:lnTo>
                      <a:pt x="205" y="338"/>
                    </a:lnTo>
                    <a:lnTo>
                      <a:pt x="208" y="334"/>
                    </a:lnTo>
                    <a:lnTo>
                      <a:pt x="212" y="330"/>
                    </a:lnTo>
                    <a:lnTo>
                      <a:pt x="212" y="330"/>
                    </a:lnTo>
                    <a:lnTo>
                      <a:pt x="217" y="326"/>
                    </a:lnTo>
                    <a:lnTo>
                      <a:pt x="225" y="320"/>
                    </a:lnTo>
                    <a:lnTo>
                      <a:pt x="236" y="311"/>
                    </a:lnTo>
                    <a:lnTo>
                      <a:pt x="236" y="311"/>
                    </a:lnTo>
                    <a:lnTo>
                      <a:pt x="250" y="300"/>
                    </a:lnTo>
                    <a:lnTo>
                      <a:pt x="257" y="292"/>
                    </a:lnTo>
                    <a:lnTo>
                      <a:pt x="263" y="284"/>
                    </a:lnTo>
                    <a:lnTo>
                      <a:pt x="263" y="284"/>
                    </a:lnTo>
                    <a:lnTo>
                      <a:pt x="267" y="280"/>
                    </a:lnTo>
                    <a:lnTo>
                      <a:pt x="274" y="276"/>
                    </a:lnTo>
                    <a:lnTo>
                      <a:pt x="281" y="273"/>
                    </a:lnTo>
                    <a:lnTo>
                      <a:pt x="287" y="269"/>
                    </a:lnTo>
                    <a:lnTo>
                      <a:pt x="287" y="269"/>
                    </a:lnTo>
                    <a:lnTo>
                      <a:pt x="290" y="265"/>
                    </a:lnTo>
                    <a:lnTo>
                      <a:pt x="291" y="260"/>
                    </a:lnTo>
                    <a:lnTo>
                      <a:pt x="291" y="252"/>
                    </a:lnTo>
                    <a:lnTo>
                      <a:pt x="291" y="252"/>
                    </a:lnTo>
                    <a:lnTo>
                      <a:pt x="293" y="249"/>
                    </a:lnTo>
                    <a:lnTo>
                      <a:pt x="296" y="247"/>
                    </a:lnTo>
                    <a:lnTo>
                      <a:pt x="304" y="245"/>
                    </a:lnTo>
                    <a:lnTo>
                      <a:pt x="313" y="242"/>
                    </a:lnTo>
                    <a:lnTo>
                      <a:pt x="320" y="242"/>
                    </a:lnTo>
                    <a:lnTo>
                      <a:pt x="320" y="242"/>
                    </a:lnTo>
                    <a:lnTo>
                      <a:pt x="324" y="242"/>
                    </a:lnTo>
                    <a:lnTo>
                      <a:pt x="324" y="242"/>
                    </a:lnTo>
                    <a:lnTo>
                      <a:pt x="324" y="233"/>
                    </a:lnTo>
                    <a:lnTo>
                      <a:pt x="323" y="225"/>
                    </a:lnTo>
                    <a:lnTo>
                      <a:pt x="318" y="212"/>
                    </a:lnTo>
                    <a:lnTo>
                      <a:pt x="318" y="212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98" name="South Korea">
                <a:extLst>
                  <a:ext uri="{FF2B5EF4-FFF2-40B4-BE49-F238E27FC236}">
                    <a16:creationId xmlns:a16="http://schemas.microsoft.com/office/drawing/2014/main" id="{F7CCBE39-F9E3-0F22-D7C4-5758E8BC37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97761" y="3347880"/>
                <a:ext cx="81389" cy="109504"/>
              </a:xfrm>
              <a:custGeom>
                <a:avLst/>
                <a:gdLst/>
                <a:ahLst/>
                <a:cxnLst>
                  <a:cxn ang="0">
                    <a:pos x="11" y="6"/>
                  </a:cxn>
                  <a:cxn ang="0">
                    <a:pos x="11" y="6"/>
                  </a:cxn>
                  <a:cxn ang="0">
                    <a:pos x="1" y="13"/>
                  </a:cxn>
                  <a:cxn ang="0">
                    <a:pos x="1" y="13"/>
                  </a:cxn>
                  <a:cxn ang="0">
                    <a:pos x="4" y="18"/>
                  </a:cxn>
                  <a:cxn ang="0">
                    <a:pos x="4" y="21"/>
                  </a:cxn>
                  <a:cxn ang="0">
                    <a:pos x="7" y="21"/>
                  </a:cxn>
                  <a:cxn ang="0">
                    <a:pos x="7" y="21"/>
                  </a:cxn>
                  <a:cxn ang="0">
                    <a:pos x="9" y="23"/>
                  </a:cxn>
                  <a:cxn ang="0">
                    <a:pos x="9" y="25"/>
                  </a:cxn>
                  <a:cxn ang="0">
                    <a:pos x="8" y="28"/>
                  </a:cxn>
                  <a:cxn ang="0">
                    <a:pos x="5" y="28"/>
                  </a:cxn>
                  <a:cxn ang="0">
                    <a:pos x="5" y="28"/>
                  </a:cxn>
                  <a:cxn ang="0">
                    <a:pos x="4" y="28"/>
                  </a:cxn>
                  <a:cxn ang="0">
                    <a:pos x="2" y="30"/>
                  </a:cxn>
                  <a:cxn ang="0">
                    <a:pos x="1" y="33"/>
                  </a:cxn>
                  <a:cxn ang="0">
                    <a:pos x="2" y="38"/>
                  </a:cxn>
                  <a:cxn ang="0">
                    <a:pos x="5" y="44"/>
                  </a:cxn>
                  <a:cxn ang="0">
                    <a:pos x="5" y="44"/>
                  </a:cxn>
                  <a:cxn ang="0">
                    <a:pos x="5" y="47"/>
                  </a:cxn>
                  <a:cxn ang="0">
                    <a:pos x="5" y="50"/>
                  </a:cxn>
                  <a:cxn ang="0">
                    <a:pos x="2" y="54"/>
                  </a:cxn>
                  <a:cxn ang="0">
                    <a:pos x="0" y="60"/>
                  </a:cxn>
                  <a:cxn ang="0">
                    <a:pos x="0" y="61"/>
                  </a:cxn>
                  <a:cxn ang="0">
                    <a:pos x="0" y="62"/>
                  </a:cxn>
                  <a:cxn ang="0">
                    <a:pos x="0" y="62"/>
                  </a:cxn>
                  <a:cxn ang="0">
                    <a:pos x="1" y="65"/>
                  </a:cxn>
                  <a:cxn ang="0">
                    <a:pos x="1" y="68"/>
                  </a:cxn>
                  <a:cxn ang="0">
                    <a:pos x="1" y="71"/>
                  </a:cxn>
                  <a:cxn ang="0">
                    <a:pos x="2" y="74"/>
                  </a:cxn>
                  <a:cxn ang="0">
                    <a:pos x="2" y="74"/>
                  </a:cxn>
                  <a:cxn ang="0">
                    <a:pos x="7" y="74"/>
                  </a:cxn>
                  <a:cxn ang="0">
                    <a:pos x="15" y="72"/>
                  </a:cxn>
                  <a:cxn ang="0">
                    <a:pos x="24" y="70"/>
                  </a:cxn>
                  <a:cxn ang="0">
                    <a:pos x="29" y="67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38" y="58"/>
                  </a:cxn>
                  <a:cxn ang="0">
                    <a:pos x="42" y="57"/>
                  </a:cxn>
                  <a:cxn ang="0">
                    <a:pos x="45" y="57"/>
                  </a:cxn>
                  <a:cxn ang="0">
                    <a:pos x="48" y="57"/>
                  </a:cxn>
                  <a:cxn ang="0">
                    <a:pos x="48" y="57"/>
                  </a:cxn>
                  <a:cxn ang="0">
                    <a:pos x="51" y="57"/>
                  </a:cxn>
                  <a:cxn ang="0">
                    <a:pos x="54" y="55"/>
                  </a:cxn>
                  <a:cxn ang="0">
                    <a:pos x="55" y="52"/>
                  </a:cxn>
                  <a:cxn ang="0">
                    <a:pos x="55" y="50"/>
                  </a:cxn>
                  <a:cxn ang="0">
                    <a:pos x="55" y="50"/>
                  </a:cxn>
                  <a:cxn ang="0">
                    <a:pos x="54" y="47"/>
                  </a:cxn>
                  <a:cxn ang="0">
                    <a:pos x="52" y="41"/>
                  </a:cxn>
                  <a:cxn ang="0">
                    <a:pos x="51" y="34"/>
                  </a:cxn>
                  <a:cxn ang="0">
                    <a:pos x="51" y="27"/>
                  </a:cxn>
                  <a:cxn ang="0">
                    <a:pos x="51" y="27"/>
                  </a:cxn>
                  <a:cxn ang="0">
                    <a:pos x="49" y="21"/>
                  </a:cxn>
                  <a:cxn ang="0">
                    <a:pos x="45" y="14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9" y="3"/>
                  </a:cxn>
                  <a:cxn ang="0">
                    <a:pos x="25" y="3"/>
                  </a:cxn>
                  <a:cxn ang="0">
                    <a:pos x="25" y="3"/>
                  </a:cxn>
                  <a:cxn ang="0">
                    <a:pos x="17" y="4"/>
                  </a:cxn>
                  <a:cxn ang="0">
                    <a:pos x="14" y="4"/>
                  </a:cxn>
                  <a:cxn ang="0">
                    <a:pos x="11" y="6"/>
                  </a:cxn>
                  <a:cxn ang="0">
                    <a:pos x="11" y="6"/>
                  </a:cxn>
                </a:cxnLst>
                <a:rect l="0" t="0" r="r" b="b"/>
                <a:pathLst>
                  <a:path w="55" h="74">
                    <a:moveTo>
                      <a:pt x="11" y="6"/>
                    </a:moveTo>
                    <a:lnTo>
                      <a:pt x="11" y="6"/>
                    </a:lnTo>
                    <a:lnTo>
                      <a:pt x="1" y="13"/>
                    </a:lnTo>
                    <a:lnTo>
                      <a:pt x="1" y="13"/>
                    </a:lnTo>
                    <a:lnTo>
                      <a:pt x="4" y="18"/>
                    </a:lnTo>
                    <a:lnTo>
                      <a:pt x="4" y="21"/>
                    </a:lnTo>
                    <a:lnTo>
                      <a:pt x="7" y="21"/>
                    </a:lnTo>
                    <a:lnTo>
                      <a:pt x="7" y="21"/>
                    </a:lnTo>
                    <a:lnTo>
                      <a:pt x="9" y="23"/>
                    </a:lnTo>
                    <a:lnTo>
                      <a:pt x="9" y="25"/>
                    </a:lnTo>
                    <a:lnTo>
                      <a:pt x="8" y="28"/>
                    </a:lnTo>
                    <a:lnTo>
                      <a:pt x="5" y="28"/>
                    </a:lnTo>
                    <a:lnTo>
                      <a:pt x="5" y="28"/>
                    </a:lnTo>
                    <a:lnTo>
                      <a:pt x="4" y="28"/>
                    </a:lnTo>
                    <a:lnTo>
                      <a:pt x="2" y="30"/>
                    </a:lnTo>
                    <a:lnTo>
                      <a:pt x="1" y="33"/>
                    </a:lnTo>
                    <a:lnTo>
                      <a:pt x="2" y="38"/>
                    </a:lnTo>
                    <a:lnTo>
                      <a:pt x="5" y="44"/>
                    </a:lnTo>
                    <a:lnTo>
                      <a:pt x="5" y="44"/>
                    </a:lnTo>
                    <a:lnTo>
                      <a:pt x="5" y="47"/>
                    </a:lnTo>
                    <a:lnTo>
                      <a:pt x="5" y="50"/>
                    </a:lnTo>
                    <a:lnTo>
                      <a:pt x="2" y="54"/>
                    </a:lnTo>
                    <a:lnTo>
                      <a:pt x="0" y="60"/>
                    </a:lnTo>
                    <a:lnTo>
                      <a:pt x="0" y="61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1" y="65"/>
                    </a:lnTo>
                    <a:lnTo>
                      <a:pt x="1" y="68"/>
                    </a:lnTo>
                    <a:lnTo>
                      <a:pt x="1" y="71"/>
                    </a:lnTo>
                    <a:lnTo>
                      <a:pt x="2" y="74"/>
                    </a:lnTo>
                    <a:lnTo>
                      <a:pt x="2" y="74"/>
                    </a:lnTo>
                    <a:lnTo>
                      <a:pt x="7" y="74"/>
                    </a:lnTo>
                    <a:lnTo>
                      <a:pt x="15" y="72"/>
                    </a:lnTo>
                    <a:lnTo>
                      <a:pt x="24" y="70"/>
                    </a:lnTo>
                    <a:lnTo>
                      <a:pt x="29" y="67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8" y="58"/>
                    </a:lnTo>
                    <a:lnTo>
                      <a:pt x="42" y="57"/>
                    </a:lnTo>
                    <a:lnTo>
                      <a:pt x="45" y="57"/>
                    </a:lnTo>
                    <a:lnTo>
                      <a:pt x="48" y="57"/>
                    </a:lnTo>
                    <a:lnTo>
                      <a:pt x="48" y="57"/>
                    </a:lnTo>
                    <a:lnTo>
                      <a:pt x="51" y="57"/>
                    </a:lnTo>
                    <a:lnTo>
                      <a:pt x="54" y="55"/>
                    </a:lnTo>
                    <a:lnTo>
                      <a:pt x="55" y="52"/>
                    </a:lnTo>
                    <a:lnTo>
                      <a:pt x="55" y="50"/>
                    </a:lnTo>
                    <a:lnTo>
                      <a:pt x="55" y="50"/>
                    </a:lnTo>
                    <a:lnTo>
                      <a:pt x="54" y="47"/>
                    </a:lnTo>
                    <a:lnTo>
                      <a:pt x="52" y="41"/>
                    </a:lnTo>
                    <a:lnTo>
                      <a:pt x="51" y="34"/>
                    </a:lnTo>
                    <a:lnTo>
                      <a:pt x="51" y="27"/>
                    </a:lnTo>
                    <a:lnTo>
                      <a:pt x="51" y="27"/>
                    </a:lnTo>
                    <a:lnTo>
                      <a:pt x="49" y="21"/>
                    </a:lnTo>
                    <a:lnTo>
                      <a:pt x="45" y="1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9" y="3"/>
                    </a:lnTo>
                    <a:lnTo>
                      <a:pt x="25" y="3"/>
                    </a:lnTo>
                    <a:lnTo>
                      <a:pt x="25" y="3"/>
                    </a:lnTo>
                    <a:lnTo>
                      <a:pt x="17" y="4"/>
                    </a:lnTo>
                    <a:lnTo>
                      <a:pt x="14" y="4"/>
                    </a:lnTo>
                    <a:lnTo>
                      <a:pt x="11" y="6"/>
                    </a:lnTo>
                    <a:lnTo>
                      <a:pt x="11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99" name="Japan">
                <a:extLst>
                  <a:ext uri="{FF2B5EF4-FFF2-40B4-BE49-F238E27FC236}">
                    <a16:creationId xmlns:a16="http://schemas.microsoft.com/office/drawing/2014/main" id="{F99F0DCC-DA84-50A8-53EA-53920F4A66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77670" y="3148110"/>
                <a:ext cx="401022" cy="399542"/>
              </a:xfrm>
              <a:custGeom>
                <a:avLst/>
                <a:gdLst/>
                <a:ahLst/>
                <a:cxnLst>
                  <a:cxn ang="0">
                    <a:pos x="246" y="28"/>
                  </a:cxn>
                  <a:cxn ang="0">
                    <a:pos x="213" y="11"/>
                  </a:cxn>
                  <a:cxn ang="0">
                    <a:pos x="196" y="1"/>
                  </a:cxn>
                  <a:cxn ang="0">
                    <a:pos x="197" y="13"/>
                  </a:cxn>
                  <a:cxn ang="0">
                    <a:pos x="192" y="34"/>
                  </a:cxn>
                  <a:cxn ang="0">
                    <a:pos x="186" y="44"/>
                  </a:cxn>
                  <a:cxn ang="0">
                    <a:pos x="170" y="55"/>
                  </a:cxn>
                  <a:cxn ang="0">
                    <a:pos x="167" y="64"/>
                  </a:cxn>
                  <a:cxn ang="0">
                    <a:pos x="169" y="78"/>
                  </a:cxn>
                  <a:cxn ang="0">
                    <a:pos x="185" y="71"/>
                  </a:cxn>
                  <a:cxn ang="0">
                    <a:pos x="175" y="61"/>
                  </a:cxn>
                  <a:cxn ang="0">
                    <a:pos x="183" y="58"/>
                  </a:cxn>
                  <a:cxn ang="0">
                    <a:pos x="212" y="64"/>
                  </a:cxn>
                  <a:cxn ang="0">
                    <a:pos x="223" y="59"/>
                  </a:cxn>
                  <a:cxn ang="0">
                    <a:pos x="246" y="49"/>
                  </a:cxn>
                  <a:cxn ang="0">
                    <a:pos x="254" y="40"/>
                  </a:cxn>
                  <a:cxn ang="0">
                    <a:pos x="271" y="21"/>
                  </a:cxn>
                  <a:cxn ang="0">
                    <a:pos x="257" y="25"/>
                  </a:cxn>
                  <a:cxn ang="0">
                    <a:pos x="165" y="108"/>
                  </a:cxn>
                  <a:cxn ang="0">
                    <a:pos x="165" y="121"/>
                  </a:cxn>
                  <a:cxn ang="0">
                    <a:pos x="157" y="139"/>
                  </a:cxn>
                  <a:cxn ang="0">
                    <a:pos x="143" y="155"/>
                  </a:cxn>
                  <a:cxn ang="0">
                    <a:pos x="125" y="162"/>
                  </a:cxn>
                  <a:cxn ang="0">
                    <a:pos x="118" y="156"/>
                  </a:cxn>
                  <a:cxn ang="0">
                    <a:pos x="111" y="175"/>
                  </a:cxn>
                  <a:cxn ang="0">
                    <a:pos x="102" y="186"/>
                  </a:cxn>
                  <a:cxn ang="0">
                    <a:pos x="92" y="187"/>
                  </a:cxn>
                  <a:cxn ang="0">
                    <a:pos x="68" y="190"/>
                  </a:cxn>
                  <a:cxn ang="0">
                    <a:pos x="49" y="192"/>
                  </a:cxn>
                  <a:cxn ang="0">
                    <a:pos x="19" y="212"/>
                  </a:cxn>
                  <a:cxn ang="0">
                    <a:pos x="29" y="217"/>
                  </a:cxn>
                  <a:cxn ang="0">
                    <a:pos x="58" y="209"/>
                  </a:cxn>
                  <a:cxn ang="0">
                    <a:pos x="91" y="207"/>
                  </a:cxn>
                  <a:cxn ang="0">
                    <a:pos x="91" y="223"/>
                  </a:cxn>
                  <a:cxn ang="0">
                    <a:pos x="115" y="210"/>
                  </a:cxn>
                  <a:cxn ang="0">
                    <a:pos x="118" y="205"/>
                  </a:cxn>
                  <a:cxn ang="0">
                    <a:pos x="139" y="203"/>
                  </a:cxn>
                  <a:cxn ang="0">
                    <a:pos x="150" y="205"/>
                  </a:cxn>
                  <a:cxn ang="0">
                    <a:pos x="160" y="195"/>
                  </a:cxn>
                  <a:cxn ang="0">
                    <a:pos x="175" y="193"/>
                  </a:cxn>
                  <a:cxn ang="0">
                    <a:pos x="179" y="170"/>
                  </a:cxn>
                  <a:cxn ang="0">
                    <a:pos x="183" y="145"/>
                  </a:cxn>
                  <a:cxn ang="0">
                    <a:pos x="199" y="125"/>
                  </a:cxn>
                  <a:cxn ang="0">
                    <a:pos x="189" y="82"/>
                  </a:cxn>
                  <a:cxn ang="0">
                    <a:pos x="65" y="215"/>
                  </a:cxn>
                  <a:cxn ang="0">
                    <a:pos x="45" y="222"/>
                  </a:cxn>
                  <a:cxn ang="0">
                    <a:pos x="51" y="240"/>
                  </a:cxn>
                  <a:cxn ang="0">
                    <a:pos x="62" y="230"/>
                  </a:cxn>
                  <a:cxn ang="0">
                    <a:pos x="78" y="226"/>
                  </a:cxn>
                  <a:cxn ang="0">
                    <a:pos x="74" y="210"/>
                  </a:cxn>
                  <a:cxn ang="0">
                    <a:pos x="32" y="233"/>
                  </a:cxn>
                  <a:cxn ang="0">
                    <a:pos x="22" y="224"/>
                  </a:cxn>
                  <a:cxn ang="0">
                    <a:pos x="7" y="227"/>
                  </a:cxn>
                  <a:cxn ang="0">
                    <a:pos x="5" y="240"/>
                  </a:cxn>
                  <a:cxn ang="0">
                    <a:pos x="12" y="237"/>
                  </a:cxn>
                  <a:cxn ang="0">
                    <a:pos x="14" y="269"/>
                  </a:cxn>
                  <a:cxn ang="0">
                    <a:pos x="27" y="260"/>
                  </a:cxn>
                  <a:cxn ang="0">
                    <a:pos x="37" y="236"/>
                  </a:cxn>
                </a:cxnLst>
                <a:rect l="0" t="0" r="r" b="b"/>
                <a:pathLst>
                  <a:path w="271" h="270">
                    <a:moveTo>
                      <a:pt x="257" y="25"/>
                    </a:moveTo>
                    <a:lnTo>
                      <a:pt x="257" y="25"/>
                    </a:lnTo>
                    <a:lnTo>
                      <a:pt x="256" y="24"/>
                    </a:lnTo>
                    <a:lnTo>
                      <a:pt x="254" y="24"/>
                    </a:lnTo>
                    <a:lnTo>
                      <a:pt x="250" y="25"/>
                    </a:lnTo>
                    <a:lnTo>
                      <a:pt x="246" y="28"/>
                    </a:lnTo>
                    <a:lnTo>
                      <a:pt x="241" y="30"/>
                    </a:lnTo>
                    <a:lnTo>
                      <a:pt x="241" y="30"/>
                    </a:lnTo>
                    <a:lnTo>
                      <a:pt x="237" y="30"/>
                    </a:lnTo>
                    <a:lnTo>
                      <a:pt x="233" y="27"/>
                    </a:lnTo>
                    <a:lnTo>
                      <a:pt x="223" y="21"/>
                    </a:lnTo>
                    <a:lnTo>
                      <a:pt x="213" y="11"/>
                    </a:lnTo>
                    <a:lnTo>
                      <a:pt x="206" y="4"/>
                    </a:lnTo>
                    <a:lnTo>
                      <a:pt x="206" y="4"/>
                    </a:lnTo>
                    <a:lnTo>
                      <a:pt x="203" y="1"/>
                    </a:lnTo>
                    <a:lnTo>
                      <a:pt x="202" y="0"/>
                    </a:lnTo>
                    <a:lnTo>
                      <a:pt x="199" y="0"/>
                    </a:lnTo>
                    <a:lnTo>
                      <a:pt x="196" y="1"/>
                    </a:lnTo>
                    <a:lnTo>
                      <a:pt x="194" y="3"/>
                    </a:lnTo>
                    <a:lnTo>
                      <a:pt x="194" y="4"/>
                    </a:lnTo>
                    <a:lnTo>
                      <a:pt x="194" y="7"/>
                    </a:lnTo>
                    <a:lnTo>
                      <a:pt x="196" y="8"/>
                    </a:lnTo>
                    <a:lnTo>
                      <a:pt x="196" y="8"/>
                    </a:lnTo>
                    <a:lnTo>
                      <a:pt x="197" y="13"/>
                    </a:lnTo>
                    <a:lnTo>
                      <a:pt x="196" y="15"/>
                    </a:lnTo>
                    <a:lnTo>
                      <a:pt x="194" y="20"/>
                    </a:lnTo>
                    <a:lnTo>
                      <a:pt x="194" y="25"/>
                    </a:lnTo>
                    <a:lnTo>
                      <a:pt x="194" y="25"/>
                    </a:lnTo>
                    <a:lnTo>
                      <a:pt x="193" y="30"/>
                    </a:lnTo>
                    <a:lnTo>
                      <a:pt x="192" y="34"/>
                    </a:lnTo>
                    <a:lnTo>
                      <a:pt x="190" y="37"/>
                    </a:lnTo>
                    <a:lnTo>
                      <a:pt x="190" y="40"/>
                    </a:lnTo>
                    <a:lnTo>
                      <a:pt x="190" y="40"/>
                    </a:lnTo>
                    <a:lnTo>
                      <a:pt x="189" y="41"/>
                    </a:lnTo>
                    <a:lnTo>
                      <a:pt x="189" y="42"/>
                    </a:lnTo>
                    <a:lnTo>
                      <a:pt x="186" y="44"/>
                    </a:lnTo>
                    <a:lnTo>
                      <a:pt x="176" y="45"/>
                    </a:lnTo>
                    <a:lnTo>
                      <a:pt x="176" y="45"/>
                    </a:lnTo>
                    <a:lnTo>
                      <a:pt x="173" y="47"/>
                    </a:lnTo>
                    <a:lnTo>
                      <a:pt x="173" y="49"/>
                    </a:lnTo>
                    <a:lnTo>
                      <a:pt x="173" y="52"/>
                    </a:lnTo>
                    <a:lnTo>
                      <a:pt x="170" y="55"/>
                    </a:lnTo>
                    <a:lnTo>
                      <a:pt x="170" y="55"/>
                    </a:lnTo>
                    <a:lnTo>
                      <a:pt x="166" y="57"/>
                    </a:lnTo>
                    <a:lnTo>
                      <a:pt x="165" y="59"/>
                    </a:lnTo>
                    <a:lnTo>
                      <a:pt x="166" y="62"/>
                    </a:lnTo>
                    <a:lnTo>
                      <a:pt x="167" y="64"/>
                    </a:lnTo>
                    <a:lnTo>
                      <a:pt x="167" y="64"/>
                    </a:lnTo>
                    <a:lnTo>
                      <a:pt x="169" y="67"/>
                    </a:lnTo>
                    <a:lnTo>
                      <a:pt x="169" y="69"/>
                    </a:lnTo>
                    <a:lnTo>
                      <a:pt x="167" y="77"/>
                    </a:lnTo>
                    <a:lnTo>
                      <a:pt x="167" y="77"/>
                    </a:lnTo>
                    <a:lnTo>
                      <a:pt x="167" y="78"/>
                    </a:lnTo>
                    <a:lnTo>
                      <a:pt x="169" y="78"/>
                    </a:lnTo>
                    <a:lnTo>
                      <a:pt x="176" y="74"/>
                    </a:lnTo>
                    <a:lnTo>
                      <a:pt x="176" y="74"/>
                    </a:lnTo>
                    <a:lnTo>
                      <a:pt x="177" y="72"/>
                    </a:lnTo>
                    <a:lnTo>
                      <a:pt x="180" y="72"/>
                    </a:lnTo>
                    <a:lnTo>
                      <a:pt x="183" y="72"/>
                    </a:lnTo>
                    <a:lnTo>
                      <a:pt x="185" y="71"/>
                    </a:lnTo>
                    <a:lnTo>
                      <a:pt x="185" y="71"/>
                    </a:lnTo>
                    <a:lnTo>
                      <a:pt x="183" y="69"/>
                    </a:lnTo>
                    <a:lnTo>
                      <a:pt x="183" y="68"/>
                    </a:lnTo>
                    <a:lnTo>
                      <a:pt x="179" y="65"/>
                    </a:lnTo>
                    <a:lnTo>
                      <a:pt x="176" y="62"/>
                    </a:lnTo>
                    <a:lnTo>
                      <a:pt x="175" y="61"/>
                    </a:lnTo>
                    <a:lnTo>
                      <a:pt x="175" y="59"/>
                    </a:lnTo>
                    <a:lnTo>
                      <a:pt x="175" y="59"/>
                    </a:lnTo>
                    <a:lnTo>
                      <a:pt x="175" y="58"/>
                    </a:lnTo>
                    <a:lnTo>
                      <a:pt x="176" y="58"/>
                    </a:lnTo>
                    <a:lnTo>
                      <a:pt x="179" y="58"/>
                    </a:lnTo>
                    <a:lnTo>
                      <a:pt x="183" y="58"/>
                    </a:lnTo>
                    <a:lnTo>
                      <a:pt x="187" y="58"/>
                    </a:lnTo>
                    <a:lnTo>
                      <a:pt x="187" y="58"/>
                    </a:lnTo>
                    <a:lnTo>
                      <a:pt x="193" y="57"/>
                    </a:lnTo>
                    <a:lnTo>
                      <a:pt x="199" y="58"/>
                    </a:lnTo>
                    <a:lnTo>
                      <a:pt x="206" y="59"/>
                    </a:lnTo>
                    <a:lnTo>
                      <a:pt x="212" y="64"/>
                    </a:lnTo>
                    <a:lnTo>
                      <a:pt x="212" y="64"/>
                    </a:lnTo>
                    <a:lnTo>
                      <a:pt x="216" y="67"/>
                    </a:lnTo>
                    <a:lnTo>
                      <a:pt x="219" y="67"/>
                    </a:lnTo>
                    <a:lnTo>
                      <a:pt x="222" y="65"/>
                    </a:lnTo>
                    <a:lnTo>
                      <a:pt x="223" y="59"/>
                    </a:lnTo>
                    <a:lnTo>
                      <a:pt x="223" y="59"/>
                    </a:lnTo>
                    <a:lnTo>
                      <a:pt x="223" y="57"/>
                    </a:lnTo>
                    <a:lnTo>
                      <a:pt x="224" y="55"/>
                    </a:lnTo>
                    <a:lnTo>
                      <a:pt x="230" y="51"/>
                    </a:lnTo>
                    <a:lnTo>
                      <a:pt x="237" y="49"/>
                    </a:lnTo>
                    <a:lnTo>
                      <a:pt x="246" y="49"/>
                    </a:lnTo>
                    <a:lnTo>
                      <a:pt x="246" y="49"/>
                    </a:lnTo>
                    <a:lnTo>
                      <a:pt x="251" y="48"/>
                    </a:lnTo>
                    <a:lnTo>
                      <a:pt x="256" y="47"/>
                    </a:lnTo>
                    <a:lnTo>
                      <a:pt x="256" y="44"/>
                    </a:lnTo>
                    <a:lnTo>
                      <a:pt x="254" y="41"/>
                    </a:lnTo>
                    <a:lnTo>
                      <a:pt x="254" y="41"/>
                    </a:lnTo>
                    <a:lnTo>
                      <a:pt x="254" y="40"/>
                    </a:lnTo>
                    <a:lnTo>
                      <a:pt x="256" y="38"/>
                    </a:lnTo>
                    <a:lnTo>
                      <a:pt x="261" y="32"/>
                    </a:lnTo>
                    <a:lnTo>
                      <a:pt x="268" y="25"/>
                    </a:lnTo>
                    <a:lnTo>
                      <a:pt x="271" y="24"/>
                    </a:lnTo>
                    <a:lnTo>
                      <a:pt x="271" y="21"/>
                    </a:lnTo>
                    <a:lnTo>
                      <a:pt x="271" y="21"/>
                    </a:lnTo>
                    <a:lnTo>
                      <a:pt x="271" y="21"/>
                    </a:lnTo>
                    <a:lnTo>
                      <a:pt x="270" y="21"/>
                    </a:lnTo>
                    <a:lnTo>
                      <a:pt x="266" y="24"/>
                    </a:lnTo>
                    <a:lnTo>
                      <a:pt x="260" y="27"/>
                    </a:lnTo>
                    <a:lnTo>
                      <a:pt x="258" y="27"/>
                    </a:lnTo>
                    <a:lnTo>
                      <a:pt x="257" y="25"/>
                    </a:lnTo>
                    <a:lnTo>
                      <a:pt x="257" y="25"/>
                    </a:lnTo>
                    <a:close/>
                    <a:moveTo>
                      <a:pt x="170" y="91"/>
                    </a:moveTo>
                    <a:lnTo>
                      <a:pt x="170" y="91"/>
                    </a:lnTo>
                    <a:lnTo>
                      <a:pt x="166" y="95"/>
                    </a:lnTo>
                    <a:lnTo>
                      <a:pt x="165" y="101"/>
                    </a:lnTo>
                    <a:lnTo>
                      <a:pt x="165" y="108"/>
                    </a:lnTo>
                    <a:lnTo>
                      <a:pt x="165" y="109"/>
                    </a:lnTo>
                    <a:lnTo>
                      <a:pt x="167" y="112"/>
                    </a:lnTo>
                    <a:lnTo>
                      <a:pt x="167" y="112"/>
                    </a:lnTo>
                    <a:lnTo>
                      <a:pt x="167" y="114"/>
                    </a:lnTo>
                    <a:lnTo>
                      <a:pt x="167" y="116"/>
                    </a:lnTo>
                    <a:lnTo>
                      <a:pt x="165" y="121"/>
                    </a:lnTo>
                    <a:lnTo>
                      <a:pt x="160" y="126"/>
                    </a:lnTo>
                    <a:lnTo>
                      <a:pt x="159" y="131"/>
                    </a:lnTo>
                    <a:lnTo>
                      <a:pt x="159" y="133"/>
                    </a:lnTo>
                    <a:lnTo>
                      <a:pt x="159" y="133"/>
                    </a:lnTo>
                    <a:lnTo>
                      <a:pt x="159" y="136"/>
                    </a:lnTo>
                    <a:lnTo>
                      <a:pt x="157" y="139"/>
                    </a:lnTo>
                    <a:lnTo>
                      <a:pt x="155" y="142"/>
                    </a:lnTo>
                    <a:lnTo>
                      <a:pt x="150" y="145"/>
                    </a:lnTo>
                    <a:lnTo>
                      <a:pt x="149" y="149"/>
                    </a:lnTo>
                    <a:lnTo>
                      <a:pt x="149" y="149"/>
                    </a:lnTo>
                    <a:lnTo>
                      <a:pt x="148" y="153"/>
                    </a:lnTo>
                    <a:lnTo>
                      <a:pt x="143" y="155"/>
                    </a:lnTo>
                    <a:lnTo>
                      <a:pt x="139" y="156"/>
                    </a:lnTo>
                    <a:lnTo>
                      <a:pt x="135" y="160"/>
                    </a:lnTo>
                    <a:lnTo>
                      <a:pt x="135" y="160"/>
                    </a:lnTo>
                    <a:lnTo>
                      <a:pt x="132" y="162"/>
                    </a:lnTo>
                    <a:lnTo>
                      <a:pt x="129" y="163"/>
                    </a:lnTo>
                    <a:lnTo>
                      <a:pt x="125" y="162"/>
                    </a:lnTo>
                    <a:lnTo>
                      <a:pt x="123" y="159"/>
                    </a:lnTo>
                    <a:lnTo>
                      <a:pt x="123" y="155"/>
                    </a:lnTo>
                    <a:lnTo>
                      <a:pt x="123" y="155"/>
                    </a:lnTo>
                    <a:lnTo>
                      <a:pt x="123" y="153"/>
                    </a:lnTo>
                    <a:lnTo>
                      <a:pt x="122" y="153"/>
                    </a:lnTo>
                    <a:lnTo>
                      <a:pt x="118" y="156"/>
                    </a:lnTo>
                    <a:lnTo>
                      <a:pt x="113" y="160"/>
                    </a:lnTo>
                    <a:lnTo>
                      <a:pt x="112" y="165"/>
                    </a:lnTo>
                    <a:lnTo>
                      <a:pt x="112" y="168"/>
                    </a:lnTo>
                    <a:lnTo>
                      <a:pt x="112" y="168"/>
                    </a:lnTo>
                    <a:lnTo>
                      <a:pt x="112" y="172"/>
                    </a:lnTo>
                    <a:lnTo>
                      <a:pt x="111" y="175"/>
                    </a:lnTo>
                    <a:lnTo>
                      <a:pt x="106" y="178"/>
                    </a:lnTo>
                    <a:lnTo>
                      <a:pt x="102" y="180"/>
                    </a:lnTo>
                    <a:lnTo>
                      <a:pt x="101" y="182"/>
                    </a:lnTo>
                    <a:lnTo>
                      <a:pt x="102" y="185"/>
                    </a:lnTo>
                    <a:lnTo>
                      <a:pt x="102" y="185"/>
                    </a:lnTo>
                    <a:lnTo>
                      <a:pt x="102" y="186"/>
                    </a:lnTo>
                    <a:lnTo>
                      <a:pt x="102" y="187"/>
                    </a:lnTo>
                    <a:lnTo>
                      <a:pt x="98" y="189"/>
                    </a:lnTo>
                    <a:lnTo>
                      <a:pt x="93" y="189"/>
                    </a:lnTo>
                    <a:lnTo>
                      <a:pt x="92" y="189"/>
                    </a:lnTo>
                    <a:lnTo>
                      <a:pt x="92" y="187"/>
                    </a:lnTo>
                    <a:lnTo>
                      <a:pt x="92" y="187"/>
                    </a:lnTo>
                    <a:lnTo>
                      <a:pt x="92" y="186"/>
                    </a:lnTo>
                    <a:lnTo>
                      <a:pt x="91" y="185"/>
                    </a:lnTo>
                    <a:lnTo>
                      <a:pt x="86" y="185"/>
                    </a:lnTo>
                    <a:lnTo>
                      <a:pt x="72" y="190"/>
                    </a:lnTo>
                    <a:lnTo>
                      <a:pt x="72" y="190"/>
                    </a:lnTo>
                    <a:lnTo>
                      <a:pt x="68" y="190"/>
                    </a:lnTo>
                    <a:lnTo>
                      <a:pt x="65" y="190"/>
                    </a:lnTo>
                    <a:lnTo>
                      <a:pt x="59" y="190"/>
                    </a:lnTo>
                    <a:lnTo>
                      <a:pt x="54" y="189"/>
                    </a:lnTo>
                    <a:lnTo>
                      <a:pt x="51" y="189"/>
                    </a:lnTo>
                    <a:lnTo>
                      <a:pt x="49" y="192"/>
                    </a:lnTo>
                    <a:lnTo>
                      <a:pt x="49" y="192"/>
                    </a:lnTo>
                    <a:lnTo>
                      <a:pt x="37" y="202"/>
                    </a:lnTo>
                    <a:lnTo>
                      <a:pt x="31" y="207"/>
                    </a:lnTo>
                    <a:lnTo>
                      <a:pt x="24" y="210"/>
                    </a:lnTo>
                    <a:lnTo>
                      <a:pt x="24" y="210"/>
                    </a:lnTo>
                    <a:lnTo>
                      <a:pt x="21" y="210"/>
                    </a:lnTo>
                    <a:lnTo>
                      <a:pt x="19" y="212"/>
                    </a:lnTo>
                    <a:lnTo>
                      <a:pt x="19" y="216"/>
                    </a:lnTo>
                    <a:lnTo>
                      <a:pt x="21" y="219"/>
                    </a:lnTo>
                    <a:lnTo>
                      <a:pt x="22" y="219"/>
                    </a:lnTo>
                    <a:lnTo>
                      <a:pt x="24" y="219"/>
                    </a:lnTo>
                    <a:lnTo>
                      <a:pt x="24" y="219"/>
                    </a:lnTo>
                    <a:lnTo>
                      <a:pt x="29" y="217"/>
                    </a:lnTo>
                    <a:lnTo>
                      <a:pt x="34" y="217"/>
                    </a:lnTo>
                    <a:lnTo>
                      <a:pt x="38" y="217"/>
                    </a:lnTo>
                    <a:lnTo>
                      <a:pt x="42" y="215"/>
                    </a:lnTo>
                    <a:lnTo>
                      <a:pt x="42" y="215"/>
                    </a:lnTo>
                    <a:lnTo>
                      <a:pt x="47" y="212"/>
                    </a:lnTo>
                    <a:lnTo>
                      <a:pt x="58" y="209"/>
                    </a:lnTo>
                    <a:lnTo>
                      <a:pt x="69" y="206"/>
                    </a:lnTo>
                    <a:lnTo>
                      <a:pt x="82" y="205"/>
                    </a:lnTo>
                    <a:lnTo>
                      <a:pt x="82" y="205"/>
                    </a:lnTo>
                    <a:lnTo>
                      <a:pt x="86" y="205"/>
                    </a:lnTo>
                    <a:lnTo>
                      <a:pt x="89" y="206"/>
                    </a:lnTo>
                    <a:lnTo>
                      <a:pt x="91" y="207"/>
                    </a:lnTo>
                    <a:lnTo>
                      <a:pt x="91" y="209"/>
                    </a:lnTo>
                    <a:lnTo>
                      <a:pt x="89" y="213"/>
                    </a:lnTo>
                    <a:lnTo>
                      <a:pt x="89" y="219"/>
                    </a:lnTo>
                    <a:lnTo>
                      <a:pt x="89" y="219"/>
                    </a:lnTo>
                    <a:lnTo>
                      <a:pt x="89" y="222"/>
                    </a:lnTo>
                    <a:lnTo>
                      <a:pt x="91" y="223"/>
                    </a:lnTo>
                    <a:lnTo>
                      <a:pt x="96" y="224"/>
                    </a:lnTo>
                    <a:lnTo>
                      <a:pt x="102" y="223"/>
                    </a:lnTo>
                    <a:lnTo>
                      <a:pt x="108" y="219"/>
                    </a:lnTo>
                    <a:lnTo>
                      <a:pt x="108" y="219"/>
                    </a:lnTo>
                    <a:lnTo>
                      <a:pt x="115" y="212"/>
                    </a:lnTo>
                    <a:lnTo>
                      <a:pt x="115" y="210"/>
                    </a:lnTo>
                    <a:lnTo>
                      <a:pt x="113" y="207"/>
                    </a:lnTo>
                    <a:lnTo>
                      <a:pt x="113" y="207"/>
                    </a:lnTo>
                    <a:lnTo>
                      <a:pt x="111" y="205"/>
                    </a:lnTo>
                    <a:lnTo>
                      <a:pt x="112" y="202"/>
                    </a:lnTo>
                    <a:lnTo>
                      <a:pt x="115" y="202"/>
                    </a:lnTo>
                    <a:lnTo>
                      <a:pt x="118" y="205"/>
                    </a:lnTo>
                    <a:lnTo>
                      <a:pt x="118" y="205"/>
                    </a:lnTo>
                    <a:lnTo>
                      <a:pt x="122" y="209"/>
                    </a:lnTo>
                    <a:lnTo>
                      <a:pt x="128" y="209"/>
                    </a:lnTo>
                    <a:lnTo>
                      <a:pt x="133" y="207"/>
                    </a:lnTo>
                    <a:lnTo>
                      <a:pt x="136" y="206"/>
                    </a:lnTo>
                    <a:lnTo>
                      <a:pt x="139" y="203"/>
                    </a:lnTo>
                    <a:lnTo>
                      <a:pt x="139" y="203"/>
                    </a:lnTo>
                    <a:lnTo>
                      <a:pt x="142" y="200"/>
                    </a:lnTo>
                    <a:lnTo>
                      <a:pt x="143" y="202"/>
                    </a:lnTo>
                    <a:lnTo>
                      <a:pt x="146" y="203"/>
                    </a:lnTo>
                    <a:lnTo>
                      <a:pt x="150" y="205"/>
                    </a:lnTo>
                    <a:lnTo>
                      <a:pt x="150" y="205"/>
                    </a:lnTo>
                    <a:lnTo>
                      <a:pt x="152" y="203"/>
                    </a:lnTo>
                    <a:lnTo>
                      <a:pt x="155" y="202"/>
                    </a:lnTo>
                    <a:lnTo>
                      <a:pt x="157" y="197"/>
                    </a:lnTo>
                    <a:lnTo>
                      <a:pt x="159" y="195"/>
                    </a:lnTo>
                    <a:lnTo>
                      <a:pt x="159" y="193"/>
                    </a:lnTo>
                    <a:lnTo>
                      <a:pt x="160" y="195"/>
                    </a:lnTo>
                    <a:lnTo>
                      <a:pt x="160" y="195"/>
                    </a:lnTo>
                    <a:lnTo>
                      <a:pt x="160" y="196"/>
                    </a:lnTo>
                    <a:lnTo>
                      <a:pt x="162" y="197"/>
                    </a:lnTo>
                    <a:lnTo>
                      <a:pt x="165" y="197"/>
                    </a:lnTo>
                    <a:lnTo>
                      <a:pt x="170" y="196"/>
                    </a:lnTo>
                    <a:lnTo>
                      <a:pt x="175" y="193"/>
                    </a:lnTo>
                    <a:lnTo>
                      <a:pt x="175" y="193"/>
                    </a:lnTo>
                    <a:lnTo>
                      <a:pt x="176" y="190"/>
                    </a:lnTo>
                    <a:lnTo>
                      <a:pt x="177" y="187"/>
                    </a:lnTo>
                    <a:lnTo>
                      <a:pt x="177" y="180"/>
                    </a:lnTo>
                    <a:lnTo>
                      <a:pt x="177" y="175"/>
                    </a:lnTo>
                    <a:lnTo>
                      <a:pt x="179" y="170"/>
                    </a:lnTo>
                    <a:lnTo>
                      <a:pt x="179" y="170"/>
                    </a:lnTo>
                    <a:lnTo>
                      <a:pt x="182" y="165"/>
                    </a:lnTo>
                    <a:lnTo>
                      <a:pt x="185" y="158"/>
                    </a:lnTo>
                    <a:lnTo>
                      <a:pt x="185" y="152"/>
                    </a:lnTo>
                    <a:lnTo>
                      <a:pt x="183" y="145"/>
                    </a:lnTo>
                    <a:lnTo>
                      <a:pt x="183" y="145"/>
                    </a:lnTo>
                    <a:lnTo>
                      <a:pt x="182" y="142"/>
                    </a:lnTo>
                    <a:lnTo>
                      <a:pt x="183" y="141"/>
                    </a:lnTo>
                    <a:lnTo>
                      <a:pt x="186" y="136"/>
                    </a:lnTo>
                    <a:lnTo>
                      <a:pt x="197" y="128"/>
                    </a:lnTo>
                    <a:lnTo>
                      <a:pt x="197" y="128"/>
                    </a:lnTo>
                    <a:lnTo>
                      <a:pt x="199" y="125"/>
                    </a:lnTo>
                    <a:lnTo>
                      <a:pt x="199" y="119"/>
                    </a:lnTo>
                    <a:lnTo>
                      <a:pt x="196" y="108"/>
                    </a:lnTo>
                    <a:lnTo>
                      <a:pt x="192" y="95"/>
                    </a:lnTo>
                    <a:lnTo>
                      <a:pt x="190" y="85"/>
                    </a:lnTo>
                    <a:lnTo>
                      <a:pt x="190" y="85"/>
                    </a:lnTo>
                    <a:lnTo>
                      <a:pt x="189" y="82"/>
                    </a:lnTo>
                    <a:lnTo>
                      <a:pt x="187" y="82"/>
                    </a:lnTo>
                    <a:lnTo>
                      <a:pt x="182" y="84"/>
                    </a:lnTo>
                    <a:lnTo>
                      <a:pt x="170" y="91"/>
                    </a:lnTo>
                    <a:lnTo>
                      <a:pt x="170" y="91"/>
                    </a:lnTo>
                    <a:close/>
                    <a:moveTo>
                      <a:pt x="65" y="215"/>
                    </a:moveTo>
                    <a:lnTo>
                      <a:pt x="65" y="215"/>
                    </a:lnTo>
                    <a:lnTo>
                      <a:pt x="64" y="216"/>
                    </a:lnTo>
                    <a:lnTo>
                      <a:pt x="59" y="217"/>
                    </a:lnTo>
                    <a:lnTo>
                      <a:pt x="51" y="219"/>
                    </a:lnTo>
                    <a:lnTo>
                      <a:pt x="51" y="219"/>
                    </a:lnTo>
                    <a:lnTo>
                      <a:pt x="48" y="219"/>
                    </a:lnTo>
                    <a:lnTo>
                      <a:pt x="45" y="222"/>
                    </a:lnTo>
                    <a:lnTo>
                      <a:pt x="44" y="229"/>
                    </a:lnTo>
                    <a:lnTo>
                      <a:pt x="45" y="236"/>
                    </a:lnTo>
                    <a:lnTo>
                      <a:pt x="47" y="239"/>
                    </a:lnTo>
                    <a:lnTo>
                      <a:pt x="48" y="240"/>
                    </a:lnTo>
                    <a:lnTo>
                      <a:pt x="48" y="240"/>
                    </a:lnTo>
                    <a:lnTo>
                      <a:pt x="51" y="240"/>
                    </a:lnTo>
                    <a:lnTo>
                      <a:pt x="54" y="240"/>
                    </a:lnTo>
                    <a:lnTo>
                      <a:pt x="55" y="239"/>
                    </a:lnTo>
                    <a:lnTo>
                      <a:pt x="56" y="236"/>
                    </a:lnTo>
                    <a:lnTo>
                      <a:pt x="56" y="236"/>
                    </a:lnTo>
                    <a:lnTo>
                      <a:pt x="59" y="232"/>
                    </a:lnTo>
                    <a:lnTo>
                      <a:pt x="62" y="230"/>
                    </a:lnTo>
                    <a:lnTo>
                      <a:pt x="66" y="229"/>
                    </a:lnTo>
                    <a:lnTo>
                      <a:pt x="71" y="230"/>
                    </a:lnTo>
                    <a:lnTo>
                      <a:pt x="71" y="230"/>
                    </a:lnTo>
                    <a:lnTo>
                      <a:pt x="72" y="230"/>
                    </a:lnTo>
                    <a:lnTo>
                      <a:pt x="74" y="230"/>
                    </a:lnTo>
                    <a:lnTo>
                      <a:pt x="78" y="226"/>
                    </a:lnTo>
                    <a:lnTo>
                      <a:pt x="81" y="222"/>
                    </a:lnTo>
                    <a:lnTo>
                      <a:pt x="82" y="216"/>
                    </a:lnTo>
                    <a:lnTo>
                      <a:pt x="82" y="216"/>
                    </a:lnTo>
                    <a:lnTo>
                      <a:pt x="81" y="213"/>
                    </a:lnTo>
                    <a:lnTo>
                      <a:pt x="79" y="212"/>
                    </a:lnTo>
                    <a:lnTo>
                      <a:pt x="74" y="210"/>
                    </a:lnTo>
                    <a:lnTo>
                      <a:pt x="69" y="212"/>
                    </a:lnTo>
                    <a:lnTo>
                      <a:pt x="66" y="212"/>
                    </a:lnTo>
                    <a:lnTo>
                      <a:pt x="65" y="215"/>
                    </a:lnTo>
                    <a:lnTo>
                      <a:pt x="65" y="215"/>
                    </a:lnTo>
                    <a:close/>
                    <a:moveTo>
                      <a:pt x="32" y="233"/>
                    </a:moveTo>
                    <a:lnTo>
                      <a:pt x="32" y="233"/>
                    </a:lnTo>
                    <a:lnTo>
                      <a:pt x="32" y="232"/>
                    </a:lnTo>
                    <a:lnTo>
                      <a:pt x="31" y="230"/>
                    </a:lnTo>
                    <a:lnTo>
                      <a:pt x="27" y="229"/>
                    </a:lnTo>
                    <a:lnTo>
                      <a:pt x="24" y="227"/>
                    </a:lnTo>
                    <a:lnTo>
                      <a:pt x="22" y="226"/>
                    </a:lnTo>
                    <a:lnTo>
                      <a:pt x="22" y="224"/>
                    </a:lnTo>
                    <a:lnTo>
                      <a:pt x="22" y="224"/>
                    </a:lnTo>
                    <a:lnTo>
                      <a:pt x="19" y="222"/>
                    </a:lnTo>
                    <a:lnTo>
                      <a:pt x="17" y="223"/>
                    </a:lnTo>
                    <a:lnTo>
                      <a:pt x="12" y="224"/>
                    </a:lnTo>
                    <a:lnTo>
                      <a:pt x="7" y="227"/>
                    </a:lnTo>
                    <a:lnTo>
                      <a:pt x="7" y="227"/>
                    </a:lnTo>
                    <a:lnTo>
                      <a:pt x="0" y="233"/>
                    </a:lnTo>
                    <a:lnTo>
                      <a:pt x="0" y="236"/>
                    </a:lnTo>
                    <a:lnTo>
                      <a:pt x="1" y="239"/>
                    </a:lnTo>
                    <a:lnTo>
                      <a:pt x="1" y="239"/>
                    </a:lnTo>
                    <a:lnTo>
                      <a:pt x="2" y="242"/>
                    </a:lnTo>
                    <a:lnTo>
                      <a:pt x="5" y="240"/>
                    </a:lnTo>
                    <a:lnTo>
                      <a:pt x="8" y="237"/>
                    </a:lnTo>
                    <a:lnTo>
                      <a:pt x="10" y="234"/>
                    </a:lnTo>
                    <a:lnTo>
                      <a:pt x="10" y="234"/>
                    </a:lnTo>
                    <a:lnTo>
                      <a:pt x="10" y="233"/>
                    </a:lnTo>
                    <a:lnTo>
                      <a:pt x="11" y="233"/>
                    </a:lnTo>
                    <a:lnTo>
                      <a:pt x="12" y="237"/>
                    </a:lnTo>
                    <a:lnTo>
                      <a:pt x="14" y="243"/>
                    </a:lnTo>
                    <a:lnTo>
                      <a:pt x="12" y="250"/>
                    </a:lnTo>
                    <a:lnTo>
                      <a:pt x="12" y="250"/>
                    </a:lnTo>
                    <a:lnTo>
                      <a:pt x="10" y="257"/>
                    </a:lnTo>
                    <a:lnTo>
                      <a:pt x="11" y="264"/>
                    </a:lnTo>
                    <a:lnTo>
                      <a:pt x="14" y="269"/>
                    </a:lnTo>
                    <a:lnTo>
                      <a:pt x="15" y="270"/>
                    </a:lnTo>
                    <a:lnTo>
                      <a:pt x="18" y="270"/>
                    </a:lnTo>
                    <a:lnTo>
                      <a:pt x="18" y="270"/>
                    </a:lnTo>
                    <a:lnTo>
                      <a:pt x="19" y="269"/>
                    </a:lnTo>
                    <a:lnTo>
                      <a:pt x="22" y="267"/>
                    </a:lnTo>
                    <a:lnTo>
                      <a:pt x="27" y="260"/>
                    </a:lnTo>
                    <a:lnTo>
                      <a:pt x="31" y="250"/>
                    </a:lnTo>
                    <a:lnTo>
                      <a:pt x="37" y="243"/>
                    </a:lnTo>
                    <a:lnTo>
                      <a:pt x="37" y="243"/>
                    </a:lnTo>
                    <a:lnTo>
                      <a:pt x="38" y="239"/>
                    </a:lnTo>
                    <a:lnTo>
                      <a:pt x="38" y="237"/>
                    </a:lnTo>
                    <a:lnTo>
                      <a:pt x="37" y="236"/>
                    </a:lnTo>
                    <a:lnTo>
                      <a:pt x="34" y="234"/>
                    </a:lnTo>
                    <a:lnTo>
                      <a:pt x="32" y="234"/>
                    </a:lnTo>
                    <a:lnTo>
                      <a:pt x="32" y="233"/>
                    </a:lnTo>
                    <a:lnTo>
                      <a:pt x="32" y="233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00" name="Papua New Guinea">
                <a:extLst>
                  <a:ext uri="{FF2B5EF4-FFF2-40B4-BE49-F238E27FC236}">
                    <a16:creationId xmlns:a16="http://schemas.microsoft.com/office/drawing/2014/main" id="{73F5FD6F-217F-F206-BE4C-C68B7B6FDA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44031" y="4380769"/>
                <a:ext cx="294478" cy="192372"/>
              </a:xfrm>
              <a:custGeom>
                <a:avLst/>
                <a:gdLst/>
                <a:ahLst/>
                <a:cxnLst>
                  <a:cxn ang="0">
                    <a:pos x="140" y="116"/>
                  </a:cxn>
                  <a:cxn ang="0">
                    <a:pos x="135" y="110"/>
                  </a:cxn>
                  <a:cxn ang="0">
                    <a:pos x="130" y="106"/>
                  </a:cxn>
                  <a:cxn ang="0">
                    <a:pos x="120" y="101"/>
                  </a:cxn>
                  <a:cxn ang="0">
                    <a:pos x="114" y="91"/>
                  </a:cxn>
                  <a:cxn ang="0">
                    <a:pos x="108" y="80"/>
                  </a:cxn>
                  <a:cxn ang="0">
                    <a:pos x="100" y="73"/>
                  </a:cxn>
                  <a:cxn ang="0">
                    <a:pos x="101" y="67"/>
                  </a:cxn>
                  <a:cxn ang="0">
                    <a:pos x="108" y="67"/>
                  </a:cxn>
                  <a:cxn ang="0">
                    <a:pos x="107" y="57"/>
                  </a:cxn>
                  <a:cxn ang="0">
                    <a:pos x="100" y="53"/>
                  </a:cxn>
                  <a:cxn ang="0">
                    <a:pos x="77" y="42"/>
                  </a:cxn>
                  <a:cxn ang="0">
                    <a:pos x="73" y="36"/>
                  </a:cxn>
                  <a:cxn ang="0">
                    <a:pos x="30" y="10"/>
                  </a:cxn>
                  <a:cxn ang="0">
                    <a:pos x="0" y="0"/>
                  </a:cxn>
                  <a:cxn ang="0">
                    <a:pos x="7" y="106"/>
                  </a:cxn>
                  <a:cxn ang="0">
                    <a:pos x="24" y="107"/>
                  </a:cxn>
                  <a:cxn ang="0">
                    <a:pos x="34" y="103"/>
                  </a:cxn>
                  <a:cxn ang="0">
                    <a:pos x="37" y="97"/>
                  </a:cxn>
                  <a:cxn ang="0">
                    <a:pos x="42" y="93"/>
                  </a:cxn>
                  <a:cxn ang="0">
                    <a:pos x="49" y="84"/>
                  </a:cxn>
                  <a:cxn ang="0">
                    <a:pos x="71" y="87"/>
                  </a:cxn>
                  <a:cxn ang="0">
                    <a:pos x="88" y="101"/>
                  </a:cxn>
                  <a:cxn ang="0">
                    <a:pos x="111" y="124"/>
                  </a:cxn>
                  <a:cxn ang="0">
                    <a:pos x="120" y="124"/>
                  </a:cxn>
                  <a:cxn ang="0">
                    <a:pos x="141" y="128"/>
                  </a:cxn>
                  <a:cxn ang="0">
                    <a:pos x="152" y="130"/>
                  </a:cxn>
                  <a:cxn ang="0">
                    <a:pos x="152" y="126"/>
                  </a:cxn>
                  <a:cxn ang="0">
                    <a:pos x="147" y="120"/>
                  </a:cxn>
                  <a:cxn ang="0">
                    <a:pos x="172" y="39"/>
                  </a:cxn>
                  <a:cxn ang="0">
                    <a:pos x="154" y="47"/>
                  </a:cxn>
                  <a:cxn ang="0">
                    <a:pos x="133" y="47"/>
                  </a:cxn>
                  <a:cxn ang="0">
                    <a:pos x="120" y="49"/>
                  </a:cxn>
                  <a:cxn ang="0">
                    <a:pos x="123" y="52"/>
                  </a:cxn>
                  <a:cxn ang="0">
                    <a:pos x="147" y="60"/>
                  </a:cxn>
                  <a:cxn ang="0">
                    <a:pos x="157" y="59"/>
                  </a:cxn>
                  <a:cxn ang="0">
                    <a:pos x="178" y="46"/>
                  </a:cxn>
                  <a:cxn ang="0">
                    <a:pos x="181" y="40"/>
                  </a:cxn>
                  <a:cxn ang="0">
                    <a:pos x="185" y="32"/>
                  </a:cxn>
                  <a:cxn ang="0">
                    <a:pos x="181" y="29"/>
                  </a:cxn>
                  <a:cxn ang="0">
                    <a:pos x="174" y="36"/>
                  </a:cxn>
                  <a:cxn ang="0">
                    <a:pos x="189" y="17"/>
                  </a:cxn>
                  <a:cxn ang="0">
                    <a:pos x="181" y="15"/>
                  </a:cxn>
                  <a:cxn ang="0">
                    <a:pos x="189" y="25"/>
                  </a:cxn>
                  <a:cxn ang="0">
                    <a:pos x="194" y="34"/>
                  </a:cxn>
                  <a:cxn ang="0">
                    <a:pos x="198" y="33"/>
                  </a:cxn>
                  <a:cxn ang="0">
                    <a:pos x="198" y="27"/>
                  </a:cxn>
                  <a:cxn ang="0">
                    <a:pos x="189" y="17"/>
                  </a:cxn>
                </a:cxnLst>
                <a:rect l="0" t="0" r="r" b="b"/>
                <a:pathLst>
                  <a:path w="199" h="130">
                    <a:moveTo>
                      <a:pt x="147" y="120"/>
                    </a:moveTo>
                    <a:lnTo>
                      <a:pt x="147" y="120"/>
                    </a:lnTo>
                    <a:lnTo>
                      <a:pt x="140" y="116"/>
                    </a:lnTo>
                    <a:lnTo>
                      <a:pt x="137" y="113"/>
                    </a:lnTo>
                    <a:lnTo>
                      <a:pt x="135" y="110"/>
                    </a:lnTo>
                    <a:lnTo>
                      <a:pt x="135" y="110"/>
                    </a:lnTo>
                    <a:lnTo>
                      <a:pt x="135" y="108"/>
                    </a:lnTo>
                    <a:lnTo>
                      <a:pt x="134" y="107"/>
                    </a:lnTo>
                    <a:lnTo>
                      <a:pt x="130" y="106"/>
                    </a:lnTo>
                    <a:lnTo>
                      <a:pt x="124" y="104"/>
                    </a:lnTo>
                    <a:lnTo>
                      <a:pt x="120" y="101"/>
                    </a:lnTo>
                    <a:lnTo>
                      <a:pt x="120" y="101"/>
                    </a:lnTo>
                    <a:lnTo>
                      <a:pt x="117" y="100"/>
                    </a:lnTo>
                    <a:lnTo>
                      <a:pt x="115" y="97"/>
                    </a:lnTo>
                    <a:lnTo>
                      <a:pt x="114" y="91"/>
                    </a:lnTo>
                    <a:lnTo>
                      <a:pt x="111" y="84"/>
                    </a:lnTo>
                    <a:lnTo>
                      <a:pt x="110" y="81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3" y="77"/>
                    </a:lnTo>
                    <a:lnTo>
                      <a:pt x="100" y="73"/>
                    </a:lnTo>
                    <a:lnTo>
                      <a:pt x="100" y="70"/>
                    </a:lnTo>
                    <a:lnTo>
                      <a:pt x="100" y="69"/>
                    </a:lnTo>
                    <a:lnTo>
                      <a:pt x="101" y="67"/>
                    </a:lnTo>
                    <a:lnTo>
                      <a:pt x="104" y="67"/>
                    </a:lnTo>
                    <a:lnTo>
                      <a:pt x="104" y="67"/>
                    </a:lnTo>
                    <a:lnTo>
                      <a:pt x="108" y="67"/>
                    </a:lnTo>
                    <a:lnTo>
                      <a:pt x="111" y="64"/>
                    </a:lnTo>
                    <a:lnTo>
                      <a:pt x="111" y="62"/>
                    </a:lnTo>
                    <a:lnTo>
                      <a:pt x="107" y="57"/>
                    </a:lnTo>
                    <a:lnTo>
                      <a:pt x="107" y="57"/>
                    </a:lnTo>
                    <a:lnTo>
                      <a:pt x="104" y="54"/>
                    </a:lnTo>
                    <a:lnTo>
                      <a:pt x="100" y="53"/>
                    </a:lnTo>
                    <a:lnTo>
                      <a:pt x="90" y="49"/>
                    </a:lnTo>
                    <a:lnTo>
                      <a:pt x="80" y="44"/>
                    </a:lnTo>
                    <a:lnTo>
                      <a:pt x="77" y="42"/>
                    </a:lnTo>
                    <a:lnTo>
                      <a:pt x="76" y="39"/>
                    </a:lnTo>
                    <a:lnTo>
                      <a:pt x="76" y="39"/>
                    </a:lnTo>
                    <a:lnTo>
                      <a:pt x="73" y="36"/>
                    </a:lnTo>
                    <a:lnTo>
                      <a:pt x="69" y="30"/>
                    </a:lnTo>
                    <a:lnTo>
                      <a:pt x="50" y="20"/>
                    </a:lnTo>
                    <a:lnTo>
                      <a:pt x="30" y="10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0" y="0"/>
                    </a:lnTo>
                    <a:lnTo>
                      <a:pt x="0" y="103"/>
                    </a:lnTo>
                    <a:lnTo>
                      <a:pt x="0" y="103"/>
                    </a:lnTo>
                    <a:lnTo>
                      <a:pt x="7" y="106"/>
                    </a:lnTo>
                    <a:lnTo>
                      <a:pt x="17" y="108"/>
                    </a:lnTo>
                    <a:lnTo>
                      <a:pt x="17" y="108"/>
                    </a:lnTo>
                    <a:lnTo>
                      <a:pt x="24" y="107"/>
                    </a:lnTo>
                    <a:lnTo>
                      <a:pt x="29" y="107"/>
                    </a:lnTo>
                    <a:lnTo>
                      <a:pt x="32" y="104"/>
                    </a:lnTo>
                    <a:lnTo>
                      <a:pt x="34" y="103"/>
                    </a:lnTo>
                    <a:lnTo>
                      <a:pt x="36" y="98"/>
                    </a:lnTo>
                    <a:lnTo>
                      <a:pt x="36" y="97"/>
                    </a:lnTo>
                    <a:lnTo>
                      <a:pt x="37" y="97"/>
                    </a:lnTo>
                    <a:lnTo>
                      <a:pt x="37" y="97"/>
                    </a:lnTo>
                    <a:lnTo>
                      <a:pt x="40" y="96"/>
                    </a:lnTo>
                    <a:lnTo>
                      <a:pt x="42" y="93"/>
                    </a:lnTo>
                    <a:lnTo>
                      <a:pt x="47" y="86"/>
                    </a:lnTo>
                    <a:lnTo>
                      <a:pt x="47" y="86"/>
                    </a:lnTo>
                    <a:lnTo>
                      <a:pt x="49" y="84"/>
                    </a:lnTo>
                    <a:lnTo>
                      <a:pt x="51" y="83"/>
                    </a:lnTo>
                    <a:lnTo>
                      <a:pt x="61" y="84"/>
                    </a:lnTo>
                    <a:lnTo>
                      <a:pt x="71" y="87"/>
                    </a:lnTo>
                    <a:lnTo>
                      <a:pt x="80" y="93"/>
                    </a:lnTo>
                    <a:lnTo>
                      <a:pt x="80" y="93"/>
                    </a:lnTo>
                    <a:lnTo>
                      <a:pt x="88" y="101"/>
                    </a:lnTo>
                    <a:lnTo>
                      <a:pt x="97" y="113"/>
                    </a:lnTo>
                    <a:lnTo>
                      <a:pt x="107" y="121"/>
                    </a:lnTo>
                    <a:lnTo>
                      <a:pt x="111" y="124"/>
                    </a:lnTo>
                    <a:lnTo>
                      <a:pt x="115" y="124"/>
                    </a:lnTo>
                    <a:lnTo>
                      <a:pt x="115" y="124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33" y="127"/>
                    </a:lnTo>
                    <a:lnTo>
                      <a:pt x="141" y="128"/>
                    </a:lnTo>
                    <a:lnTo>
                      <a:pt x="150" y="130"/>
                    </a:lnTo>
                    <a:lnTo>
                      <a:pt x="150" y="130"/>
                    </a:lnTo>
                    <a:lnTo>
                      <a:pt x="152" y="130"/>
                    </a:lnTo>
                    <a:lnTo>
                      <a:pt x="154" y="128"/>
                    </a:lnTo>
                    <a:lnTo>
                      <a:pt x="154" y="127"/>
                    </a:lnTo>
                    <a:lnTo>
                      <a:pt x="152" y="126"/>
                    </a:lnTo>
                    <a:lnTo>
                      <a:pt x="150" y="123"/>
                    </a:lnTo>
                    <a:lnTo>
                      <a:pt x="147" y="120"/>
                    </a:lnTo>
                    <a:lnTo>
                      <a:pt x="147" y="120"/>
                    </a:lnTo>
                    <a:close/>
                    <a:moveTo>
                      <a:pt x="174" y="36"/>
                    </a:moveTo>
                    <a:lnTo>
                      <a:pt x="174" y="36"/>
                    </a:lnTo>
                    <a:lnTo>
                      <a:pt x="172" y="39"/>
                    </a:lnTo>
                    <a:lnTo>
                      <a:pt x="168" y="42"/>
                    </a:lnTo>
                    <a:lnTo>
                      <a:pt x="154" y="47"/>
                    </a:lnTo>
                    <a:lnTo>
                      <a:pt x="154" y="47"/>
                    </a:lnTo>
                    <a:lnTo>
                      <a:pt x="150" y="49"/>
                    </a:lnTo>
                    <a:lnTo>
                      <a:pt x="144" y="49"/>
                    </a:lnTo>
                    <a:lnTo>
                      <a:pt x="133" y="47"/>
                    </a:lnTo>
                    <a:lnTo>
                      <a:pt x="124" y="46"/>
                    </a:lnTo>
                    <a:lnTo>
                      <a:pt x="121" y="47"/>
                    </a:lnTo>
                    <a:lnTo>
                      <a:pt x="120" y="49"/>
                    </a:lnTo>
                    <a:lnTo>
                      <a:pt x="120" y="49"/>
                    </a:lnTo>
                    <a:lnTo>
                      <a:pt x="121" y="50"/>
                    </a:lnTo>
                    <a:lnTo>
                      <a:pt x="123" y="52"/>
                    </a:lnTo>
                    <a:lnTo>
                      <a:pt x="128" y="56"/>
                    </a:lnTo>
                    <a:lnTo>
                      <a:pt x="137" y="59"/>
                    </a:lnTo>
                    <a:lnTo>
                      <a:pt x="147" y="60"/>
                    </a:lnTo>
                    <a:lnTo>
                      <a:pt x="147" y="60"/>
                    </a:lnTo>
                    <a:lnTo>
                      <a:pt x="151" y="60"/>
                    </a:lnTo>
                    <a:lnTo>
                      <a:pt x="157" y="59"/>
                    </a:lnTo>
                    <a:lnTo>
                      <a:pt x="168" y="53"/>
                    </a:lnTo>
                    <a:lnTo>
                      <a:pt x="175" y="49"/>
                    </a:lnTo>
                    <a:lnTo>
                      <a:pt x="178" y="46"/>
                    </a:lnTo>
                    <a:lnTo>
                      <a:pt x="179" y="44"/>
                    </a:lnTo>
                    <a:lnTo>
                      <a:pt x="179" y="44"/>
                    </a:lnTo>
                    <a:lnTo>
                      <a:pt x="181" y="40"/>
                    </a:lnTo>
                    <a:lnTo>
                      <a:pt x="182" y="37"/>
                    </a:lnTo>
                    <a:lnTo>
                      <a:pt x="185" y="33"/>
                    </a:lnTo>
                    <a:lnTo>
                      <a:pt x="185" y="32"/>
                    </a:lnTo>
                    <a:lnTo>
                      <a:pt x="184" y="30"/>
                    </a:lnTo>
                    <a:lnTo>
                      <a:pt x="184" y="30"/>
                    </a:lnTo>
                    <a:lnTo>
                      <a:pt x="181" y="29"/>
                    </a:lnTo>
                    <a:lnTo>
                      <a:pt x="178" y="30"/>
                    </a:lnTo>
                    <a:lnTo>
                      <a:pt x="175" y="33"/>
                    </a:lnTo>
                    <a:lnTo>
                      <a:pt x="174" y="36"/>
                    </a:lnTo>
                    <a:lnTo>
                      <a:pt x="174" y="36"/>
                    </a:lnTo>
                    <a:close/>
                    <a:moveTo>
                      <a:pt x="189" y="17"/>
                    </a:moveTo>
                    <a:lnTo>
                      <a:pt x="189" y="17"/>
                    </a:lnTo>
                    <a:lnTo>
                      <a:pt x="181" y="13"/>
                    </a:lnTo>
                    <a:lnTo>
                      <a:pt x="181" y="13"/>
                    </a:lnTo>
                    <a:lnTo>
                      <a:pt x="181" y="15"/>
                    </a:lnTo>
                    <a:lnTo>
                      <a:pt x="185" y="19"/>
                    </a:lnTo>
                    <a:lnTo>
                      <a:pt x="185" y="19"/>
                    </a:lnTo>
                    <a:lnTo>
                      <a:pt x="189" y="25"/>
                    </a:lnTo>
                    <a:lnTo>
                      <a:pt x="191" y="30"/>
                    </a:lnTo>
                    <a:lnTo>
                      <a:pt x="192" y="33"/>
                    </a:lnTo>
                    <a:lnTo>
                      <a:pt x="194" y="34"/>
                    </a:lnTo>
                    <a:lnTo>
                      <a:pt x="195" y="34"/>
                    </a:lnTo>
                    <a:lnTo>
                      <a:pt x="195" y="34"/>
                    </a:lnTo>
                    <a:lnTo>
                      <a:pt x="198" y="33"/>
                    </a:lnTo>
                    <a:lnTo>
                      <a:pt x="199" y="32"/>
                    </a:lnTo>
                    <a:lnTo>
                      <a:pt x="199" y="29"/>
                    </a:lnTo>
                    <a:lnTo>
                      <a:pt x="198" y="27"/>
                    </a:lnTo>
                    <a:lnTo>
                      <a:pt x="195" y="22"/>
                    </a:lnTo>
                    <a:lnTo>
                      <a:pt x="189" y="17"/>
                    </a:lnTo>
                    <a:lnTo>
                      <a:pt x="189" y="17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01" name="North Korea">
                <a:extLst>
                  <a:ext uri="{FF2B5EF4-FFF2-40B4-BE49-F238E27FC236}">
                    <a16:creationId xmlns:a16="http://schemas.microsoft.com/office/drawing/2014/main" id="{4B25E9E0-188C-BE1B-A51D-3EA9E0DFA6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5970" y="3219139"/>
                <a:ext cx="164256" cy="152418"/>
              </a:xfrm>
              <a:custGeom>
                <a:avLst/>
                <a:gdLst/>
                <a:ahLst/>
                <a:cxnLst>
                  <a:cxn ang="0">
                    <a:pos x="106" y="4"/>
                  </a:cxn>
                  <a:cxn ang="0">
                    <a:pos x="99" y="3"/>
                  </a:cxn>
                  <a:cxn ang="0">
                    <a:pos x="93" y="0"/>
                  </a:cxn>
                  <a:cxn ang="0">
                    <a:pos x="91" y="0"/>
                  </a:cxn>
                  <a:cxn ang="0">
                    <a:pos x="89" y="6"/>
                  </a:cxn>
                  <a:cxn ang="0">
                    <a:pos x="86" y="11"/>
                  </a:cxn>
                  <a:cxn ang="0">
                    <a:pos x="83" y="11"/>
                  </a:cxn>
                  <a:cxn ang="0">
                    <a:pos x="79" y="16"/>
                  </a:cxn>
                  <a:cxn ang="0">
                    <a:pos x="73" y="20"/>
                  </a:cxn>
                  <a:cxn ang="0">
                    <a:pos x="66" y="21"/>
                  </a:cxn>
                  <a:cxn ang="0">
                    <a:pos x="66" y="27"/>
                  </a:cxn>
                  <a:cxn ang="0">
                    <a:pos x="67" y="29"/>
                  </a:cxn>
                  <a:cxn ang="0">
                    <a:pos x="56" y="30"/>
                  </a:cxn>
                  <a:cxn ang="0">
                    <a:pos x="52" y="29"/>
                  </a:cxn>
                  <a:cxn ang="0">
                    <a:pos x="47" y="26"/>
                  </a:cxn>
                  <a:cxn ang="0">
                    <a:pos x="46" y="26"/>
                  </a:cxn>
                  <a:cxn ang="0">
                    <a:pos x="40" y="30"/>
                  </a:cxn>
                  <a:cxn ang="0">
                    <a:pos x="35" y="37"/>
                  </a:cxn>
                  <a:cxn ang="0">
                    <a:pos x="22" y="46"/>
                  </a:cxn>
                  <a:cxn ang="0">
                    <a:pos x="5" y="53"/>
                  </a:cxn>
                  <a:cxn ang="0">
                    <a:pos x="0" y="60"/>
                  </a:cxn>
                  <a:cxn ang="0">
                    <a:pos x="6" y="61"/>
                  </a:cxn>
                  <a:cxn ang="0">
                    <a:pos x="16" y="67"/>
                  </a:cxn>
                  <a:cxn ang="0">
                    <a:pos x="19" y="70"/>
                  </a:cxn>
                  <a:cxn ang="0">
                    <a:pos x="20" y="74"/>
                  </a:cxn>
                  <a:cxn ang="0">
                    <a:pos x="9" y="87"/>
                  </a:cxn>
                  <a:cxn ang="0">
                    <a:pos x="7" y="90"/>
                  </a:cxn>
                  <a:cxn ang="0">
                    <a:pos x="12" y="94"/>
                  </a:cxn>
                  <a:cxn ang="0">
                    <a:pos x="12" y="97"/>
                  </a:cxn>
                  <a:cxn ang="0">
                    <a:pos x="16" y="101"/>
                  </a:cxn>
                  <a:cxn ang="0">
                    <a:pos x="20" y="101"/>
                  </a:cxn>
                  <a:cxn ang="0">
                    <a:pos x="22" y="98"/>
                  </a:cxn>
                  <a:cxn ang="0">
                    <a:pos x="33" y="98"/>
                  </a:cxn>
                  <a:cxn ang="0">
                    <a:pos x="35" y="98"/>
                  </a:cxn>
                  <a:cxn ang="0">
                    <a:pos x="36" y="100"/>
                  </a:cxn>
                  <a:cxn ang="0">
                    <a:pos x="46" y="93"/>
                  </a:cxn>
                  <a:cxn ang="0">
                    <a:pos x="52" y="91"/>
                  </a:cxn>
                  <a:cxn ang="0">
                    <a:pos x="60" y="90"/>
                  </a:cxn>
                  <a:cxn ang="0">
                    <a:pos x="69" y="87"/>
                  </a:cxn>
                  <a:cxn ang="0">
                    <a:pos x="60" y="78"/>
                  </a:cxn>
                  <a:cxn ang="0">
                    <a:pos x="54" y="74"/>
                  </a:cxn>
                  <a:cxn ang="0">
                    <a:pos x="52" y="70"/>
                  </a:cxn>
                  <a:cxn ang="0">
                    <a:pos x="54" y="61"/>
                  </a:cxn>
                  <a:cxn ang="0">
                    <a:pos x="59" y="60"/>
                  </a:cxn>
                  <a:cxn ang="0">
                    <a:pos x="74" y="51"/>
                  </a:cxn>
                  <a:cxn ang="0">
                    <a:pos x="87" y="43"/>
                  </a:cxn>
                  <a:cxn ang="0">
                    <a:pos x="90" y="34"/>
                  </a:cxn>
                  <a:cxn ang="0">
                    <a:pos x="93" y="23"/>
                  </a:cxn>
                  <a:cxn ang="0">
                    <a:pos x="100" y="14"/>
                  </a:cxn>
                  <a:cxn ang="0">
                    <a:pos x="111" y="6"/>
                  </a:cxn>
                  <a:cxn ang="0">
                    <a:pos x="106" y="4"/>
                  </a:cxn>
                </a:cxnLst>
                <a:rect l="0" t="0" r="r" b="b"/>
                <a:pathLst>
                  <a:path w="111" h="103">
                    <a:moveTo>
                      <a:pt x="106" y="4"/>
                    </a:moveTo>
                    <a:lnTo>
                      <a:pt x="106" y="4"/>
                    </a:lnTo>
                    <a:lnTo>
                      <a:pt x="103" y="4"/>
                    </a:lnTo>
                    <a:lnTo>
                      <a:pt x="99" y="3"/>
                    </a:lnTo>
                    <a:lnTo>
                      <a:pt x="96" y="0"/>
                    </a:lnTo>
                    <a:lnTo>
                      <a:pt x="93" y="0"/>
                    </a:lnTo>
                    <a:lnTo>
                      <a:pt x="93" y="0"/>
                    </a:lnTo>
                    <a:lnTo>
                      <a:pt x="91" y="0"/>
                    </a:lnTo>
                    <a:lnTo>
                      <a:pt x="90" y="1"/>
                    </a:lnTo>
                    <a:lnTo>
                      <a:pt x="89" y="6"/>
                    </a:lnTo>
                    <a:lnTo>
                      <a:pt x="87" y="10"/>
                    </a:lnTo>
                    <a:lnTo>
                      <a:pt x="86" y="11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0" y="13"/>
                    </a:lnTo>
                    <a:lnTo>
                      <a:pt x="79" y="16"/>
                    </a:lnTo>
                    <a:lnTo>
                      <a:pt x="76" y="19"/>
                    </a:lnTo>
                    <a:lnTo>
                      <a:pt x="73" y="20"/>
                    </a:lnTo>
                    <a:lnTo>
                      <a:pt x="73" y="20"/>
                    </a:lnTo>
                    <a:lnTo>
                      <a:pt x="66" y="21"/>
                    </a:lnTo>
                    <a:lnTo>
                      <a:pt x="64" y="23"/>
                    </a:lnTo>
                    <a:lnTo>
                      <a:pt x="66" y="27"/>
                    </a:lnTo>
                    <a:lnTo>
                      <a:pt x="66" y="27"/>
                    </a:lnTo>
                    <a:lnTo>
                      <a:pt x="67" y="29"/>
                    </a:lnTo>
                    <a:lnTo>
                      <a:pt x="64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2" y="29"/>
                    </a:lnTo>
                    <a:lnTo>
                      <a:pt x="50" y="27"/>
                    </a:lnTo>
                    <a:lnTo>
                      <a:pt x="47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3" y="27"/>
                    </a:lnTo>
                    <a:lnTo>
                      <a:pt x="40" y="30"/>
                    </a:lnTo>
                    <a:lnTo>
                      <a:pt x="35" y="37"/>
                    </a:lnTo>
                    <a:lnTo>
                      <a:pt x="35" y="37"/>
                    </a:lnTo>
                    <a:lnTo>
                      <a:pt x="30" y="41"/>
                    </a:lnTo>
                    <a:lnTo>
                      <a:pt x="22" y="46"/>
                    </a:lnTo>
                    <a:lnTo>
                      <a:pt x="5" y="53"/>
                    </a:lnTo>
                    <a:lnTo>
                      <a:pt x="5" y="53"/>
                    </a:lnTo>
                    <a:lnTo>
                      <a:pt x="3" y="56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6" y="61"/>
                    </a:lnTo>
                    <a:lnTo>
                      <a:pt x="12" y="64"/>
                    </a:lnTo>
                    <a:lnTo>
                      <a:pt x="16" y="67"/>
                    </a:lnTo>
                    <a:lnTo>
                      <a:pt x="19" y="70"/>
                    </a:lnTo>
                    <a:lnTo>
                      <a:pt x="19" y="70"/>
                    </a:lnTo>
                    <a:lnTo>
                      <a:pt x="20" y="71"/>
                    </a:lnTo>
                    <a:lnTo>
                      <a:pt x="20" y="74"/>
                    </a:lnTo>
                    <a:lnTo>
                      <a:pt x="17" y="78"/>
                    </a:lnTo>
                    <a:lnTo>
                      <a:pt x="9" y="87"/>
                    </a:lnTo>
                    <a:lnTo>
                      <a:pt x="9" y="87"/>
                    </a:lnTo>
                    <a:lnTo>
                      <a:pt x="7" y="90"/>
                    </a:lnTo>
                    <a:lnTo>
                      <a:pt x="9" y="93"/>
                    </a:lnTo>
                    <a:lnTo>
                      <a:pt x="12" y="94"/>
                    </a:lnTo>
                    <a:lnTo>
                      <a:pt x="12" y="97"/>
                    </a:lnTo>
                    <a:lnTo>
                      <a:pt x="12" y="97"/>
                    </a:lnTo>
                    <a:lnTo>
                      <a:pt x="13" y="100"/>
                    </a:lnTo>
                    <a:lnTo>
                      <a:pt x="16" y="101"/>
                    </a:lnTo>
                    <a:lnTo>
                      <a:pt x="19" y="103"/>
                    </a:lnTo>
                    <a:lnTo>
                      <a:pt x="20" y="101"/>
                    </a:lnTo>
                    <a:lnTo>
                      <a:pt x="20" y="101"/>
                    </a:lnTo>
                    <a:lnTo>
                      <a:pt x="22" y="98"/>
                    </a:lnTo>
                    <a:lnTo>
                      <a:pt x="25" y="98"/>
                    </a:lnTo>
                    <a:lnTo>
                      <a:pt x="33" y="98"/>
                    </a:lnTo>
                    <a:lnTo>
                      <a:pt x="33" y="98"/>
                    </a:lnTo>
                    <a:lnTo>
                      <a:pt x="35" y="98"/>
                    </a:lnTo>
                    <a:lnTo>
                      <a:pt x="36" y="100"/>
                    </a:lnTo>
                    <a:lnTo>
                      <a:pt x="36" y="100"/>
                    </a:lnTo>
                    <a:lnTo>
                      <a:pt x="46" y="93"/>
                    </a:lnTo>
                    <a:lnTo>
                      <a:pt x="46" y="93"/>
                    </a:lnTo>
                    <a:lnTo>
                      <a:pt x="49" y="91"/>
                    </a:lnTo>
                    <a:lnTo>
                      <a:pt x="52" y="91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4" y="90"/>
                    </a:lnTo>
                    <a:lnTo>
                      <a:pt x="69" y="87"/>
                    </a:lnTo>
                    <a:lnTo>
                      <a:pt x="69" y="87"/>
                    </a:lnTo>
                    <a:lnTo>
                      <a:pt x="60" y="78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3" y="73"/>
                    </a:lnTo>
                    <a:lnTo>
                      <a:pt x="52" y="70"/>
                    </a:lnTo>
                    <a:lnTo>
                      <a:pt x="53" y="66"/>
                    </a:lnTo>
                    <a:lnTo>
                      <a:pt x="54" y="61"/>
                    </a:lnTo>
                    <a:lnTo>
                      <a:pt x="59" y="60"/>
                    </a:lnTo>
                    <a:lnTo>
                      <a:pt x="59" y="60"/>
                    </a:lnTo>
                    <a:lnTo>
                      <a:pt x="66" y="57"/>
                    </a:lnTo>
                    <a:lnTo>
                      <a:pt x="74" y="51"/>
                    </a:lnTo>
                    <a:lnTo>
                      <a:pt x="87" y="43"/>
                    </a:lnTo>
                    <a:lnTo>
                      <a:pt x="87" y="43"/>
                    </a:lnTo>
                    <a:lnTo>
                      <a:pt x="90" y="38"/>
                    </a:lnTo>
                    <a:lnTo>
                      <a:pt x="90" y="34"/>
                    </a:lnTo>
                    <a:lnTo>
                      <a:pt x="91" y="29"/>
                    </a:lnTo>
                    <a:lnTo>
                      <a:pt x="93" y="23"/>
                    </a:lnTo>
                    <a:lnTo>
                      <a:pt x="93" y="23"/>
                    </a:lnTo>
                    <a:lnTo>
                      <a:pt x="100" y="14"/>
                    </a:lnTo>
                    <a:lnTo>
                      <a:pt x="111" y="6"/>
                    </a:lnTo>
                    <a:lnTo>
                      <a:pt x="111" y="6"/>
                    </a:lnTo>
                    <a:lnTo>
                      <a:pt x="106" y="4"/>
                    </a:lnTo>
                    <a:lnTo>
                      <a:pt x="106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02" name="Nepal">
                <a:extLst>
                  <a:ext uri="{FF2B5EF4-FFF2-40B4-BE49-F238E27FC236}">
                    <a16:creationId xmlns:a16="http://schemas.microsoft.com/office/drawing/2014/main" id="{90C9F084-A035-66E1-DCE2-BE12DE0A82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4919" y="3566888"/>
                <a:ext cx="179055" cy="100626"/>
              </a:xfrm>
              <a:custGeom>
                <a:avLst/>
                <a:gdLst/>
                <a:ahLst/>
                <a:cxnLst>
                  <a:cxn ang="0">
                    <a:pos x="121" y="44"/>
                  </a:cxn>
                  <a:cxn ang="0">
                    <a:pos x="117" y="44"/>
                  </a:cxn>
                  <a:cxn ang="0">
                    <a:pos x="106" y="42"/>
                  </a:cxn>
                  <a:cxn ang="0">
                    <a:pos x="96" y="40"/>
                  </a:cxn>
                  <a:cxn ang="0">
                    <a:pos x="90" y="38"/>
                  </a:cxn>
                  <a:cxn ang="0">
                    <a:pos x="73" y="33"/>
                  </a:cxn>
                  <a:cxn ang="0">
                    <a:pos x="66" y="27"/>
                  </a:cxn>
                  <a:cxn ang="0">
                    <a:pos x="33" y="4"/>
                  </a:cxn>
                  <a:cxn ang="0">
                    <a:pos x="29" y="1"/>
                  </a:cxn>
                  <a:cxn ang="0">
                    <a:pos x="22" y="0"/>
                  </a:cxn>
                  <a:cxn ang="0">
                    <a:pos x="20" y="1"/>
                  </a:cxn>
                  <a:cxn ang="0">
                    <a:pos x="16" y="3"/>
                  </a:cxn>
                  <a:cxn ang="0">
                    <a:pos x="10" y="4"/>
                  </a:cxn>
                  <a:cxn ang="0">
                    <a:pos x="3" y="11"/>
                  </a:cxn>
                  <a:cxn ang="0">
                    <a:pos x="3" y="13"/>
                  </a:cxn>
                  <a:cxn ang="0">
                    <a:pos x="0" y="25"/>
                  </a:cxn>
                  <a:cxn ang="0">
                    <a:pos x="0" y="27"/>
                  </a:cxn>
                  <a:cxn ang="0">
                    <a:pos x="6" y="30"/>
                  </a:cxn>
                  <a:cxn ang="0">
                    <a:pos x="9" y="31"/>
                  </a:cxn>
                  <a:cxn ang="0">
                    <a:pos x="15" y="35"/>
                  </a:cxn>
                  <a:cxn ang="0">
                    <a:pos x="20" y="38"/>
                  </a:cxn>
                  <a:cxn ang="0">
                    <a:pos x="23" y="40"/>
                  </a:cxn>
                  <a:cxn ang="0">
                    <a:pos x="33" y="44"/>
                  </a:cxn>
                  <a:cxn ang="0">
                    <a:pos x="36" y="45"/>
                  </a:cxn>
                  <a:cxn ang="0">
                    <a:pos x="46" y="52"/>
                  </a:cxn>
                  <a:cxn ang="0">
                    <a:pos x="49" y="52"/>
                  </a:cxn>
                  <a:cxn ang="0">
                    <a:pos x="62" y="50"/>
                  </a:cxn>
                  <a:cxn ang="0">
                    <a:pos x="64" y="51"/>
                  </a:cxn>
                  <a:cxn ang="0">
                    <a:pos x="70" y="58"/>
                  </a:cxn>
                  <a:cxn ang="0">
                    <a:pos x="73" y="61"/>
                  </a:cxn>
                  <a:cxn ang="0">
                    <a:pos x="87" y="64"/>
                  </a:cxn>
                  <a:cxn ang="0">
                    <a:pos x="91" y="67"/>
                  </a:cxn>
                  <a:cxn ang="0">
                    <a:pos x="106" y="68"/>
                  </a:cxn>
                  <a:cxn ang="0">
                    <a:pos x="119" y="64"/>
                  </a:cxn>
                  <a:cxn ang="0">
                    <a:pos x="121" y="61"/>
                  </a:cxn>
                  <a:cxn ang="0">
                    <a:pos x="120" y="48"/>
                  </a:cxn>
                  <a:cxn ang="0">
                    <a:pos x="121" y="44"/>
                  </a:cxn>
                </a:cxnLst>
                <a:rect l="0" t="0" r="r" b="b"/>
                <a:pathLst>
                  <a:path w="121" h="68">
                    <a:moveTo>
                      <a:pt x="121" y="44"/>
                    </a:moveTo>
                    <a:lnTo>
                      <a:pt x="121" y="44"/>
                    </a:lnTo>
                    <a:lnTo>
                      <a:pt x="117" y="44"/>
                    </a:lnTo>
                    <a:lnTo>
                      <a:pt x="117" y="44"/>
                    </a:lnTo>
                    <a:lnTo>
                      <a:pt x="111" y="44"/>
                    </a:lnTo>
                    <a:lnTo>
                      <a:pt x="106" y="42"/>
                    </a:lnTo>
                    <a:lnTo>
                      <a:pt x="101" y="41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0" y="38"/>
                    </a:lnTo>
                    <a:lnTo>
                      <a:pt x="82" y="35"/>
                    </a:lnTo>
                    <a:lnTo>
                      <a:pt x="73" y="33"/>
                    </a:lnTo>
                    <a:lnTo>
                      <a:pt x="66" y="27"/>
                    </a:lnTo>
                    <a:lnTo>
                      <a:pt x="66" y="27"/>
                    </a:lnTo>
                    <a:lnTo>
                      <a:pt x="47" y="15"/>
                    </a:lnTo>
                    <a:lnTo>
                      <a:pt x="33" y="4"/>
                    </a:lnTo>
                    <a:lnTo>
                      <a:pt x="33" y="4"/>
                    </a:lnTo>
                    <a:lnTo>
                      <a:pt x="29" y="1"/>
                    </a:lnTo>
                    <a:lnTo>
                      <a:pt x="25" y="0"/>
                    </a:lnTo>
                    <a:lnTo>
                      <a:pt x="22" y="0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9" y="3"/>
                    </a:lnTo>
                    <a:lnTo>
                      <a:pt x="16" y="3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6" y="8"/>
                    </a:lnTo>
                    <a:lnTo>
                      <a:pt x="3" y="11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2" y="20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7"/>
                    </a:lnTo>
                    <a:lnTo>
                      <a:pt x="3" y="28"/>
                    </a:lnTo>
                    <a:lnTo>
                      <a:pt x="6" y="30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10" y="34"/>
                    </a:lnTo>
                    <a:lnTo>
                      <a:pt x="15" y="35"/>
                    </a:lnTo>
                    <a:lnTo>
                      <a:pt x="19" y="37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3" y="40"/>
                    </a:lnTo>
                    <a:lnTo>
                      <a:pt x="26" y="42"/>
                    </a:lnTo>
                    <a:lnTo>
                      <a:pt x="33" y="44"/>
                    </a:lnTo>
                    <a:lnTo>
                      <a:pt x="33" y="44"/>
                    </a:lnTo>
                    <a:lnTo>
                      <a:pt x="36" y="45"/>
                    </a:lnTo>
                    <a:lnTo>
                      <a:pt x="40" y="48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49" y="52"/>
                    </a:lnTo>
                    <a:lnTo>
                      <a:pt x="53" y="51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4" y="51"/>
                    </a:lnTo>
                    <a:lnTo>
                      <a:pt x="67" y="52"/>
                    </a:lnTo>
                    <a:lnTo>
                      <a:pt x="70" y="58"/>
                    </a:lnTo>
                    <a:lnTo>
                      <a:pt x="70" y="58"/>
                    </a:lnTo>
                    <a:lnTo>
                      <a:pt x="73" y="61"/>
                    </a:lnTo>
                    <a:lnTo>
                      <a:pt x="80" y="62"/>
                    </a:lnTo>
                    <a:lnTo>
                      <a:pt x="87" y="64"/>
                    </a:lnTo>
                    <a:lnTo>
                      <a:pt x="91" y="67"/>
                    </a:lnTo>
                    <a:lnTo>
                      <a:pt x="91" y="67"/>
                    </a:lnTo>
                    <a:lnTo>
                      <a:pt x="97" y="68"/>
                    </a:lnTo>
                    <a:lnTo>
                      <a:pt x="106" y="68"/>
                    </a:lnTo>
                    <a:lnTo>
                      <a:pt x="114" y="67"/>
                    </a:lnTo>
                    <a:lnTo>
                      <a:pt x="119" y="64"/>
                    </a:lnTo>
                    <a:lnTo>
                      <a:pt x="119" y="64"/>
                    </a:lnTo>
                    <a:lnTo>
                      <a:pt x="121" y="61"/>
                    </a:lnTo>
                    <a:lnTo>
                      <a:pt x="121" y="57"/>
                    </a:lnTo>
                    <a:lnTo>
                      <a:pt x="120" y="48"/>
                    </a:lnTo>
                    <a:lnTo>
                      <a:pt x="120" y="48"/>
                    </a:lnTo>
                    <a:lnTo>
                      <a:pt x="121" y="44"/>
                    </a:lnTo>
                    <a:lnTo>
                      <a:pt x="121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03" name="Myanmar">
                <a:extLst>
                  <a:ext uri="{FF2B5EF4-FFF2-40B4-BE49-F238E27FC236}">
                    <a16:creationId xmlns:a16="http://schemas.microsoft.com/office/drawing/2014/main" id="{41309B46-A911-6238-7C9E-34FE2668F8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8321" y="3615721"/>
                <a:ext cx="204210" cy="443935"/>
              </a:xfrm>
              <a:custGeom>
                <a:avLst/>
                <a:gdLst/>
                <a:ahLst/>
                <a:cxnLst>
                  <a:cxn ang="0">
                    <a:pos x="108" y="267"/>
                  </a:cxn>
                  <a:cxn ang="0">
                    <a:pos x="106" y="251"/>
                  </a:cxn>
                  <a:cxn ang="0">
                    <a:pos x="96" y="237"/>
                  </a:cxn>
                  <a:cxn ang="0">
                    <a:pos x="94" y="224"/>
                  </a:cxn>
                  <a:cxn ang="0">
                    <a:pos x="97" y="213"/>
                  </a:cxn>
                  <a:cxn ang="0">
                    <a:pos x="100" y="207"/>
                  </a:cxn>
                  <a:cxn ang="0">
                    <a:pos x="96" y="200"/>
                  </a:cxn>
                  <a:cxn ang="0">
                    <a:pos x="91" y="193"/>
                  </a:cxn>
                  <a:cxn ang="0">
                    <a:pos x="83" y="180"/>
                  </a:cxn>
                  <a:cxn ang="0">
                    <a:pos x="90" y="150"/>
                  </a:cxn>
                  <a:cxn ang="0">
                    <a:pos x="104" y="149"/>
                  </a:cxn>
                  <a:cxn ang="0">
                    <a:pos x="114" y="142"/>
                  </a:cxn>
                  <a:cxn ang="0">
                    <a:pos x="123" y="136"/>
                  </a:cxn>
                  <a:cxn ang="0">
                    <a:pos x="130" y="130"/>
                  </a:cxn>
                  <a:cxn ang="0">
                    <a:pos x="137" y="118"/>
                  </a:cxn>
                  <a:cxn ang="0">
                    <a:pos x="135" y="118"/>
                  </a:cxn>
                  <a:cxn ang="0">
                    <a:pos x="123" y="119"/>
                  </a:cxn>
                  <a:cxn ang="0">
                    <a:pos x="120" y="112"/>
                  </a:cxn>
                  <a:cxn ang="0">
                    <a:pos x="110" y="109"/>
                  </a:cxn>
                  <a:cxn ang="0">
                    <a:pos x="113" y="96"/>
                  </a:cxn>
                  <a:cxn ang="0">
                    <a:pos x="106" y="92"/>
                  </a:cxn>
                  <a:cxn ang="0">
                    <a:pos x="101" y="79"/>
                  </a:cxn>
                  <a:cxn ang="0">
                    <a:pos x="96" y="75"/>
                  </a:cxn>
                  <a:cxn ang="0">
                    <a:pos x="84" y="76"/>
                  </a:cxn>
                  <a:cxn ang="0">
                    <a:pos x="83" y="68"/>
                  </a:cxn>
                  <a:cxn ang="0">
                    <a:pos x="97" y="45"/>
                  </a:cxn>
                  <a:cxn ang="0">
                    <a:pos x="100" y="22"/>
                  </a:cxn>
                  <a:cxn ang="0">
                    <a:pos x="96" y="14"/>
                  </a:cxn>
                  <a:cxn ang="0">
                    <a:pos x="91" y="11"/>
                  </a:cxn>
                  <a:cxn ang="0">
                    <a:pos x="87" y="1"/>
                  </a:cxn>
                  <a:cxn ang="0">
                    <a:pos x="77" y="2"/>
                  </a:cxn>
                  <a:cxn ang="0">
                    <a:pos x="76" y="5"/>
                  </a:cxn>
                  <a:cxn ang="0">
                    <a:pos x="71" y="11"/>
                  </a:cxn>
                  <a:cxn ang="0">
                    <a:pos x="74" y="21"/>
                  </a:cxn>
                  <a:cxn ang="0">
                    <a:pos x="70" y="22"/>
                  </a:cxn>
                  <a:cxn ang="0">
                    <a:pos x="66" y="19"/>
                  </a:cxn>
                  <a:cxn ang="0">
                    <a:pos x="47" y="32"/>
                  </a:cxn>
                  <a:cxn ang="0">
                    <a:pos x="43" y="45"/>
                  </a:cxn>
                  <a:cxn ang="0">
                    <a:pos x="39" y="59"/>
                  </a:cxn>
                  <a:cxn ang="0">
                    <a:pos x="33" y="78"/>
                  </a:cxn>
                  <a:cxn ang="0">
                    <a:pos x="29" y="79"/>
                  </a:cxn>
                  <a:cxn ang="0">
                    <a:pos x="20" y="85"/>
                  </a:cxn>
                  <a:cxn ang="0">
                    <a:pos x="16" y="98"/>
                  </a:cxn>
                  <a:cxn ang="0">
                    <a:pos x="13" y="110"/>
                  </a:cxn>
                  <a:cxn ang="0">
                    <a:pos x="6" y="123"/>
                  </a:cxn>
                  <a:cxn ang="0">
                    <a:pos x="7" y="138"/>
                  </a:cxn>
                  <a:cxn ang="0">
                    <a:pos x="19" y="146"/>
                  </a:cxn>
                  <a:cxn ang="0">
                    <a:pos x="34" y="176"/>
                  </a:cxn>
                  <a:cxn ang="0">
                    <a:pos x="34" y="197"/>
                  </a:cxn>
                  <a:cxn ang="0">
                    <a:pos x="32" y="207"/>
                  </a:cxn>
                  <a:cxn ang="0">
                    <a:pos x="47" y="213"/>
                  </a:cxn>
                  <a:cxn ang="0">
                    <a:pos x="57" y="204"/>
                  </a:cxn>
                  <a:cxn ang="0">
                    <a:pos x="67" y="193"/>
                  </a:cxn>
                  <a:cxn ang="0">
                    <a:pos x="76" y="199"/>
                  </a:cxn>
                  <a:cxn ang="0">
                    <a:pos x="83" y="217"/>
                  </a:cxn>
                  <a:cxn ang="0">
                    <a:pos x="88" y="248"/>
                  </a:cxn>
                  <a:cxn ang="0">
                    <a:pos x="97" y="264"/>
                  </a:cxn>
                  <a:cxn ang="0">
                    <a:pos x="96" y="281"/>
                  </a:cxn>
                  <a:cxn ang="0">
                    <a:pos x="98" y="295"/>
                  </a:cxn>
                  <a:cxn ang="0">
                    <a:pos x="103" y="297"/>
                  </a:cxn>
                </a:cxnLst>
                <a:rect l="0" t="0" r="r" b="b"/>
                <a:pathLst>
                  <a:path w="138" h="300">
                    <a:moveTo>
                      <a:pt x="111" y="274"/>
                    </a:moveTo>
                    <a:lnTo>
                      <a:pt x="111" y="274"/>
                    </a:lnTo>
                    <a:lnTo>
                      <a:pt x="111" y="270"/>
                    </a:lnTo>
                    <a:lnTo>
                      <a:pt x="108" y="267"/>
                    </a:lnTo>
                    <a:lnTo>
                      <a:pt x="107" y="264"/>
                    </a:lnTo>
                    <a:lnTo>
                      <a:pt x="107" y="261"/>
                    </a:lnTo>
                    <a:lnTo>
                      <a:pt x="107" y="261"/>
                    </a:lnTo>
                    <a:lnTo>
                      <a:pt x="106" y="251"/>
                    </a:lnTo>
                    <a:lnTo>
                      <a:pt x="104" y="247"/>
                    </a:lnTo>
                    <a:lnTo>
                      <a:pt x="100" y="241"/>
                    </a:lnTo>
                    <a:lnTo>
                      <a:pt x="100" y="241"/>
                    </a:lnTo>
                    <a:lnTo>
                      <a:pt x="96" y="237"/>
                    </a:lnTo>
                    <a:lnTo>
                      <a:pt x="94" y="233"/>
                    </a:lnTo>
                    <a:lnTo>
                      <a:pt x="93" y="229"/>
                    </a:lnTo>
                    <a:lnTo>
                      <a:pt x="94" y="224"/>
                    </a:lnTo>
                    <a:lnTo>
                      <a:pt x="94" y="224"/>
                    </a:lnTo>
                    <a:lnTo>
                      <a:pt x="96" y="221"/>
                    </a:lnTo>
                    <a:lnTo>
                      <a:pt x="97" y="217"/>
                    </a:lnTo>
                    <a:lnTo>
                      <a:pt x="96" y="214"/>
                    </a:lnTo>
                    <a:lnTo>
                      <a:pt x="97" y="213"/>
                    </a:lnTo>
                    <a:lnTo>
                      <a:pt x="97" y="213"/>
                    </a:lnTo>
                    <a:lnTo>
                      <a:pt x="98" y="213"/>
                    </a:lnTo>
                    <a:lnTo>
                      <a:pt x="100" y="210"/>
                    </a:lnTo>
                    <a:lnTo>
                      <a:pt x="100" y="207"/>
                    </a:lnTo>
                    <a:lnTo>
                      <a:pt x="97" y="206"/>
                    </a:lnTo>
                    <a:lnTo>
                      <a:pt x="97" y="206"/>
                    </a:lnTo>
                    <a:lnTo>
                      <a:pt x="96" y="203"/>
                    </a:lnTo>
                    <a:lnTo>
                      <a:pt x="96" y="200"/>
                    </a:lnTo>
                    <a:lnTo>
                      <a:pt x="96" y="197"/>
                    </a:lnTo>
                    <a:lnTo>
                      <a:pt x="94" y="194"/>
                    </a:lnTo>
                    <a:lnTo>
                      <a:pt x="94" y="194"/>
                    </a:lnTo>
                    <a:lnTo>
                      <a:pt x="91" y="193"/>
                    </a:lnTo>
                    <a:lnTo>
                      <a:pt x="87" y="189"/>
                    </a:lnTo>
                    <a:lnTo>
                      <a:pt x="84" y="184"/>
                    </a:lnTo>
                    <a:lnTo>
                      <a:pt x="83" y="180"/>
                    </a:lnTo>
                    <a:lnTo>
                      <a:pt x="83" y="180"/>
                    </a:lnTo>
                    <a:lnTo>
                      <a:pt x="86" y="155"/>
                    </a:lnTo>
                    <a:lnTo>
                      <a:pt x="86" y="155"/>
                    </a:lnTo>
                    <a:lnTo>
                      <a:pt x="87" y="152"/>
                    </a:lnTo>
                    <a:lnTo>
                      <a:pt x="90" y="150"/>
                    </a:lnTo>
                    <a:lnTo>
                      <a:pt x="94" y="150"/>
                    </a:lnTo>
                    <a:lnTo>
                      <a:pt x="94" y="150"/>
                    </a:lnTo>
                    <a:lnTo>
                      <a:pt x="100" y="150"/>
                    </a:lnTo>
                    <a:lnTo>
                      <a:pt x="104" y="149"/>
                    </a:lnTo>
                    <a:lnTo>
                      <a:pt x="107" y="146"/>
                    </a:lnTo>
                    <a:lnTo>
                      <a:pt x="107" y="146"/>
                    </a:lnTo>
                    <a:lnTo>
                      <a:pt x="110" y="143"/>
                    </a:lnTo>
                    <a:lnTo>
                      <a:pt x="114" y="142"/>
                    </a:lnTo>
                    <a:lnTo>
                      <a:pt x="118" y="140"/>
                    </a:lnTo>
                    <a:lnTo>
                      <a:pt x="121" y="138"/>
                    </a:lnTo>
                    <a:lnTo>
                      <a:pt x="121" y="138"/>
                    </a:lnTo>
                    <a:lnTo>
                      <a:pt x="123" y="136"/>
                    </a:lnTo>
                    <a:lnTo>
                      <a:pt x="125" y="135"/>
                    </a:lnTo>
                    <a:lnTo>
                      <a:pt x="128" y="133"/>
                    </a:lnTo>
                    <a:lnTo>
                      <a:pt x="130" y="130"/>
                    </a:lnTo>
                    <a:lnTo>
                      <a:pt x="130" y="130"/>
                    </a:lnTo>
                    <a:lnTo>
                      <a:pt x="131" y="128"/>
                    </a:lnTo>
                    <a:lnTo>
                      <a:pt x="134" y="123"/>
                    </a:lnTo>
                    <a:lnTo>
                      <a:pt x="137" y="118"/>
                    </a:lnTo>
                    <a:lnTo>
                      <a:pt x="137" y="118"/>
                    </a:lnTo>
                    <a:lnTo>
                      <a:pt x="138" y="118"/>
                    </a:lnTo>
                    <a:lnTo>
                      <a:pt x="138" y="118"/>
                    </a:lnTo>
                    <a:lnTo>
                      <a:pt x="137" y="118"/>
                    </a:lnTo>
                    <a:lnTo>
                      <a:pt x="135" y="118"/>
                    </a:lnTo>
                    <a:lnTo>
                      <a:pt x="131" y="119"/>
                    </a:lnTo>
                    <a:lnTo>
                      <a:pt x="131" y="119"/>
                    </a:lnTo>
                    <a:lnTo>
                      <a:pt x="125" y="120"/>
                    </a:lnTo>
                    <a:lnTo>
                      <a:pt x="123" y="119"/>
                    </a:lnTo>
                    <a:lnTo>
                      <a:pt x="121" y="118"/>
                    </a:lnTo>
                    <a:lnTo>
                      <a:pt x="121" y="113"/>
                    </a:lnTo>
                    <a:lnTo>
                      <a:pt x="121" y="113"/>
                    </a:lnTo>
                    <a:lnTo>
                      <a:pt x="120" y="112"/>
                    </a:lnTo>
                    <a:lnTo>
                      <a:pt x="118" y="110"/>
                    </a:lnTo>
                    <a:lnTo>
                      <a:pt x="111" y="109"/>
                    </a:lnTo>
                    <a:lnTo>
                      <a:pt x="111" y="109"/>
                    </a:lnTo>
                    <a:lnTo>
                      <a:pt x="110" y="109"/>
                    </a:lnTo>
                    <a:lnTo>
                      <a:pt x="110" y="106"/>
                    </a:lnTo>
                    <a:lnTo>
                      <a:pt x="111" y="99"/>
                    </a:lnTo>
                    <a:lnTo>
                      <a:pt x="111" y="99"/>
                    </a:lnTo>
                    <a:lnTo>
                      <a:pt x="113" y="96"/>
                    </a:lnTo>
                    <a:lnTo>
                      <a:pt x="111" y="93"/>
                    </a:lnTo>
                    <a:lnTo>
                      <a:pt x="108" y="92"/>
                    </a:lnTo>
                    <a:lnTo>
                      <a:pt x="106" y="92"/>
                    </a:lnTo>
                    <a:lnTo>
                      <a:pt x="106" y="92"/>
                    </a:lnTo>
                    <a:lnTo>
                      <a:pt x="103" y="91"/>
                    </a:lnTo>
                    <a:lnTo>
                      <a:pt x="101" y="86"/>
                    </a:lnTo>
                    <a:lnTo>
                      <a:pt x="100" y="82"/>
                    </a:lnTo>
                    <a:lnTo>
                      <a:pt x="101" y="79"/>
                    </a:lnTo>
                    <a:lnTo>
                      <a:pt x="101" y="79"/>
                    </a:lnTo>
                    <a:lnTo>
                      <a:pt x="101" y="78"/>
                    </a:lnTo>
                    <a:lnTo>
                      <a:pt x="100" y="76"/>
                    </a:lnTo>
                    <a:lnTo>
                      <a:pt x="96" y="75"/>
                    </a:lnTo>
                    <a:lnTo>
                      <a:pt x="91" y="75"/>
                    </a:lnTo>
                    <a:lnTo>
                      <a:pt x="86" y="76"/>
                    </a:lnTo>
                    <a:lnTo>
                      <a:pt x="86" y="76"/>
                    </a:lnTo>
                    <a:lnTo>
                      <a:pt x="84" y="76"/>
                    </a:lnTo>
                    <a:lnTo>
                      <a:pt x="83" y="75"/>
                    </a:lnTo>
                    <a:lnTo>
                      <a:pt x="84" y="71"/>
                    </a:lnTo>
                    <a:lnTo>
                      <a:pt x="83" y="68"/>
                    </a:lnTo>
                    <a:lnTo>
                      <a:pt x="83" y="68"/>
                    </a:lnTo>
                    <a:lnTo>
                      <a:pt x="84" y="64"/>
                    </a:lnTo>
                    <a:lnTo>
                      <a:pt x="87" y="58"/>
                    </a:lnTo>
                    <a:lnTo>
                      <a:pt x="91" y="52"/>
                    </a:lnTo>
                    <a:lnTo>
                      <a:pt x="97" y="45"/>
                    </a:lnTo>
                    <a:lnTo>
                      <a:pt x="97" y="45"/>
                    </a:lnTo>
                    <a:lnTo>
                      <a:pt x="100" y="41"/>
                    </a:lnTo>
                    <a:lnTo>
                      <a:pt x="101" y="34"/>
                    </a:lnTo>
                    <a:lnTo>
                      <a:pt x="100" y="22"/>
                    </a:lnTo>
                    <a:lnTo>
                      <a:pt x="100" y="22"/>
                    </a:lnTo>
                    <a:lnTo>
                      <a:pt x="100" y="18"/>
                    </a:lnTo>
                    <a:lnTo>
                      <a:pt x="98" y="15"/>
                    </a:lnTo>
                    <a:lnTo>
                      <a:pt x="96" y="14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3" y="14"/>
                    </a:lnTo>
                    <a:lnTo>
                      <a:pt x="91" y="11"/>
                    </a:lnTo>
                    <a:lnTo>
                      <a:pt x="90" y="5"/>
                    </a:lnTo>
                    <a:lnTo>
                      <a:pt x="90" y="5"/>
                    </a:lnTo>
                    <a:lnTo>
                      <a:pt x="90" y="2"/>
                    </a:lnTo>
                    <a:lnTo>
                      <a:pt x="87" y="1"/>
                    </a:lnTo>
                    <a:lnTo>
                      <a:pt x="83" y="0"/>
                    </a:lnTo>
                    <a:lnTo>
                      <a:pt x="80" y="1"/>
                    </a:lnTo>
                    <a:lnTo>
                      <a:pt x="80" y="1"/>
                    </a:lnTo>
                    <a:lnTo>
                      <a:pt x="77" y="2"/>
                    </a:lnTo>
                    <a:lnTo>
                      <a:pt x="77" y="2"/>
                    </a:lnTo>
                    <a:lnTo>
                      <a:pt x="77" y="2"/>
                    </a:lnTo>
                    <a:lnTo>
                      <a:pt x="77" y="2"/>
                    </a:lnTo>
                    <a:lnTo>
                      <a:pt x="76" y="5"/>
                    </a:lnTo>
                    <a:lnTo>
                      <a:pt x="76" y="8"/>
                    </a:lnTo>
                    <a:lnTo>
                      <a:pt x="73" y="9"/>
                    </a:lnTo>
                    <a:lnTo>
                      <a:pt x="73" y="9"/>
                    </a:lnTo>
                    <a:lnTo>
                      <a:pt x="71" y="11"/>
                    </a:lnTo>
                    <a:lnTo>
                      <a:pt x="71" y="14"/>
                    </a:lnTo>
                    <a:lnTo>
                      <a:pt x="73" y="17"/>
                    </a:lnTo>
                    <a:lnTo>
                      <a:pt x="74" y="21"/>
                    </a:lnTo>
                    <a:lnTo>
                      <a:pt x="74" y="21"/>
                    </a:lnTo>
                    <a:lnTo>
                      <a:pt x="76" y="22"/>
                    </a:lnTo>
                    <a:lnTo>
                      <a:pt x="76" y="24"/>
                    </a:lnTo>
                    <a:lnTo>
                      <a:pt x="73" y="24"/>
                    </a:lnTo>
                    <a:lnTo>
                      <a:pt x="70" y="22"/>
                    </a:lnTo>
                    <a:lnTo>
                      <a:pt x="67" y="21"/>
                    </a:lnTo>
                    <a:lnTo>
                      <a:pt x="67" y="21"/>
                    </a:lnTo>
                    <a:lnTo>
                      <a:pt x="67" y="19"/>
                    </a:lnTo>
                    <a:lnTo>
                      <a:pt x="66" y="19"/>
                    </a:lnTo>
                    <a:lnTo>
                      <a:pt x="63" y="21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47" y="32"/>
                    </a:lnTo>
                    <a:lnTo>
                      <a:pt x="44" y="35"/>
                    </a:lnTo>
                    <a:lnTo>
                      <a:pt x="44" y="39"/>
                    </a:lnTo>
                    <a:lnTo>
                      <a:pt x="44" y="39"/>
                    </a:lnTo>
                    <a:lnTo>
                      <a:pt x="43" y="45"/>
                    </a:lnTo>
                    <a:lnTo>
                      <a:pt x="42" y="49"/>
                    </a:lnTo>
                    <a:lnTo>
                      <a:pt x="40" y="55"/>
                    </a:lnTo>
                    <a:lnTo>
                      <a:pt x="39" y="59"/>
                    </a:lnTo>
                    <a:lnTo>
                      <a:pt x="39" y="59"/>
                    </a:lnTo>
                    <a:lnTo>
                      <a:pt x="39" y="64"/>
                    </a:lnTo>
                    <a:lnTo>
                      <a:pt x="37" y="69"/>
                    </a:lnTo>
                    <a:lnTo>
                      <a:pt x="34" y="75"/>
                    </a:lnTo>
                    <a:lnTo>
                      <a:pt x="33" y="78"/>
                    </a:lnTo>
                    <a:lnTo>
                      <a:pt x="33" y="78"/>
                    </a:lnTo>
                    <a:lnTo>
                      <a:pt x="33" y="79"/>
                    </a:lnTo>
                    <a:lnTo>
                      <a:pt x="32" y="79"/>
                    </a:lnTo>
                    <a:lnTo>
                      <a:pt x="29" y="79"/>
                    </a:lnTo>
                    <a:lnTo>
                      <a:pt x="22" y="78"/>
                    </a:lnTo>
                    <a:lnTo>
                      <a:pt x="22" y="78"/>
                    </a:lnTo>
                    <a:lnTo>
                      <a:pt x="20" y="79"/>
                    </a:lnTo>
                    <a:lnTo>
                      <a:pt x="20" y="85"/>
                    </a:lnTo>
                    <a:lnTo>
                      <a:pt x="19" y="89"/>
                    </a:lnTo>
                    <a:lnTo>
                      <a:pt x="17" y="93"/>
                    </a:lnTo>
                    <a:lnTo>
                      <a:pt x="17" y="93"/>
                    </a:lnTo>
                    <a:lnTo>
                      <a:pt x="16" y="98"/>
                    </a:lnTo>
                    <a:lnTo>
                      <a:pt x="16" y="103"/>
                    </a:lnTo>
                    <a:lnTo>
                      <a:pt x="16" y="109"/>
                    </a:lnTo>
                    <a:lnTo>
                      <a:pt x="14" y="110"/>
                    </a:lnTo>
                    <a:lnTo>
                      <a:pt x="13" y="110"/>
                    </a:lnTo>
                    <a:lnTo>
                      <a:pt x="13" y="110"/>
                    </a:lnTo>
                    <a:lnTo>
                      <a:pt x="10" y="113"/>
                    </a:lnTo>
                    <a:lnTo>
                      <a:pt x="9" y="116"/>
                    </a:lnTo>
                    <a:lnTo>
                      <a:pt x="6" y="123"/>
                    </a:lnTo>
                    <a:lnTo>
                      <a:pt x="6" y="123"/>
                    </a:lnTo>
                    <a:lnTo>
                      <a:pt x="0" y="128"/>
                    </a:lnTo>
                    <a:lnTo>
                      <a:pt x="0" y="128"/>
                    </a:lnTo>
                    <a:lnTo>
                      <a:pt x="7" y="138"/>
                    </a:lnTo>
                    <a:lnTo>
                      <a:pt x="12" y="140"/>
                    </a:lnTo>
                    <a:lnTo>
                      <a:pt x="16" y="143"/>
                    </a:lnTo>
                    <a:lnTo>
                      <a:pt x="16" y="143"/>
                    </a:lnTo>
                    <a:lnTo>
                      <a:pt x="19" y="146"/>
                    </a:lnTo>
                    <a:lnTo>
                      <a:pt x="22" y="149"/>
                    </a:lnTo>
                    <a:lnTo>
                      <a:pt x="27" y="157"/>
                    </a:lnTo>
                    <a:lnTo>
                      <a:pt x="32" y="167"/>
                    </a:lnTo>
                    <a:lnTo>
                      <a:pt x="34" y="176"/>
                    </a:lnTo>
                    <a:lnTo>
                      <a:pt x="34" y="176"/>
                    </a:lnTo>
                    <a:lnTo>
                      <a:pt x="36" y="183"/>
                    </a:lnTo>
                    <a:lnTo>
                      <a:pt x="34" y="190"/>
                    </a:lnTo>
                    <a:lnTo>
                      <a:pt x="34" y="197"/>
                    </a:lnTo>
                    <a:lnTo>
                      <a:pt x="32" y="202"/>
                    </a:lnTo>
                    <a:lnTo>
                      <a:pt x="32" y="202"/>
                    </a:lnTo>
                    <a:lnTo>
                      <a:pt x="30" y="204"/>
                    </a:lnTo>
                    <a:lnTo>
                      <a:pt x="32" y="207"/>
                    </a:lnTo>
                    <a:lnTo>
                      <a:pt x="39" y="210"/>
                    </a:lnTo>
                    <a:lnTo>
                      <a:pt x="39" y="210"/>
                    </a:lnTo>
                    <a:lnTo>
                      <a:pt x="43" y="211"/>
                    </a:lnTo>
                    <a:lnTo>
                      <a:pt x="47" y="213"/>
                    </a:lnTo>
                    <a:lnTo>
                      <a:pt x="50" y="211"/>
                    </a:lnTo>
                    <a:lnTo>
                      <a:pt x="54" y="209"/>
                    </a:lnTo>
                    <a:lnTo>
                      <a:pt x="54" y="209"/>
                    </a:lnTo>
                    <a:lnTo>
                      <a:pt x="57" y="204"/>
                    </a:lnTo>
                    <a:lnTo>
                      <a:pt x="61" y="200"/>
                    </a:lnTo>
                    <a:lnTo>
                      <a:pt x="66" y="197"/>
                    </a:lnTo>
                    <a:lnTo>
                      <a:pt x="67" y="193"/>
                    </a:lnTo>
                    <a:lnTo>
                      <a:pt x="67" y="193"/>
                    </a:lnTo>
                    <a:lnTo>
                      <a:pt x="69" y="190"/>
                    </a:lnTo>
                    <a:lnTo>
                      <a:pt x="69" y="190"/>
                    </a:lnTo>
                    <a:lnTo>
                      <a:pt x="71" y="192"/>
                    </a:lnTo>
                    <a:lnTo>
                      <a:pt x="76" y="199"/>
                    </a:lnTo>
                    <a:lnTo>
                      <a:pt x="76" y="199"/>
                    </a:lnTo>
                    <a:lnTo>
                      <a:pt x="78" y="202"/>
                    </a:lnTo>
                    <a:lnTo>
                      <a:pt x="80" y="206"/>
                    </a:lnTo>
                    <a:lnTo>
                      <a:pt x="83" y="217"/>
                    </a:lnTo>
                    <a:lnTo>
                      <a:pt x="83" y="217"/>
                    </a:lnTo>
                    <a:lnTo>
                      <a:pt x="84" y="234"/>
                    </a:lnTo>
                    <a:lnTo>
                      <a:pt x="86" y="244"/>
                    </a:lnTo>
                    <a:lnTo>
                      <a:pt x="88" y="248"/>
                    </a:lnTo>
                    <a:lnTo>
                      <a:pt x="90" y="251"/>
                    </a:lnTo>
                    <a:lnTo>
                      <a:pt x="90" y="251"/>
                    </a:lnTo>
                    <a:lnTo>
                      <a:pt x="94" y="257"/>
                    </a:lnTo>
                    <a:lnTo>
                      <a:pt x="97" y="264"/>
                    </a:lnTo>
                    <a:lnTo>
                      <a:pt x="97" y="271"/>
                    </a:lnTo>
                    <a:lnTo>
                      <a:pt x="97" y="277"/>
                    </a:lnTo>
                    <a:lnTo>
                      <a:pt x="97" y="277"/>
                    </a:lnTo>
                    <a:lnTo>
                      <a:pt x="96" y="281"/>
                    </a:lnTo>
                    <a:lnTo>
                      <a:pt x="97" y="285"/>
                    </a:lnTo>
                    <a:lnTo>
                      <a:pt x="98" y="291"/>
                    </a:lnTo>
                    <a:lnTo>
                      <a:pt x="98" y="295"/>
                    </a:lnTo>
                    <a:lnTo>
                      <a:pt x="98" y="295"/>
                    </a:lnTo>
                    <a:lnTo>
                      <a:pt x="98" y="300"/>
                    </a:lnTo>
                    <a:lnTo>
                      <a:pt x="98" y="300"/>
                    </a:lnTo>
                    <a:lnTo>
                      <a:pt x="100" y="300"/>
                    </a:lnTo>
                    <a:lnTo>
                      <a:pt x="103" y="297"/>
                    </a:lnTo>
                    <a:lnTo>
                      <a:pt x="107" y="287"/>
                    </a:lnTo>
                    <a:lnTo>
                      <a:pt x="111" y="274"/>
                    </a:lnTo>
                    <a:lnTo>
                      <a:pt x="111" y="27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04" name="Bhutan">
                <a:extLst>
                  <a:ext uri="{FF2B5EF4-FFF2-40B4-BE49-F238E27FC236}">
                    <a16:creationId xmlns:a16="http://schemas.microsoft.com/office/drawing/2014/main" id="{3453D2E8-9EF4-2937-848B-FF741126CC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1730" y="3621641"/>
                <a:ext cx="66591" cy="39954"/>
              </a:xfrm>
              <a:custGeom>
                <a:avLst/>
                <a:gdLst/>
                <a:ahLst/>
                <a:cxnLst>
                  <a:cxn ang="0">
                    <a:pos x="45" y="8"/>
                  </a:cxn>
                  <a:cxn ang="0">
                    <a:pos x="45" y="8"/>
                  </a:cxn>
                  <a:cxn ang="0">
                    <a:pos x="40" y="4"/>
                  </a:cxn>
                  <a:cxn ang="0">
                    <a:pos x="35" y="4"/>
                  </a:cxn>
                  <a:cxn ang="0">
                    <a:pos x="31" y="4"/>
                  </a:cxn>
                  <a:cxn ang="0">
                    <a:pos x="27" y="4"/>
                  </a:cxn>
                  <a:cxn ang="0">
                    <a:pos x="27" y="4"/>
                  </a:cxn>
                  <a:cxn ang="0">
                    <a:pos x="20" y="0"/>
                  </a:cxn>
                  <a:cxn ang="0">
                    <a:pos x="17" y="0"/>
                  </a:cxn>
                  <a:cxn ang="0">
                    <a:pos x="14" y="1"/>
                  </a:cxn>
                  <a:cxn ang="0">
                    <a:pos x="14" y="1"/>
                  </a:cxn>
                  <a:cxn ang="0">
                    <a:pos x="8" y="4"/>
                  </a:cxn>
                  <a:cxn ang="0">
                    <a:pos x="5" y="7"/>
                  </a:cxn>
                  <a:cxn ang="0">
                    <a:pos x="3" y="11"/>
                  </a:cxn>
                  <a:cxn ang="0">
                    <a:pos x="3" y="11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1" y="21"/>
                  </a:cxn>
                  <a:cxn ang="0">
                    <a:pos x="3" y="23"/>
                  </a:cxn>
                  <a:cxn ang="0">
                    <a:pos x="3" y="23"/>
                  </a:cxn>
                  <a:cxn ang="0">
                    <a:pos x="5" y="23"/>
                  </a:cxn>
                  <a:cxn ang="0">
                    <a:pos x="8" y="24"/>
                  </a:cxn>
                  <a:cxn ang="0">
                    <a:pos x="11" y="24"/>
                  </a:cxn>
                  <a:cxn ang="0">
                    <a:pos x="14" y="24"/>
                  </a:cxn>
                  <a:cxn ang="0">
                    <a:pos x="14" y="24"/>
                  </a:cxn>
                  <a:cxn ang="0">
                    <a:pos x="18" y="24"/>
                  </a:cxn>
                  <a:cxn ang="0">
                    <a:pos x="21" y="25"/>
                  </a:cxn>
                  <a:cxn ang="0">
                    <a:pos x="24" y="27"/>
                  </a:cxn>
                  <a:cxn ang="0">
                    <a:pos x="30" y="25"/>
                  </a:cxn>
                  <a:cxn ang="0">
                    <a:pos x="30" y="25"/>
                  </a:cxn>
                  <a:cxn ang="0">
                    <a:pos x="34" y="25"/>
                  </a:cxn>
                  <a:cxn ang="0">
                    <a:pos x="38" y="25"/>
                  </a:cxn>
                  <a:cxn ang="0">
                    <a:pos x="42" y="25"/>
                  </a:cxn>
                  <a:cxn ang="0">
                    <a:pos x="45" y="24"/>
                  </a:cxn>
                  <a:cxn ang="0">
                    <a:pos x="45" y="24"/>
                  </a:cxn>
                  <a:cxn ang="0">
                    <a:pos x="45" y="20"/>
                  </a:cxn>
                  <a:cxn ang="0">
                    <a:pos x="45" y="15"/>
                  </a:cxn>
                  <a:cxn ang="0">
                    <a:pos x="44" y="10"/>
                  </a:cxn>
                  <a:cxn ang="0">
                    <a:pos x="44" y="10"/>
                  </a:cxn>
                  <a:cxn ang="0">
                    <a:pos x="45" y="8"/>
                  </a:cxn>
                  <a:cxn ang="0">
                    <a:pos x="45" y="8"/>
                  </a:cxn>
                </a:cxnLst>
                <a:rect l="0" t="0" r="r" b="b"/>
                <a:pathLst>
                  <a:path w="45" h="27">
                    <a:moveTo>
                      <a:pt x="45" y="8"/>
                    </a:moveTo>
                    <a:lnTo>
                      <a:pt x="45" y="8"/>
                    </a:lnTo>
                    <a:lnTo>
                      <a:pt x="40" y="4"/>
                    </a:lnTo>
                    <a:lnTo>
                      <a:pt x="35" y="4"/>
                    </a:lnTo>
                    <a:lnTo>
                      <a:pt x="31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0" y="0"/>
                    </a:lnTo>
                    <a:lnTo>
                      <a:pt x="17" y="0"/>
                    </a:lnTo>
                    <a:lnTo>
                      <a:pt x="14" y="1"/>
                    </a:lnTo>
                    <a:lnTo>
                      <a:pt x="14" y="1"/>
                    </a:lnTo>
                    <a:lnTo>
                      <a:pt x="8" y="4"/>
                    </a:lnTo>
                    <a:lnTo>
                      <a:pt x="5" y="7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3"/>
                    </a:lnTo>
                    <a:lnTo>
                      <a:pt x="3" y="23"/>
                    </a:lnTo>
                    <a:lnTo>
                      <a:pt x="5" y="23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21" y="25"/>
                    </a:lnTo>
                    <a:lnTo>
                      <a:pt x="24" y="27"/>
                    </a:lnTo>
                    <a:lnTo>
                      <a:pt x="30" y="25"/>
                    </a:lnTo>
                    <a:lnTo>
                      <a:pt x="30" y="25"/>
                    </a:lnTo>
                    <a:lnTo>
                      <a:pt x="34" y="25"/>
                    </a:lnTo>
                    <a:lnTo>
                      <a:pt x="38" y="25"/>
                    </a:lnTo>
                    <a:lnTo>
                      <a:pt x="42" y="25"/>
                    </a:lnTo>
                    <a:lnTo>
                      <a:pt x="45" y="24"/>
                    </a:lnTo>
                    <a:lnTo>
                      <a:pt x="45" y="24"/>
                    </a:lnTo>
                    <a:lnTo>
                      <a:pt x="45" y="20"/>
                    </a:lnTo>
                    <a:lnTo>
                      <a:pt x="45" y="15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5" y="8"/>
                    </a:lnTo>
                    <a:lnTo>
                      <a:pt x="45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05" name="Vietnam">
                <a:extLst>
                  <a:ext uri="{FF2B5EF4-FFF2-40B4-BE49-F238E27FC236}">
                    <a16:creationId xmlns:a16="http://schemas.microsoft.com/office/drawing/2014/main" id="{07037C9D-B24F-48A6-D671-C9E2EB2FD6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7687" y="3747422"/>
                <a:ext cx="171655" cy="359588"/>
              </a:xfrm>
              <a:custGeom>
                <a:avLst/>
                <a:gdLst/>
                <a:ahLst/>
                <a:cxnLst>
                  <a:cxn ang="0">
                    <a:pos x="79" y="24"/>
                  </a:cxn>
                  <a:cxn ang="0">
                    <a:pos x="73" y="12"/>
                  </a:cxn>
                  <a:cxn ang="0">
                    <a:pos x="61" y="6"/>
                  </a:cxn>
                  <a:cxn ang="0">
                    <a:pos x="52" y="0"/>
                  </a:cxn>
                  <a:cxn ang="0">
                    <a:pos x="42" y="9"/>
                  </a:cxn>
                  <a:cxn ang="0">
                    <a:pos x="30" y="10"/>
                  </a:cxn>
                  <a:cxn ang="0">
                    <a:pos x="19" y="9"/>
                  </a:cxn>
                  <a:cxn ang="0">
                    <a:pos x="16" y="12"/>
                  </a:cxn>
                  <a:cxn ang="0">
                    <a:pos x="6" y="10"/>
                  </a:cxn>
                  <a:cxn ang="0">
                    <a:pos x="0" y="14"/>
                  </a:cxn>
                  <a:cxn ang="0">
                    <a:pos x="7" y="26"/>
                  </a:cxn>
                  <a:cxn ang="0">
                    <a:pos x="15" y="36"/>
                  </a:cxn>
                  <a:cxn ang="0">
                    <a:pos x="27" y="43"/>
                  </a:cxn>
                  <a:cxn ang="0">
                    <a:pos x="37" y="41"/>
                  </a:cxn>
                  <a:cxn ang="0">
                    <a:pos x="42" y="53"/>
                  </a:cxn>
                  <a:cxn ang="0">
                    <a:pos x="43" y="60"/>
                  </a:cxn>
                  <a:cxn ang="0">
                    <a:pos x="33" y="64"/>
                  </a:cxn>
                  <a:cxn ang="0">
                    <a:pos x="33" y="68"/>
                  </a:cxn>
                  <a:cxn ang="0">
                    <a:pos x="49" y="80"/>
                  </a:cxn>
                  <a:cxn ang="0">
                    <a:pos x="57" y="94"/>
                  </a:cxn>
                  <a:cxn ang="0">
                    <a:pos x="67" y="107"/>
                  </a:cxn>
                  <a:cxn ang="0">
                    <a:pos x="76" y="120"/>
                  </a:cxn>
                  <a:cxn ang="0">
                    <a:pos x="86" y="131"/>
                  </a:cxn>
                  <a:cxn ang="0">
                    <a:pos x="86" y="152"/>
                  </a:cxn>
                  <a:cxn ang="0">
                    <a:pos x="93" y="169"/>
                  </a:cxn>
                  <a:cxn ang="0">
                    <a:pos x="84" y="181"/>
                  </a:cxn>
                  <a:cxn ang="0">
                    <a:pos x="76" y="192"/>
                  </a:cxn>
                  <a:cxn ang="0">
                    <a:pos x="66" y="194"/>
                  </a:cxn>
                  <a:cxn ang="0">
                    <a:pos x="61" y="198"/>
                  </a:cxn>
                  <a:cxn ang="0">
                    <a:pos x="66" y="208"/>
                  </a:cxn>
                  <a:cxn ang="0">
                    <a:pos x="50" y="208"/>
                  </a:cxn>
                  <a:cxn ang="0">
                    <a:pos x="47" y="211"/>
                  </a:cxn>
                  <a:cxn ang="0">
                    <a:pos x="42" y="219"/>
                  </a:cxn>
                  <a:cxn ang="0">
                    <a:pos x="46" y="223"/>
                  </a:cxn>
                  <a:cxn ang="0">
                    <a:pos x="40" y="235"/>
                  </a:cxn>
                  <a:cxn ang="0">
                    <a:pos x="49" y="242"/>
                  </a:cxn>
                  <a:cxn ang="0">
                    <a:pos x="63" y="231"/>
                  </a:cxn>
                  <a:cxn ang="0">
                    <a:pos x="67" y="225"/>
                  </a:cxn>
                  <a:cxn ang="0">
                    <a:pos x="71" y="216"/>
                  </a:cxn>
                  <a:cxn ang="0">
                    <a:pos x="81" y="215"/>
                  </a:cxn>
                  <a:cxn ang="0">
                    <a:pos x="103" y="204"/>
                  </a:cxn>
                  <a:cxn ang="0">
                    <a:pos x="113" y="192"/>
                  </a:cxn>
                  <a:cxn ang="0">
                    <a:pos x="114" y="159"/>
                  </a:cxn>
                  <a:cxn ang="0">
                    <a:pos x="106" y="131"/>
                  </a:cxn>
                  <a:cxn ang="0">
                    <a:pos x="97" y="120"/>
                  </a:cxn>
                  <a:cxn ang="0">
                    <a:pos x="70" y="98"/>
                  </a:cxn>
                  <a:cxn ang="0">
                    <a:pos x="63" y="85"/>
                  </a:cxn>
                  <a:cxn ang="0">
                    <a:pos x="59" y="70"/>
                  </a:cxn>
                  <a:cxn ang="0">
                    <a:pos x="66" y="57"/>
                  </a:cxn>
                  <a:cxn ang="0">
                    <a:pos x="71" y="50"/>
                  </a:cxn>
                  <a:cxn ang="0">
                    <a:pos x="77" y="41"/>
                  </a:cxn>
                  <a:cxn ang="0">
                    <a:pos x="90" y="33"/>
                  </a:cxn>
                  <a:cxn ang="0">
                    <a:pos x="87" y="29"/>
                  </a:cxn>
                </a:cxnLst>
                <a:rect l="0" t="0" r="r" b="b"/>
                <a:pathLst>
                  <a:path w="116" h="243">
                    <a:moveTo>
                      <a:pt x="87" y="29"/>
                    </a:moveTo>
                    <a:lnTo>
                      <a:pt x="87" y="29"/>
                    </a:lnTo>
                    <a:lnTo>
                      <a:pt x="83" y="27"/>
                    </a:lnTo>
                    <a:lnTo>
                      <a:pt x="79" y="24"/>
                    </a:lnTo>
                    <a:lnTo>
                      <a:pt x="73" y="20"/>
                    </a:lnTo>
                    <a:lnTo>
                      <a:pt x="71" y="17"/>
                    </a:lnTo>
                    <a:lnTo>
                      <a:pt x="71" y="17"/>
                    </a:lnTo>
                    <a:lnTo>
                      <a:pt x="73" y="12"/>
                    </a:lnTo>
                    <a:lnTo>
                      <a:pt x="73" y="9"/>
                    </a:lnTo>
                    <a:lnTo>
                      <a:pt x="67" y="7"/>
                    </a:lnTo>
                    <a:lnTo>
                      <a:pt x="67" y="7"/>
                    </a:lnTo>
                    <a:lnTo>
                      <a:pt x="61" y="6"/>
                    </a:lnTo>
                    <a:lnTo>
                      <a:pt x="57" y="4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2" y="0"/>
                    </a:lnTo>
                    <a:lnTo>
                      <a:pt x="47" y="2"/>
                    </a:lnTo>
                    <a:lnTo>
                      <a:pt x="44" y="4"/>
                    </a:lnTo>
                    <a:lnTo>
                      <a:pt x="42" y="9"/>
                    </a:lnTo>
                    <a:lnTo>
                      <a:pt x="42" y="9"/>
                    </a:lnTo>
                    <a:lnTo>
                      <a:pt x="39" y="10"/>
                    </a:lnTo>
                    <a:lnTo>
                      <a:pt x="37" y="10"/>
                    </a:lnTo>
                    <a:lnTo>
                      <a:pt x="34" y="9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6" y="12"/>
                    </a:lnTo>
                    <a:lnTo>
                      <a:pt x="23" y="10"/>
                    </a:lnTo>
                    <a:lnTo>
                      <a:pt x="19" y="9"/>
                    </a:lnTo>
                    <a:lnTo>
                      <a:pt x="17" y="9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2"/>
                    </a:lnTo>
                    <a:lnTo>
                      <a:pt x="15" y="12"/>
                    </a:lnTo>
                    <a:lnTo>
                      <a:pt x="10" y="12"/>
                    </a:lnTo>
                    <a:lnTo>
                      <a:pt x="7" y="10"/>
                    </a:lnTo>
                    <a:lnTo>
                      <a:pt x="6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5" y="20"/>
                    </a:lnTo>
                    <a:lnTo>
                      <a:pt x="6" y="23"/>
                    </a:lnTo>
                    <a:lnTo>
                      <a:pt x="6" y="23"/>
                    </a:lnTo>
                    <a:lnTo>
                      <a:pt x="7" y="26"/>
                    </a:lnTo>
                    <a:lnTo>
                      <a:pt x="10" y="29"/>
                    </a:lnTo>
                    <a:lnTo>
                      <a:pt x="13" y="33"/>
                    </a:lnTo>
                    <a:lnTo>
                      <a:pt x="15" y="36"/>
                    </a:lnTo>
                    <a:lnTo>
                      <a:pt x="15" y="36"/>
                    </a:lnTo>
                    <a:lnTo>
                      <a:pt x="16" y="39"/>
                    </a:lnTo>
                    <a:lnTo>
                      <a:pt x="20" y="41"/>
                    </a:lnTo>
                    <a:lnTo>
                      <a:pt x="24" y="43"/>
                    </a:lnTo>
                    <a:lnTo>
                      <a:pt x="27" y="43"/>
                    </a:lnTo>
                    <a:lnTo>
                      <a:pt x="27" y="43"/>
                    </a:lnTo>
                    <a:lnTo>
                      <a:pt x="30" y="41"/>
                    </a:lnTo>
                    <a:lnTo>
                      <a:pt x="33" y="41"/>
                    </a:lnTo>
                    <a:lnTo>
                      <a:pt x="37" y="41"/>
                    </a:lnTo>
                    <a:lnTo>
                      <a:pt x="39" y="46"/>
                    </a:lnTo>
                    <a:lnTo>
                      <a:pt x="39" y="46"/>
                    </a:lnTo>
                    <a:lnTo>
                      <a:pt x="40" y="50"/>
                    </a:lnTo>
                    <a:lnTo>
                      <a:pt x="42" y="53"/>
                    </a:lnTo>
                    <a:lnTo>
                      <a:pt x="43" y="56"/>
                    </a:lnTo>
                    <a:lnTo>
                      <a:pt x="43" y="58"/>
                    </a:lnTo>
                    <a:lnTo>
                      <a:pt x="43" y="58"/>
                    </a:lnTo>
                    <a:lnTo>
                      <a:pt x="43" y="60"/>
                    </a:lnTo>
                    <a:lnTo>
                      <a:pt x="42" y="60"/>
                    </a:lnTo>
                    <a:lnTo>
                      <a:pt x="39" y="61"/>
                    </a:lnTo>
                    <a:lnTo>
                      <a:pt x="34" y="63"/>
                    </a:lnTo>
                    <a:lnTo>
                      <a:pt x="33" y="64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7"/>
                    </a:lnTo>
                    <a:lnTo>
                      <a:pt x="33" y="68"/>
                    </a:lnTo>
                    <a:lnTo>
                      <a:pt x="39" y="73"/>
                    </a:lnTo>
                    <a:lnTo>
                      <a:pt x="46" y="77"/>
                    </a:lnTo>
                    <a:lnTo>
                      <a:pt x="47" y="78"/>
                    </a:lnTo>
                    <a:lnTo>
                      <a:pt x="49" y="80"/>
                    </a:lnTo>
                    <a:lnTo>
                      <a:pt x="49" y="80"/>
                    </a:lnTo>
                    <a:lnTo>
                      <a:pt x="50" y="84"/>
                    </a:lnTo>
                    <a:lnTo>
                      <a:pt x="52" y="87"/>
                    </a:lnTo>
                    <a:lnTo>
                      <a:pt x="57" y="94"/>
                    </a:lnTo>
                    <a:lnTo>
                      <a:pt x="57" y="94"/>
                    </a:lnTo>
                    <a:lnTo>
                      <a:pt x="60" y="98"/>
                    </a:lnTo>
                    <a:lnTo>
                      <a:pt x="63" y="103"/>
                    </a:lnTo>
                    <a:lnTo>
                      <a:pt x="67" y="107"/>
                    </a:lnTo>
                    <a:lnTo>
                      <a:pt x="70" y="113"/>
                    </a:lnTo>
                    <a:lnTo>
                      <a:pt x="70" y="113"/>
                    </a:lnTo>
                    <a:lnTo>
                      <a:pt x="73" y="115"/>
                    </a:lnTo>
                    <a:lnTo>
                      <a:pt x="76" y="120"/>
                    </a:lnTo>
                    <a:lnTo>
                      <a:pt x="83" y="124"/>
                    </a:lnTo>
                    <a:lnTo>
                      <a:pt x="83" y="124"/>
                    </a:lnTo>
                    <a:lnTo>
                      <a:pt x="86" y="127"/>
                    </a:lnTo>
                    <a:lnTo>
                      <a:pt x="86" y="131"/>
                    </a:lnTo>
                    <a:lnTo>
                      <a:pt x="86" y="141"/>
                    </a:lnTo>
                    <a:lnTo>
                      <a:pt x="86" y="141"/>
                    </a:lnTo>
                    <a:lnTo>
                      <a:pt x="86" y="145"/>
                    </a:lnTo>
                    <a:lnTo>
                      <a:pt x="86" y="152"/>
                    </a:lnTo>
                    <a:lnTo>
                      <a:pt x="89" y="159"/>
                    </a:lnTo>
                    <a:lnTo>
                      <a:pt x="91" y="167"/>
                    </a:lnTo>
                    <a:lnTo>
                      <a:pt x="91" y="167"/>
                    </a:lnTo>
                    <a:lnTo>
                      <a:pt x="93" y="169"/>
                    </a:lnTo>
                    <a:lnTo>
                      <a:pt x="93" y="172"/>
                    </a:lnTo>
                    <a:lnTo>
                      <a:pt x="91" y="175"/>
                    </a:lnTo>
                    <a:lnTo>
                      <a:pt x="90" y="178"/>
                    </a:lnTo>
                    <a:lnTo>
                      <a:pt x="84" y="181"/>
                    </a:lnTo>
                    <a:lnTo>
                      <a:pt x="80" y="185"/>
                    </a:lnTo>
                    <a:lnTo>
                      <a:pt x="80" y="185"/>
                    </a:lnTo>
                    <a:lnTo>
                      <a:pt x="79" y="189"/>
                    </a:lnTo>
                    <a:lnTo>
                      <a:pt x="76" y="192"/>
                    </a:lnTo>
                    <a:lnTo>
                      <a:pt x="74" y="194"/>
                    </a:lnTo>
                    <a:lnTo>
                      <a:pt x="73" y="195"/>
                    </a:lnTo>
                    <a:lnTo>
                      <a:pt x="66" y="194"/>
                    </a:lnTo>
                    <a:lnTo>
                      <a:pt x="66" y="194"/>
                    </a:lnTo>
                    <a:lnTo>
                      <a:pt x="63" y="194"/>
                    </a:lnTo>
                    <a:lnTo>
                      <a:pt x="61" y="195"/>
                    </a:lnTo>
                    <a:lnTo>
                      <a:pt x="61" y="196"/>
                    </a:lnTo>
                    <a:lnTo>
                      <a:pt x="61" y="198"/>
                    </a:lnTo>
                    <a:lnTo>
                      <a:pt x="66" y="204"/>
                    </a:lnTo>
                    <a:lnTo>
                      <a:pt x="66" y="206"/>
                    </a:lnTo>
                    <a:lnTo>
                      <a:pt x="66" y="208"/>
                    </a:lnTo>
                    <a:lnTo>
                      <a:pt x="66" y="208"/>
                    </a:lnTo>
                    <a:lnTo>
                      <a:pt x="64" y="209"/>
                    </a:lnTo>
                    <a:lnTo>
                      <a:pt x="63" y="209"/>
                    </a:lnTo>
                    <a:lnTo>
                      <a:pt x="56" y="208"/>
                    </a:lnTo>
                    <a:lnTo>
                      <a:pt x="50" y="208"/>
                    </a:lnTo>
                    <a:lnTo>
                      <a:pt x="49" y="208"/>
                    </a:lnTo>
                    <a:lnTo>
                      <a:pt x="47" y="208"/>
                    </a:lnTo>
                    <a:lnTo>
                      <a:pt x="47" y="208"/>
                    </a:lnTo>
                    <a:lnTo>
                      <a:pt x="47" y="211"/>
                    </a:lnTo>
                    <a:lnTo>
                      <a:pt x="44" y="212"/>
                    </a:lnTo>
                    <a:lnTo>
                      <a:pt x="37" y="216"/>
                    </a:lnTo>
                    <a:lnTo>
                      <a:pt x="37" y="216"/>
                    </a:lnTo>
                    <a:lnTo>
                      <a:pt x="42" y="219"/>
                    </a:lnTo>
                    <a:lnTo>
                      <a:pt x="44" y="222"/>
                    </a:lnTo>
                    <a:lnTo>
                      <a:pt x="44" y="222"/>
                    </a:lnTo>
                    <a:lnTo>
                      <a:pt x="46" y="222"/>
                    </a:lnTo>
                    <a:lnTo>
                      <a:pt x="46" y="223"/>
                    </a:lnTo>
                    <a:lnTo>
                      <a:pt x="44" y="226"/>
                    </a:lnTo>
                    <a:lnTo>
                      <a:pt x="42" y="231"/>
                    </a:lnTo>
                    <a:lnTo>
                      <a:pt x="40" y="235"/>
                    </a:lnTo>
                    <a:lnTo>
                      <a:pt x="40" y="235"/>
                    </a:lnTo>
                    <a:lnTo>
                      <a:pt x="42" y="241"/>
                    </a:lnTo>
                    <a:lnTo>
                      <a:pt x="44" y="242"/>
                    </a:lnTo>
                    <a:lnTo>
                      <a:pt x="46" y="243"/>
                    </a:lnTo>
                    <a:lnTo>
                      <a:pt x="49" y="242"/>
                    </a:lnTo>
                    <a:lnTo>
                      <a:pt x="49" y="242"/>
                    </a:lnTo>
                    <a:lnTo>
                      <a:pt x="56" y="235"/>
                    </a:lnTo>
                    <a:lnTo>
                      <a:pt x="63" y="231"/>
                    </a:lnTo>
                    <a:lnTo>
                      <a:pt x="63" y="231"/>
                    </a:lnTo>
                    <a:lnTo>
                      <a:pt x="64" y="229"/>
                    </a:lnTo>
                    <a:lnTo>
                      <a:pt x="64" y="228"/>
                    </a:lnTo>
                    <a:lnTo>
                      <a:pt x="64" y="225"/>
                    </a:lnTo>
                    <a:lnTo>
                      <a:pt x="67" y="225"/>
                    </a:lnTo>
                    <a:lnTo>
                      <a:pt x="67" y="225"/>
                    </a:lnTo>
                    <a:lnTo>
                      <a:pt x="69" y="223"/>
                    </a:lnTo>
                    <a:lnTo>
                      <a:pt x="70" y="222"/>
                    </a:lnTo>
                    <a:lnTo>
                      <a:pt x="71" y="216"/>
                    </a:lnTo>
                    <a:lnTo>
                      <a:pt x="71" y="216"/>
                    </a:lnTo>
                    <a:lnTo>
                      <a:pt x="73" y="215"/>
                    </a:lnTo>
                    <a:lnTo>
                      <a:pt x="74" y="214"/>
                    </a:lnTo>
                    <a:lnTo>
                      <a:pt x="81" y="215"/>
                    </a:lnTo>
                    <a:lnTo>
                      <a:pt x="81" y="215"/>
                    </a:lnTo>
                    <a:lnTo>
                      <a:pt x="86" y="214"/>
                    </a:lnTo>
                    <a:lnTo>
                      <a:pt x="91" y="211"/>
                    </a:lnTo>
                    <a:lnTo>
                      <a:pt x="103" y="204"/>
                    </a:lnTo>
                    <a:lnTo>
                      <a:pt x="103" y="204"/>
                    </a:lnTo>
                    <a:lnTo>
                      <a:pt x="107" y="201"/>
                    </a:lnTo>
                    <a:lnTo>
                      <a:pt x="111" y="196"/>
                    </a:lnTo>
                    <a:lnTo>
                      <a:pt x="113" y="192"/>
                    </a:lnTo>
                    <a:lnTo>
                      <a:pt x="116" y="182"/>
                    </a:lnTo>
                    <a:lnTo>
                      <a:pt x="116" y="182"/>
                    </a:lnTo>
                    <a:lnTo>
                      <a:pt x="116" y="171"/>
                    </a:lnTo>
                    <a:lnTo>
                      <a:pt x="114" y="159"/>
                    </a:lnTo>
                    <a:lnTo>
                      <a:pt x="111" y="145"/>
                    </a:lnTo>
                    <a:lnTo>
                      <a:pt x="111" y="145"/>
                    </a:lnTo>
                    <a:lnTo>
                      <a:pt x="110" y="140"/>
                    </a:lnTo>
                    <a:lnTo>
                      <a:pt x="106" y="131"/>
                    </a:lnTo>
                    <a:lnTo>
                      <a:pt x="100" y="124"/>
                    </a:lnTo>
                    <a:lnTo>
                      <a:pt x="98" y="121"/>
                    </a:lnTo>
                    <a:lnTo>
                      <a:pt x="97" y="120"/>
                    </a:lnTo>
                    <a:lnTo>
                      <a:pt x="97" y="120"/>
                    </a:lnTo>
                    <a:lnTo>
                      <a:pt x="91" y="117"/>
                    </a:lnTo>
                    <a:lnTo>
                      <a:pt x="83" y="111"/>
                    </a:lnTo>
                    <a:lnTo>
                      <a:pt x="70" y="98"/>
                    </a:lnTo>
                    <a:lnTo>
                      <a:pt x="70" y="98"/>
                    </a:lnTo>
                    <a:lnTo>
                      <a:pt x="69" y="95"/>
                    </a:lnTo>
                    <a:lnTo>
                      <a:pt x="67" y="93"/>
                    </a:lnTo>
                    <a:lnTo>
                      <a:pt x="66" y="90"/>
                    </a:lnTo>
                    <a:lnTo>
                      <a:pt x="63" y="85"/>
                    </a:lnTo>
                    <a:lnTo>
                      <a:pt x="63" y="85"/>
                    </a:lnTo>
                    <a:lnTo>
                      <a:pt x="60" y="83"/>
                    </a:lnTo>
                    <a:lnTo>
                      <a:pt x="59" y="77"/>
                    </a:lnTo>
                    <a:lnTo>
                      <a:pt x="59" y="70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1" y="60"/>
                    </a:lnTo>
                    <a:lnTo>
                      <a:pt x="66" y="57"/>
                    </a:lnTo>
                    <a:lnTo>
                      <a:pt x="69" y="54"/>
                    </a:lnTo>
                    <a:lnTo>
                      <a:pt x="70" y="51"/>
                    </a:lnTo>
                    <a:lnTo>
                      <a:pt x="71" y="50"/>
                    </a:lnTo>
                    <a:lnTo>
                      <a:pt x="71" y="50"/>
                    </a:lnTo>
                    <a:lnTo>
                      <a:pt x="71" y="47"/>
                    </a:lnTo>
                    <a:lnTo>
                      <a:pt x="71" y="44"/>
                    </a:lnTo>
                    <a:lnTo>
                      <a:pt x="74" y="41"/>
                    </a:lnTo>
                    <a:lnTo>
                      <a:pt x="77" y="41"/>
                    </a:lnTo>
                    <a:lnTo>
                      <a:pt x="77" y="41"/>
                    </a:lnTo>
                    <a:lnTo>
                      <a:pt x="81" y="40"/>
                    </a:lnTo>
                    <a:lnTo>
                      <a:pt x="84" y="39"/>
                    </a:lnTo>
                    <a:lnTo>
                      <a:pt x="90" y="33"/>
                    </a:lnTo>
                    <a:lnTo>
                      <a:pt x="90" y="33"/>
                    </a:lnTo>
                    <a:lnTo>
                      <a:pt x="91" y="31"/>
                    </a:lnTo>
                    <a:lnTo>
                      <a:pt x="91" y="31"/>
                    </a:lnTo>
                    <a:lnTo>
                      <a:pt x="87" y="29"/>
                    </a:lnTo>
                    <a:lnTo>
                      <a:pt x="87" y="29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06" name="Cambodia">
                <a:extLst>
                  <a:ext uri="{FF2B5EF4-FFF2-40B4-BE49-F238E27FC236}">
                    <a16:creationId xmlns:a16="http://schemas.microsoft.com/office/drawing/2014/main" id="{3B0D75CD-53AC-53A9-D1A6-A0901856AD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2126" y="3964951"/>
                <a:ext cx="133181" cy="102106"/>
              </a:xfrm>
              <a:custGeom>
                <a:avLst/>
                <a:gdLst/>
                <a:ahLst/>
                <a:cxnLst>
                  <a:cxn ang="0">
                    <a:pos x="44" y="61"/>
                  </a:cxn>
                  <a:cxn ang="0">
                    <a:pos x="47" y="61"/>
                  </a:cxn>
                  <a:cxn ang="0">
                    <a:pos x="60" y="62"/>
                  </a:cxn>
                  <a:cxn ang="0">
                    <a:pos x="63" y="61"/>
                  </a:cxn>
                  <a:cxn ang="0">
                    <a:pos x="63" y="59"/>
                  </a:cxn>
                  <a:cxn ang="0">
                    <a:pos x="58" y="51"/>
                  </a:cxn>
                  <a:cxn ang="0">
                    <a:pos x="58" y="48"/>
                  </a:cxn>
                  <a:cxn ang="0">
                    <a:pos x="63" y="47"/>
                  </a:cxn>
                  <a:cxn ang="0">
                    <a:pos x="70" y="48"/>
                  </a:cxn>
                  <a:cxn ang="0">
                    <a:pos x="73" y="45"/>
                  </a:cxn>
                  <a:cxn ang="0">
                    <a:pos x="77" y="38"/>
                  </a:cxn>
                  <a:cxn ang="0">
                    <a:pos x="81" y="34"/>
                  </a:cxn>
                  <a:cxn ang="0">
                    <a:pos x="88" y="28"/>
                  </a:cxn>
                  <a:cxn ang="0">
                    <a:pos x="90" y="22"/>
                  </a:cxn>
                  <a:cxn ang="0">
                    <a:pos x="88" y="20"/>
                  </a:cxn>
                  <a:cxn ang="0">
                    <a:pos x="84" y="10"/>
                  </a:cxn>
                  <a:cxn ang="0">
                    <a:pos x="83" y="0"/>
                  </a:cxn>
                  <a:cxn ang="0">
                    <a:pos x="77" y="3"/>
                  </a:cxn>
                  <a:cxn ang="0">
                    <a:pos x="71" y="3"/>
                  </a:cxn>
                  <a:cxn ang="0">
                    <a:pos x="64" y="1"/>
                  </a:cxn>
                  <a:cxn ang="0">
                    <a:pos x="60" y="5"/>
                  </a:cxn>
                  <a:cxn ang="0">
                    <a:pos x="60" y="8"/>
                  </a:cxn>
                  <a:cxn ang="0">
                    <a:pos x="56" y="11"/>
                  </a:cxn>
                  <a:cxn ang="0">
                    <a:pos x="56" y="10"/>
                  </a:cxn>
                  <a:cxn ang="0">
                    <a:pos x="53" y="7"/>
                  </a:cxn>
                  <a:cxn ang="0">
                    <a:pos x="47" y="4"/>
                  </a:cxn>
                  <a:cxn ang="0">
                    <a:pos x="46" y="3"/>
                  </a:cxn>
                  <a:cxn ang="0">
                    <a:pos x="37" y="3"/>
                  </a:cxn>
                  <a:cxn ang="0">
                    <a:pos x="24" y="3"/>
                  </a:cxn>
                  <a:cxn ang="0">
                    <a:pos x="20" y="3"/>
                  </a:cxn>
                  <a:cxn ang="0">
                    <a:pos x="9" y="8"/>
                  </a:cxn>
                  <a:cxn ang="0">
                    <a:pos x="3" y="14"/>
                  </a:cxn>
                  <a:cxn ang="0">
                    <a:pos x="2" y="21"/>
                  </a:cxn>
                  <a:cxn ang="0">
                    <a:pos x="3" y="28"/>
                  </a:cxn>
                  <a:cxn ang="0">
                    <a:pos x="4" y="32"/>
                  </a:cxn>
                  <a:cxn ang="0">
                    <a:pos x="6" y="37"/>
                  </a:cxn>
                  <a:cxn ang="0">
                    <a:pos x="6" y="41"/>
                  </a:cxn>
                  <a:cxn ang="0">
                    <a:pos x="6" y="41"/>
                  </a:cxn>
                  <a:cxn ang="0">
                    <a:pos x="10" y="48"/>
                  </a:cxn>
                  <a:cxn ang="0">
                    <a:pos x="10" y="55"/>
                  </a:cxn>
                  <a:cxn ang="0">
                    <a:pos x="14" y="58"/>
                  </a:cxn>
                  <a:cxn ang="0">
                    <a:pos x="20" y="57"/>
                  </a:cxn>
                  <a:cxn ang="0">
                    <a:pos x="20" y="59"/>
                  </a:cxn>
                  <a:cxn ang="0">
                    <a:pos x="20" y="65"/>
                  </a:cxn>
                  <a:cxn ang="0">
                    <a:pos x="23" y="67"/>
                  </a:cxn>
                  <a:cxn ang="0">
                    <a:pos x="31" y="65"/>
                  </a:cxn>
                  <a:cxn ang="0">
                    <a:pos x="33" y="67"/>
                  </a:cxn>
                  <a:cxn ang="0">
                    <a:pos x="34" y="69"/>
                  </a:cxn>
                  <a:cxn ang="0">
                    <a:pos x="41" y="65"/>
                  </a:cxn>
                  <a:cxn ang="0">
                    <a:pos x="44" y="61"/>
                  </a:cxn>
                </a:cxnLst>
                <a:rect l="0" t="0" r="r" b="b"/>
                <a:pathLst>
                  <a:path w="90" h="69">
                    <a:moveTo>
                      <a:pt x="44" y="61"/>
                    </a:moveTo>
                    <a:lnTo>
                      <a:pt x="44" y="61"/>
                    </a:lnTo>
                    <a:lnTo>
                      <a:pt x="46" y="61"/>
                    </a:lnTo>
                    <a:lnTo>
                      <a:pt x="47" y="61"/>
                    </a:lnTo>
                    <a:lnTo>
                      <a:pt x="53" y="61"/>
                    </a:lnTo>
                    <a:lnTo>
                      <a:pt x="60" y="62"/>
                    </a:lnTo>
                    <a:lnTo>
                      <a:pt x="61" y="62"/>
                    </a:lnTo>
                    <a:lnTo>
                      <a:pt x="63" y="61"/>
                    </a:lnTo>
                    <a:lnTo>
                      <a:pt x="63" y="61"/>
                    </a:lnTo>
                    <a:lnTo>
                      <a:pt x="63" y="59"/>
                    </a:lnTo>
                    <a:lnTo>
                      <a:pt x="63" y="57"/>
                    </a:lnTo>
                    <a:lnTo>
                      <a:pt x="58" y="51"/>
                    </a:lnTo>
                    <a:lnTo>
                      <a:pt x="58" y="49"/>
                    </a:lnTo>
                    <a:lnTo>
                      <a:pt x="58" y="48"/>
                    </a:lnTo>
                    <a:lnTo>
                      <a:pt x="60" y="47"/>
                    </a:lnTo>
                    <a:lnTo>
                      <a:pt x="63" y="47"/>
                    </a:lnTo>
                    <a:lnTo>
                      <a:pt x="63" y="47"/>
                    </a:lnTo>
                    <a:lnTo>
                      <a:pt x="70" y="48"/>
                    </a:lnTo>
                    <a:lnTo>
                      <a:pt x="71" y="47"/>
                    </a:lnTo>
                    <a:lnTo>
                      <a:pt x="73" y="45"/>
                    </a:lnTo>
                    <a:lnTo>
                      <a:pt x="76" y="42"/>
                    </a:lnTo>
                    <a:lnTo>
                      <a:pt x="77" y="38"/>
                    </a:lnTo>
                    <a:lnTo>
                      <a:pt x="77" y="38"/>
                    </a:lnTo>
                    <a:lnTo>
                      <a:pt x="81" y="34"/>
                    </a:lnTo>
                    <a:lnTo>
                      <a:pt x="87" y="31"/>
                    </a:lnTo>
                    <a:lnTo>
                      <a:pt x="88" y="28"/>
                    </a:lnTo>
                    <a:lnTo>
                      <a:pt x="90" y="25"/>
                    </a:lnTo>
                    <a:lnTo>
                      <a:pt x="90" y="22"/>
                    </a:lnTo>
                    <a:lnTo>
                      <a:pt x="88" y="20"/>
                    </a:lnTo>
                    <a:lnTo>
                      <a:pt x="88" y="20"/>
                    </a:lnTo>
                    <a:lnTo>
                      <a:pt x="86" y="15"/>
                    </a:lnTo>
                    <a:lnTo>
                      <a:pt x="84" y="10"/>
                    </a:lnTo>
                    <a:lnTo>
                      <a:pt x="83" y="0"/>
                    </a:lnTo>
                    <a:lnTo>
                      <a:pt x="83" y="0"/>
                    </a:lnTo>
                    <a:lnTo>
                      <a:pt x="80" y="1"/>
                    </a:lnTo>
                    <a:lnTo>
                      <a:pt x="77" y="3"/>
                    </a:lnTo>
                    <a:lnTo>
                      <a:pt x="71" y="3"/>
                    </a:lnTo>
                    <a:lnTo>
                      <a:pt x="71" y="3"/>
                    </a:lnTo>
                    <a:lnTo>
                      <a:pt x="68" y="1"/>
                    </a:lnTo>
                    <a:lnTo>
                      <a:pt x="64" y="1"/>
                    </a:lnTo>
                    <a:lnTo>
                      <a:pt x="61" y="3"/>
                    </a:lnTo>
                    <a:lnTo>
                      <a:pt x="60" y="5"/>
                    </a:lnTo>
                    <a:lnTo>
                      <a:pt x="60" y="5"/>
                    </a:lnTo>
                    <a:lnTo>
                      <a:pt x="60" y="8"/>
                    </a:lnTo>
                    <a:lnTo>
                      <a:pt x="58" y="11"/>
                    </a:lnTo>
                    <a:lnTo>
                      <a:pt x="56" y="11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8"/>
                    </a:lnTo>
                    <a:lnTo>
                      <a:pt x="53" y="7"/>
                    </a:lnTo>
                    <a:lnTo>
                      <a:pt x="50" y="5"/>
                    </a:lnTo>
                    <a:lnTo>
                      <a:pt x="47" y="4"/>
                    </a:lnTo>
                    <a:lnTo>
                      <a:pt x="47" y="4"/>
                    </a:lnTo>
                    <a:lnTo>
                      <a:pt x="46" y="3"/>
                    </a:lnTo>
                    <a:lnTo>
                      <a:pt x="43" y="3"/>
                    </a:lnTo>
                    <a:lnTo>
                      <a:pt x="37" y="3"/>
                    </a:lnTo>
                    <a:lnTo>
                      <a:pt x="30" y="3"/>
                    </a:lnTo>
                    <a:lnTo>
                      <a:pt x="24" y="3"/>
                    </a:lnTo>
                    <a:lnTo>
                      <a:pt x="24" y="3"/>
                    </a:lnTo>
                    <a:lnTo>
                      <a:pt x="20" y="3"/>
                    </a:lnTo>
                    <a:lnTo>
                      <a:pt x="14" y="4"/>
                    </a:lnTo>
                    <a:lnTo>
                      <a:pt x="9" y="8"/>
                    </a:lnTo>
                    <a:lnTo>
                      <a:pt x="3" y="14"/>
                    </a:lnTo>
                    <a:lnTo>
                      <a:pt x="3" y="14"/>
                    </a:lnTo>
                    <a:lnTo>
                      <a:pt x="0" y="18"/>
                    </a:lnTo>
                    <a:lnTo>
                      <a:pt x="2" y="21"/>
                    </a:lnTo>
                    <a:lnTo>
                      <a:pt x="3" y="24"/>
                    </a:lnTo>
                    <a:lnTo>
                      <a:pt x="3" y="28"/>
                    </a:lnTo>
                    <a:lnTo>
                      <a:pt x="3" y="28"/>
                    </a:lnTo>
                    <a:lnTo>
                      <a:pt x="4" y="32"/>
                    </a:lnTo>
                    <a:lnTo>
                      <a:pt x="6" y="35"/>
                    </a:lnTo>
                    <a:lnTo>
                      <a:pt x="6" y="37"/>
                    </a:lnTo>
                    <a:lnTo>
                      <a:pt x="6" y="41"/>
                    </a:lnTo>
                    <a:lnTo>
                      <a:pt x="6" y="41"/>
                    </a:lnTo>
                    <a:lnTo>
                      <a:pt x="6" y="41"/>
                    </a:lnTo>
                    <a:lnTo>
                      <a:pt x="6" y="41"/>
                    </a:lnTo>
                    <a:lnTo>
                      <a:pt x="9" y="44"/>
                    </a:lnTo>
                    <a:lnTo>
                      <a:pt x="10" y="48"/>
                    </a:lnTo>
                    <a:lnTo>
                      <a:pt x="10" y="55"/>
                    </a:lnTo>
                    <a:lnTo>
                      <a:pt x="10" y="55"/>
                    </a:lnTo>
                    <a:lnTo>
                      <a:pt x="12" y="58"/>
                    </a:lnTo>
                    <a:lnTo>
                      <a:pt x="14" y="58"/>
                    </a:lnTo>
                    <a:lnTo>
                      <a:pt x="20" y="57"/>
                    </a:lnTo>
                    <a:lnTo>
                      <a:pt x="20" y="57"/>
                    </a:lnTo>
                    <a:lnTo>
                      <a:pt x="21" y="58"/>
                    </a:lnTo>
                    <a:lnTo>
                      <a:pt x="20" y="59"/>
                    </a:lnTo>
                    <a:lnTo>
                      <a:pt x="20" y="62"/>
                    </a:lnTo>
                    <a:lnTo>
                      <a:pt x="20" y="65"/>
                    </a:lnTo>
                    <a:lnTo>
                      <a:pt x="20" y="65"/>
                    </a:lnTo>
                    <a:lnTo>
                      <a:pt x="23" y="67"/>
                    </a:lnTo>
                    <a:lnTo>
                      <a:pt x="27" y="65"/>
                    </a:lnTo>
                    <a:lnTo>
                      <a:pt x="31" y="65"/>
                    </a:lnTo>
                    <a:lnTo>
                      <a:pt x="33" y="65"/>
                    </a:lnTo>
                    <a:lnTo>
                      <a:pt x="33" y="67"/>
                    </a:lnTo>
                    <a:lnTo>
                      <a:pt x="33" y="67"/>
                    </a:lnTo>
                    <a:lnTo>
                      <a:pt x="34" y="69"/>
                    </a:lnTo>
                    <a:lnTo>
                      <a:pt x="34" y="69"/>
                    </a:lnTo>
                    <a:lnTo>
                      <a:pt x="41" y="65"/>
                    </a:lnTo>
                    <a:lnTo>
                      <a:pt x="44" y="64"/>
                    </a:lnTo>
                    <a:lnTo>
                      <a:pt x="44" y="61"/>
                    </a:lnTo>
                    <a:lnTo>
                      <a:pt x="44" y="61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07" name="Laos">
                <a:extLst>
                  <a:ext uri="{FF2B5EF4-FFF2-40B4-BE49-F238E27FC236}">
                    <a16:creationId xmlns:a16="http://schemas.microsoft.com/office/drawing/2014/main" id="{E3D0D8B4-0148-768E-D6D7-DC72954387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1814" y="3768139"/>
                <a:ext cx="173135" cy="213089"/>
              </a:xfrm>
              <a:custGeom>
                <a:avLst/>
                <a:gdLst/>
                <a:ahLst/>
                <a:cxnLst>
                  <a:cxn ang="0">
                    <a:pos x="78" y="64"/>
                  </a:cxn>
                  <a:cxn ang="0">
                    <a:pos x="64" y="54"/>
                  </a:cxn>
                  <a:cxn ang="0">
                    <a:pos x="63" y="52"/>
                  </a:cxn>
                  <a:cxn ang="0">
                    <a:pos x="70" y="47"/>
                  </a:cxn>
                  <a:cxn ang="0">
                    <a:pos x="74" y="44"/>
                  </a:cxn>
                  <a:cxn ang="0">
                    <a:pos x="73" y="39"/>
                  </a:cxn>
                  <a:cxn ang="0">
                    <a:pos x="70" y="32"/>
                  </a:cxn>
                  <a:cxn ang="0">
                    <a:pos x="61" y="27"/>
                  </a:cxn>
                  <a:cxn ang="0">
                    <a:pos x="55" y="29"/>
                  </a:cxn>
                  <a:cxn ang="0">
                    <a:pos x="46" y="22"/>
                  </a:cxn>
                  <a:cxn ang="0">
                    <a:pos x="41" y="15"/>
                  </a:cxn>
                  <a:cxn ang="0">
                    <a:pos x="37" y="9"/>
                  </a:cxn>
                  <a:cxn ang="0">
                    <a:pos x="31" y="0"/>
                  </a:cxn>
                  <a:cxn ang="0">
                    <a:pos x="24" y="2"/>
                  </a:cxn>
                  <a:cxn ang="0">
                    <a:pos x="21" y="7"/>
                  </a:cxn>
                  <a:cxn ang="0">
                    <a:pos x="24" y="13"/>
                  </a:cxn>
                  <a:cxn ang="0">
                    <a:pos x="23" y="22"/>
                  </a:cxn>
                  <a:cxn ang="0">
                    <a:pos x="19" y="20"/>
                  </a:cxn>
                  <a:cxn ang="0">
                    <a:pos x="13" y="15"/>
                  </a:cxn>
                  <a:cxn ang="0">
                    <a:pos x="7" y="25"/>
                  </a:cxn>
                  <a:cxn ang="0">
                    <a:pos x="4" y="30"/>
                  </a:cxn>
                  <a:cxn ang="0">
                    <a:pos x="0" y="33"/>
                  </a:cxn>
                  <a:cxn ang="0">
                    <a:pos x="3" y="37"/>
                  </a:cxn>
                  <a:cxn ang="0">
                    <a:pos x="4" y="49"/>
                  </a:cxn>
                  <a:cxn ang="0">
                    <a:pos x="6" y="50"/>
                  </a:cxn>
                  <a:cxn ang="0">
                    <a:pos x="14" y="50"/>
                  </a:cxn>
                  <a:cxn ang="0">
                    <a:pos x="16" y="57"/>
                  </a:cxn>
                  <a:cxn ang="0">
                    <a:pos x="14" y="69"/>
                  </a:cxn>
                  <a:cxn ang="0">
                    <a:pos x="11" y="76"/>
                  </a:cxn>
                  <a:cxn ang="0">
                    <a:pos x="10" y="81"/>
                  </a:cxn>
                  <a:cxn ang="0">
                    <a:pos x="16" y="83"/>
                  </a:cxn>
                  <a:cxn ang="0">
                    <a:pos x="28" y="74"/>
                  </a:cxn>
                  <a:cxn ang="0">
                    <a:pos x="36" y="76"/>
                  </a:cxn>
                  <a:cxn ang="0">
                    <a:pos x="41" y="76"/>
                  </a:cxn>
                  <a:cxn ang="0">
                    <a:pos x="46" y="73"/>
                  </a:cxn>
                  <a:cxn ang="0">
                    <a:pos x="57" y="70"/>
                  </a:cxn>
                  <a:cxn ang="0">
                    <a:pos x="67" y="79"/>
                  </a:cxn>
                  <a:cxn ang="0">
                    <a:pos x="74" y="86"/>
                  </a:cxn>
                  <a:cxn ang="0">
                    <a:pos x="73" y="100"/>
                  </a:cxn>
                  <a:cxn ang="0">
                    <a:pos x="74" y="103"/>
                  </a:cxn>
                  <a:cxn ang="0">
                    <a:pos x="84" y="114"/>
                  </a:cxn>
                  <a:cxn ang="0">
                    <a:pos x="85" y="126"/>
                  </a:cxn>
                  <a:cxn ang="0">
                    <a:pos x="83" y="138"/>
                  </a:cxn>
                  <a:cxn ang="0">
                    <a:pos x="90" y="141"/>
                  </a:cxn>
                  <a:cxn ang="0">
                    <a:pos x="90" y="144"/>
                  </a:cxn>
                  <a:cxn ang="0">
                    <a:pos x="94" y="138"/>
                  </a:cxn>
                  <a:cxn ang="0">
                    <a:pos x="98" y="134"/>
                  </a:cxn>
                  <a:cxn ang="0">
                    <a:pos x="105" y="136"/>
                  </a:cxn>
                  <a:cxn ang="0">
                    <a:pos x="117" y="133"/>
                  </a:cxn>
                  <a:cxn ang="0">
                    <a:pos x="117" y="127"/>
                  </a:cxn>
                  <a:cxn ang="0">
                    <a:pos x="114" y="110"/>
                  </a:cxn>
                  <a:cxn ang="0">
                    <a:pos x="104" y="101"/>
                  </a:cxn>
                  <a:cxn ang="0">
                    <a:pos x="98" y="93"/>
                  </a:cxn>
                  <a:cxn ang="0">
                    <a:pos x="88" y="80"/>
                  </a:cxn>
                  <a:cxn ang="0">
                    <a:pos x="81" y="70"/>
                  </a:cxn>
                </a:cxnLst>
                <a:rect l="0" t="0" r="r" b="b"/>
                <a:pathLst>
                  <a:path w="117" h="144">
                    <a:moveTo>
                      <a:pt x="80" y="66"/>
                    </a:moveTo>
                    <a:lnTo>
                      <a:pt x="80" y="66"/>
                    </a:lnTo>
                    <a:lnTo>
                      <a:pt x="78" y="64"/>
                    </a:lnTo>
                    <a:lnTo>
                      <a:pt x="77" y="63"/>
                    </a:lnTo>
                    <a:lnTo>
                      <a:pt x="70" y="59"/>
                    </a:lnTo>
                    <a:lnTo>
                      <a:pt x="64" y="54"/>
                    </a:lnTo>
                    <a:lnTo>
                      <a:pt x="63" y="53"/>
                    </a:lnTo>
                    <a:lnTo>
                      <a:pt x="63" y="52"/>
                    </a:lnTo>
                    <a:lnTo>
                      <a:pt x="63" y="52"/>
                    </a:lnTo>
                    <a:lnTo>
                      <a:pt x="64" y="50"/>
                    </a:lnTo>
                    <a:lnTo>
                      <a:pt x="65" y="49"/>
                    </a:lnTo>
                    <a:lnTo>
                      <a:pt x="70" y="47"/>
                    </a:lnTo>
                    <a:lnTo>
                      <a:pt x="73" y="46"/>
                    </a:lnTo>
                    <a:lnTo>
                      <a:pt x="74" y="46"/>
                    </a:lnTo>
                    <a:lnTo>
                      <a:pt x="74" y="44"/>
                    </a:lnTo>
                    <a:lnTo>
                      <a:pt x="74" y="44"/>
                    </a:lnTo>
                    <a:lnTo>
                      <a:pt x="74" y="42"/>
                    </a:lnTo>
                    <a:lnTo>
                      <a:pt x="73" y="39"/>
                    </a:lnTo>
                    <a:lnTo>
                      <a:pt x="71" y="36"/>
                    </a:lnTo>
                    <a:lnTo>
                      <a:pt x="70" y="32"/>
                    </a:lnTo>
                    <a:lnTo>
                      <a:pt x="70" y="32"/>
                    </a:lnTo>
                    <a:lnTo>
                      <a:pt x="68" y="27"/>
                    </a:lnTo>
                    <a:lnTo>
                      <a:pt x="64" y="27"/>
                    </a:lnTo>
                    <a:lnTo>
                      <a:pt x="61" y="27"/>
                    </a:lnTo>
                    <a:lnTo>
                      <a:pt x="58" y="29"/>
                    </a:lnTo>
                    <a:lnTo>
                      <a:pt x="58" y="29"/>
                    </a:lnTo>
                    <a:lnTo>
                      <a:pt x="55" y="29"/>
                    </a:lnTo>
                    <a:lnTo>
                      <a:pt x="51" y="27"/>
                    </a:lnTo>
                    <a:lnTo>
                      <a:pt x="47" y="25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4" y="19"/>
                    </a:lnTo>
                    <a:lnTo>
                      <a:pt x="41" y="15"/>
                    </a:lnTo>
                    <a:lnTo>
                      <a:pt x="38" y="12"/>
                    </a:lnTo>
                    <a:lnTo>
                      <a:pt x="37" y="9"/>
                    </a:lnTo>
                    <a:lnTo>
                      <a:pt x="37" y="9"/>
                    </a:lnTo>
                    <a:lnTo>
                      <a:pt x="36" y="6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7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3" y="2"/>
                    </a:lnTo>
                    <a:lnTo>
                      <a:pt x="23" y="5"/>
                    </a:lnTo>
                    <a:lnTo>
                      <a:pt x="21" y="7"/>
                    </a:lnTo>
                    <a:lnTo>
                      <a:pt x="23" y="10"/>
                    </a:lnTo>
                    <a:lnTo>
                      <a:pt x="23" y="10"/>
                    </a:lnTo>
                    <a:lnTo>
                      <a:pt x="24" y="13"/>
                    </a:lnTo>
                    <a:lnTo>
                      <a:pt x="24" y="17"/>
                    </a:lnTo>
                    <a:lnTo>
                      <a:pt x="24" y="22"/>
                    </a:lnTo>
                    <a:lnTo>
                      <a:pt x="23" y="22"/>
                    </a:lnTo>
                    <a:lnTo>
                      <a:pt x="21" y="22"/>
                    </a:lnTo>
                    <a:lnTo>
                      <a:pt x="21" y="22"/>
                    </a:lnTo>
                    <a:lnTo>
                      <a:pt x="19" y="20"/>
                    </a:lnTo>
                    <a:lnTo>
                      <a:pt x="17" y="17"/>
                    </a:lnTo>
                    <a:lnTo>
                      <a:pt x="16" y="16"/>
                    </a:lnTo>
                    <a:lnTo>
                      <a:pt x="13" y="15"/>
                    </a:lnTo>
                    <a:lnTo>
                      <a:pt x="13" y="15"/>
                    </a:lnTo>
                    <a:lnTo>
                      <a:pt x="10" y="20"/>
                    </a:lnTo>
                    <a:lnTo>
                      <a:pt x="7" y="25"/>
                    </a:lnTo>
                    <a:lnTo>
                      <a:pt x="6" y="27"/>
                    </a:lnTo>
                    <a:lnTo>
                      <a:pt x="6" y="27"/>
                    </a:lnTo>
                    <a:lnTo>
                      <a:pt x="4" y="30"/>
                    </a:lnTo>
                    <a:lnTo>
                      <a:pt x="3" y="30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3" y="36"/>
                    </a:lnTo>
                    <a:lnTo>
                      <a:pt x="3" y="36"/>
                    </a:lnTo>
                    <a:lnTo>
                      <a:pt x="3" y="37"/>
                    </a:lnTo>
                    <a:lnTo>
                      <a:pt x="3" y="40"/>
                    </a:lnTo>
                    <a:lnTo>
                      <a:pt x="3" y="44"/>
                    </a:lnTo>
                    <a:lnTo>
                      <a:pt x="4" y="49"/>
                    </a:lnTo>
                    <a:lnTo>
                      <a:pt x="4" y="49"/>
                    </a:lnTo>
                    <a:lnTo>
                      <a:pt x="6" y="49"/>
                    </a:lnTo>
                    <a:lnTo>
                      <a:pt x="6" y="50"/>
                    </a:lnTo>
                    <a:lnTo>
                      <a:pt x="10" y="49"/>
                    </a:lnTo>
                    <a:lnTo>
                      <a:pt x="13" y="49"/>
                    </a:lnTo>
                    <a:lnTo>
                      <a:pt x="14" y="50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7"/>
                    </a:lnTo>
                    <a:lnTo>
                      <a:pt x="16" y="60"/>
                    </a:lnTo>
                    <a:lnTo>
                      <a:pt x="14" y="64"/>
                    </a:lnTo>
                    <a:lnTo>
                      <a:pt x="14" y="69"/>
                    </a:lnTo>
                    <a:lnTo>
                      <a:pt x="14" y="69"/>
                    </a:lnTo>
                    <a:lnTo>
                      <a:pt x="13" y="73"/>
                    </a:lnTo>
                    <a:lnTo>
                      <a:pt x="11" y="76"/>
                    </a:lnTo>
                    <a:lnTo>
                      <a:pt x="10" y="79"/>
                    </a:lnTo>
                    <a:lnTo>
                      <a:pt x="10" y="81"/>
                    </a:lnTo>
                    <a:lnTo>
                      <a:pt x="10" y="81"/>
                    </a:lnTo>
                    <a:lnTo>
                      <a:pt x="10" y="83"/>
                    </a:lnTo>
                    <a:lnTo>
                      <a:pt x="11" y="84"/>
                    </a:lnTo>
                    <a:lnTo>
                      <a:pt x="16" y="83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8" y="74"/>
                    </a:lnTo>
                    <a:lnTo>
                      <a:pt x="31" y="73"/>
                    </a:lnTo>
                    <a:lnTo>
                      <a:pt x="34" y="74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38" y="77"/>
                    </a:lnTo>
                    <a:lnTo>
                      <a:pt x="41" y="76"/>
                    </a:lnTo>
                    <a:lnTo>
                      <a:pt x="44" y="74"/>
                    </a:lnTo>
                    <a:lnTo>
                      <a:pt x="46" y="73"/>
                    </a:lnTo>
                    <a:lnTo>
                      <a:pt x="46" y="73"/>
                    </a:lnTo>
                    <a:lnTo>
                      <a:pt x="48" y="70"/>
                    </a:lnTo>
                    <a:lnTo>
                      <a:pt x="53" y="70"/>
                    </a:lnTo>
                    <a:lnTo>
                      <a:pt x="57" y="70"/>
                    </a:lnTo>
                    <a:lnTo>
                      <a:pt x="61" y="71"/>
                    </a:lnTo>
                    <a:lnTo>
                      <a:pt x="61" y="71"/>
                    </a:lnTo>
                    <a:lnTo>
                      <a:pt x="67" y="79"/>
                    </a:lnTo>
                    <a:lnTo>
                      <a:pt x="73" y="84"/>
                    </a:lnTo>
                    <a:lnTo>
                      <a:pt x="73" y="84"/>
                    </a:lnTo>
                    <a:lnTo>
                      <a:pt x="74" y="86"/>
                    </a:lnTo>
                    <a:lnTo>
                      <a:pt x="74" y="87"/>
                    </a:lnTo>
                    <a:lnTo>
                      <a:pt x="73" y="94"/>
                    </a:lnTo>
                    <a:lnTo>
                      <a:pt x="73" y="100"/>
                    </a:lnTo>
                    <a:lnTo>
                      <a:pt x="73" y="101"/>
                    </a:lnTo>
                    <a:lnTo>
                      <a:pt x="74" y="103"/>
                    </a:lnTo>
                    <a:lnTo>
                      <a:pt x="74" y="103"/>
                    </a:lnTo>
                    <a:lnTo>
                      <a:pt x="78" y="106"/>
                    </a:lnTo>
                    <a:lnTo>
                      <a:pt x="81" y="108"/>
                    </a:lnTo>
                    <a:lnTo>
                      <a:pt x="84" y="114"/>
                    </a:lnTo>
                    <a:lnTo>
                      <a:pt x="85" y="120"/>
                    </a:lnTo>
                    <a:lnTo>
                      <a:pt x="85" y="120"/>
                    </a:lnTo>
                    <a:lnTo>
                      <a:pt x="85" y="126"/>
                    </a:lnTo>
                    <a:lnTo>
                      <a:pt x="85" y="130"/>
                    </a:lnTo>
                    <a:lnTo>
                      <a:pt x="85" y="134"/>
                    </a:lnTo>
                    <a:lnTo>
                      <a:pt x="83" y="138"/>
                    </a:lnTo>
                    <a:lnTo>
                      <a:pt x="83" y="138"/>
                    </a:lnTo>
                    <a:lnTo>
                      <a:pt x="88" y="140"/>
                    </a:lnTo>
                    <a:lnTo>
                      <a:pt x="90" y="141"/>
                    </a:lnTo>
                    <a:lnTo>
                      <a:pt x="90" y="143"/>
                    </a:lnTo>
                    <a:lnTo>
                      <a:pt x="90" y="143"/>
                    </a:lnTo>
                    <a:lnTo>
                      <a:pt x="90" y="144"/>
                    </a:lnTo>
                    <a:lnTo>
                      <a:pt x="92" y="144"/>
                    </a:lnTo>
                    <a:lnTo>
                      <a:pt x="94" y="141"/>
                    </a:lnTo>
                    <a:lnTo>
                      <a:pt x="94" y="138"/>
                    </a:lnTo>
                    <a:lnTo>
                      <a:pt x="94" y="138"/>
                    </a:lnTo>
                    <a:lnTo>
                      <a:pt x="95" y="136"/>
                    </a:lnTo>
                    <a:lnTo>
                      <a:pt x="98" y="134"/>
                    </a:lnTo>
                    <a:lnTo>
                      <a:pt x="102" y="134"/>
                    </a:lnTo>
                    <a:lnTo>
                      <a:pt x="105" y="136"/>
                    </a:lnTo>
                    <a:lnTo>
                      <a:pt x="105" y="136"/>
                    </a:lnTo>
                    <a:lnTo>
                      <a:pt x="111" y="136"/>
                    </a:lnTo>
                    <a:lnTo>
                      <a:pt x="114" y="134"/>
                    </a:lnTo>
                    <a:lnTo>
                      <a:pt x="117" y="133"/>
                    </a:lnTo>
                    <a:lnTo>
                      <a:pt x="117" y="133"/>
                    </a:lnTo>
                    <a:lnTo>
                      <a:pt x="117" y="127"/>
                    </a:lnTo>
                    <a:lnTo>
                      <a:pt x="117" y="127"/>
                    </a:lnTo>
                    <a:lnTo>
                      <a:pt x="117" y="117"/>
                    </a:lnTo>
                    <a:lnTo>
                      <a:pt x="117" y="113"/>
                    </a:lnTo>
                    <a:lnTo>
                      <a:pt x="114" y="110"/>
                    </a:lnTo>
                    <a:lnTo>
                      <a:pt x="114" y="110"/>
                    </a:lnTo>
                    <a:lnTo>
                      <a:pt x="107" y="106"/>
                    </a:lnTo>
                    <a:lnTo>
                      <a:pt x="104" y="101"/>
                    </a:lnTo>
                    <a:lnTo>
                      <a:pt x="101" y="99"/>
                    </a:lnTo>
                    <a:lnTo>
                      <a:pt x="101" y="99"/>
                    </a:lnTo>
                    <a:lnTo>
                      <a:pt x="98" y="93"/>
                    </a:lnTo>
                    <a:lnTo>
                      <a:pt x="94" y="89"/>
                    </a:lnTo>
                    <a:lnTo>
                      <a:pt x="91" y="84"/>
                    </a:lnTo>
                    <a:lnTo>
                      <a:pt x="88" y="80"/>
                    </a:lnTo>
                    <a:lnTo>
                      <a:pt x="88" y="80"/>
                    </a:lnTo>
                    <a:lnTo>
                      <a:pt x="83" y="73"/>
                    </a:lnTo>
                    <a:lnTo>
                      <a:pt x="81" y="70"/>
                    </a:lnTo>
                    <a:lnTo>
                      <a:pt x="80" y="66"/>
                    </a:lnTo>
                    <a:lnTo>
                      <a:pt x="80" y="66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08" name="Thailand">
                <a:extLst>
                  <a:ext uri="{FF2B5EF4-FFF2-40B4-BE49-F238E27FC236}">
                    <a16:creationId xmlns:a16="http://schemas.microsoft.com/office/drawing/2014/main" id="{FE3EA934-9043-2822-8560-83EE176D3E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1142" y="3816972"/>
                <a:ext cx="186453" cy="358107"/>
              </a:xfrm>
              <a:custGeom>
                <a:avLst/>
                <a:gdLst/>
                <a:ahLst/>
                <a:cxnLst>
                  <a:cxn ang="0">
                    <a:pos x="77" y="121"/>
                  </a:cxn>
                  <a:cxn ang="0">
                    <a:pos x="84" y="108"/>
                  </a:cxn>
                  <a:cxn ang="0">
                    <a:pos x="99" y="103"/>
                  </a:cxn>
                  <a:cxn ang="0">
                    <a:pos x="121" y="103"/>
                  </a:cxn>
                  <a:cxn ang="0">
                    <a:pos x="124" y="105"/>
                  </a:cxn>
                  <a:cxn ang="0">
                    <a:pos x="126" y="87"/>
                  </a:cxn>
                  <a:cxn ang="0">
                    <a:pos x="119" y="73"/>
                  </a:cxn>
                  <a:cxn ang="0">
                    <a:pos x="114" y="67"/>
                  </a:cxn>
                  <a:cxn ang="0">
                    <a:pos x="114" y="51"/>
                  </a:cxn>
                  <a:cxn ang="0">
                    <a:pos x="102" y="38"/>
                  </a:cxn>
                  <a:cxn ang="0">
                    <a:pos x="87" y="40"/>
                  </a:cxn>
                  <a:cxn ang="0">
                    <a:pos x="79" y="44"/>
                  </a:cxn>
                  <a:cxn ang="0">
                    <a:pos x="72" y="40"/>
                  </a:cxn>
                  <a:cxn ang="0">
                    <a:pos x="57" y="50"/>
                  </a:cxn>
                  <a:cxn ang="0">
                    <a:pos x="51" y="48"/>
                  </a:cxn>
                  <a:cxn ang="0">
                    <a:pos x="55" y="36"/>
                  </a:cxn>
                  <a:cxn ang="0">
                    <a:pos x="57" y="24"/>
                  </a:cxn>
                  <a:cxn ang="0">
                    <a:pos x="54" y="16"/>
                  </a:cxn>
                  <a:cxn ang="0">
                    <a:pos x="45" y="16"/>
                  </a:cxn>
                  <a:cxn ang="0">
                    <a:pos x="44" y="4"/>
                  </a:cxn>
                  <a:cxn ang="0">
                    <a:pos x="41" y="0"/>
                  </a:cxn>
                  <a:cxn ang="0">
                    <a:pos x="31" y="6"/>
                  </a:cxn>
                  <a:cxn ang="0">
                    <a:pos x="21" y="13"/>
                  </a:cxn>
                  <a:cxn ang="0">
                    <a:pos x="7" y="14"/>
                  </a:cxn>
                  <a:cxn ang="0">
                    <a:pos x="0" y="44"/>
                  </a:cxn>
                  <a:cxn ang="0">
                    <a:pos x="8" y="57"/>
                  </a:cxn>
                  <a:cxn ang="0">
                    <a:pos x="13" y="64"/>
                  </a:cxn>
                  <a:cxn ang="0">
                    <a:pos x="17" y="71"/>
                  </a:cxn>
                  <a:cxn ang="0">
                    <a:pos x="14" y="77"/>
                  </a:cxn>
                  <a:cxn ang="0">
                    <a:pos x="11" y="88"/>
                  </a:cxn>
                  <a:cxn ang="0">
                    <a:pos x="13" y="101"/>
                  </a:cxn>
                  <a:cxn ang="0">
                    <a:pos x="23" y="115"/>
                  </a:cxn>
                  <a:cxn ang="0">
                    <a:pos x="25" y="131"/>
                  </a:cxn>
                  <a:cxn ang="0">
                    <a:pos x="24" y="151"/>
                  </a:cxn>
                  <a:cxn ang="0">
                    <a:pos x="15" y="164"/>
                  </a:cxn>
                  <a:cxn ang="0">
                    <a:pos x="8" y="201"/>
                  </a:cxn>
                  <a:cxn ang="0">
                    <a:pos x="20" y="208"/>
                  </a:cxn>
                  <a:cxn ang="0">
                    <a:pos x="37" y="231"/>
                  </a:cxn>
                  <a:cxn ang="0">
                    <a:pos x="52" y="235"/>
                  </a:cxn>
                  <a:cxn ang="0">
                    <a:pos x="55" y="242"/>
                  </a:cxn>
                  <a:cxn ang="0">
                    <a:pos x="68" y="241"/>
                  </a:cxn>
                  <a:cxn ang="0">
                    <a:pos x="72" y="235"/>
                  </a:cxn>
                  <a:cxn ang="0">
                    <a:pos x="54" y="225"/>
                  </a:cxn>
                  <a:cxn ang="0">
                    <a:pos x="44" y="218"/>
                  </a:cxn>
                  <a:cxn ang="0">
                    <a:pos x="41" y="202"/>
                  </a:cxn>
                  <a:cxn ang="0">
                    <a:pos x="37" y="192"/>
                  </a:cxn>
                  <a:cxn ang="0">
                    <a:pos x="27" y="184"/>
                  </a:cxn>
                  <a:cxn ang="0">
                    <a:pos x="28" y="158"/>
                  </a:cxn>
                  <a:cxn ang="0">
                    <a:pos x="37" y="132"/>
                  </a:cxn>
                  <a:cxn ang="0">
                    <a:pos x="37" y="124"/>
                  </a:cxn>
                  <a:cxn ang="0">
                    <a:pos x="50" y="120"/>
                  </a:cxn>
                  <a:cxn ang="0">
                    <a:pos x="54" y="130"/>
                  </a:cxn>
                  <a:cxn ang="0">
                    <a:pos x="68" y="132"/>
                  </a:cxn>
                  <a:cxn ang="0">
                    <a:pos x="79" y="141"/>
                  </a:cxn>
                  <a:cxn ang="0">
                    <a:pos x="81" y="141"/>
                  </a:cxn>
                  <a:cxn ang="0">
                    <a:pos x="78" y="128"/>
                  </a:cxn>
                </a:cxnLst>
                <a:rect l="0" t="0" r="r" b="b"/>
                <a:pathLst>
                  <a:path w="126" h="242">
                    <a:moveTo>
                      <a:pt x="78" y="128"/>
                    </a:moveTo>
                    <a:lnTo>
                      <a:pt x="78" y="128"/>
                    </a:lnTo>
                    <a:lnTo>
                      <a:pt x="78" y="124"/>
                    </a:lnTo>
                    <a:lnTo>
                      <a:pt x="77" y="121"/>
                    </a:lnTo>
                    <a:lnTo>
                      <a:pt x="75" y="118"/>
                    </a:lnTo>
                    <a:lnTo>
                      <a:pt x="78" y="114"/>
                    </a:lnTo>
                    <a:lnTo>
                      <a:pt x="78" y="114"/>
                    </a:lnTo>
                    <a:lnTo>
                      <a:pt x="84" y="108"/>
                    </a:lnTo>
                    <a:lnTo>
                      <a:pt x="89" y="104"/>
                    </a:lnTo>
                    <a:lnTo>
                      <a:pt x="95" y="103"/>
                    </a:lnTo>
                    <a:lnTo>
                      <a:pt x="99" y="103"/>
                    </a:lnTo>
                    <a:lnTo>
                      <a:pt x="99" y="103"/>
                    </a:lnTo>
                    <a:lnTo>
                      <a:pt x="105" y="103"/>
                    </a:lnTo>
                    <a:lnTo>
                      <a:pt x="112" y="103"/>
                    </a:lnTo>
                    <a:lnTo>
                      <a:pt x="118" y="103"/>
                    </a:lnTo>
                    <a:lnTo>
                      <a:pt x="121" y="103"/>
                    </a:lnTo>
                    <a:lnTo>
                      <a:pt x="122" y="104"/>
                    </a:lnTo>
                    <a:lnTo>
                      <a:pt x="122" y="104"/>
                    </a:lnTo>
                    <a:lnTo>
                      <a:pt x="124" y="105"/>
                    </a:lnTo>
                    <a:lnTo>
                      <a:pt x="124" y="105"/>
                    </a:lnTo>
                    <a:lnTo>
                      <a:pt x="126" y="101"/>
                    </a:lnTo>
                    <a:lnTo>
                      <a:pt x="126" y="97"/>
                    </a:lnTo>
                    <a:lnTo>
                      <a:pt x="126" y="93"/>
                    </a:lnTo>
                    <a:lnTo>
                      <a:pt x="126" y="87"/>
                    </a:lnTo>
                    <a:lnTo>
                      <a:pt x="126" y="87"/>
                    </a:lnTo>
                    <a:lnTo>
                      <a:pt x="125" y="81"/>
                    </a:lnTo>
                    <a:lnTo>
                      <a:pt x="122" y="75"/>
                    </a:lnTo>
                    <a:lnTo>
                      <a:pt x="119" y="73"/>
                    </a:lnTo>
                    <a:lnTo>
                      <a:pt x="115" y="70"/>
                    </a:lnTo>
                    <a:lnTo>
                      <a:pt x="115" y="70"/>
                    </a:lnTo>
                    <a:lnTo>
                      <a:pt x="114" y="68"/>
                    </a:lnTo>
                    <a:lnTo>
                      <a:pt x="114" y="67"/>
                    </a:lnTo>
                    <a:lnTo>
                      <a:pt x="114" y="61"/>
                    </a:lnTo>
                    <a:lnTo>
                      <a:pt x="115" y="54"/>
                    </a:lnTo>
                    <a:lnTo>
                      <a:pt x="115" y="53"/>
                    </a:lnTo>
                    <a:lnTo>
                      <a:pt x="114" y="51"/>
                    </a:lnTo>
                    <a:lnTo>
                      <a:pt x="114" y="51"/>
                    </a:lnTo>
                    <a:lnTo>
                      <a:pt x="108" y="46"/>
                    </a:lnTo>
                    <a:lnTo>
                      <a:pt x="102" y="38"/>
                    </a:lnTo>
                    <a:lnTo>
                      <a:pt x="102" y="38"/>
                    </a:lnTo>
                    <a:lnTo>
                      <a:pt x="98" y="37"/>
                    </a:lnTo>
                    <a:lnTo>
                      <a:pt x="94" y="37"/>
                    </a:lnTo>
                    <a:lnTo>
                      <a:pt x="89" y="37"/>
                    </a:lnTo>
                    <a:lnTo>
                      <a:pt x="87" y="40"/>
                    </a:lnTo>
                    <a:lnTo>
                      <a:pt x="87" y="40"/>
                    </a:lnTo>
                    <a:lnTo>
                      <a:pt x="85" y="41"/>
                    </a:lnTo>
                    <a:lnTo>
                      <a:pt x="82" y="43"/>
                    </a:lnTo>
                    <a:lnTo>
                      <a:pt x="79" y="44"/>
                    </a:lnTo>
                    <a:lnTo>
                      <a:pt x="77" y="43"/>
                    </a:lnTo>
                    <a:lnTo>
                      <a:pt x="77" y="43"/>
                    </a:lnTo>
                    <a:lnTo>
                      <a:pt x="75" y="41"/>
                    </a:lnTo>
                    <a:lnTo>
                      <a:pt x="72" y="40"/>
                    </a:lnTo>
                    <a:lnTo>
                      <a:pt x="69" y="41"/>
                    </a:lnTo>
                    <a:lnTo>
                      <a:pt x="65" y="43"/>
                    </a:lnTo>
                    <a:lnTo>
                      <a:pt x="65" y="43"/>
                    </a:lnTo>
                    <a:lnTo>
                      <a:pt x="57" y="50"/>
                    </a:lnTo>
                    <a:lnTo>
                      <a:pt x="52" y="51"/>
                    </a:lnTo>
                    <a:lnTo>
                      <a:pt x="51" y="50"/>
                    </a:lnTo>
                    <a:lnTo>
                      <a:pt x="51" y="48"/>
                    </a:lnTo>
                    <a:lnTo>
                      <a:pt x="51" y="48"/>
                    </a:lnTo>
                    <a:lnTo>
                      <a:pt x="51" y="46"/>
                    </a:lnTo>
                    <a:lnTo>
                      <a:pt x="52" y="43"/>
                    </a:lnTo>
                    <a:lnTo>
                      <a:pt x="54" y="40"/>
                    </a:lnTo>
                    <a:lnTo>
                      <a:pt x="55" y="36"/>
                    </a:lnTo>
                    <a:lnTo>
                      <a:pt x="55" y="36"/>
                    </a:lnTo>
                    <a:lnTo>
                      <a:pt x="55" y="31"/>
                    </a:lnTo>
                    <a:lnTo>
                      <a:pt x="57" y="27"/>
                    </a:lnTo>
                    <a:lnTo>
                      <a:pt x="57" y="24"/>
                    </a:lnTo>
                    <a:lnTo>
                      <a:pt x="57" y="19"/>
                    </a:lnTo>
                    <a:lnTo>
                      <a:pt x="57" y="19"/>
                    </a:lnTo>
                    <a:lnTo>
                      <a:pt x="55" y="17"/>
                    </a:lnTo>
                    <a:lnTo>
                      <a:pt x="54" y="16"/>
                    </a:lnTo>
                    <a:lnTo>
                      <a:pt x="51" y="16"/>
                    </a:lnTo>
                    <a:lnTo>
                      <a:pt x="47" y="17"/>
                    </a:lnTo>
                    <a:lnTo>
                      <a:pt x="47" y="16"/>
                    </a:lnTo>
                    <a:lnTo>
                      <a:pt x="45" y="16"/>
                    </a:lnTo>
                    <a:lnTo>
                      <a:pt x="45" y="16"/>
                    </a:lnTo>
                    <a:lnTo>
                      <a:pt x="44" y="11"/>
                    </a:lnTo>
                    <a:lnTo>
                      <a:pt x="44" y="7"/>
                    </a:lnTo>
                    <a:lnTo>
                      <a:pt x="44" y="4"/>
                    </a:lnTo>
                    <a:lnTo>
                      <a:pt x="44" y="3"/>
                    </a:lnTo>
                    <a:lnTo>
                      <a:pt x="44" y="3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5" y="4"/>
                    </a:lnTo>
                    <a:lnTo>
                      <a:pt x="31" y="6"/>
                    </a:lnTo>
                    <a:lnTo>
                      <a:pt x="27" y="7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1" y="13"/>
                    </a:lnTo>
                    <a:lnTo>
                      <a:pt x="17" y="14"/>
                    </a:lnTo>
                    <a:lnTo>
                      <a:pt x="11" y="14"/>
                    </a:lnTo>
                    <a:lnTo>
                      <a:pt x="11" y="14"/>
                    </a:lnTo>
                    <a:lnTo>
                      <a:pt x="7" y="14"/>
                    </a:lnTo>
                    <a:lnTo>
                      <a:pt x="4" y="16"/>
                    </a:lnTo>
                    <a:lnTo>
                      <a:pt x="3" y="19"/>
                    </a:lnTo>
                    <a:lnTo>
                      <a:pt x="3" y="19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1" y="48"/>
                    </a:lnTo>
                    <a:lnTo>
                      <a:pt x="4" y="53"/>
                    </a:lnTo>
                    <a:lnTo>
                      <a:pt x="8" y="57"/>
                    </a:lnTo>
                    <a:lnTo>
                      <a:pt x="11" y="58"/>
                    </a:lnTo>
                    <a:lnTo>
                      <a:pt x="11" y="58"/>
                    </a:lnTo>
                    <a:lnTo>
                      <a:pt x="13" y="61"/>
                    </a:lnTo>
                    <a:lnTo>
                      <a:pt x="13" y="64"/>
                    </a:lnTo>
                    <a:lnTo>
                      <a:pt x="13" y="67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7" y="71"/>
                    </a:lnTo>
                    <a:lnTo>
                      <a:pt x="17" y="74"/>
                    </a:lnTo>
                    <a:lnTo>
                      <a:pt x="15" y="77"/>
                    </a:lnTo>
                    <a:lnTo>
                      <a:pt x="14" y="77"/>
                    </a:lnTo>
                    <a:lnTo>
                      <a:pt x="14" y="77"/>
                    </a:lnTo>
                    <a:lnTo>
                      <a:pt x="13" y="78"/>
                    </a:lnTo>
                    <a:lnTo>
                      <a:pt x="14" y="81"/>
                    </a:lnTo>
                    <a:lnTo>
                      <a:pt x="13" y="85"/>
                    </a:lnTo>
                    <a:lnTo>
                      <a:pt x="11" y="88"/>
                    </a:lnTo>
                    <a:lnTo>
                      <a:pt x="11" y="88"/>
                    </a:lnTo>
                    <a:lnTo>
                      <a:pt x="10" y="93"/>
                    </a:lnTo>
                    <a:lnTo>
                      <a:pt x="11" y="97"/>
                    </a:lnTo>
                    <a:lnTo>
                      <a:pt x="13" y="101"/>
                    </a:lnTo>
                    <a:lnTo>
                      <a:pt x="17" y="105"/>
                    </a:lnTo>
                    <a:lnTo>
                      <a:pt x="17" y="105"/>
                    </a:lnTo>
                    <a:lnTo>
                      <a:pt x="21" y="111"/>
                    </a:lnTo>
                    <a:lnTo>
                      <a:pt x="23" y="115"/>
                    </a:lnTo>
                    <a:lnTo>
                      <a:pt x="24" y="125"/>
                    </a:lnTo>
                    <a:lnTo>
                      <a:pt x="24" y="125"/>
                    </a:lnTo>
                    <a:lnTo>
                      <a:pt x="24" y="128"/>
                    </a:lnTo>
                    <a:lnTo>
                      <a:pt x="25" y="131"/>
                    </a:lnTo>
                    <a:lnTo>
                      <a:pt x="28" y="134"/>
                    </a:lnTo>
                    <a:lnTo>
                      <a:pt x="28" y="138"/>
                    </a:lnTo>
                    <a:lnTo>
                      <a:pt x="28" y="138"/>
                    </a:lnTo>
                    <a:lnTo>
                      <a:pt x="24" y="151"/>
                    </a:lnTo>
                    <a:lnTo>
                      <a:pt x="20" y="161"/>
                    </a:lnTo>
                    <a:lnTo>
                      <a:pt x="17" y="164"/>
                    </a:lnTo>
                    <a:lnTo>
                      <a:pt x="15" y="164"/>
                    </a:lnTo>
                    <a:lnTo>
                      <a:pt x="15" y="164"/>
                    </a:lnTo>
                    <a:lnTo>
                      <a:pt x="10" y="188"/>
                    </a:lnTo>
                    <a:lnTo>
                      <a:pt x="10" y="188"/>
                    </a:lnTo>
                    <a:lnTo>
                      <a:pt x="8" y="198"/>
                    </a:lnTo>
                    <a:lnTo>
                      <a:pt x="8" y="201"/>
                    </a:lnTo>
                    <a:lnTo>
                      <a:pt x="11" y="202"/>
                    </a:lnTo>
                    <a:lnTo>
                      <a:pt x="11" y="202"/>
                    </a:lnTo>
                    <a:lnTo>
                      <a:pt x="15" y="204"/>
                    </a:lnTo>
                    <a:lnTo>
                      <a:pt x="20" y="208"/>
                    </a:lnTo>
                    <a:lnTo>
                      <a:pt x="32" y="222"/>
                    </a:lnTo>
                    <a:lnTo>
                      <a:pt x="32" y="222"/>
                    </a:lnTo>
                    <a:lnTo>
                      <a:pt x="37" y="231"/>
                    </a:lnTo>
                    <a:lnTo>
                      <a:pt x="37" y="231"/>
                    </a:lnTo>
                    <a:lnTo>
                      <a:pt x="47" y="231"/>
                    </a:lnTo>
                    <a:lnTo>
                      <a:pt x="47" y="231"/>
                    </a:lnTo>
                    <a:lnTo>
                      <a:pt x="50" y="232"/>
                    </a:lnTo>
                    <a:lnTo>
                      <a:pt x="52" y="235"/>
                    </a:lnTo>
                    <a:lnTo>
                      <a:pt x="54" y="238"/>
                    </a:lnTo>
                    <a:lnTo>
                      <a:pt x="54" y="241"/>
                    </a:lnTo>
                    <a:lnTo>
                      <a:pt x="54" y="241"/>
                    </a:lnTo>
                    <a:lnTo>
                      <a:pt x="55" y="242"/>
                    </a:lnTo>
                    <a:lnTo>
                      <a:pt x="60" y="242"/>
                    </a:lnTo>
                    <a:lnTo>
                      <a:pt x="67" y="242"/>
                    </a:lnTo>
                    <a:lnTo>
                      <a:pt x="67" y="242"/>
                    </a:lnTo>
                    <a:lnTo>
                      <a:pt x="68" y="241"/>
                    </a:lnTo>
                    <a:lnTo>
                      <a:pt x="68" y="239"/>
                    </a:lnTo>
                    <a:lnTo>
                      <a:pt x="69" y="238"/>
                    </a:lnTo>
                    <a:lnTo>
                      <a:pt x="72" y="235"/>
                    </a:lnTo>
                    <a:lnTo>
                      <a:pt x="72" y="235"/>
                    </a:lnTo>
                    <a:lnTo>
                      <a:pt x="68" y="232"/>
                    </a:lnTo>
                    <a:lnTo>
                      <a:pt x="64" y="229"/>
                    </a:lnTo>
                    <a:lnTo>
                      <a:pt x="58" y="226"/>
                    </a:lnTo>
                    <a:lnTo>
                      <a:pt x="54" y="225"/>
                    </a:lnTo>
                    <a:lnTo>
                      <a:pt x="54" y="225"/>
                    </a:lnTo>
                    <a:lnTo>
                      <a:pt x="51" y="223"/>
                    </a:lnTo>
                    <a:lnTo>
                      <a:pt x="48" y="222"/>
                    </a:lnTo>
                    <a:lnTo>
                      <a:pt x="44" y="218"/>
                    </a:lnTo>
                    <a:lnTo>
                      <a:pt x="42" y="212"/>
                    </a:lnTo>
                    <a:lnTo>
                      <a:pt x="42" y="206"/>
                    </a:lnTo>
                    <a:lnTo>
                      <a:pt x="42" y="206"/>
                    </a:lnTo>
                    <a:lnTo>
                      <a:pt x="41" y="202"/>
                    </a:lnTo>
                    <a:lnTo>
                      <a:pt x="40" y="199"/>
                    </a:lnTo>
                    <a:lnTo>
                      <a:pt x="37" y="195"/>
                    </a:lnTo>
                    <a:lnTo>
                      <a:pt x="37" y="192"/>
                    </a:lnTo>
                    <a:lnTo>
                      <a:pt x="37" y="192"/>
                    </a:lnTo>
                    <a:lnTo>
                      <a:pt x="35" y="189"/>
                    </a:lnTo>
                    <a:lnTo>
                      <a:pt x="34" y="186"/>
                    </a:lnTo>
                    <a:lnTo>
                      <a:pt x="27" y="184"/>
                    </a:lnTo>
                    <a:lnTo>
                      <a:pt x="27" y="184"/>
                    </a:lnTo>
                    <a:lnTo>
                      <a:pt x="24" y="182"/>
                    </a:lnTo>
                    <a:lnTo>
                      <a:pt x="24" y="179"/>
                    </a:lnTo>
                    <a:lnTo>
                      <a:pt x="25" y="172"/>
                    </a:lnTo>
                    <a:lnTo>
                      <a:pt x="28" y="158"/>
                    </a:lnTo>
                    <a:lnTo>
                      <a:pt x="28" y="158"/>
                    </a:lnTo>
                    <a:lnTo>
                      <a:pt x="30" y="151"/>
                    </a:lnTo>
                    <a:lnTo>
                      <a:pt x="34" y="142"/>
                    </a:lnTo>
                    <a:lnTo>
                      <a:pt x="37" y="132"/>
                    </a:lnTo>
                    <a:lnTo>
                      <a:pt x="37" y="128"/>
                    </a:lnTo>
                    <a:lnTo>
                      <a:pt x="37" y="125"/>
                    </a:lnTo>
                    <a:lnTo>
                      <a:pt x="37" y="125"/>
                    </a:lnTo>
                    <a:lnTo>
                      <a:pt x="37" y="124"/>
                    </a:lnTo>
                    <a:lnTo>
                      <a:pt x="37" y="121"/>
                    </a:lnTo>
                    <a:lnTo>
                      <a:pt x="41" y="118"/>
                    </a:lnTo>
                    <a:lnTo>
                      <a:pt x="47" y="118"/>
                    </a:lnTo>
                    <a:lnTo>
                      <a:pt x="50" y="120"/>
                    </a:lnTo>
                    <a:lnTo>
                      <a:pt x="51" y="121"/>
                    </a:lnTo>
                    <a:lnTo>
                      <a:pt x="51" y="121"/>
                    </a:lnTo>
                    <a:lnTo>
                      <a:pt x="51" y="127"/>
                    </a:lnTo>
                    <a:lnTo>
                      <a:pt x="54" y="130"/>
                    </a:lnTo>
                    <a:lnTo>
                      <a:pt x="57" y="131"/>
                    </a:lnTo>
                    <a:lnTo>
                      <a:pt x="62" y="131"/>
                    </a:lnTo>
                    <a:lnTo>
                      <a:pt x="62" y="131"/>
                    </a:lnTo>
                    <a:lnTo>
                      <a:pt x="68" y="132"/>
                    </a:lnTo>
                    <a:lnTo>
                      <a:pt x="72" y="135"/>
                    </a:lnTo>
                    <a:lnTo>
                      <a:pt x="75" y="138"/>
                    </a:lnTo>
                    <a:lnTo>
                      <a:pt x="79" y="141"/>
                    </a:lnTo>
                    <a:lnTo>
                      <a:pt x="79" y="141"/>
                    </a:lnTo>
                    <a:lnTo>
                      <a:pt x="81" y="141"/>
                    </a:lnTo>
                    <a:lnTo>
                      <a:pt x="81" y="141"/>
                    </a:lnTo>
                    <a:lnTo>
                      <a:pt x="81" y="141"/>
                    </a:lnTo>
                    <a:lnTo>
                      <a:pt x="81" y="141"/>
                    </a:lnTo>
                    <a:lnTo>
                      <a:pt x="81" y="137"/>
                    </a:lnTo>
                    <a:lnTo>
                      <a:pt x="81" y="135"/>
                    </a:lnTo>
                    <a:lnTo>
                      <a:pt x="79" y="132"/>
                    </a:lnTo>
                    <a:lnTo>
                      <a:pt x="78" y="128"/>
                    </a:lnTo>
                    <a:lnTo>
                      <a:pt x="78" y="128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09" name="Bangladesh">
                <a:extLst>
                  <a:ext uri="{FF2B5EF4-FFF2-40B4-BE49-F238E27FC236}">
                    <a16:creationId xmlns:a16="http://schemas.microsoft.com/office/drawing/2014/main" id="{854D41B7-B25D-5B68-9193-B447C88912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3973" y="3671953"/>
                <a:ext cx="102106" cy="133181"/>
              </a:xfrm>
              <a:custGeom>
                <a:avLst/>
                <a:gdLst/>
                <a:ahLst/>
                <a:cxnLst>
                  <a:cxn ang="0">
                    <a:pos x="69" y="74"/>
                  </a:cxn>
                  <a:cxn ang="0">
                    <a:pos x="63" y="45"/>
                  </a:cxn>
                  <a:cxn ang="0">
                    <a:pos x="62" y="43"/>
                  </a:cxn>
                  <a:cxn ang="0">
                    <a:pos x="56" y="50"/>
                  </a:cxn>
                  <a:cxn ang="0">
                    <a:pos x="52" y="55"/>
                  </a:cxn>
                  <a:cxn ang="0">
                    <a:pos x="50" y="55"/>
                  </a:cxn>
                  <a:cxn ang="0">
                    <a:pos x="47" y="53"/>
                  </a:cxn>
                  <a:cxn ang="0">
                    <a:pos x="47" y="41"/>
                  </a:cxn>
                  <a:cxn ang="0">
                    <a:pos x="52" y="38"/>
                  </a:cxn>
                  <a:cxn ang="0">
                    <a:pos x="53" y="38"/>
                  </a:cxn>
                  <a:cxn ang="0">
                    <a:pos x="59" y="31"/>
                  </a:cxn>
                  <a:cxn ang="0">
                    <a:pos x="63" y="23"/>
                  </a:cxn>
                  <a:cxn ang="0">
                    <a:pos x="63" y="20"/>
                  </a:cxn>
                  <a:cxn ang="0">
                    <a:pos x="52" y="18"/>
                  </a:cxn>
                  <a:cxn ang="0">
                    <a:pos x="33" y="20"/>
                  </a:cxn>
                  <a:cxn ang="0">
                    <a:pos x="30" y="17"/>
                  </a:cxn>
                  <a:cxn ang="0">
                    <a:pos x="26" y="11"/>
                  </a:cxn>
                  <a:cxn ang="0">
                    <a:pos x="26" y="8"/>
                  </a:cxn>
                  <a:cxn ang="0">
                    <a:pos x="20" y="4"/>
                  </a:cxn>
                  <a:cxn ang="0">
                    <a:pos x="16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6"/>
                  </a:cxn>
                  <a:cxn ang="0">
                    <a:pos x="6" y="10"/>
                  </a:cxn>
                  <a:cxn ang="0">
                    <a:pos x="12" y="14"/>
                  </a:cxn>
                  <a:cxn ang="0">
                    <a:pos x="13" y="17"/>
                  </a:cxn>
                  <a:cxn ang="0">
                    <a:pos x="7" y="20"/>
                  </a:cxn>
                  <a:cxn ang="0">
                    <a:pos x="3" y="23"/>
                  </a:cxn>
                  <a:cxn ang="0">
                    <a:pos x="3" y="28"/>
                  </a:cxn>
                  <a:cxn ang="0">
                    <a:pos x="7" y="47"/>
                  </a:cxn>
                  <a:cxn ang="0">
                    <a:pos x="12" y="60"/>
                  </a:cxn>
                  <a:cxn ang="0">
                    <a:pos x="13" y="77"/>
                  </a:cxn>
                  <a:cxn ang="0">
                    <a:pos x="19" y="75"/>
                  </a:cxn>
                  <a:cxn ang="0">
                    <a:pos x="25" y="74"/>
                  </a:cxn>
                  <a:cxn ang="0">
                    <a:pos x="36" y="71"/>
                  </a:cxn>
                  <a:cxn ang="0">
                    <a:pos x="37" y="67"/>
                  </a:cxn>
                  <a:cxn ang="0">
                    <a:pos x="40" y="61"/>
                  </a:cxn>
                  <a:cxn ang="0">
                    <a:pos x="47" y="60"/>
                  </a:cxn>
                  <a:cxn ang="0">
                    <a:pos x="49" y="63"/>
                  </a:cxn>
                  <a:cxn ang="0">
                    <a:pos x="54" y="75"/>
                  </a:cxn>
                  <a:cxn ang="0">
                    <a:pos x="56" y="81"/>
                  </a:cxn>
                  <a:cxn ang="0">
                    <a:pos x="57" y="90"/>
                  </a:cxn>
                  <a:cxn ang="0">
                    <a:pos x="63" y="85"/>
                  </a:cxn>
                  <a:cxn ang="0">
                    <a:pos x="64" y="81"/>
                  </a:cxn>
                  <a:cxn ang="0">
                    <a:pos x="69" y="74"/>
                  </a:cxn>
                </a:cxnLst>
                <a:rect l="0" t="0" r="r" b="b"/>
                <a:pathLst>
                  <a:path w="69" h="90">
                    <a:moveTo>
                      <a:pt x="69" y="74"/>
                    </a:moveTo>
                    <a:lnTo>
                      <a:pt x="69" y="74"/>
                    </a:lnTo>
                    <a:lnTo>
                      <a:pt x="64" y="53"/>
                    </a:lnTo>
                    <a:lnTo>
                      <a:pt x="63" y="45"/>
                    </a:lnTo>
                    <a:lnTo>
                      <a:pt x="62" y="43"/>
                    </a:lnTo>
                    <a:lnTo>
                      <a:pt x="62" y="43"/>
                    </a:lnTo>
                    <a:lnTo>
                      <a:pt x="59" y="45"/>
                    </a:lnTo>
                    <a:lnTo>
                      <a:pt x="56" y="50"/>
                    </a:lnTo>
                    <a:lnTo>
                      <a:pt x="53" y="54"/>
                    </a:lnTo>
                    <a:lnTo>
                      <a:pt x="52" y="55"/>
                    </a:lnTo>
                    <a:lnTo>
                      <a:pt x="50" y="55"/>
                    </a:lnTo>
                    <a:lnTo>
                      <a:pt x="50" y="55"/>
                    </a:lnTo>
                    <a:lnTo>
                      <a:pt x="49" y="55"/>
                    </a:lnTo>
                    <a:lnTo>
                      <a:pt x="47" y="53"/>
                    </a:lnTo>
                    <a:lnTo>
                      <a:pt x="46" y="47"/>
                    </a:lnTo>
                    <a:lnTo>
                      <a:pt x="47" y="41"/>
                    </a:lnTo>
                    <a:lnTo>
                      <a:pt x="49" y="40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3" y="38"/>
                    </a:lnTo>
                    <a:lnTo>
                      <a:pt x="56" y="37"/>
                    </a:lnTo>
                    <a:lnTo>
                      <a:pt x="59" y="31"/>
                    </a:lnTo>
                    <a:lnTo>
                      <a:pt x="63" y="27"/>
                    </a:lnTo>
                    <a:lnTo>
                      <a:pt x="63" y="23"/>
                    </a:lnTo>
                    <a:lnTo>
                      <a:pt x="63" y="23"/>
                    </a:lnTo>
                    <a:lnTo>
                      <a:pt x="63" y="20"/>
                    </a:lnTo>
                    <a:lnTo>
                      <a:pt x="60" y="18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33" y="20"/>
                    </a:lnTo>
                    <a:lnTo>
                      <a:pt x="33" y="20"/>
                    </a:lnTo>
                    <a:lnTo>
                      <a:pt x="30" y="17"/>
                    </a:lnTo>
                    <a:lnTo>
                      <a:pt x="27" y="14"/>
                    </a:lnTo>
                    <a:lnTo>
                      <a:pt x="26" y="11"/>
                    </a:lnTo>
                    <a:lnTo>
                      <a:pt x="26" y="11"/>
                    </a:lnTo>
                    <a:lnTo>
                      <a:pt x="26" y="8"/>
                    </a:lnTo>
                    <a:lnTo>
                      <a:pt x="23" y="6"/>
                    </a:lnTo>
                    <a:lnTo>
                      <a:pt x="20" y="4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10" y="1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2" y="7"/>
                    </a:lnTo>
                    <a:lnTo>
                      <a:pt x="6" y="10"/>
                    </a:lnTo>
                    <a:lnTo>
                      <a:pt x="10" y="13"/>
                    </a:lnTo>
                    <a:lnTo>
                      <a:pt x="12" y="14"/>
                    </a:lnTo>
                    <a:lnTo>
                      <a:pt x="13" y="17"/>
                    </a:lnTo>
                    <a:lnTo>
                      <a:pt x="13" y="17"/>
                    </a:lnTo>
                    <a:lnTo>
                      <a:pt x="10" y="20"/>
                    </a:lnTo>
                    <a:lnTo>
                      <a:pt x="7" y="20"/>
                    </a:lnTo>
                    <a:lnTo>
                      <a:pt x="6" y="21"/>
                    </a:lnTo>
                    <a:lnTo>
                      <a:pt x="3" y="23"/>
                    </a:lnTo>
                    <a:lnTo>
                      <a:pt x="3" y="23"/>
                    </a:lnTo>
                    <a:lnTo>
                      <a:pt x="3" y="28"/>
                    </a:lnTo>
                    <a:lnTo>
                      <a:pt x="5" y="34"/>
                    </a:lnTo>
                    <a:lnTo>
                      <a:pt x="7" y="47"/>
                    </a:lnTo>
                    <a:lnTo>
                      <a:pt x="7" y="47"/>
                    </a:lnTo>
                    <a:lnTo>
                      <a:pt x="12" y="60"/>
                    </a:lnTo>
                    <a:lnTo>
                      <a:pt x="13" y="68"/>
                    </a:lnTo>
                    <a:lnTo>
                      <a:pt x="13" y="77"/>
                    </a:lnTo>
                    <a:lnTo>
                      <a:pt x="13" y="77"/>
                    </a:lnTo>
                    <a:lnTo>
                      <a:pt x="19" y="75"/>
                    </a:lnTo>
                    <a:lnTo>
                      <a:pt x="25" y="74"/>
                    </a:lnTo>
                    <a:lnTo>
                      <a:pt x="25" y="74"/>
                    </a:lnTo>
                    <a:lnTo>
                      <a:pt x="32" y="72"/>
                    </a:lnTo>
                    <a:lnTo>
                      <a:pt x="36" y="71"/>
                    </a:lnTo>
                    <a:lnTo>
                      <a:pt x="37" y="67"/>
                    </a:lnTo>
                    <a:lnTo>
                      <a:pt x="37" y="67"/>
                    </a:lnTo>
                    <a:lnTo>
                      <a:pt x="39" y="64"/>
                    </a:lnTo>
                    <a:lnTo>
                      <a:pt x="40" y="61"/>
                    </a:lnTo>
                    <a:lnTo>
                      <a:pt x="44" y="60"/>
                    </a:lnTo>
                    <a:lnTo>
                      <a:pt x="47" y="60"/>
                    </a:lnTo>
                    <a:lnTo>
                      <a:pt x="47" y="60"/>
                    </a:lnTo>
                    <a:lnTo>
                      <a:pt x="49" y="63"/>
                    </a:lnTo>
                    <a:lnTo>
                      <a:pt x="52" y="68"/>
                    </a:lnTo>
                    <a:lnTo>
                      <a:pt x="54" y="75"/>
                    </a:lnTo>
                    <a:lnTo>
                      <a:pt x="56" y="81"/>
                    </a:lnTo>
                    <a:lnTo>
                      <a:pt x="56" y="81"/>
                    </a:lnTo>
                    <a:lnTo>
                      <a:pt x="56" y="85"/>
                    </a:lnTo>
                    <a:lnTo>
                      <a:pt x="57" y="90"/>
                    </a:lnTo>
                    <a:lnTo>
                      <a:pt x="57" y="90"/>
                    </a:lnTo>
                    <a:lnTo>
                      <a:pt x="63" y="85"/>
                    </a:lnTo>
                    <a:lnTo>
                      <a:pt x="63" y="85"/>
                    </a:lnTo>
                    <a:lnTo>
                      <a:pt x="64" y="81"/>
                    </a:lnTo>
                    <a:lnTo>
                      <a:pt x="69" y="74"/>
                    </a:lnTo>
                    <a:lnTo>
                      <a:pt x="69" y="7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10" name="Phillippines">
                <a:extLst>
                  <a:ext uri="{FF2B5EF4-FFF2-40B4-BE49-F238E27FC236}">
                    <a16:creationId xmlns:a16="http://schemas.microsoft.com/office/drawing/2014/main" id="{6B9741E7-8D7F-3D7E-C1B7-B125F23315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80233" y="3870245"/>
                <a:ext cx="220488" cy="315194"/>
              </a:xfrm>
              <a:custGeom>
                <a:avLst/>
                <a:gdLst/>
                <a:ahLst/>
                <a:cxnLst>
                  <a:cxn ang="0">
                    <a:pos x="94" y="85"/>
                  </a:cxn>
                  <a:cxn ang="0">
                    <a:pos x="100" y="98"/>
                  </a:cxn>
                  <a:cxn ang="0">
                    <a:pos x="105" y="108"/>
                  </a:cxn>
                  <a:cxn ang="0">
                    <a:pos x="111" y="115"/>
                  </a:cxn>
                  <a:cxn ang="0">
                    <a:pos x="119" y="135"/>
                  </a:cxn>
                  <a:cxn ang="0">
                    <a:pos x="125" y="131"/>
                  </a:cxn>
                  <a:cxn ang="0">
                    <a:pos x="132" y="122"/>
                  </a:cxn>
                  <a:cxn ang="0">
                    <a:pos x="128" y="102"/>
                  </a:cxn>
                  <a:cxn ang="0">
                    <a:pos x="110" y="92"/>
                  </a:cxn>
                  <a:cxn ang="0">
                    <a:pos x="104" y="81"/>
                  </a:cxn>
                  <a:cxn ang="0">
                    <a:pos x="95" y="72"/>
                  </a:cxn>
                  <a:cxn ang="0">
                    <a:pos x="74" y="72"/>
                  </a:cxn>
                  <a:cxn ang="0">
                    <a:pos x="68" y="57"/>
                  </a:cxn>
                  <a:cxn ang="0">
                    <a:pos x="74" y="39"/>
                  </a:cxn>
                  <a:cxn ang="0">
                    <a:pos x="81" y="20"/>
                  </a:cxn>
                  <a:cxn ang="0">
                    <a:pos x="77" y="1"/>
                  </a:cxn>
                  <a:cxn ang="0">
                    <a:pos x="58" y="0"/>
                  </a:cxn>
                  <a:cxn ang="0">
                    <a:pos x="50" y="7"/>
                  </a:cxn>
                  <a:cxn ang="0">
                    <a:pos x="48" y="38"/>
                  </a:cxn>
                  <a:cxn ang="0">
                    <a:pos x="41" y="35"/>
                  </a:cxn>
                  <a:cxn ang="0">
                    <a:pos x="46" y="58"/>
                  </a:cxn>
                  <a:cxn ang="0">
                    <a:pos x="50" y="69"/>
                  </a:cxn>
                  <a:cxn ang="0">
                    <a:pos x="60" y="76"/>
                  </a:cxn>
                  <a:cxn ang="0">
                    <a:pos x="73" y="76"/>
                  </a:cxn>
                  <a:cxn ang="0">
                    <a:pos x="50" y="84"/>
                  </a:cxn>
                  <a:cxn ang="0">
                    <a:pos x="58" y="101"/>
                  </a:cxn>
                  <a:cxn ang="0">
                    <a:pos x="67" y="96"/>
                  </a:cxn>
                  <a:cxn ang="0">
                    <a:pos x="50" y="84"/>
                  </a:cxn>
                  <a:cxn ang="0">
                    <a:pos x="84" y="128"/>
                  </a:cxn>
                  <a:cxn ang="0">
                    <a:pos x="88" y="128"/>
                  </a:cxn>
                  <a:cxn ang="0">
                    <a:pos x="84" y="142"/>
                  </a:cxn>
                  <a:cxn ang="0">
                    <a:pos x="90" y="156"/>
                  </a:cxn>
                  <a:cxn ang="0">
                    <a:pos x="107" y="132"/>
                  </a:cxn>
                  <a:cxn ang="0">
                    <a:pos x="101" y="129"/>
                  </a:cxn>
                  <a:cxn ang="0">
                    <a:pos x="98" y="122"/>
                  </a:cxn>
                  <a:cxn ang="0">
                    <a:pos x="75" y="108"/>
                  </a:cxn>
                  <a:cxn ang="0">
                    <a:pos x="74" y="129"/>
                  </a:cxn>
                  <a:cxn ang="0">
                    <a:pos x="7" y="153"/>
                  </a:cxn>
                  <a:cxn ang="0">
                    <a:pos x="1" y="166"/>
                  </a:cxn>
                  <a:cxn ang="0">
                    <a:pos x="30" y="139"/>
                  </a:cxn>
                  <a:cxn ang="0">
                    <a:pos x="34" y="122"/>
                  </a:cxn>
                  <a:cxn ang="0">
                    <a:pos x="21" y="139"/>
                  </a:cxn>
                  <a:cxn ang="0">
                    <a:pos x="108" y="150"/>
                  </a:cxn>
                  <a:cxn ang="0">
                    <a:pos x="117" y="140"/>
                  </a:cxn>
                  <a:cxn ang="0">
                    <a:pos x="105" y="149"/>
                  </a:cxn>
                  <a:cxn ang="0">
                    <a:pos x="149" y="179"/>
                  </a:cxn>
                  <a:cxn ang="0">
                    <a:pos x="144" y="146"/>
                  </a:cxn>
                  <a:cxn ang="0">
                    <a:pos x="132" y="145"/>
                  </a:cxn>
                  <a:cxn ang="0">
                    <a:pos x="134" y="152"/>
                  </a:cxn>
                  <a:cxn ang="0">
                    <a:pos x="124" y="158"/>
                  </a:cxn>
                  <a:cxn ang="0">
                    <a:pos x="114" y="163"/>
                  </a:cxn>
                  <a:cxn ang="0">
                    <a:pos x="110" y="166"/>
                  </a:cxn>
                  <a:cxn ang="0">
                    <a:pos x="91" y="165"/>
                  </a:cxn>
                  <a:cxn ang="0">
                    <a:pos x="77" y="176"/>
                  </a:cxn>
                  <a:cxn ang="0">
                    <a:pos x="75" y="189"/>
                  </a:cxn>
                  <a:cxn ang="0">
                    <a:pos x="90" y="182"/>
                  </a:cxn>
                  <a:cxn ang="0">
                    <a:pos x="101" y="177"/>
                  </a:cxn>
                  <a:cxn ang="0">
                    <a:pos x="111" y="203"/>
                  </a:cxn>
                  <a:cxn ang="0">
                    <a:pos x="128" y="212"/>
                  </a:cxn>
                  <a:cxn ang="0">
                    <a:pos x="132" y="205"/>
                  </a:cxn>
                  <a:cxn ang="0">
                    <a:pos x="132" y="190"/>
                  </a:cxn>
                  <a:cxn ang="0">
                    <a:pos x="148" y="186"/>
                  </a:cxn>
                </a:cxnLst>
                <a:rect l="0" t="0" r="r" b="b"/>
                <a:pathLst>
                  <a:path w="149" h="213">
                    <a:moveTo>
                      <a:pt x="81" y="79"/>
                    </a:moveTo>
                    <a:lnTo>
                      <a:pt x="81" y="79"/>
                    </a:lnTo>
                    <a:lnTo>
                      <a:pt x="84" y="79"/>
                    </a:lnTo>
                    <a:lnTo>
                      <a:pt x="88" y="81"/>
                    </a:lnTo>
                    <a:lnTo>
                      <a:pt x="94" y="85"/>
                    </a:lnTo>
                    <a:lnTo>
                      <a:pt x="98" y="89"/>
                    </a:lnTo>
                    <a:lnTo>
                      <a:pt x="100" y="92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8"/>
                    </a:lnTo>
                    <a:lnTo>
                      <a:pt x="100" y="103"/>
                    </a:lnTo>
                    <a:lnTo>
                      <a:pt x="102" y="108"/>
                    </a:lnTo>
                    <a:lnTo>
                      <a:pt x="102" y="109"/>
                    </a:lnTo>
                    <a:lnTo>
                      <a:pt x="105" y="108"/>
                    </a:lnTo>
                    <a:lnTo>
                      <a:pt x="105" y="108"/>
                    </a:lnTo>
                    <a:lnTo>
                      <a:pt x="108" y="106"/>
                    </a:lnTo>
                    <a:lnTo>
                      <a:pt x="111" y="108"/>
                    </a:lnTo>
                    <a:lnTo>
                      <a:pt x="112" y="111"/>
                    </a:lnTo>
                    <a:lnTo>
                      <a:pt x="111" y="115"/>
                    </a:lnTo>
                    <a:lnTo>
                      <a:pt x="111" y="115"/>
                    </a:lnTo>
                    <a:lnTo>
                      <a:pt x="111" y="118"/>
                    </a:lnTo>
                    <a:lnTo>
                      <a:pt x="111" y="121"/>
                    </a:lnTo>
                    <a:lnTo>
                      <a:pt x="114" y="125"/>
                    </a:lnTo>
                    <a:lnTo>
                      <a:pt x="117" y="129"/>
                    </a:lnTo>
                    <a:lnTo>
                      <a:pt x="119" y="135"/>
                    </a:lnTo>
                    <a:lnTo>
                      <a:pt x="119" y="135"/>
                    </a:lnTo>
                    <a:lnTo>
                      <a:pt x="121" y="139"/>
                    </a:lnTo>
                    <a:lnTo>
                      <a:pt x="122" y="138"/>
                    </a:lnTo>
                    <a:lnTo>
                      <a:pt x="124" y="135"/>
                    </a:lnTo>
                    <a:lnTo>
                      <a:pt x="125" y="131"/>
                    </a:lnTo>
                    <a:lnTo>
                      <a:pt x="125" y="131"/>
                    </a:lnTo>
                    <a:lnTo>
                      <a:pt x="124" y="128"/>
                    </a:lnTo>
                    <a:lnTo>
                      <a:pt x="125" y="126"/>
                    </a:lnTo>
                    <a:lnTo>
                      <a:pt x="132" y="122"/>
                    </a:lnTo>
                    <a:lnTo>
                      <a:pt x="132" y="122"/>
                    </a:lnTo>
                    <a:lnTo>
                      <a:pt x="134" y="119"/>
                    </a:lnTo>
                    <a:lnTo>
                      <a:pt x="134" y="118"/>
                    </a:lnTo>
                    <a:lnTo>
                      <a:pt x="134" y="113"/>
                    </a:lnTo>
                    <a:lnTo>
                      <a:pt x="128" y="102"/>
                    </a:lnTo>
                    <a:lnTo>
                      <a:pt x="128" y="102"/>
                    </a:lnTo>
                    <a:lnTo>
                      <a:pt x="125" y="99"/>
                    </a:lnTo>
                    <a:lnTo>
                      <a:pt x="122" y="98"/>
                    </a:lnTo>
                    <a:lnTo>
                      <a:pt x="117" y="95"/>
                    </a:lnTo>
                    <a:lnTo>
                      <a:pt x="111" y="94"/>
                    </a:lnTo>
                    <a:lnTo>
                      <a:pt x="110" y="92"/>
                    </a:lnTo>
                    <a:lnTo>
                      <a:pt x="110" y="89"/>
                    </a:lnTo>
                    <a:lnTo>
                      <a:pt x="110" y="89"/>
                    </a:lnTo>
                    <a:lnTo>
                      <a:pt x="110" y="86"/>
                    </a:lnTo>
                    <a:lnTo>
                      <a:pt x="108" y="85"/>
                    </a:lnTo>
                    <a:lnTo>
                      <a:pt x="104" y="81"/>
                    </a:lnTo>
                    <a:lnTo>
                      <a:pt x="101" y="78"/>
                    </a:lnTo>
                    <a:lnTo>
                      <a:pt x="98" y="75"/>
                    </a:lnTo>
                    <a:lnTo>
                      <a:pt x="98" y="75"/>
                    </a:lnTo>
                    <a:lnTo>
                      <a:pt x="98" y="74"/>
                    </a:lnTo>
                    <a:lnTo>
                      <a:pt x="95" y="72"/>
                    </a:lnTo>
                    <a:lnTo>
                      <a:pt x="90" y="69"/>
                    </a:lnTo>
                    <a:lnTo>
                      <a:pt x="83" y="69"/>
                    </a:lnTo>
                    <a:lnTo>
                      <a:pt x="77" y="71"/>
                    </a:lnTo>
                    <a:lnTo>
                      <a:pt x="77" y="71"/>
                    </a:lnTo>
                    <a:lnTo>
                      <a:pt x="74" y="72"/>
                    </a:lnTo>
                    <a:lnTo>
                      <a:pt x="73" y="72"/>
                    </a:lnTo>
                    <a:lnTo>
                      <a:pt x="71" y="68"/>
                    </a:lnTo>
                    <a:lnTo>
                      <a:pt x="71" y="62"/>
                    </a:lnTo>
                    <a:lnTo>
                      <a:pt x="70" y="59"/>
                    </a:lnTo>
                    <a:lnTo>
                      <a:pt x="68" y="57"/>
                    </a:lnTo>
                    <a:lnTo>
                      <a:pt x="68" y="57"/>
                    </a:lnTo>
                    <a:lnTo>
                      <a:pt x="67" y="54"/>
                    </a:lnTo>
                    <a:lnTo>
                      <a:pt x="67" y="51"/>
                    </a:lnTo>
                    <a:lnTo>
                      <a:pt x="68" y="45"/>
                    </a:lnTo>
                    <a:lnTo>
                      <a:pt x="74" y="39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1" y="31"/>
                    </a:lnTo>
                    <a:lnTo>
                      <a:pt x="81" y="27"/>
                    </a:lnTo>
                    <a:lnTo>
                      <a:pt x="81" y="20"/>
                    </a:lnTo>
                    <a:lnTo>
                      <a:pt x="78" y="12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2"/>
                    </a:lnTo>
                    <a:lnTo>
                      <a:pt x="77" y="1"/>
                    </a:lnTo>
                    <a:lnTo>
                      <a:pt x="75" y="2"/>
                    </a:lnTo>
                    <a:lnTo>
                      <a:pt x="75" y="2"/>
                    </a:lnTo>
                    <a:lnTo>
                      <a:pt x="71" y="2"/>
                    </a:lnTo>
                    <a:lnTo>
                      <a:pt x="64" y="0"/>
                    </a:lnTo>
                    <a:lnTo>
                      <a:pt x="58" y="0"/>
                    </a:lnTo>
                    <a:lnTo>
                      <a:pt x="54" y="0"/>
                    </a:lnTo>
                    <a:lnTo>
                      <a:pt x="53" y="0"/>
                    </a:lnTo>
                    <a:lnTo>
                      <a:pt x="53" y="0"/>
                    </a:lnTo>
                    <a:lnTo>
                      <a:pt x="50" y="2"/>
                    </a:lnTo>
                    <a:lnTo>
                      <a:pt x="50" y="7"/>
                    </a:lnTo>
                    <a:lnTo>
                      <a:pt x="48" y="20"/>
                    </a:lnTo>
                    <a:lnTo>
                      <a:pt x="50" y="31"/>
                    </a:lnTo>
                    <a:lnTo>
                      <a:pt x="50" y="35"/>
                    </a:lnTo>
                    <a:lnTo>
                      <a:pt x="48" y="38"/>
                    </a:lnTo>
                    <a:lnTo>
                      <a:pt x="48" y="38"/>
                    </a:lnTo>
                    <a:lnTo>
                      <a:pt x="47" y="38"/>
                    </a:lnTo>
                    <a:lnTo>
                      <a:pt x="44" y="37"/>
                    </a:lnTo>
                    <a:lnTo>
                      <a:pt x="43" y="35"/>
                    </a:lnTo>
                    <a:lnTo>
                      <a:pt x="41" y="35"/>
                    </a:lnTo>
                    <a:lnTo>
                      <a:pt x="41" y="35"/>
                    </a:lnTo>
                    <a:lnTo>
                      <a:pt x="41" y="41"/>
                    </a:lnTo>
                    <a:lnTo>
                      <a:pt x="41" y="48"/>
                    </a:lnTo>
                    <a:lnTo>
                      <a:pt x="43" y="55"/>
                    </a:lnTo>
                    <a:lnTo>
                      <a:pt x="44" y="57"/>
                    </a:lnTo>
                    <a:lnTo>
                      <a:pt x="46" y="58"/>
                    </a:lnTo>
                    <a:lnTo>
                      <a:pt x="46" y="58"/>
                    </a:lnTo>
                    <a:lnTo>
                      <a:pt x="48" y="58"/>
                    </a:lnTo>
                    <a:lnTo>
                      <a:pt x="50" y="61"/>
                    </a:lnTo>
                    <a:lnTo>
                      <a:pt x="50" y="65"/>
                    </a:lnTo>
                    <a:lnTo>
                      <a:pt x="50" y="69"/>
                    </a:lnTo>
                    <a:lnTo>
                      <a:pt x="50" y="69"/>
                    </a:lnTo>
                    <a:lnTo>
                      <a:pt x="50" y="72"/>
                    </a:lnTo>
                    <a:lnTo>
                      <a:pt x="50" y="74"/>
                    </a:lnTo>
                    <a:lnTo>
                      <a:pt x="54" y="76"/>
                    </a:lnTo>
                    <a:lnTo>
                      <a:pt x="60" y="76"/>
                    </a:lnTo>
                    <a:lnTo>
                      <a:pt x="65" y="75"/>
                    </a:lnTo>
                    <a:lnTo>
                      <a:pt x="65" y="75"/>
                    </a:lnTo>
                    <a:lnTo>
                      <a:pt x="68" y="74"/>
                    </a:lnTo>
                    <a:lnTo>
                      <a:pt x="71" y="75"/>
                    </a:lnTo>
                    <a:lnTo>
                      <a:pt x="73" y="76"/>
                    </a:lnTo>
                    <a:lnTo>
                      <a:pt x="75" y="79"/>
                    </a:lnTo>
                    <a:lnTo>
                      <a:pt x="78" y="79"/>
                    </a:lnTo>
                    <a:lnTo>
                      <a:pt x="81" y="79"/>
                    </a:lnTo>
                    <a:lnTo>
                      <a:pt x="81" y="79"/>
                    </a:lnTo>
                    <a:close/>
                    <a:moveTo>
                      <a:pt x="50" y="84"/>
                    </a:moveTo>
                    <a:lnTo>
                      <a:pt x="50" y="84"/>
                    </a:lnTo>
                    <a:lnTo>
                      <a:pt x="51" y="89"/>
                    </a:lnTo>
                    <a:lnTo>
                      <a:pt x="54" y="96"/>
                    </a:lnTo>
                    <a:lnTo>
                      <a:pt x="57" y="99"/>
                    </a:lnTo>
                    <a:lnTo>
                      <a:pt x="58" y="101"/>
                    </a:lnTo>
                    <a:lnTo>
                      <a:pt x="61" y="102"/>
                    </a:lnTo>
                    <a:lnTo>
                      <a:pt x="65" y="101"/>
                    </a:lnTo>
                    <a:lnTo>
                      <a:pt x="65" y="101"/>
                    </a:lnTo>
                    <a:lnTo>
                      <a:pt x="67" y="99"/>
                    </a:lnTo>
                    <a:lnTo>
                      <a:pt x="67" y="96"/>
                    </a:lnTo>
                    <a:lnTo>
                      <a:pt x="65" y="94"/>
                    </a:lnTo>
                    <a:lnTo>
                      <a:pt x="61" y="89"/>
                    </a:lnTo>
                    <a:lnTo>
                      <a:pt x="54" y="84"/>
                    </a:lnTo>
                    <a:lnTo>
                      <a:pt x="51" y="84"/>
                    </a:lnTo>
                    <a:lnTo>
                      <a:pt x="50" y="84"/>
                    </a:lnTo>
                    <a:lnTo>
                      <a:pt x="50" y="84"/>
                    </a:lnTo>
                    <a:close/>
                    <a:moveTo>
                      <a:pt x="77" y="131"/>
                    </a:moveTo>
                    <a:lnTo>
                      <a:pt x="77" y="131"/>
                    </a:lnTo>
                    <a:lnTo>
                      <a:pt x="81" y="129"/>
                    </a:lnTo>
                    <a:lnTo>
                      <a:pt x="84" y="128"/>
                    </a:lnTo>
                    <a:lnTo>
                      <a:pt x="85" y="125"/>
                    </a:lnTo>
                    <a:lnTo>
                      <a:pt x="85" y="125"/>
                    </a:lnTo>
                    <a:lnTo>
                      <a:pt x="85" y="125"/>
                    </a:lnTo>
                    <a:lnTo>
                      <a:pt x="87" y="125"/>
                    </a:lnTo>
                    <a:lnTo>
                      <a:pt x="88" y="128"/>
                    </a:lnTo>
                    <a:lnTo>
                      <a:pt x="88" y="133"/>
                    </a:lnTo>
                    <a:lnTo>
                      <a:pt x="88" y="136"/>
                    </a:lnTo>
                    <a:lnTo>
                      <a:pt x="87" y="138"/>
                    </a:lnTo>
                    <a:lnTo>
                      <a:pt x="87" y="138"/>
                    </a:lnTo>
                    <a:lnTo>
                      <a:pt x="84" y="142"/>
                    </a:lnTo>
                    <a:lnTo>
                      <a:pt x="84" y="148"/>
                    </a:lnTo>
                    <a:lnTo>
                      <a:pt x="85" y="153"/>
                    </a:lnTo>
                    <a:lnTo>
                      <a:pt x="87" y="155"/>
                    </a:lnTo>
                    <a:lnTo>
                      <a:pt x="90" y="156"/>
                    </a:lnTo>
                    <a:lnTo>
                      <a:pt x="90" y="156"/>
                    </a:lnTo>
                    <a:lnTo>
                      <a:pt x="91" y="155"/>
                    </a:lnTo>
                    <a:lnTo>
                      <a:pt x="95" y="153"/>
                    </a:lnTo>
                    <a:lnTo>
                      <a:pt x="101" y="145"/>
                    </a:lnTo>
                    <a:lnTo>
                      <a:pt x="105" y="136"/>
                    </a:lnTo>
                    <a:lnTo>
                      <a:pt x="107" y="132"/>
                    </a:lnTo>
                    <a:lnTo>
                      <a:pt x="107" y="131"/>
                    </a:lnTo>
                    <a:lnTo>
                      <a:pt x="107" y="131"/>
                    </a:lnTo>
                    <a:lnTo>
                      <a:pt x="105" y="129"/>
                    </a:lnTo>
                    <a:lnTo>
                      <a:pt x="104" y="129"/>
                    </a:lnTo>
                    <a:lnTo>
                      <a:pt x="101" y="129"/>
                    </a:lnTo>
                    <a:lnTo>
                      <a:pt x="100" y="129"/>
                    </a:lnTo>
                    <a:lnTo>
                      <a:pt x="100" y="128"/>
                    </a:lnTo>
                    <a:lnTo>
                      <a:pt x="100" y="128"/>
                    </a:lnTo>
                    <a:lnTo>
                      <a:pt x="100" y="125"/>
                    </a:lnTo>
                    <a:lnTo>
                      <a:pt x="98" y="122"/>
                    </a:lnTo>
                    <a:lnTo>
                      <a:pt x="91" y="115"/>
                    </a:lnTo>
                    <a:lnTo>
                      <a:pt x="83" y="109"/>
                    </a:lnTo>
                    <a:lnTo>
                      <a:pt x="78" y="108"/>
                    </a:lnTo>
                    <a:lnTo>
                      <a:pt x="75" y="108"/>
                    </a:lnTo>
                    <a:lnTo>
                      <a:pt x="75" y="108"/>
                    </a:lnTo>
                    <a:lnTo>
                      <a:pt x="74" y="109"/>
                    </a:lnTo>
                    <a:lnTo>
                      <a:pt x="73" y="112"/>
                    </a:lnTo>
                    <a:lnTo>
                      <a:pt x="71" y="121"/>
                    </a:lnTo>
                    <a:lnTo>
                      <a:pt x="73" y="128"/>
                    </a:lnTo>
                    <a:lnTo>
                      <a:pt x="74" y="129"/>
                    </a:lnTo>
                    <a:lnTo>
                      <a:pt x="77" y="131"/>
                    </a:lnTo>
                    <a:lnTo>
                      <a:pt x="77" y="131"/>
                    </a:lnTo>
                    <a:close/>
                    <a:moveTo>
                      <a:pt x="21" y="139"/>
                    </a:moveTo>
                    <a:lnTo>
                      <a:pt x="21" y="139"/>
                    </a:lnTo>
                    <a:lnTo>
                      <a:pt x="7" y="153"/>
                    </a:lnTo>
                    <a:lnTo>
                      <a:pt x="1" y="160"/>
                    </a:lnTo>
                    <a:lnTo>
                      <a:pt x="0" y="163"/>
                    </a:lnTo>
                    <a:lnTo>
                      <a:pt x="0" y="166"/>
                    </a:lnTo>
                    <a:lnTo>
                      <a:pt x="0" y="166"/>
                    </a:lnTo>
                    <a:lnTo>
                      <a:pt x="1" y="166"/>
                    </a:lnTo>
                    <a:lnTo>
                      <a:pt x="4" y="165"/>
                    </a:lnTo>
                    <a:lnTo>
                      <a:pt x="13" y="156"/>
                    </a:lnTo>
                    <a:lnTo>
                      <a:pt x="21" y="146"/>
                    </a:lnTo>
                    <a:lnTo>
                      <a:pt x="30" y="139"/>
                    </a:lnTo>
                    <a:lnTo>
                      <a:pt x="30" y="139"/>
                    </a:lnTo>
                    <a:lnTo>
                      <a:pt x="34" y="133"/>
                    </a:lnTo>
                    <a:lnTo>
                      <a:pt x="36" y="129"/>
                    </a:lnTo>
                    <a:lnTo>
                      <a:pt x="36" y="126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3" y="121"/>
                    </a:lnTo>
                    <a:lnTo>
                      <a:pt x="31" y="121"/>
                    </a:lnTo>
                    <a:lnTo>
                      <a:pt x="28" y="125"/>
                    </a:lnTo>
                    <a:lnTo>
                      <a:pt x="26" y="132"/>
                    </a:lnTo>
                    <a:lnTo>
                      <a:pt x="21" y="139"/>
                    </a:lnTo>
                    <a:lnTo>
                      <a:pt x="21" y="139"/>
                    </a:lnTo>
                    <a:close/>
                    <a:moveTo>
                      <a:pt x="105" y="149"/>
                    </a:moveTo>
                    <a:lnTo>
                      <a:pt x="105" y="149"/>
                    </a:lnTo>
                    <a:lnTo>
                      <a:pt x="107" y="149"/>
                    </a:lnTo>
                    <a:lnTo>
                      <a:pt x="108" y="150"/>
                    </a:lnTo>
                    <a:lnTo>
                      <a:pt x="114" y="148"/>
                    </a:lnTo>
                    <a:lnTo>
                      <a:pt x="117" y="145"/>
                    </a:lnTo>
                    <a:lnTo>
                      <a:pt x="118" y="143"/>
                    </a:lnTo>
                    <a:lnTo>
                      <a:pt x="117" y="140"/>
                    </a:lnTo>
                    <a:lnTo>
                      <a:pt x="117" y="140"/>
                    </a:lnTo>
                    <a:lnTo>
                      <a:pt x="115" y="139"/>
                    </a:lnTo>
                    <a:lnTo>
                      <a:pt x="114" y="139"/>
                    </a:lnTo>
                    <a:lnTo>
                      <a:pt x="110" y="142"/>
                    </a:lnTo>
                    <a:lnTo>
                      <a:pt x="105" y="145"/>
                    </a:lnTo>
                    <a:lnTo>
                      <a:pt x="105" y="149"/>
                    </a:lnTo>
                    <a:lnTo>
                      <a:pt x="105" y="149"/>
                    </a:lnTo>
                    <a:close/>
                    <a:moveTo>
                      <a:pt x="148" y="186"/>
                    </a:moveTo>
                    <a:lnTo>
                      <a:pt x="148" y="186"/>
                    </a:lnTo>
                    <a:lnTo>
                      <a:pt x="149" y="182"/>
                    </a:lnTo>
                    <a:lnTo>
                      <a:pt x="149" y="179"/>
                    </a:lnTo>
                    <a:lnTo>
                      <a:pt x="148" y="169"/>
                    </a:lnTo>
                    <a:lnTo>
                      <a:pt x="145" y="159"/>
                    </a:lnTo>
                    <a:lnTo>
                      <a:pt x="144" y="150"/>
                    </a:lnTo>
                    <a:lnTo>
                      <a:pt x="144" y="150"/>
                    </a:lnTo>
                    <a:lnTo>
                      <a:pt x="144" y="146"/>
                    </a:lnTo>
                    <a:lnTo>
                      <a:pt x="142" y="143"/>
                    </a:lnTo>
                    <a:lnTo>
                      <a:pt x="139" y="143"/>
                    </a:lnTo>
                    <a:lnTo>
                      <a:pt x="137" y="142"/>
                    </a:lnTo>
                    <a:lnTo>
                      <a:pt x="134" y="143"/>
                    </a:lnTo>
                    <a:lnTo>
                      <a:pt x="132" y="145"/>
                    </a:lnTo>
                    <a:lnTo>
                      <a:pt x="132" y="146"/>
                    </a:lnTo>
                    <a:lnTo>
                      <a:pt x="132" y="149"/>
                    </a:lnTo>
                    <a:lnTo>
                      <a:pt x="132" y="149"/>
                    </a:lnTo>
                    <a:lnTo>
                      <a:pt x="134" y="150"/>
                    </a:lnTo>
                    <a:lnTo>
                      <a:pt x="134" y="152"/>
                    </a:lnTo>
                    <a:lnTo>
                      <a:pt x="129" y="153"/>
                    </a:lnTo>
                    <a:lnTo>
                      <a:pt x="127" y="155"/>
                    </a:lnTo>
                    <a:lnTo>
                      <a:pt x="124" y="155"/>
                    </a:lnTo>
                    <a:lnTo>
                      <a:pt x="124" y="158"/>
                    </a:lnTo>
                    <a:lnTo>
                      <a:pt x="124" y="158"/>
                    </a:lnTo>
                    <a:lnTo>
                      <a:pt x="122" y="159"/>
                    </a:lnTo>
                    <a:lnTo>
                      <a:pt x="121" y="160"/>
                    </a:lnTo>
                    <a:lnTo>
                      <a:pt x="118" y="162"/>
                    </a:lnTo>
                    <a:lnTo>
                      <a:pt x="115" y="162"/>
                    </a:lnTo>
                    <a:lnTo>
                      <a:pt x="114" y="163"/>
                    </a:lnTo>
                    <a:lnTo>
                      <a:pt x="114" y="165"/>
                    </a:lnTo>
                    <a:lnTo>
                      <a:pt x="114" y="165"/>
                    </a:lnTo>
                    <a:lnTo>
                      <a:pt x="114" y="166"/>
                    </a:lnTo>
                    <a:lnTo>
                      <a:pt x="112" y="168"/>
                    </a:lnTo>
                    <a:lnTo>
                      <a:pt x="110" y="166"/>
                    </a:lnTo>
                    <a:lnTo>
                      <a:pt x="100" y="162"/>
                    </a:lnTo>
                    <a:lnTo>
                      <a:pt x="100" y="162"/>
                    </a:lnTo>
                    <a:lnTo>
                      <a:pt x="98" y="160"/>
                    </a:lnTo>
                    <a:lnTo>
                      <a:pt x="95" y="162"/>
                    </a:lnTo>
                    <a:lnTo>
                      <a:pt x="91" y="165"/>
                    </a:lnTo>
                    <a:lnTo>
                      <a:pt x="87" y="169"/>
                    </a:lnTo>
                    <a:lnTo>
                      <a:pt x="81" y="172"/>
                    </a:lnTo>
                    <a:lnTo>
                      <a:pt x="81" y="172"/>
                    </a:lnTo>
                    <a:lnTo>
                      <a:pt x="78" y="173"/>
                    </a:lnTo>
                    <a:lnTo>
                      <a:pt x="77" y="176"/>
                    </a:lnTo>
                    <a:lnTo>
                      <a:pt x="74" y="182"/>
                    </a:lnTo>
                    <a:lnTo>
                      <a:pt x="73" y="186"/>
                    </a:lnTo>
                    <a:lnTo>
                      <a:pt x="74" y="189"/>
                    </a:lnTo>
                    <a:lnTo>
                      <a:pt x="75" y="189"/>
                    </a:lnTo>
                    <a:lnTo>
                      <a:pt x="75" y="189"/>
                    </a:lnTo>
                    <a:lnTo>
                      <a:pt x="80" y="187"/>
                    </a:lnTo>
                    <a:lnTo>
                      <a:pt x="83" y="185"/>
                    </a:lnTo>
                    <a:lnTo>
                      <a:pt x="85" y="182"/>
                    </a:lnTo>
                    <a:lnTo>
                      <a:pt x="90" y="182"/>
                    </a:lnTo>
                    <a:lnTo>
                      <a:pt x="90" y="182"/>
                    </a:lnTo>
                    <a:lnTo>
                      <a:pt x="92" y="180"/>
                    </a:lnTo>
                    <a:lnTo>
                      <a:pt x="94" y="179"/>
                    </a:lnTo>
                    <a:lnTo>
                      <a:pt x="97" y="177"/>
                    </a:lnTo>
                    <a:lnTo>
                      <a:pt x="101" y="177"/>
                    </a:lnTo>
                    <a:lnTo>
                      <a:pt x="101" y="177"/>
                    </a:lnTo>
                    <a:lnTo>
                      <a:pt x="104" y="179"/>
                    </a:lnTo>
                    <a:lnTo>
                      <a:pt x="105" y="182"/>
                    </a:lnTo>
                    <a:lnTo>
                      <a:pt x="107" y="190"/>
                    </a:lnTo>
                    <a:lnTo>
                      <a:pt x="110" y="199"/>
                    </a:lnTo>
                    <a:lnTo>
                      <a:pt x="111" y="203"/>
                    </a:lnTo>
                    <a:lnTo>
                      <a:pt x="115" y="205"/>
                    </a:lnTo>
                    <a:lnTo>
                      <a:pt x="115" y="205"/>
                    </a:lnTo>
                    <a:lnTo>
                      <a:pt x="121" y="206"/>
                    </a:lnTo>
                    <a:lnTo>
                      <a:pt x="125" y="209"/>
                    </a:lnTo>
                    <a:lnTo>
                      <a:pt x="128" y="212"/>
                    </a:lnTo>
                    <a:lnTo>
                      <a:pt x="131" y="213"/>
                    </a:lnTo>
                    <a:lnTo>
                      <a:pt x="131" y="213"/>
                    </a:lnTo>
                    <a:lnTo>
                      <a:pt x="132" y="212"/>
                    </a:lnTo>
                    <a:lnTo>
                      <a:pt x="134" y="210"/>
                    </a:lnTo>
                    <a:lnTo>
                      <a:pt x="132" y="205"/>
                    </a:lnTo>
                    <a:lnTo>
                      <a:pt x="131" y="197"/>
                    </a:lnTo>
                    <a:lnTo>
                      <a:pt x="131" y="193"/>
                    </a:lnTo>
                    <a:lnTo>
                      <a:pt x="131" y="193"/>
                    </a:lnTo>
                    <a:lnTo>
                      <a:pt x="131" y="192"/>
                    </a:lnTo>
                    <a:lnTo>
                      <a:pt x="132" y="190"/>
                    </a:lnTo>
                    <a:lnTo>
                      <a:pt x="137" y="189"/>
                    </a:lnTo>
                    <a:lnTo>
                      <a:pt x="142" y="189"/>
                    </a:lnTo>
                    <a:lnTo>
                      <a:pt x="145" y="187"/>
                    </a:lnTo>
                    <a:lnTo>
                      <a:pt x="148" y="186"/>
                    </a:lnTo>
                    <a:lnTo>
                      <a:pt x="148" y="186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11" name="Solomon Islands">
                <a:extLst>
                  <a:ext uri="{FF2B5EF4-FFF2-40B4-BE49-F238E27FC236}">
                    <a16:creationId xmlns:a16="http://schemas.microsoft.com/office/drawing/2014/main" id="{681A2B87-F3A1-C0EA-E9CE-06C2E36A37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75502" y="4450319"/>
                <a:ext cx="184973" cy="12874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7" y="15"/>
                  </a:cxn>
                  <a:cxn ang="0">
                    <a:pos x="17" y="23"/>
                  </a:cxn>
                  <a:cxn ang="0">
                    <a:pos x="20" y="23"/>
                  </a:cxn>
                  <a:cxn ang="0">
                    <a:pos x="21" y="20"/>
                  </a:cxn>
                  <a:cxn ang="0">
                    <a:pos x="17" y="12"/>
                  </a:cxn>
                  <a:cxn ang="0">
                    <a:pos x="4" y="2"/>
                  </a:cxn>
                  <a:cxn ang="0">
                    <a:pos x="0" y="0"/>
                  </a:cxn>
                  <a:cxn ang="0">
                    <a:pos x="29" y="20"/>
                  </a:cxn>
                  <a:cxn ang="0">
                    <a:pos x="31" y="23"/>
                  </a:cxn>
                  <a:cxn ang="0">
                    <a:pos x="39" y="30"/>
                  </a:cxn>
                  <a:cxn ang="0">
                    <a:pos x="42" y="32"/>
                  </a:cxn>
                  <a:cxn ang="0">
                    <a:pos x="42" y="30"/>
                  </a:cxn>
                  <a:cxn ang="0">
                    <a:pos x="37" y="23"/>
                  </a:cxn>
                  <a:cxn ang="0">
                    <a:pos x="29" y="20"/>
                  </a:cxn>
                  <a:cxn ang="0">
                    <a:pos x="29" y="20"/>
                  </a:cxn>
                  <a:cxn ang="0">
                    <a:pos x="82" y="49"/>
                  </a:cxn>
                  <a:cxn ang="0">
                    <a:pos x="81" y="44"/>
                  </a:cxn>
                  <a:cxn ang="0">
                    <a:pos x="65" y="36"/>
                  </a:cxn>
                  <a:cxn ang="0">
                    <a:pos x="61" y="36"/>
                  </a:cxn>
                  <a:cxn ang="0">
                    <a:pos x="61" y="39"/>
                  </a:cxn>
                  <a:cxn ang="0">
                    <a:pos x="69" y="44"/>
                  </a:cxn>
                  <a:cxn ang="0">
                    <a:pos x="81" y="49"/>
                  </a:cxn>
                  <a:cxn ang="0">
                    <a:pos x="82" y="49"/>
                  </a:cxn>
                  <a:cxn ang="0">
                    <a:pos x="79" y="64"/>
                  </a:cxn>
                  <a:cxn ang="0">
                    <a:pos x="86" y="71"/>
                  </a:cxn>
                  <a:cxn ang="0">
                    <a:pos x="96" y="73"/>
                  </a:cxn>
                  <a:cxn ang="0">
                    <a:pos x="96" y="71"/>
                  </a:cxn>
                  <a:cxn ang="0">
                    <a:pos x="89" y="64"/>
                  </a:cxn>
                  <a:cxn ang="0">
                    <a:pos x="81" y="61"/>
                  </a:cxn>
                  <a:cxn ang="0">
                    <a:pos x="79" y="64"/>
                  </a:cxn>
                  <a:cxn ang="0">
                    <a:pos x="109" y="80"/>
                  </a:cxn>
                  <a:cxn ang="0">
                    <a:pos x="115" y="84"/>
                  </a:cxn>
                  <a:cxn ang="0">
                    <a:pos x="122" y="87"/>
                  </a:cxn>
                  <a:cxn ang="0">
                    <a:pos x="123" y="87"/>
                  </a:cxn>
                  <a:cxn ang="0">
                    <a:pos x="123" y="84"/>
                  </a:cxn>
                  <a:cxn ang="0">
                    <a:pos x="112" y="79"/>
                  </a:cxn>
                  <a:cxn ang="0">
                    <a:pos x="109" y="80"/>
                  </a:cxn>
                  <a:cxn ang="0">
                    <a:pos x="96" y="47"/>
                  </a:cxn>
                  <a:cxn ang="0">
                    <a:pos x="96" y="51"/>
                  </a:cxn>
                  <a:cxn ang="0">
                    <a:pos x="101" y="61"/>
                  </a:cxn>
                  <a:cxn ang="0">
                    <a:pos x="109" y="70"/>
                  </a:cxn>
                  <a:cxn ang="0">
                    <a:pos x="109" y="66"/>
                  </a:cxn>
                  <a:cxn ang="0">
                    <a:pos x="101" y="49"/>
                  </a:cxn>
                  <a:cxn ang="0">
                    <a:pos x="96" y="47"/>
                  </a:cxn>
                </a:cxnLst>
                <a:rect l="0" t="0" r="r" b="b"/>
                <a:pathLst>
                  <a:path w="125" h="87">
                    <a:moveTo>
                      <a:pt x="0" y="0"/>
                    </a:moveTo>
                    <a:lnTo>
                      <a:pt x="0" y="0"/>
                    </a:lnTo>
                    <a:lnTo>
                      <a:pt x="1" y="6"/>
                    </a:lnTo>
                    <a:lnTo>
                      <a:pt x="7" y="15"/>
                    </a:lnTo>
                    <a:lnTo>
                      <a:pt x="14" y="22"/>
                    </a:lnTo>
                    <a:lnTo>
                      <a:pt x="17" y="23"/>
                    </a:lnTo>
                    <a:lnTo>
                      <a:pt x="20" y="23"/>
                    </a:lnTo>
                    <a:lnTo>
                      <a:pt x="20" y="23"/>
                    </a:lnTo>
                    <a:lnTo>
                      <a:pt x="21" y="22"/>
                    </a:lnTo>
                    <a:lnTo>
                      <a:pt x="21" y="20"/>
                    </a:lnTo>
                    <a:lnTo>
                      <a:pt x="21" y="16"/>
                    </a:lnTo>
                    <a:lnTo>
                      <a:pt x="17" y="12"/>
                    </a:lnTo>
                    <a:lnTo>
                      <a:pt x="14" y="7"/>
                    </a:lnTo>
                    <a:lnTo>
                      <a:pt x="4" y="2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29" y="20"/>
                    </a:moveTo>
                    <a:lnTo>
                      <a:pt x="29" y="20"/>
                    </a:lnTo>
                    <a:lnTo>
                      <a:pt x="31" y="23"/>
                    </a:lnTo>
                    <a:lnTo>
                      <a:pt x="35" y="27"/>
                    </a:lnTo>
                    <a:lnTo>
                      <a:pt x="39" y="30"/>
                    </a:lnTo>
                    <a:lnTo>
                      <a:pt x="41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0"/>
                    </a:lnTo>
                    <a:lnTo>
                      <a:pt x="42" y="29"/>
                    </a:lnTo>
                    <a:lnTo>
                      <a:pt x="37" y="23"/>
                    </a:lnTo>
                    <a:lnTo>
                      <a:pt x="32" y="20"/>
                    </a:lnTo>
                    <a:lnTo>
                      <a:pt x="29" y="20"/>
                    </a:lnTo>
                    <a:lnTo>
                      <a:pt x="29" y="20"/>
                    </a:lnTo>
                    <a:lnTo>
                      <a:pt x="29" y="20"/>
                    </a:lnTo>
                    <a:close/>
                    <a:moveTo>
                      <a:pt x="82" y="49"/>
                    </a:moveTo>
                    <a:lnTo>
                      <a:pt x="82" y="49"/>
                    </a:lnTo>
                    <a:lnTo>
                      <a:pt x="82" y="47"/>
                    </a:lnTo>
                    <a:lnTo>
                      <a:pt x="81" y="44"/>
                    </a:lnTo>
                    <a:lnTo>
                      <a:pt x="74" y="40"/>
                    </a:lnTo>
                    <a:lnTo>
                      <a:pt x="65" y="36"/>
                    </a:lnTo>
                    <a:lnTo>
                      <a:pt x="61" y="36"/>
                    </a:lnTo>
                    <a:lnTo>
                      <a:pt x="61" y="36"/>
                    </a:lnTo>
                    <a:lnTo>
                      <a:pt x="61" y="36"/>
                    </a:lnTo>
                    <a:lnTo>
                      <a:pt x="61" y="39"/>
                    </a:lnTo>
                    <a:lnTo>
                      <a:pt x="64" y="40"/>
                    </a:lnTo>
                    <a:lnTo>
                      <a:pt x="69" y="44"/>
                    </a:lnTo>
                    <a:lnTo>
                      <a:pt x="78" y="49"/>
                    </a:lnTo>
                    <a:lnTo>
                      <a:pt x="81" y="49"/>
                    </a:lnTo>
                    <a:lnTo>
                      <a:pt x="82" y="49"/>
                    </a:lnTo>
                    <a:lnTo>
                      <a:pt x="82" y="49"/>
                    </a:lnTo>
                    <a:close/>
                    <a:moveTo>
                      <a:pt x="79" y="64"/>
                    </a:moveTo>
                    <a:lnTo>
                      <a:pt x="79" y="64"/>
                    </a:lnTo>
                    <a:lnTo>
                      <a:pt x="82" y="69"/>
                    </a:lnTo>
                    <a:lnTo>
                      <a:pt x="86" y="71"/>
                    </a:lnTo>
                    <a:lnTo>
                      <a:pt x="92" y="73"/>
                    </a:lnTo>
                    <a:lnTo>
                      <a:pt x="96" y="73"/>
                    </a:lnTo>
                    <a:lnTo>
                      <a:pt x="96" y="73"/>
                    </a:lnTo>
                    <a:lnTo>
                      <a:pt x="96" y="71"/>
                    </a:lnTo>
                    <a:lnTo>
                      <a:pt x="95" y="69"/>
                    </a:lnTo>
                    <a:lnTo>
                      <a:pt x="89" y="64"/>
                    </a:lnTo>
                    <a:lnTo>
                      <a:pt x="82" y="61"/>
                    </a:lnTo>
                    <a:lnTo>
                      <a:pt x="81" y="61"/>
                    </a:lnTo>
                    <a:lnTo>
                      <a:pt x="79" y="64"/>
                    </a:lnTo>
                    <a:lnTo>
                      <a:pt x="79" y="64"/>
                    </a:lnTo>
                    <a:close/>
                    <a:moveTo>
                      <a:pt x="109" y="80"/>
                    </a:moveTo>
                    <a:lnTo>
                      <a:pt x="109" y="80"/>
                    </a:lnTo>
                    <a:lnTo>
                      <a:pt x="111" y="81"/>
                    </a:lnTo>
                    <a:lnTo>
                      <a:pt x="115" y="84"/>
                    </a:lnTo>
                    <a:lnTo>
                      <a:pt x="119" y="87"/>
                    </a:lnTo>
                    <a:lnTo>
                      <a:pt x="122" y="87"/>
                    </a:lnTo>
                    <a:lnTo>
                      <a:pt x="123" y="87"/>
                    </a:lnTo>
                    <a:lnTo>
                      <a:pt x="123" y="87"/>
                    </a:lnTo>
                    <a:lnTo>
                      <a:pt x="125" y="86"/>
                    </a:lnTo>
                    <a:lnTo>
                      <a:pt x="123" y="84"/>
                    </a:lnTo>
                    <a:lnTo>
                      <a:pt x="118" y="81"/>
                    </a:lnTo>
                    <a:lnTo>
                      <a:pt x="112" y="79"/>
                    </a:lnTo>
                    <a:lnTo>
                      <a:pt x="109" y="79"/>
                    </a:lnTo>
                    <a:lnTo>
                      <a:pt x="109" y="80"/>
                    </a:lnTo>
                    <a:lnTo>
                      <a:pt x="109" y="80"/>
                    </a:lnTo>
                    <a:close/>
                    <a:moveTo>
                      <a:pt x="96" y="47"/>
                    </a:moveTo>
                    <a:lnTo>
                      <a:pt x="96" y="47"/>
                    </a:lnTo>
                    <a:lnTo>
                      <a:pt x="96" y="51"/>
                    </a:lnTo>
                    <a:lnTo>
                      <a:pt x="96" y="54"/>
                    </a:lnTo>
                    <a:lnTo>
                      <a:pt x="101" y="61"/>
                    </a:lnTo>
                    <a:lnTo>
                      <a:pt x="106" y="67"/>
                    </a:lnTo>
                    <a:lnTo>
                      <a:pt x="109" y="70"/>
                    </a:lnTo>
                    <a:lnTo>
                      <a:pt x="109" y="70"/>
                    </a:lnTo>
                    <a:lnTo>
                      <a:pt x="109" y="66"/>
                    </a:lnTo>
                    <a:lnTo>
                      <a:pt x="105" y="57"/>
                    </a:lnTo>
                    <a:lnTo>
                      <a:pt x="101" y="49"/>
                    </a:lnTo>
                    <a:lnTo>
                      <a:pt x="98" y="47"/>
                    </a:lnTo>
                    <a:lnTo>
                      <a:pt x="96" y="47"/>
                    </a:lnTo>
                    <a:lnTo>
                      <a:pt x="96" y="47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12" name="Mongolia">
                <a:extLst>
                  <a:ext uri="{FF2B5EF4-FFF2-40B4-BE49-F238E27FC236}">
                    <a16:creationId xmlns:a16="http://schemas.microsoft.com/office/drawing/2014/main" id="{0395A333-85B5-7593-1B5E-6B307C8058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1012" y="2940940"/>
                <a:ext cx="744332" cy="318154"/>
              </a:xfrm>
              <a:custGeom>
                <a:avLst/>
                <a:gdLst/>
                <a:ahLst/>
                <a:cxnLst>
                  <a:cxn ang="0">
                    <a:pos x="466" y="93"/>
                  </a:cxn>
                  <a:cxn ang="0">
                    <a:pos x="450" y="90"/>
                  </a:cxn>
                  <a:cxn ang="0">
                    <a:pos x="435" y="90"/>
                  </a:cxn>
                  <a:cxn ang="0">
                    <a:pos x="450" y="47"/>
                  </a:cxn>
                  <a:cxn ang="0">
                    <a:pos x="428" y="46"/>
                  </a:cxn>
                  <a:cxn ang="0">
                    <a:pos x="405" y="43"/>
                  </a:cxn>
                  <a:cxn ang="0">
                    <a:pos x="391" y="53"/>
                  </a:cxn>
                  <a:cxn ang="0">
                    <a:pos x="368" y="59"/>
                  </a:cxn>
                  <a:cxn ang="0">
                    <a:pos x="342" y="61"/>
                  </a:cxn>
                  <a:cxn ang="0">
                    <a:pos x="318" y="59"/>
                  </a:cxn>
                  <a:cxn ang="0">
                    <a:pos x="308" y="49"/>
                  </a:cxn>
                  <a:cxn ang="0">
                    <a:pos x="295" y="42"/>
                  </a:cxn>
                  <a:cxn ang="0">
                    <a:pos x="280" y="39"/>
                  </a:cxn>
                  <a:cxn ang="0">
                    <a:pos x="254" y="37"/>
                  </a:cxn>
                  <a:cxn ang="0">
                    <a:pos x="234" y="40"/>
                  </a:cxn>
                  <a:cxn ang="0">
                    <a:pos x="219" y="32"/>
                  </a:cxn>
                  <a:cxn ang="0">
                    <a:pos x="216" y="17"/>
                  </a:cxn>
                  <a:cxn ang="0">
                    <a:pos x="189" y="7"/>
                  </a:cxn>
                  <a:cxn ang="0">
                    <a:pos x="167" y="0"/>
                  </a:cxn>
                  <a:cxn ang="0">
                    <a:pos x="156" y="9"/>
                  </a:cxn>
                  <a:cxn ang="0">
                    <a:pos x="146" y="17"/>
                  </a:cxn>
                  <a:cxn ang="0">
                    <a:pos x="153" y="34"/>
                  </a:cxn>
                  <a:cxn ang="0">
                    <a:pos x="140" y="47"/>
                  </a:cxn>
                  <a:cxn ang="0">
                    <a:pos x="126" y="46"/>
                  </a:cxn>
                  <a:cxn ang="0">
                    <a:pos x="108" y="44"/>
                  </a:cxn>
                  <a:cxn ang="0">
                    <a:pos x="95" y="33"/>
                  </a:cxn>
                  <a:cxn ang="0">
                    <a:pos x="64" y="29"/>
                  </a:cxn>
                  <a:cxn ang="0">
                    <a:pos x="51" y="36"/>
                  </a:cxn>
                  <a:cxn ang="0">
                    <a:pos x="38" y="44"/>
                  </a:cxn>
                  <a:cxn ang="0">
                    <a:pos x="21" y="54"/>
                  </a:cxn>
                  <a:cxn ang="0">
                    <a:pos x="2" y="60"/>
                  </a:cxn>
                  <a:cxn ang="0">
                    <a:pos x="2" y="70"/>
                  </a:cxn>
                  <a:cxn ang="0">
                    <a:pos x="25" y="86"/>
                  </a:cxn>
                  <a:cxn ang="0">
                    <a:pos x="39" y="97"/>
                  </a:cxn>
                  <a:cxn ang="0">
                    <a:pos x="49" y="116"/>
                  </a:cxn>
                  <a:cxn ang="0">
                    <a:pos x="44" y="138"/>
                  </a:cxn>
                  <a:cxn ang="0">
                    <a:pos x="79" y="147"/>
                  </a:cxn>
                  <a:cxn ang="0">
                    <a:pos x="92" y="154"/>
                  </a:cxn>
                  <a:cxn ang="0">
                    <a:pos x="106" y="162"/>
                  </a:cxn>
                  <a:cxn ang="0">
                    <a:pos x="119" y="185"/>
                  </a:cxn>
                  <a:cxn ang="0">
                    <a:pos x="132" y="194"/>
                  </a:cxn>
                  <a:cxn ang="0">
                    <a:pos x="196" y="197"/>
                  </a:cxn>
                  <a:cxn ang="0">
                    <a:pos x="226" y="204"/>
                  </a:cxn>
                  <a:cxn ang="0">
                    <a:pos x="246" y="209"/>
                  </a:cxn>
                  <a:cxn ang="0">
                    <a:pos x="263" y="215"/>
                  </a:cxn>
                  <a:cxn ang="0">
                    <a:pos x="295" y="198"/>
                  </a:cxn>
                  <a:cxn ang="0">
                    <a:pos x="344" y="194"/>
                  </a:cxn>
                  <a:cxn ang="0">
                    <a:pos x="369" y="175"/>
                  </a:cxn>
                  <a:cxn ang="0">
                    <a:pos x="365" y="155"/>
                  </a:cxn>
                  <a:cxn ang="0">
                    <a:pos x="382" y="150"/>
                  </a:cxn>
                  <a:cxn ang="0">
                    <a:pos x="408" y="147"/>
                  </a:cxn>
                  <a:cxn ang="0">
                    <a:pos x="441" y="135"/>
                  </a:cxn>
                  <a:cxn ang="0">
                    <a:pos x="460" y="118"/>
                  </a:cxn>
                  <a:cxn ang="0">
                    <a:pos x="486" y="114"/>
                  </a:cxn>
                  <a:cxn ang="0">
                    <a:pos x="503" y="113"/>
                  </a:cxn>
                  <a:cxn ang="0">
                    <a:pos x="482" y="90"/>
                  </a:cxn>
                </a:cxnLst>
                <a:rect l="0" t="0" r="r" b="b"/>
                <a:pathLst>
                  <a:path w="503" h="215">
                    <a:moveTo>
                      <a:pt x="482" y="90"/>
                    </a:moveTo>
                    <a:lnTo>
                      <a:pt x="482" y="90"/>
                    </a:lnTo>
                    <a:lnTo>
                      <a:pt x="477" y="87"/>
                    </a:lnTo>
                    <a:lnTo>
                      <a:pt x="473" y="87"/>
                    </a:lnTo>
                    <a:lnTo>
                      <a:pt x="469" y="88"/>
                    </a:lnTo>
                    <a:lnTo>
                      <a:pt x="466" y="93"/>
                    </a:lnTo>
                    <a:lnTo>
                      <a:pt x="466" y="93"/>
                    </a:lnTo>
                    <a:lnTo>
                      <a:pt x="466" y="94"/>
                    </a:lnTo>
                    <a:lnTo>
                      <a:pt x="465" y="94"/>
                    </a:lnTo>
                    <a:lnTo>
                      <a:pt x="462" y="94"/>
                    </a:lnTo>
                    <a:lnTo>
                      <a:pt x="458" y="91"/>
                    </a:lnTo>
                    <a:lnTo>
                      <a:pt x="450" y="90"/>
                    </a:lnTo>
                    <a:lnTo>
                      <a:pt x="450" y="90"/>
                    </a:lnTo>
                    <a:lnTo>
                      <a:pt x="445" y="91"/>
                    </a:lnTo>
                    <a:lnTo>
                      <a:pt x="442" y="93"/>
                    </a:lnTo>
                    <a:lnTo>
                      <a:pt x="439" y="93"/>
                    </a:lnTo>
                    <a:lnTo>
                      <a:pt x="435" y="90"/>
                    </a:lnTo>
                    <a:lnTo>
                      <a:pt x="435" y="90"/>
                    </a:lnTo>
                    <a:lnTo>
                      <a:pt x="432" y="86"/>
                    </a:lnTo>
                    <a:lnTo>
                      <a:pt x="433" y="83"/>
                    </a:lnTo>
                    <a:lnTo>
                      <a:pt x="436" y="81"/>
                    </a:lnTo>
                    <a:lnTo>
                      <a:pt x="438" y="73"/>
                    </a:lnTo>
                    <a:lnTo>
                      <a:pt x="450" y="47"/>
                    </a:lnTo>
                    <a:lnTo>
                      <a:pt x="450" y="47"/>
                    </a:lnTo>
                    <a:lnTo>
                      <a:pt x="445" y="46"/>
                    </a:lnTo>
                    <a:lnTo>
                      <a:pt x="439" y="46"/>
                    </a:lnTo>
                    <a:lnTo>
                      <a:pt x="439" y="46"/>
                    </a:lnTo>
                    <a:lnTo>
                      <a:pt x="435" y="47"/>
                    </a:lnTo>
                    <a:lnTo>
                      <a:pt x="431" y="47"/>
                    </a:lnTo>
                    <a:lnTo>
                      <a:pt x="428" y="46"/>
                    </a:lnTo>
                    <a:lnTo>
                      <a:pt x="425" y="43"/>
                    </a:lnTo>
                    <a:lnTo>
                      <a:pt x="425" y="43"/>
                    </a:lnTo>
                    <a:lnTo>
                      <a:pt x="422" y="42"/>
                    </a:lnTo>
                    <a:lnTo>
                      <a:pt x="416" y="40"/>
                    </a:lnTo>
                    <a:lnTo>
                      <a:pt x="409" y="42"/>
                    </a:lnTo>
                    <a:lnTo>
                      <a:pt x="405" y="43"/>
                    </a:lnTo>
                    <a:lnTo>
                      <a:pt x="405" y="43"/>
                    </a:lnTo>
                    <a:lnTo>
                      <a:pt x="398" y="46"/>
                    </a:lnTo>
                    <a:lnTo>
                      <a:pt x="394" y="49"/>
                    </a:lnTo>
                    <a:lnTo>
                      <a:pt x="392" y="52"/>
                    </a:lnTo>
                    <a:lnTo>
                      <a:pt x="392" y="52"/>
                    </a:lnTo>
                    <a:lnTo>
                      <a:pt x="391" y="53"/>
                    </a:lnTo>
                    <a:lnTo>
                      <a:pt x="386" y="54"/>
                    </a:lnTo>
                    <a:lnTo>
                      <a:pt x="384" y="54"/>
                    </a:lnTo>
                    <a:lnTo>
                      <a:pt x="379" y="56"/>
                    </a:lnTo>
                    <a:lnTo>
                      <a:pt x="379" y="56"/>
                    </a:lnTo>
                    <a:lnTo>
                      <a:pt x="375" y="57"/>
                    </a:lnTo>
                    <a:lnTo>
                      <a:pt x="368" y="59"/>
                    </a:lnTo>
                    <a:lnTo>
                      <a:pt x="362" y="60"/>
                    </a:lnTo>
                    <a:lnTo>
                      <a:pt x="359" y="61"/>
                    </a:lnTo>
                    <a:lnTo>
                      <a:pt x="359" y="61"/>
                    </a:lnTo>
                    <a:lnTo>
                      <a:pt x="355" y="61"/>
                    </a:lnTo>
                    <a:lnTo>
                      <a:pt x="349" y="63"/>
                    </a:lnTo>
                    <a:lnTo>
                      <a:pt x="342" y="61"/>
                    </a:lnTo>
                    <a:lnTo>
                      <a:pt x="338" y="61"/>
                    </a:lnTo>
                    <a:lnTo>
                      <a:pt x="338" y="61"/>
                    </a:lnTo>
                    <a:lnTo>
                      <a:pt x="334" y="60"/>
                    </a:lnTo>
                    <a:lnTo>
                      <a:pt x="327" y="60"/>
                    </a:lnTo>
                    <a:lnTo>
                      <a:pt x="321" y="59"/>
                    </a:lnTo>
                    <a:lnTo>
                      <a:pt x="318" y="59"/>
                    </a:lnTo>
                    <a:lnTo>
                      <a:pt x="317" y="57"/>
                    </a:lnTo>
                    <a:lnTo>
                      <a:pt x="317" y="57"/>
                    </a:lnTo>
                    <a:lnTo>
                      <a:pt x="315" y="54"/>
                    </a:lnTo>
                    <a:lnTo>
                      <a:pt x="312" y="53"/>
                    </a:lnTo>
                    <a:lnTo>
                      <a:pt x="310" y="50"/>
                    </a:lnTo>
                    <a:lnTo>
                      <a:pt x="308" y="49"/>
                    </a:lnTo>
                    <a:lnTo>
                      <a:pt x="308" y="49"/>
                    </a:lnTo>
                    <a:lnTo>
                      <a:pt x="308" y="47"/>
                    </a:lnTo>
                    <a:lnTo>
                      <a:pt x="307" y="46"/>
                    </a:lnTo>
                    <a:lnTo>
                      <a:pt x="303" y="44"/>
                    </a:lnTo>
                    <a:lnTo>
                      <a:pt x="298" y="43"/>
                    </a:lnTo>
                    <a:lnTo>
                      <a:pt x="295" y="42"/>
                    </a:lnTo>
                    <a:lnTo>
                      <a:pt x="295" y="42"/>
                    </a:lnTo>
                    <a:lnTo>
                      <a:pt x="293" y="40"/>
                    </a:lnTo>
                    <a:lnTo>
                      <a:pt x="290" y="39"/>
                    </a:lnTo>
                    <a:lnTo>
                      <a:pt x="283" y="39"/>
                    </a:lnTo>
                    <a:lnTo>
                      <a:pt x="283" y="39"/>
                    </a:lnTo>
                    <a:lnTo>
                      <a:pt x="280" y="39"/>
                    </a:lnTo>
                    <a:lnTo>
                      <a:pt x="275" y="37"/>
                    </a:lnTo>
                    <a:lnTo>
                      <a:pt x="268" y="36"/>
                    </a:lnTo>
                    <a:lnTo>
                      <a:pt x="268" y="36"/>
                    </a:lnTo>
                    <a:lnTo>
                      <a:pt x="261" y="36"/>
                    </a:lnTo>
                    <a:lnTo>
                      <a:pt x="254" y="37"/>
                    </a:lnTo>
                    <a:lnTo>
                      <a:pt x="254" y="37"/>
                    </a:lnTo>
                    <a:lnTo>
                      <a:pt x="251" y="37"/>
                    </a:lnTo>
                    <a:lnTo>
                      <a:pt x="248" y="40"/>
                    </a:lnTo>
                    <a:lnTo>
                      <a:pt x="243" y="43"/>
                    </a:lnTo>
                    <a:lnTo>
                      <a:pt x="243" y="43"/>
                    </a:lnTo>
                    <a:lnTo>
                      <a:pt x="238" y="42"/>
                    </a:lnTo>
                    <a:lnTo>
                      <a:pt x="234" y="40"/>
                    </a:lnTo>
                    <a:lnTo>
                      <a:pt x="230" y="39"/>
                    </a:lnTo>
                    <a:lnTo>
                      <a:pt x="229" y="39"/>
                    </a:lnTo>
                    <a:lnTo>
                      <a:pt x="229" y="39"/>
                    </a:lnTo>
                    <a:lnTo>
                      <a:pt x="226" y="39"/>
                    </a:lnTo>
                    <a:lnTo>
                      <a:pt x="223" y="36"/>
                    </a:lnTo>
                    <a:lnTo>
                      <a:pt x="219" y="32"/>
                    </a:lnTo>
                    <a:lnTo>
                      <a:pt x="219" y="32"/>
                    </a:lnTo>
                    <a:lnTo>
                      <a:pt x="217" y="29"/>
                    </a:lnTo>
                    <a:lnTo>
                      <a:pt x="217" y="24"/>
                    </a:lnTo>
                    <a:lnTo>
                      <a:pt x="217" y="20"/>
                    </a:lnTo>
                    <a:lnTo>
                      <a:pt x="216" y="17"/>
                    </a:lnTo>
                    <a:lnTo>
                      <a:pt x="216" y="17"/>
                    </a:lnTo>
                    <a:lnTo>
                      <a:pt x="213" y="16"/>
                    </a:lnTo>
                    <a:lnTo>
                      <a:pt x="209" y="15"/>
                    </a:lnTo>
                    <a:lnTo>
                      <a:pt x="200" y="13"/>
                    </a:lnTo>
                    <a:lnTo>
                      <a:pt x="200" y="13"/>
                    </a:lnTo>
                    <a:lnTo>
                      <a:pt x="194" y="9"/>
                    </a:lnTo>
                    <a:lnTo>
                      <a:pt x="189" y="7"/>
                    </a:lnTo>
                    <a:lnTo>
                      <a:pt x="189" y="7"/>
                    </a:lnTo>
                    <a:lnTo>
                      <a:pt x="183" y="7"/>
                    </a:lnTo>
                    <a:lnTo>
                      <a:pt x="179" y="6"/>
                    </a:lnTo>
                    <a:lnTo>
                      <a:pt x="179" y="6"/>
                    </a:lnTo>
                    <a:lnTo>
                      <a:pt x="173" y="3"/>
                    </a:lnTo>
                    <a:lnTo>
                      <a:pt x="167" y="0"/>
                    </a:lnTo>
                    <a:lnTo>
                      <a:pt x="167" y="0"/>
                    </a:lnTo>
                    <a:lnTo>
                      <a:pt x="165" y="0"/>
                    </a:lnTo>
                    <a:lnTo>
                      <a:pt x="163" y="2"/>
                    </a:lnTo>
                    <a:lnTo>
                      <a:pt x="162" y="6"/>
                    </a:lnTo>
                    <a:lnTo>
                      <a:pt x="162" y="6"/>
                    </a:lnTo>
                    <a:lnTo>
                      <a:pt x="156" y="9"/>
                    </a:lnTo>
                    <a:lnTo>
                      <a:pt x="155" y="9"/>
                    </a:lnTo>
                    <a:lnTo>
                      <a:pt x="153" y="12"/>
                    </a:lnTo>
                    <a:lnTo>
                      <a:pt x="153" y="12"/>
                    </a:lnTo>
                    <a:lnTo>
                      <a:pt x="150" y="13"/>
                    </a:lnTo>
                    <a:lnTo>
                      <a:pt x="149" y="16"/>
                    </a:lnTo>
                    <a:lnTo>
                      <a:pt x="146" y="17"/>
                    </a:lnTo>
                    <a:lnTo>
                      <a:pt x="146" y="20"/>
                    </a:lnTo>
                    <a:lnTo>
                      <a:pt x="146" y="20"/>
                    </a:lnTo>
                    <a:lnTo>
                      <a:pt x="147" y="27"/>
                    </a:lnTo>
                    <a:lnTo>
                      <a:pt x="152" y="33"/>
                    </a:lnTo>
                    <a:lnTo>
                      <a:pt x="152" y="33"/>
                    </a:lnTo>
                    <a:lnTo>
                      <a:pt x="153" y="34"/>
                    </a:lnTo>
                    <a:lnTo>
                      <a:pt x="153" y="37"/>
                    </a:lnTo>
                    <a:lnTo>
                      <a:pt x="152" y="43"/>
                    </a:lnTo>
                    <a:lnTo>
                      <a:pt x="152" y="43"/>
                    </a:lnTo>
                    <a:lnTo>
                      <a:pt x="149" y="44"/>
                    </a:lnTo>
                    <a:lnTo>
                      <a:pt x="145" y="46"/>
                    </a:lnTo>
                    <a:lnTo>
                      <a:pt x="140" y="47"/>
                    </a:lnTo>
                    <a:lnTo>
                      <a:pt x="137" y="49"/>
                    </a:lnTo>
                    <a:lnTo>
                      <a:pt x="137" y="49"/>
                    </a:lnTo>
                    <a:lnTo>
                      <a:pt x="136" y="50"/>
                    </a:lnTo>
                    <a:lnTo>
                      <a:pt x="133" y="50"/>
                    </a:lnTo>
                    <a:lnTo>
                      <a:pt x="126" y="46"/>
                    </a:lnTo>
                    <a:lnTo>
                      <a:pt x="126" y="46"/>
                    </a:lnTo>
                    <a:lnTo>
                      <a:pt x="123" y="44"/>
                    </a:lnTo>
                    <a:lnTo>
                      <a:pt x="119" y="44"/>
                    </a:lnTo>
                    <a:lnTo>
                      <a:pt x="113" y="47"/>
                    </a:lnTo>
                    <a:lnTo>
                      <a:pt x="113" y="47"/>
                    </a:lnTo>
                    <a:lnTo>
                      <a:pt x="110" y="47"/>
                    </a:lnTo>
                    <a:lnTo>
                      <a:pt x="108" y="44"/>
                    </a:lnTo>
                    <a:lnTo>
                      <a:pt x="101" y="42"/>
                    </a:lnTo>
                    <a:lnTo>
                      <a:pt x="101" y="42"/>
                    </a:lnTo>
                    <a:lnTo>
                      <a:pt x="99" y="40"/>
                    </a:lnTo>
                    <a:lnTo>
                      <a:pt x="98" y="37"/>
                    </a:lnTo>
                    <a:lnTo>
                      <a:pt x="96" y="33"/>
                    </a:lnTo>
                    <a:lnTo>
                      <a:pt x="95" y="33"/>
                    </a:lnTo>
                    <a:lnTo>
                      <a:pt x="95" y="33"/>
                    </a:lnTo>
                    <a:lnTo>
                      <a:pt x="85" y="32"/>
                    </a:lnTo>
                    <a:lnTo>
                      <a:pt x="73" y="29"/>
                    </a:lnTo>
                    <a:lnTo>
                      <a:pt x="73" y="29"/>
                    </a:lnTo>
                    <a:lnTo>
                      <a:pt x="66" y="29"/>
                    </a:lnTo>
                    <a:lnTo>
                      <a:pt x="64" y="29"/>
                    </a:lnTo>
                    <a:lnTo>
                      <a:pt x="62" y="30"/>
                    </a:lnTo>
                    <a:lnTo>
                      <a:pt x="62" y="30"/>
                    </a:lnTo>
                    <a:lnTo>
                      <a:pt x="59" y="32"/>
                    </a:lnTo>
                    <a:lnTo>
                      <a:pt x="56" y="33"/>
                    </a:lnTo>
                    <a:lnTo>
                      <a:pt x="52" y="33"/>
                    </a:lnTo>
                    <a:lnTo>
                      <a:pt x="51" y="36"/>
                    </a:lnTo>
                    <a:lnTo>
                      <a:pt x="51" y="36"/>
                    </a:lnTo>
                    <a:lnTo>
                      <a:pt x="49" y="37"/>
                    </a:lnTo>
                    <a:lnTo>
                      <a:pt x="45" y="39"/>
                    </a:lnTo>
                    <a:lnTo>
                      <a:pt x="41" y="43"/>
                    </a:lnTo>
                    <a:lnTo>
                      <a:pt x="41" y="43"/>
                    </a:lnTo>
                    <a:lnTo>
                      <a:pt x="38" y="44"/>
                    </a:lnTo>
                    <a:lnTo>
                      <a:pt x="34" y="46"/>
                    </a:lnTo>
                    <a:lnTo>
                      <a:pt x="31" y="47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5" y="53"/>
                    </a:lnTo>
                    <a:lnTo>
                      <a:pt x="21" y="54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7" y="57"/>
                    </a:lnTo>
                    <a:lnTo>
                      <a:pt x="4" y="59"/>
                    </a:lnTo>
                    <a:lnTo>
                      <a:pt x="2" y="60"/>
                    </a:lnTo>
                    <a:lnTo>
                      <a:pt x="2" y="60"/>
                    </a:lnTo>
                    <a:lnTo>
                      <a:pt x="1" y="61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2" y="70"/>
                    </a:lnTo>
                    <a:lnTo>
                      <a:pt x="4" y="73"/>
                    </a:lnTo>
                    <a:lnTo>
                      <a:pt x="11" y="79"/>
                    </a:lnTo>
                    <a:lnTo>
                      <a:pt x="11" y="79"/>
                    </a:lnTo>
                    <a:lnTo>
                      <a:pt x="18" y="83"/>
                    </a:lnTo>
                    <a:lnTo>
                      <a:pt x="22" y="86"/>
                    </a:lnTo>
                    <a:lnTo>
                      <a:pt x="25" y="86"/>
                    </a:lnTo>
                    <a:lnTo>
                      <a:pt x="25" y="86"/>
                    </a:lnTo>
                    <a:lnTo>
                      <a:pt x="29" y="87"/>
                    </a:lnTo>
                    <a:lnTo>
                      <a:pt x="34" y="90"/>
                    </a:lnTo>
                    <a:lnTo>
                      <a:pt x="38" y="93"/>
                    </a:lnTo>
                    <a:lnTo>
                      <a:pt x="39" y="97"/>
                    </a:lnTo>
                    <a:lnTo>
                      <a:pt x="39" y="97"/>
                    </a:lnTo>
                    <a:lnTo>
                      <a:pt x="41" y="101"/>
                    </a:lnTo>
                    <a:lnTo>
                      <a:pt x="42" y="104"/>
                    </a:lnTo>
                    <a:lnTo>
                      <a:pt x="48" y="110"/>
                    </a:lnTo>
                    <a:lnTo>
                      <a:pt x="48" y="110"/>
                    </a:lnTo>
                    <a:lnTo>
                      <a:pt x="49" y="111"/>
                    </a:lnTo>
                    <a:lnTo>
                      <a:pt x="49" y="116"/>
                    </a:lnTo>
                    <a:lnTo>
                      <a:pt x="46" y="125"/>
                    </a:lnTo>
                    <a:lnTo>
                      <a:pt x="46" y="125"/>
                    </a:lnTo>
                    <a:lnTo>
                      <a:pt x="46" y="128"/>
                    </a:lnTo>
                    <a:lnTo>
                      <a:pt x="44" y="133"/>
                    </a:lnTo>
                    <a:lnTo>
                      <a:pt x="42" y="135"/>
                    </a:lnTo>
                    <a:lnTo>
                      <a:pt x="44" y="138"/>
                    </a:lnTo>
                    <a:lnTo>
                      <a:pt x="44" y="138"/>
                    </a:lnTo>
                    <a:lnTo>
                      <a:pt x="45" y="141"/>
                    </a:lnTo>
                    <a:lnTo>
                      <a:pt x="49" y="143"/>
                    </a:lnTo>
                    <a:lnTo>
                      <a:pt x="61" y="145"/>
                    </a:lnTo>
                    <a:lnTo>
                      <a:pt x="72" y="147"/>
                    </a:lnTo>
                    <a:lnTo>
                      <a:pt x="79" y="147"/>
                    </a:lnTo>
                    <a:lnTo>
                      <a:pt x="79" y="147"/>
                    </a:lnTo>
                    <a:lnTo>
                      <a:pt x="83" y="148"/>
                    </a:lnTo>
                    <a:lnTo>
                      <a:pt x="88" y="151"/>
                    </a:lnTo>
                    <a:lnTo>
                      <a:pt x="89" y="154"/>
                    </a:lnTo>
                    <a:lnTo>
                      <a:pt x="92" y="154"/>
                    </a:lnTo>
                    <a:lnTo>
                      <a:pt x="92" y="154"/>
                    </a:lnTo>
                    <a:lnTo>
                      <a:pt x="95" y="155"/>
                    </a:lnTo>
                    <a:lnTo>
                      <a:pt x="96" y="158"/>
                    </a:lnTo>
                    <a:lnTo>
                      <a:pt x="99" y="160"/>
                    </a:lnTo>
                    <a:lnTo>
                      <a:pt x="102" y="162"/>
                    </a:lnTo>
                    <a:lnTo>
                      <a:pt x="102" y="162"/>
                    </a:lnTo>
                    <a:lnTo>
                      <a:pt x="106" y="162"/>
                    </a:lnTo>
                    <a:lnTo>
                      <a:pt x="109" y="165"/>
                    </a:lnTo>
                    <a:lnTo>
                      <a:pt x="112" y="170"/>
                    </a:lnTo>
                    <a:lnTo>
                      <a:pt x="115" y="175"/>
                    </a:lnTo>
                    <a:lnTo>
                      <a:pt x="115" y="175"/>
                    </a:lnTo>
                    <a:lnTo>
                      <a:pt x="116" y="181"/>
                    </a:lnTo>
                    <a:lnTo>
                      <a:pt x="119" y="185"/>
                    </a:lnTo>
                    <a:lnTo>
                      <a:pt x="122" y="188"/>
                    </a:lnTo>
                    <a:lnTo>
                      <a:pt x="123" y="192"/>
                    </a:lnTo>
                    <a:lnTo>
                      <a:pt x="123" y="192"/>
                    </a:lnTo>
                    <a:lnTo>
                      <a:pt x="125" y="192"/>
                    </a:lnTo>
                    <a:lnTo>
                      <a:pt x="126" y="194"/>
                    </a:lnTo>
                    <a:lnTo>
                      <a:pt x="132" y="194"/>
                    </a:lnTo>
                    <a:lnTo>
                      <a:pt x="145" y="194"/>
                    </a:lnTo>
                    <a:lnTo>
                      <a:pt x="145" y="194"/>
                    </a:lnTo>
                    <a:lnTo>
                      <a:pt x="165" y="194"/>
                    </a:lnTo>
                    <a:lnTo>
                      <a:pt x="183" y="195"/>
                    </a:lnTo>
                    <a:lnTo>
                      <a:pt x="183" y="195"/>
                    </a:lnTo>
                    <a:lnTo>
                      <a:pt x="196" y="197"/>
                    </a:lnTo>
                    <a:lnTo>
                      <a:pt x="204" y="198"/>
                    </a:lnTo>
                    <a:lnTo>
                      <a:pt x="211" y="201"/>
                    </a:lnTo>
                    <a:lnTo>
                      <a:pt x="211" y="201"/>
                    </a:lnTo>
                    <a:lnTo>
                      <a:pt x="217" y="204"/>
                    </a:lnTo>
                    <a:lnTo>
                      <a:pt x="221" y="204"/>
                    </a:lnTo>
                    <a:lnTo>
                      <a:pt x="226" y="204"/>
                    </a:lnTo>
                    <a:lnTo>
                      <a:pt x="229" y="205"/>
                    </a:lnTo>
                    <a:lnTo>
                      <a:pt x="229" y="205"/>
                    </a:lnTo>
                    <a:lnTo>
                      <a:pt x="237" y="209"/>
                    </a:lnTo>
                    <a:lnTo>
                      <a:pt x="240" y="209"/>
                    </a:lnTo>
                    <a:lnTo>
                      <a:pt x="246" y="209"/>
                    </a:lnTo>
                    <a:lnTo>
                      <a:pt x="246" y="209"/>
                    </a:lnTo>
                    <a:lnTo>
                      <a:pt x="250" y="209"/>
                    </a:lnTo>
                    <a:lnTo>
                      <a:pt x="253" y="212"/>
                    </a:lnTo>
                    <a:lnTo>
                      <a:pt x="254" y="214"/>
                    </a:lnTo>
                    <a:lnTo>
                      <a:pt x="258" y="215"/>
                    </a:lnTo>
                    <a:lnTo>
                      <a:pt x="258" y="215"/>
                    </a:lnTo>
                    <a:lnTo>
                      <a:pt x="263" y="215"/>
                    </a:lnTo>
                    <a:lnTo>
                      <a:pt x="268" y="211"/>
                    </a:lnTo>
                    <a:lnTo>
                      <a:pt x="277" y="207"/>
                    </a:lnTo>
                    <a:lnTo>
                      <a:pt x="285" y="201"/>
                    </a:lnTo>
                    <a:lnTo>
                      <a:pt x="285" y="201"/>
                    </a:lnTo>
                    <a:lnTo>
                      <a:pt x="291" y="199"/>
                    </a:lnTo>
                    <a:lnTo>
                      <a:pt x="295" y="198"/>
                    </a:lnTo>
                    <a:lnTo>
                      <a:pt x="307" y="198"/>
                    </a:lnTo>
                    <a:lnTo>
                      <a:pt x="322" y="199"/>
                    </a:lnTo>
                    <a:lnTo>
                      <a:pt x="322" y="199"/>
                    </a:lnTo>
                    <a:lnTo>
                      <a:pt x="328" y="199"/>
                    </a:lnTo>
                    <a:lnTo>
                      <a:pt x="337" y="198"/>
                    </a:lnTo>
                    <a:lnTo>
                      <a:pt x="344" y="194"/>
                    </a:lnTo>
                    <a:lnTo>
                      <a:pt x="351" y="188"/>
                    </a:lnTo>
                    <a:lnTo>
                      <a:pt x="351" y="188"/>
                    </a:lnTo>
                    <a:lnTo>
                      <a:pt x="357" y="182"/>
                    </a:lnTo>
                    <a:lnTo>
                      <a:pt x="364" y="180"/>
                    </a:lnTo>
                    <a:lnTo>
                      <a:pt x="368" y="177"/>
                    </a:lnTo>
                    <a:lnTo>
                      <a:pt x="369" y="175"/>
                    </a:lnTo>
                    <a:lnTo>
                      <a:pt x="371" y="172"/>
                    </a:lnTo>
                    <a:lnTo>
                      <a:pt x="371" y="172"/>
                    </a:lnTo>
                    <a:lnTo>
                      <a:pt x="369" y="167"/>
                    </a:lnTo>
                    <a:lnTo>
                      <a:pt x="368" y="162"/>
                    </a:lnTo>
                    <a:lnTo>
                      <a:pt x="365" y="158"/>
                    </a:lnTo>
                    <a:lnTo>
                      <a:pt x="365" y="155"/>
                    </a:lnTo>
                    <a:lnTo>
                      <a:pt x="367" y="154"/>
                    </a:lnTo>
                    <a:lnTo>
                      <a:pt x="367" y="154"/>
                    </a:lnTo>
                    <a:lnTo>
                      <a:pt x="369" y="150"/>
                    </a:lnTo>
                    <a:lnTo>
                      <a:pt x="374" y="148"/>
                    </a:lnTo>
                    <a:lnTo>
                      <a:pt x="378" y="148"/>
                    </a:lnTo>
                    <a:lnTo>
                      <a:pt x="382" y="150"/>
                    </a:lnTo>
                    <a:lnTo>
                      <a:pt x="382" y="150"/>
                    </a:lnTo>
                    <a:lnTo>
                      <a:pt x="386" y="151"/>
                    </a:lnTo>
                    <a:lnTo>
                      <a:pt x="392" y="153"/>
                    </a:lnTo>
                    <a:lnTo>
                      <a:pt x="399" y="151"/>
                    </a:lnTo>
                    <a:lnTo>
                      <a:pt x="408" y="147"/>
                    </a:lnTo>
                    <a:lnTo>
                      <a:pt x="408" y="147"/>
                    </a:lnTo>
                    <a:lnTo>
                      <a:pt x="415" y="144"/>
                    </a:lnTo>
                    <a:lnTo>
                      <a:pt x="421" y="141"/>
                    </a:lnTo>
                    <a:lnTo>
                      <a:pt x="432" y="140"/>
                    </a:lnTo>
                    <a:lnTo>
                      <a:pt x="432" y="140"/>
                    </a:lnTo>
                    <a:lnTo>
                      <a:pt x="436" y="138"/>
                    </a:lnTo>
                    <a:lnTo>
                      <a:pt x="441" y="135"/>
                    </a:lnTo>
                    <a:lnTo>
                      <a:pt x="442" y="131"/>
                    </a:lnTo>
                    <a:lnTo>
                      <a:pt x="446" y="127"/>
                    </a:lnTo>
                    <a:lnTo>
                      <a:pt x="446" y="127"/>
                    </a:lnTo>
                    <a:lnTo>
                      <a:pt x="450" y="123"/>
                    </a:lnTo>
                    <a:lnTo>
                      <a:pt x="456" y="120"/>
                    </a:lnTo>
                    <a:lnTo>
                      <a:pt x="460" y="118"/>
                    </a:lnTo>
                    <a:lnTo>
                      <a:pt x="466" y="118"/>
                    </a:lnTo>
                    <a:lnTo>
                      <a:pt x="466" y="118"/>
                    </a:lnTo>
                    <a:lnTo>
                      <a:pt x="470" y="117"/>
                    </a:lnTo>
                    <a:lnTo>
                      <a:pt x="476" y="116"/>
                    </a:lnTo>
                    <a:lnTo>
                      <a:pt x="482" y="114"/>
                    </a:lnTo>
                    <a:lnTo>
                      <a:pt x="486" y="114"/>
                    </a:lnTo>
                    <a:lnTo>
                      <a:pt x="486" y="114"/>
                    </a:lnTo>
                    <a:lnTo>
                      <a:pt x="492" y="116"/>
                    </a:lnTo>
                    <a:lnTo>
                      <a:pt x="496" y="116"/>
                    </a:lnTo>
                    <a:lnTo>
                      <a:pt x="500" y="116"/>
                    </a:lnTo>
                    <a:lnTo>
                      <a:pt x="502" y="114"/>
                    </a:lnTo>
                    <a:lnTo>
                      <a:pt x="503" y="113"/>
                    </a:lnTo>
                    <a:lnTo>
                      <a:pt x="503" y="113"/>
                    </a:lnTo>
                    <a:lnTo>
                      <a:pt x="502" y="110"/>
                    </a:lnTo>
                    <a:lnTo>
                      <a:pt x="500" y="107"/>
                    </a:lnTo>
                    <a:lnTo>
                      <a:pt x="495" y="101"/>
                    </a:lnTo>
                    <a:lnTo>
                      <a:pt x="487" y="96"/>
                    </a:lnTo>
                    <a:lnTo>
                      <a:pt x="482" y="90"/>
                    </a:lnTo>
                    <a:lnTo>
                      <a:pt x="482" y="9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13" name="Malaysia">
                <a:extLst>
                  <a:ext uri="{FF2B5EF4-FFF2-40B4-BE49-F238E27FC236}">
                    <a16:creationId xmlns:a16="http://schemas.microsoft.com/office/drawing/2014/main" id="{FC86C8CD-52A8-6A9E-E7EB-A5C0009D01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65894" y="4154362"/>
                <a:ext cx="458733" cy="140580"/>
              </a:xfrm>
              <a:custGeom>
                <a:avLst/>
                <a:gdLst/>
                <a:ahLst/>
                <a:cxnLst>
                  <a:cxn ang="0">
                    <a:pos x="55" y="28"/>
                  </a:cxn>
                  <a:cxn ang="0">
                    <a:pos x="44" y="18"/>
                  </a:cxn>
                  <a:cxn ang="0">
                    <a:pos x="37" y="10"/>
                  </a:cxn>
                  <a:cxn ang="0">
                    <a:pos x="32" y="10"/>
                  </a:cxn>
                  <a:cxn ang="0">
                    <a:pos x="30" y="14"/>
                  </a:cxn>
                  <a:cxn ang="0">
                    <a:pos x="17" y="13"/>
                  </a:cxn>
                  <a:cxn ang="0">
                    <a:pos x="10" y="3"/>
                  </a:cxn>
                  <a:cxn ang="0">
                    <a:pos x="3" y="8"/>
                  </a:cxn>
                  <a:cxn ang="0">
                    <a:pos x="5" y="31"/>
                  </a:cxn>
                  <a:cxn ang="0">
                    <a:pos x="21" y="58"/>
                  </a:cxn>
                  <a:cxn ang="0">
                    <a:pos x="37" y="72"/>
                  </a:cxn>
                  <a:cxn ang="0">
                    <a:pos x="67" y="88"/>
                  </a:cxn>
                  <a:cxn ang="0">
                    <a:pos x="65" y="78"/>
                  </a:cxn>
                  <a:cxn ang="0">
                    <a:pos x="55" y="62"/>
                  </a:cxn>
                  <a:cxn ang="0">
                    <a:pos x="57" y="34"/>
                  </a:cxn>
                  <a:cxn ang="0">
                    <a:pos x="286" y="15"/>
                  </a:cxn>
                  <a:cxn ang="0">
                    <a:pos x="283" y="8"/>
                  </a:cxn>
                  <a:cxn ang="0">
                    <a:pos x="270" y="0"/>
                  </a:cxn>
                  <a:cxn ang="0">
                    <a:pos x="257" y="17"/>
                  </a:cxn>
                  <a:cxn ang="0">
                    <a:pos x="249" y="24"/>
                  </a:cxn>
                  <a:cxn ang="0">
                    <a:pos x="247" y="30"/>
                  </a:cxn>
                  <a:cxn ang="0">
                    <a:pos x="246" y="41"/>
                  </a:cxn>
                  <a:cxn ang="0">
                    <a:pos x="240" y="42"/>
                  </a:cxn>
                  <a:cxn ang="0">
                    <a:pos x="233" y="44"/>
                  </a:cxn>
                  <a:cxn ang="0">
                    <a:pos x="226" y="34"/>
                  </a:cxn>
                  <a:cxn ang="0">
                    <a:pos x="215" y="48"/>
                  </a:cxn>
                  <a:cxn ang="0">
                    <a:pos x="209" y="61"/>
                  </a:cxn>
                  <a:cxn ang="0">
                    <a:pos x="185" y="64"/>
                  </a:cxn>
                  <a:cxn ang="0">
                    <a:pos x="179" y="78"/>
                  </a:cxn>
                  <a:cxn ang="0">
                    <a:pos x="175" y="85"/>
                  </a:cxn>
                  <a:cxn ang="0">
                    <a:pos x="153" y="77"/>
                  </a:cxn>
                  <a:cxn ang="0">
                    <a:pos x="159" y="88"/>
                  </a:cxn>
                  <a:cxn ang="0">
                    <a:pos x="170" y="95"/>
                  </a:cxn>
                  <a:cxn ang="0">
                    <a:pos x="182" y="92"/>
                  </a:cxn>
                  <a:cxn ang="0">
                    <a:pos x="196" y="91"/>
                  </a:cxn>
                  <a:cxn ang="0">
                    <a:pos x="209" y="85"/>
                  </a:cxn>
                  <a:cxn ang="0">
                    <a:pos x="225" y="88"/>
                  </a:cxn>
                  <a:cxn ang="0">
                    <a:pos x="239" y="84"/>
                  </a:cxn>
                  <a:cxn ang="0">
                    <a:pos x="242" y="71"/>
                  </a:cxn>
                  <a:cxn ang="0">
                    <a:pos x="243" y="62"/>
                  </a:cxn>
                  <a:cxn ang="0">
                    <a:pos x="253" y="54"/>
                  </a:cxn>
                  <a:cxn ang="0">
                    <a:pos x="256" y="42"/>
                  </a:cxn>
                  <a:cxn ang="0">
                    <a:pos x="277" y="40"/>
                  </a:cxn>
                  <a:cxn ang="0">
                    <a:pos x="293" y="37"/>
                  </a:cxn>
                  <a:cxn ang="0">
                    <a:pos x="296" y="32"/>
                  </a:cxn>
                  <a:cxn ang="0">
                    <a:pos x="306" y="28"/>
                  </a:cxn>
                  <a:cxn ang="0">
                    <a:pos x="310" y="24"/>
                  </a:cxn>
                  <a:cxn ang="0">
                    <a:pos x="298" y="17"/>
                  </a:cxn>
                </a:cxnLst>
                <a:rect l="0" t="0" r="r" b="b"/>
                <a:pathLst>
                  <a:path w="310" h="95">
                    <a:moveTo>
                      <a:pt x="57" y="34"/>
                    </a:moveTo>
                    <a:lnTo>
                      <a:pt x="57" y="34"/>
                    </a:lnTo>
                    <a:lnTo>
                      <a:pt x="55" y="31"/>
                    </a:lnTo>
                    <a:lnTo>
                      <a:pt x="55" y="28"/>
                    </a:lnTo>
                    <a:lnTo>
                      <a:pt x="51" y="25"/>
                    </a:lnTo>
                    <a:lnTo>
                      <a:pt x="47" y="22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2" y="14"/>
                    </a:lnTo>
                    <a:lnTo>
                      <a:pt x="40" y="13"/>
                    </a:lnTo>
                    <a:lnTo>
                      <a:pt x="38" y="13"/>
                    </a:lnTo>
                    <a:lnTo>
                      <a:pt x="37" y="10"/>
                    </a:lnTo>
                    <a:lnTo>
                      <a:pt x="37" y="10"/>
                    </a:lnTo>
                    <a:lnTo>
                      <a:pt x="35" y="7"/>
                    </a:lnTo>
                    <a:lnTo>
                      <a:pt x="35" y="7"/>
                    </a:lnTo>
                    <a:lnTo>
                      <a:pt x="32" y="10"/>
                    </a:lnTo>
                    <a:lnTo>
                      <a:pt x="31" y="11"/>
                    </a:lnTo>
                    <a:lnTo>
                      <a:pt x="31" y="13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3" y="14"/>
                    </a:lnTo>
                    <a:lnTo>
                      <a:pt x="18" y="14"/>
                    </a:lnTo>
                    <a:lnTo>
                      <a:pt x="17" y="13"/>
                    </a:lnTo>
                    <a:lnTo>
                      <a:pt x="17" y="13"/>
                    </a:lnTo>
                    <a:lnTo>
                      <a:pt x="17" y="10"/>
                    </a:lnTo>
                    <a:lnTo>
                      <a:pt x="15" y="7"/>
                    </a:lnTo>
                    <a:lnTo>
                      <a:pt x="13" y="4"/>
                    </a:lnTo>
                    <a:lnTo>
                      <a:pt x="10" y="3"/>
                    </a:lnTo>
                    <a:lnTo>
                      <a:pt x="1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3" y="8"/>
                    </a:lnTo>
                    <a:lnTo>
                      <a:pt x="4" y="15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5" y="31"/>
                    </a:lnTo>
                    <a:lnTo>
                      <a:pt x="7" y="35"/>
                    </a:lnTo>
                    <a:lnTo>
                      <a:pt x="13" y="44"/>
                    </a:lnTo>
                    <a:lnTo>
                      <a:pt x="17" y="51"/>
                    </a:lnTo>
                    <a:lnTo>
                      <a:pt x="21" y="58"/>
                    </a:lnTo>
                    <a:lnTo>
                      <a:pt x="21" y="58"/>
                    </a:lnTo>
                    <a:lnTo>
                      <a:pt x="23" y="62"/>
                    </a:lnTo>
                    <a:lnTo>
                      <a:pt x="25" y="65"/>
                    </a:lnTo>
                    <a:lnTo>
                      <a:pt x="37" y="72"/>
                    </a:lnTo>
                    <a:lnTo>
                      <a:pt x="37" y="72"/>
                    </a:lnTo>
                    <a:lnTo>
                      <a:pt x="54" y="84"/>
                    </a:lnTo>
                    <a:lnTo>
                      <a:pt x="62" y="88"/>
                    </a:lnTo>
                    <a:lnTo>
                      <a:pt x="67" y="88"/>
                    </a:lnTo>
                    <a:lnTo>
                      <a:pt x="67" y="88"/>
                    </a:lnTo>
                    <a:lnTo>
                      <a:pt x="68" y="86"/>
                    </a:lnTo>
                    <a:lnTo>
                      <a:pt x="68" y="85"/>
                    </a:lnTo>
                    <a:lnTo>
                      <a:pt x="65" y="78"/>
                    </a:lnTo>
                    <a:lnTo>
                      <a:pt x="61" y="71"/>
                    </a:lnTo>
                    <a:lnTo>
                      <a:pt x="57" y="65"/>
                    </a:lnTo>
                    <a:lnTo>
                      <a:pt x="57" y="65"/>
                    </a:lnTo>
                    <a:lnTo>
                      <a:pt x="55" y="62"/>
                    </a:lnTo>
                    <a:lnTo>
                      <a:pt x="54" y="59"/>
                    </a:lnTo>
                    <a:lnTo>
                      <a:pt x="54" y="52"/>
                    </a:lnTo>
                    <a:lnTo>
                      <a:pt x="57" y="34"/>
                    </a:lnTo>
                    <a:lnTo>
                      <a:pt x="57" y="34"/>
                    </a:lnTo>
                    <a:close/>
                    <a:moveTo>
                      <a:pt x="298" y="17"/>
                    </a:moveTo>
                    <a:lnTo>
                      <a:pt x="298" y="17"/>
                    </a:lnTo>
                    <a:lnTo>
                      <a:pt x="290" y="17"/>
                    </a:lnTo>
                    <a:lnTo>
                      <a:pt x="286" y="15"/>
                    </a:lnTo>
                    <a:lnTo>
                      <a:pt x="284" y="14"/>
                    </a:lnTo>
                    <a:lnTo>
                      <a:pt x="284" y="13"/>
                    </a:lnTo>
                    <a:lnTo>
                      <a:pt x="284" y="13"/>
                    </a:lnTo>
                    <a:lnTo>
                      <a:pt x="283" y="8"/>
                    </a:lnTo>
                    <a:lnTo>
                      <a:pt x="280" y="4"/>
                    </a:lnTo>
                    <a:lnTo>
                      <a:pt x="274" y="1"/>
                    </a:lnTo>
                    <a:lnTo>
                      <a:pt x="270" y="0"/>
                    </a:lnTo>
                    <a:lnTo>
                      <a:pt x="270" y="0"/>
                    </a:lnTo>
                    <a:lnTo>
                      <a:pt x="266" y="3"/>
                    </a:lnTo>
                    <a:lnTo>
                      <a:pt x="262" y="7"/>
                    </a:lnTo>
                    <a:lnTo>
                      <a:pt x="259" y="11"/>
                    </a:lnTo>
                    <a:lnTo>
                      <a:pt x="257" y="17"/>
                    </a:lnTo>
                    <a:lnTo>
                      <a:pt x="257" y="17"/>
                    </a:lnTo>
                    <a:lnTo>
                      <a:pt x="256" y="20"/>
                    </a:lnTo>
                    <a:lnTo>
                      <a:pt x="252" y="21"/>
                    </a:lnTo>
                    <a:lnTo>
                      <a:pt x="249" y="24"/>
                    </a:lnTo>
                    <a:lnTo>
                      <a:pt x="249" y="25"/>
                    </a:lnTo>
                    <a:lnTo>
                      <a:pt x="249" y="27"/>
                    </a:lnTo>
                    <a:lnTo>
                      <a:pt x="249" y="27"/>
                    </a:lnTo>
                    <a:lnTo>
                      <a:pt x="247" y="30"/>
                    </a:lnTo>
                    <a:lnTo>
                      <a:pt x="244" y="31"/>
                    </a:lnTo>
                    <a:lnTo>
                      <a:pt x="244" y="31"/>
                    </a:lnTo>
                    <a:lnTo>
                      <a:pt x="246" y="38"/>
                    </a:lnTo>
                    <a:lnTo>
                      <a:pt x="246" y="41"/>
                    </a:lnTo>
                    <a:lnTo>
                      <a:pt x="246" y="41"/>
                    </a:lnTo>
                    <a:lnTo>
                      <a:pt x="246" y="41"/>
                    </a:lnTo>
                    <a:lnTo>
                      <a:pt x="243" y="41"/>
                    </a:lnTo>
                    <a:lnTo>
                      <a:pt x="240" y="42"/>
                    </a:lnTo>
                    <a:lnTo>
                      <a:pt x="239" y="44"/>
                    </a:lnTo>
                    <a:lnTo>
                      <a:pt x="234" y="45"/>
                    </a:lnTo>
                    <a:lnTo>
                      <a:pt x="234" y="45"/>
                    </a:lnTo>
                    <a:lnTo>
                      <a:pt x="233" y="44"/>
                    </a:lnTo>
                    <a:lnTo>
                      <a:pt x="232" y="41"/>
                    </a:lnTo>
                    <a:lnTo>
                      <a:pt x="226" y="34"/>
                    </a:lnTo>
                    <a:lnTo>
                      <a:pt x="226" y="34"/>
                    </a:lnTo>
                    <a:lnTo>
                      <a:pt x="226" y="34"/>
                    </a:lnTo>
                    <a:lnTo>
                      <a:pt x="226" y="34"/>
                    </a:lnTo>
                    <a:lnTo>
                      <a:pt x="222" y="35"/>
                    </a:lnTo>
                    <a:lnTo>
                      <a:pt x="217" y="41"/>
                    </a:lnTo>
                    <a:lnTo>
                      <a:pt x="215" y="48"/>
                    </a:lnTo>
                    <a:lnTo>
                      <a:pt x="212" y="55"/>
                    </a:lnTo>
                    <a:lnTo>
                      <a:pt x="212" y="55"/>
                    </a:lnTo>
                    <a:lnTo>
                      <a:pt x="210" y="58"/>
                    </a:lnTo>
                    <a:lnTo>
                      <a:pt x="209" y="61"/>
                    </a:lnTo>
                    <a:lnTo>
                      <a:pt x="205" y="62"/>
                    </a:lnTo>
                    <a:lnTo>
                      <a:pt x="189" y="62"/>
                    </a:lnTo>
                    <a:lnTo>
                      <a:pt x="189" y="62"/>
                    </a:lnTo>
                    <a:lnTo>
                      <a:pt x="185" y="64"/>
                    </a:lnTo>
                    <a:lnTo>
                      <a:pt x="182" y="65"/>
                    </a:lnTo>
                    <a:lnTo>
                      <a:pt x="180" y="68"/>
                    </a:lnTo>
                    <a:lnTo>
                      <a:pt x="179" y="71"/>
                    </a:lnTo>
                    <a:lnTo>
                      <a:pt x="179" y="78"/>
                    </a:lnTo>
                    <a:lnTo>
                      <a:pt x="178" y="84"/>
                    </a:lnTo>
                    <a:lnTo>
                      <a:pt x="178" y="84"/>
                    </a:lnTo>
                    <a:lnTo>
                      <a:pt x="176" y="85"/>
                    </a:lnTo>
                    <a:lnTo>
                      <a:pt x="175" y="85"/>
                    </a:lnTo>
                    <a:lnTo>
                      <a:pt x="168" y="82"/>
                    </a:lnTo>
                    <a:lnTo>
                      <a:pt x="161" y="79"/>
                    </a:lnTo>
                    <a:lnTo>
                      <a:pt x="153" y="77"/>
                    </a:lnTo>
                    <a:lnTo>
                      <a:pt x="153" y="77"/>
                    </a:lnTo>
                    <a:lnTo>
                      <a:pt x="156" y="84"/>
                    </a:lnTo>
                    <a:lnTo>
                      <a:pt x="158" y="86"/>
                    </a:lnTo>
                    <a:lnTo>
                      <a:pt x="159" y="88"/>
                    </a:lnTo>
                    <a:lnTo>
                      <a:pt x="159" y="88"/>
                    </a:lnTo>
                    <a:lnTo>
                      <a:pt x="162" y="89"/>
                    </a:lnTo>
                    <a:lnTo>
                      <a:pt x="166" y="92"/>
                    </a:lnTo>
                    <a:lnTo>
                      <a:pt x="169" y="94"/>
                    </a:lnTo>
                    <a:lnTo>
                      <a:pt x="170" y="95"/>
                    </a:lnTo>
                    <a:lnTo>
                      <a:pt x="172" y="94"/>
                    </a:lnTo>
                    <a:lnTo>
                      <a:pt x="172" y="94"/>
                    </a:lnTo>
                    <a:lnTo>
                      <a:pt x="176" y="92"/>
                    </a:lnTo>
                    <a:lnTo>
                      <a:pt x="182" y="92"/>
                    </a:lnTo>
                    <a:lnTo>
                      <a:pt x="188" y="92"/>
                    </a:lnTo>
                    <a:lnTo>
                      <a:pt x="193" y="92"/>
                    </a:lnTo>
                    <a:lnTo>
                      <a:pt x="193" y="92"/>
                    </a:lnTo>
                    <a:lnTo>
                      <a:pt x="196" y="91"/>
                    </a:lnTo>
                    <a:lnTo>
                      <a:pt x="200" y="88"/>
                    </a:lnTo>
                    <a:lnTo>
                      <a:pt x="203" y="86"/>
                    </a:lnTo>
                    <a:lnTo>
                      <a:pt x="209" y="85"/>
                    </a:lnTo>
                    <a:lnTo>
                      <a:pt x="209" y="85"/>
                    </a:lnTo>
                    <a:lnTo>
                      <a:pt x="215" y="86"/>
                    </a:lnTo>
                    <a:lnTo>
                      <a:pt x="217" y="89"/>
                    </a:lnTo>
                    <a:lnTo>
                      <a:pt x="219" y="89"/>
                    </a:lnTo>
                    <a:lnTo>
                      <a:pt x="225" y="88"/>
                    </a:lnTo>
                    <a:lnTo>
                      <a:pt x="225" y="88"/>
                    </a:lnTo>
                    <a:lnTo>
                      <a:pt x="230" y="86"/>
                    </a:lnTo>
                    <a:lnTo>
                      <a:pt x="236" y="85"/>
                    </a:lnTo>
                    <a:lnTo>
                      <a:pt x="239" y="84"/>
                    </a:lnTo>
                    <a:lnTo>
                      <a:pt x="239" y="79"/>
                    </a:lnTo>
                    <a:lnTo>
                      <a:pt x="239" y="79"/>
                    </a:lnTo>
                    <a:lnTo>
                      <a:pt x="239" y="74"/>
                    </a:lnTo>
                    <a:lnTo>
                      <a:pt x="242" y="71"/>
                    </a:lnTo>
                    <a:lnTo>
                      <a:pt x="243" y="68"/>
                    </a:lnTo>
                    <a:lnTo>
                      <a:pt x="243" y="64"/>
                    </a:lnTo>
                    <a:lnTo>
                      <a:pt x="243" y="64"/>
                    </a:lnTo>
                    <a:lnTo>
                      <a:pt x="243" y="62"/>
                    </a:lnTo>
                    <a:lnTo>
                      <a:pt x="244" y="61"/>
                    </a:lnTo>
                    <a:lnTo>
                      <a:pt x="249" y="58"/>
                    </a:lnTo>
                    <a:lnTo>
                      <a:pt x="252" y="55"/>
                    </a:lnTo>
                    <a:lnTo>
                      <a:pt x="253" y="54"/>
                    </a:lnTo>
                    <a:lnTo>
                      <a:pt x="253" y="49"/>
                    </a:lnTo>
                    <a:lnTo>
                      <a:pt x="253" y="49"/>
                    </a:lnTo>
                    <a:lnTo>
                      <a:pt x="253" y="45"/>
                    </a:lnTo>
                    <a:lnTo>
                      <a:pt x="256" y="42"/>
                    </a:lnTo>
                    <a:lnTo>
                      <a:pt x="259" y="41"/>
                    </a:lnTo>
                    <a:lnTo>
                      <a:pt x="262" y="40"/>
                    </a:lnTo>
                    <a:lnTo>
                      <a:pt x="270" y="40"/>
                    </a:lnTo>
                    <a:lnTo>
                      <a:pt x="277" y="40"/>
                    </a:lnTo>
                    <a:lnTo>
                      <a:pt x="277" y="40"/>
                    </a:lnTo>
                    <a:lnTo>
                      <a:pt x="286" y="41"/>
                    </a:lnTo>
                    <a:lnTo>
                      <a:pt x="286" y="41"/>
                    </a:lnTo>
                    <a:lnTo>
                      <a:pt x="293" y="37"/>
                    </a:lnTo>
                    <a:lnTo>
                      <a:pt x="296" y="34"/>
                    </a:lnTo>
                    <a:lnTo>
                      <a:pt x="296" y="32"/>
                    </a:lnTo>
                    <a:lnTo>
                      <a:pt x="296" y="32"/>
                    </a:lnTo>
                    <a:lnTo>
                      <a:pt x="296" y="32"/>
                    </a:lnTo>
                    <a:lnTo>
                      <a:pt x="294" y="31"/>
                    </a:lnTo>
                    <a:lnTo>
                      <a:pt x="296" y="30"/>
                    </a:lnTo>
                    <a:lnTo>
                      <a:pt x="300" y="30"/>
                    </a:lnTo>
                    <a:lnTo>
                      <a:pt x="306" y="28"/>
                    </a:lnTo>
                    <a:lnTo>
                      <a:pt x="308" y="27"/>
                    </a:lnTo>
                    <a:lnTo>
                      <a:pt x="310" y="25"/>
                    </a:lnTo>
                    <a:lnTo>
                      <a:pt x="310" y="25"/>
                    </a:lnTo>
                    <a:lnTo>
                      <a:pt x="310" y="24"/>
                    </a:lnTo>
                    <a:lnTo>
                      <a:pt x="310" y="21"/>
                    </a:lnTo>
                    <a:lnTo>
                      <a:pt x="307" y="18"/>
                    </a:lnTo>
                    <a:lnTo>
                      <a:pt x="303" y="17"/>
                    </a:lnTo>
                    <a:lnTo>
                      <a:pt x="298" y="17"/>
                    </a:lnTo>
                    <a:lnTo>
                      <a:pt x="298" y="17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14" name="Brunei">
                <a:extLst>
                  <a:ext uri="{FF2B5EF4-FFF2-40B4-BE49-F238E27FC236}">
                    <a16:creationId xmlns:a16="http://schemas.microsoft.com/office/drawing/2014/main" id="{7CEEF1E7-45AB-6237-EC30-C92C51CAA4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0325" y="4200235"/>
                <a:ext cx="29596" cy="20717"/>
              </a:xfrm>
              <a:custGeom>
                <a:avLst/>
                <a:gdLst/>
                <a:ahLst/>
                <a:cxnLst>
                  <a:cxn ang="0">
                    <a:pos x="8" y="14"/>
                  </a:cxn>
                  <a:cxn ang="0">
                    <a:pos x="8" y="14"/>
                  </a:cxn>
                  <a:cxn ang="0">
                    <a:pos x="13" y="13"/>
                  </a:cxn>
                  <a:cxn ang="0">
                    <a:pos x="14" y="11"/>
                  </a:cxn>
                  <a:cxn ang="0">
                    <a:pos x="17" y="10"/>
                  </a:cxn>
                  <a:cxn ang="0">
                    <a:pos x="20" y="10"/>
                  </a:cxn>
                  <a:cxn ang="0">
                    <a:pos x="20" y="10"/>
                  </a:cxn>
                  <a:cxn ang="0">
                    <a:pos x="20" y="10"/>
                  </a:cxn>
                  <a:cxn ang="0">
                    <a:pos x="20" y="7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1"/>
                  </a:cxn>
                  <a:cxn ang="0">
                    <a:pos x="11" y="3"/>
                  </a:cxn>
                  <a:cxn ang="0">
                    <a:pos x="11" y="4"/>
                  </a:cxn>
                  <a:cxn ang="0">
                    <a:pos x="11" y="4"/>
                  </a:cxn>
                  <a:cxn ang="0">
                    <a:pos x="11" y="6"/>
                  </a:cxn>
                  <a:cxn ang="0">
                    <a:pos x="10" y="6"/>
                  </a:cxn>
                  <a:cxn ang="0">
                    <a:pos x="7" y="4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6" y="10"/>
                  </a:cxn>
                  <a:cxn ang="0">
                    <a:pos x="7" y="13"/>
                  </a:cxn>
                  <a:cxn ang="0">
                    <a:pos x="8" y="14"/>
                  </a:cxn>
                  <a:cxn ang="0">
                    <a:pos x="8" y="14"/>
                  </a:cxn>
                </a:cxnLst>
                <a:rect l="0" t="0" r="r" b="b"/>
                <a:pathLst>
                  <a:path w="20" h="14">
                    <a:moveTo>
                      <a:pt x="8" y="14"/>
                    </a:moveTo>
                    <a:lnTo>
                      <a:pt x="8" y="14"/>
                    </a:lnTo>
                    <a:lnTo>
                      <a:pt x="13" y="13"/>
                    </a:lnTo>
                    <a:lnTo>
                      <a:pt x="14" y="11"/>
                    </a:lnTo>
                    <a:lnTo>
                      <a:pt x="17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7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1"/>
                    </a:lnTo>
                    <a:lnTo>
                      <a:pt x="11" y="3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11" y="6"/>
                    </a:lnTo>
                    <a:lnTo>
                      <a:pt x="10" y="6"/>
                    </a:lnTo>
                    <a:lnTo>
                      <a:pt x="7" y="4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6" y="10"/>
                    </a:lnTo>
                    <a:lnTo>
                      <a:pt x="7" y="13"/>
                    </a:lnTo>
                    <a:lnTo>
                      <a:pt x="8" y="14"/>
                    </a:lnTo>
                    <a:lnTo>
                      <a:pt x="8" y="1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15" name="Sri Lanka">
                <a:extLst>
                  <a:ext uri="{FF2B5EF4-FFF2-40B4-BE49-F238E27FC236}">
                    <a16:creationId xmlns:a16="http://schemas.microsoft.com/office/drawing/2014/main" id="{215D9617-EE86-9BAB-2593-9E2D27EF33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13081" y="4084812"/>
                <a:ext cx="48833" cy="90267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7" y="0"/>
                  </a:cxn>
                  <a:cxn ang="0">
                    <a:pos x="4" y="1"/>
                  </a:cxn>
                  <a:cxn ang="0">
                    <a:pos x="3" y="4"/>
                  </a:cxn>
                  <a:cxn ang="0">
                    <a:pos x="1" y="14"/>
                  </a:cxn>
                  <a:cxn ang="0">
                    <a:pos x="1" y="14"/>
                  </a:cxn>
                  <a:cxn ang="0">
                    <a:pos x="0" y="20"/>
                  </a:cxn>
                  <a:cxn ang="0">
                    <a:pos x="0" y="24"/>
                  </a:cxn>
                  <a:cxn ang="0">
                    <a:pos x="0" y="35"/>
                  </a:cxn>
                  <a:cxn ang="0">
                    <a:pos x="0" y="35"/>
                  </a:cxn>
                  <a:cxn ang="0">
                    <a:pos x="1" y="50"/>
                  </a:cxn>
                  <a:cxn ang="0">
                    <a:pos x="4" y="55"/>
                  </a:cxn>
                  <a:cxn ang="0">
                    <a:pos x="8" y="60"/>
                  </a:cxn>
                  <a:cxn ang="0">
                    <a:pos x="8" y="60"/>
                  </a:cxn>
                  <a:cxn ang="0">
                    <a:pos x="11" y="61"/>
                  </a:cxn>
                  <a:cxn ang="0">
                    <a:pos x="16" y="61"/>
                  </a:cxn>
                  <a:cxn ang="0">
                    <a:pos x="20" y="58"/>
                  </a:cxn>
                  <a:cxn ang="0">
                    <a:pos x="24" y="55"/>
                  </a:cxn>
                  <a:cxn ang="0">
                    <a:pos x="27" y="51"/>
                  </a:cxn>
                  <a:cxn ang="0">
                    <a:pos x="30" y="47"/>
                  </a:cxn>
                  <a:cxn ang="0">
                    <a:pos x="33" y="41"/>
                  </a:cxn>
                  <a:cxn ang="0">
                    <a:pos x="33" y="37"/>
                  </a:cxn>
                  <a:cxn ang="0">
                    <a:pos x="33" y="37"/>
                  </a:cxn>
                  <a:cxn ang="0">
                    <a:pos x="33" y="31"/>
                  </a:cxn>
                  <a:cxn ang="0">
                    <a:pos x="30" y="25"/>
                  </a:cxn>
                  <a:cxn ang="0">
                    <a:pos x="21" y="13"/>
                  </a:cxn>
                  <a:cxn ang="0">
                    <a:pos x="13" y="3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7" y="0"/>
                  </a:cxn>
                </a:cxnLst>
                <a:rect l="0" t="0" r="r" b="b"/>
                <a:pathLst>
                  <a:path w="33" h="61">
                    <a:moveTo>
                      <a:pt x="7" y="0"/>
                    </a:moveTo>
                    <a:lnTo>
                      <a:pt x="7" y="0"/>
                    </a:lnTo>
                    <a:lnTo>
                      <a:pt x="4" y="1"/>
                    </a:lnTo>
                    <a:lnTo>
                      <a:pt x="3" y="4"/>
                    </a:lnTo>
                    <a:lnTo>
                      <a:pt x="1" y="14"/>
                    </a:lnTo>
                    <a:lnTo>
                      <a:pt x="1" y="14"/>
                    </a:lnTo>
                    <a:lnTo>
                      <a:pt x="0" y="20"/>
                    </a:lnTo>
                    <a:lnTo>
                      <a:pt x="0" y="24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1" y="50"/>
                    </a:lnTo>
                    <a:lnTo>
                      <a:pt x="4" y="55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11" y="61"/>
                    </a:lnTo>
                    <a:lnTo>
                      <a:pt x="16" y="61"/>
                    </a:lnTo>
                    <a:lnTo>
                      <a:pt x="20" y="58"/>
                    </a:lnTo>
                    <a:lnTo>
                      <a:pt x="24" y="55"/>
                    </a:lnTo>
                    <a:lnTo>
                      <a:pt x="27" y="51"/>
                    </a:lnTo>
                    <a:lnTo>
                      <a:pt x="30" y="47"/>
                    </a:lnTo>
                    <a:lnTo>
                      <a:pt x="33" y="41"/>
                    </a:lnTo>
                    <a:lnTo>
                      <a:pt x="33" y="37"/>
                    </a:lnTo>
                    <a:lnTo>
                      <a:pt x="33" y="37"/>
                    </a:lnTo>
                    <a:lnTo>
                      <a:pt x="33" y="31"/>
                    </a:lnTo>
                    <a:lnTo>
                      <a:pt x="30" y="25"/>
                    </a:lnTo>
                    <a:lnTo>
                      <a:pt x="21" y="13"/>
                    </a:lnTo>
                    <a:lnTo>
                      <a:pt x="13" y="3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316" name="Timor-Leste">
                <a:extLst>
                  <a:ext uri="{FF2B5EF4-FFF2-40B4-BE49-F238E27FC236}">
                    <a16:creationId xmlns:a16="http://schemas.microsoft.com/office/drawing/2014/main" id="{1F6EE286-72F7-7B23-130A-CAF70C7C14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40050" y="4513950"/>
                <a:ext cx="78429" cy="26636"/>
              </a:xfrm>
              <a:custGeom>
                <a:avLst/>
                <a:gdLst/>
                <a:ahLst/>
                <a:cxnLst>
                  <a:cxn ang="0">
                    <a:pos x="6" y="14"/>
                  </a:cxn>
                  <a:cxn ang="0">
                    <a:pos x="6" y="14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3" y="18"/>
                  </a:cxn>
                  <a:cxn ang="0">
                    <a:pos x="4" y="18"/>
                  </a:cxn>
                  <a:cxn ang="0">
                    <a:pos x="6" y="18"/>
                  </a:cxn>
                  <a:cxn ang="0">
                    <a:pos x="6" y="18"/>
                  </a:cxn>
                  <a:cxn ang="0">
                    <a:pos x="7" y="17"/>
                  </a:cxn>
                  <a:cxn ang="0">
                    <a:pos x="9" y="14"/>
                  </a:cxn>
                  <a:cxn ang="0">
                    <a:pos x="9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29" y="3"/>
                  </a:cxn>
                  <a:cxn ang="0">
                    <a:pos x="29" y="3"/>
                  </a:cxn>
                  <a:cxn ang="0">
                    <a:pos x="24" y="3"/>
                  </a:cxn>
                  <a:cxn ang="0">
                    <a:pos x="21" y="6"/>
                  </a:cxn>
                  <a:cxn ang="0">
                    <a:pos x="14" y="11"/>
                  </a:cxn>
                  <a:cxn ang="0">
                    <a:pos x="14" y="11"/>
                  </a:cxn>
                  <a:cxn ang="0">
                    <a:pos x="13" y="11"/>
                  </a:cxn>
                  <a:cxn ang="0">
                    <a:pos x="13" y="11"/>
                  </a:cxn>
                  <a:cxn ang="0">
                    <a:pos x="19" y="17"/>
                  </a:cxn>
                  <a:cxn ang="0">
                    <a:pos x="19" y="17"/>
                  </a:cxn>
                  <a:cxn ang="0">
                    <a:pos x="27" y="13"/>
                  </a:cxn>
                  <a:cxn ang="0">
                    <a:pos x="39" y="8"/>
                  </a:cxn>
                  <a:cxn ang="0">
                    <a:pos x="47" y="4"/>
                  </a:cxn>
                  <a:cxn ang="0">
                    <a:pos x="53" y="1"/>
                  </a:cxn>
                  <a:cxn ang="0">
                    <a:pos x="53" y="1"/>
                  </a:cxn>
                  <a:cxn ang="0">
                    <a:pos x="51" y="1"/>
                  </a:cxn>
                  <a:cxn ang="0">
                    <a:pos x="50" y="0"/>
                  </a:cxn>
                  <a:cxn ang="0">
                    <a:pos x="44" y="1"/>
                  </a:cxn>
                  <a:cxn ang="0">
                    <a:pos x="36" y="1"/>
                  </a:cxn>
                  <a:cxn ang="0">
                    <a:pos x="29" y="3"/>
                  </a:cxn>
                  <a:cxn ang="0">
                    <a:pos x="29" y="3"/>
                  </a:cxn>
                </a:cxnLst>
                <a:rect l="0" t="0" r="r" b="b"/>
                <a:pathLst>
                  <a:path w="53" h="18">
                    <a:moveTo>
                      <a:pt x="6" y="14"/>
                    </a:moveTo>
                    <a:lnTo>
                      <a:pt x="6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3" y="18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7" y="17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close/>
                    <a:moveTo>
                      <a:pt x="29" y="3"/>
                    </a:moveTo>
                    <a:lnTo>
                      <a:pt x="29" y="3"/>
                    </a:lnTo>
                    <a:lnTo>
                      <a:pt x="24" y="3"/>
                    </a:lnTo>
                    <a:lnTo>
                      <a:pt x="21" y="6"/>
                    </a:lnTo>
                    <a:lnTo>
                      <a:pt x="14" y="11"/>
                    </a:lnTo>
                    <a:lnTo>
                      <a:pt x="14" y="11"/>
                    </a:lnTo>
                    <a:lnTo>
                      <a:pt x="13" y="11"/>
                    </a:lnTo>
                    <a:lnTo>
                      <a:pt x="13" y="11"/>
                    </a:lnTo>
                    <a:lnTo>
                      <a:pt x="19" y="17"/>
                    </a:lnTo>
                    <a:lnTo>
                      <a:pt x="19" y="17"/>
                    </a:lnTo>
                    <a:lnTo>
                      <a:pt x="27" y="13"/>
                    </a:lnTo>
                    <a:lnTo>
                      <a:pt x="39" y="8"/>
                    </a:lnTo>
                    <a:lnTo>
                      <a:pt x="47" y="4"/>
                    </a:lnTo>
                    <a:lnTo>
                      <a:pt x="53" y="1"/>
                    </a:lnTo>
                    <a:lnTo>
                      <a:pt x="53" y="1"/>
                    </a:lnTo>
                    <a:lnTo>
                      <a:pt x="51" y="1"/>
                    </a:lnTo>
                    <a:lnTo>
                      <a:pt x="50" y="0"/>
                    </a:lnTo>
                    <a:lnTo>
                      <a:pt x="44" y="1"/>
                    </a:lnTo>
                    <a:lnTo>
                      <a:pt x="36" y="1"/>
                    </a:lnTo>
                    <a:lnTo>
                      <a:pt x="29" y="3"/>
                    </a:lnTo>
                    <a:lnTo>
                      <a:pt x="29" y="3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</p:grpSp>
        <p:grpSp>
          <p:nvGrpSpPr>
            <p:cNvPr id="191" name="Middle East">
              <a:extLst>
                <a:ext uri="{FF2B5EF4-FFF2-40B4-BE49-F238E27FC236}">
                  <a16:creationId xmlns:a16="http://schemas.microsoft.com/office/drawing/2014/main" id="{30609D8F-A083-4941-7BA4-34F75BEF0119}"/>
                </a:ext>
              </a:extLst>
            </p:cNvPr>
            <p:cNvGrpSpPr/>
            <p:nvPr/>
          </p:nvGrpSpPr>
          <p:grpSpPr>
            <a:xfrm>
              <a:off x="6646480" y="3768707"/>
              <a:ext cx="1037328" cy="701418"/>
              <a:chOff x="5122480" y="3303486"/>
              <a:chExt cx="1037328" cy="701418"/>
            </a:xfrm>
            <a:solidFill>
              <a:schemeClr val="bg1">
                <a:lumMod val="75000"/>
              </a:schemeClr>
            </a:solidFill>
          </p:grpSpPr>
          <p:sp>
            <p:nvSpPr>
              <p:cNvPr id="279" name="Saudi Arabia">
                <a:extLst>
                  <a:ext uri="{FF2B5EF4-FFF2-40B4-BE49-F238E27FC236}">
                    <a16:creationId xmlns:a16="http://schemas.microsoft.com/office/drawing/2014/main" id="{766A5602-4C30-6A3D-5293-0EA6EA9E8E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5798" y="3513616"/>
                <a:ext cx="498687" cy="402501"/>
              </a:xfrm>
              <a:custGeom>
                <a:avLst/>
                <a:gdLst/>
                <a:ahLst/>
                <a:cxnLst>
                  <a:cxn ang="0">
                    <a:pos x="173" y="54"/>
                  </a:cxn>
                  <a:cxn ang="0">
                    <a:pos x="159" y="51"/>
                  </a:cxn>
                  <a:cxn ang="0">
                    <a:pos x="135" y="33"/>
                  </a:cxn>
                  <a:cxn ang="0">
                    <a:pos x="99" y="10"/>
                  </a:cxn>
                  <a:cxn ang="0">
                    <a:pos x="83" y="2"/>
                  </a:cxn>
                  <a:cxn ang="0">
                    <a:pos x="71" y="2"/>
                  </a:cxn>
                  <a:cxn ang="0">
                    <a:pos x="61" y="5"/>
                  </a:cxn>
                  <a:cxn ang="0">
                    <a:pos x="45" y="7"/>
                  </a:cxn>
                  <a:cxn ang="0">
                    <a:pos x="37" y="16"/>
                  </a:cxn>
                  <a:cxn ang="0">
                    <a:pos x="42" y="19"/>
                  </a:cxn>
                  <a:cxn ang="0">
                    <a:pos x="51" y="29"/>
                  </a:cxn>
                  <a:cxn ang="0">
                    <a:pos x="48" y="33"/>
                  </a:cxn>
                  <a:cxn ang="0">
                    <a:pos x="41" y="37"/>
                  </a:cxn>
                  <a:cxn ang="0">
                    <a:pos x="31" y="40"/>
                  </a:cxn>
                  <a:cxn ang="0">
                    <a:pos x="29" y="46"/>
                  </a:cxn>
                  <a:cxn ang="0">
                    <a:pos x="18" y="51"/>
                  </a:cxn>
                  <a:cxn ang="0">
                    <a:pos x="1" y="44"/>
                  </a:cxn>
                  <a:cxn ang="0">
                    <a:pos x="0" y="54"/>
                  </a:cxn>
                  <a:cxn ang="0">
                    <a:pos x="2" y="71"/>
                  </a:cxn>
                  <a:cxn ang="0">
                    <a:pos x="7" y="77"/>
                  </a:cxn>
                  <a:cxn ang="0">
                    <a:pos x="29" y="107"/>
                  </a:cxn>
                  <a:cxn ang="0">
                    <a:pos x="38" y="124"/>
                  </a:cxn>
                  <a:cxn ang="0">
                    <a:pos x="45" y="137"/>
                  </a:cxn>
                  <a:cxn ang="0">
                    <a:pos x="56" y="147"/>
                  </a:cxn>
                  <a:cxn ang="0">
                    <a:pos x="65" y="160"/>
                  </a:cxn>
                  <a:cxn ang="0">
                    <a:pos x="69" y="167"/>
                  </a:cxn>
                  <a:cxn ang="0">
                    <a:pos x="71" y="185"/>
                  </a:cxn>
                  <a:cxn ang="0">
                    <a:pos x="82" y="205"/>
                  </a:cxn>
                  <a:cxn ang="0">
                    <a:pos x="93" y="214"/>
                  </a:cxn>
                  <a:cxn ang="0">
                    <a:pos x="101" y="225"/>
                  </a:cxn>
                  <a:cxn ang="0">
                    <a:pos x="115" y="251"/>
                  </a:cxn>
                  <a:cxn ang="0">
                    <a:pos x="119" y="259"/>
                  </a:cxn>
                  <a:cxn ang="0">
                    <a:pos x="126" y="272"/>
                  </a:cxn>
                  <a:cxn ang="0">
                    <a:pos x="133" y="268"/>
                  </a:cxn>
                  <a:cxn ang="0">
                    <a:pos x="133" y="259"/>
                  </a:cxn>
                  <a:cxn ang="0">
                    <a:pos x="140" y="253"/>
                  </a:cxn>
                  <a:cxn ang="0">
                    <a:pos x="145" y="253"/>
                  </a:cxn>
                  <a:cxn ang="0">
                    <a:pos x="152" y="255"/>
                  </a:cxn>
                  <a:cxn ang="0">
                    <a:pos x="172" y="256"/>
                  </a:cxn>
                  <a:cxn ang="0">
                    <a:pos x="189" y="259"/>
                  </a:cxn>
                  <a:cxn ang="0">
                    <a:pos x="197" y="262"/>
                  </a:cxn>
                  <a:cxn ang="0">
                    <a:pos x="204" y="256"/>
                  </a:cxn>
                  <a:cxn ang="0">
                    <a:pos x="217" y="243"/>
                  </a:cxn>
                  <a:cxn ang="0">
                    <a:pos x="234" y="234"/>
                  </a:cxn>
                  <a:cxn ang="0">
                    <a:pos x="261" y="232"/>
                  </a:cxn>
                  <a:cxn ang="0">
                    <a:pos x="325" y="212"/>
                  </a:cxn>
                  <a:cxn ang="0">
                    <a:pos x="332" y="195"/>
                  </a:cxn>
                  <a:cxn ang="0">
                    <a:pos x="337" y="175"/>
                  </a:cxn>
                  <a:cxn ang="0">
                    <a:pos x="328" y="167"/>
                  </a:cxn>
                  <a:cxn ang="0">
                    <a:pos x="288" y="162"/>
                  </a:cxn>
                  <a:cxn ang="0">
                    <a:pos x="278" y="151"/>
                  </a:cxn>
                  <a:cxn ang="0">
                    <a:pos x="273" y="141"/>
                  </a:cxn>
                  <a:cxn ang="0">
                    <a:pos x="266" y="135"/>
                  </a:cxn>
                  <a:cxn ang="0">
                    <a:pos x="256" y="125"/>
                  </a:cxn>
                  <a:cxn ang="0">
                    <a:pos x="250" y="117"/>
                  </a:cxn>
                  <a:cxn ang="0">
                    <a:pos x="247" y="108"/>
                  </a:cxn>
                  <a:cxn ang="0">
                    <a:pos x="247" y="100"/>
                  </a:cxn>
                  <a:cxn ang="0">
                    <a:pos x="240" y="91"/>
                  </a:cxn>
                  <a:cxn ang="0">
                    <a:pos x="224" y="71"/>
                  </a:cxn>
                  <a:cxn ang="0">
                    <a:pos x="209" y="64"/>
                  </a:cxn>
                </a:cxnLst>
                <a:rect l="0" t="0" r="r" b="b"/>
                <a:pathLst>
                  <a:path w="337" h="272">
                    <a:moveTo>
                      <a:pt x="202" y="57"/>
                    </a:moveTo>
                    <a:lnTo>
                      <a:pt x="202" y="57"/>
                    </a:lnTo>
                    <a:lnTo>
                      <a:pt x="173" y="54"/>
                    </a:lnTo>
                    <a:lnTo>
                      <a:pt x="173" y="54"/>
                    </a:lnTo>
                    <a:lnTo>
                      <a:pt x="163" y="53"/>
                    </a:lnTo>
                    <a:lnTo>
                      <a:pt x="159" y="51"/>
                    </a:lnTo>
                    <a:lnTo>
                      <a:pt x="153" y="49"/>
                    </a:lnTo>
                    <a:lnTo>
                      <a:pt x="153" y="49"/>
                    </a:lnTo>
                    <a:lnTo>
                      <a:pt x="135" y="33"/>
                    </a:lnTo>
                    <a:lnTo>
                      <a:pt x="115" y="20"/>
                    </a:lnTo>
                    <a:lnTo>
                      <a:pt x="115" y="20"/>
                    </a:lnTo>
                    <a:lnTo>
                      <a:pt x="99" y="10"/>
                    </a:lnTo>
                    <a:lnTo>
                      <a:pt x="91" y="5"/>
                    </a:lnTo>
                    <a:lnTo>
                      <a:pt x="83" y="2"/>
                    </a:lnTo>
                    <a:lnTo>
                      <a:pt x="83" y="2"/>
                    </a:lnTo>
                    <a:lnTo>
                      <a:pt x="78" y="0"/>
                    </a:lnTo>
                    <a:lnTo>
                      <a:pt x="71" y="2"/>
                    </a:lnTo>
                    <a:lnTo>
                      <a:pt x="71" y="2"/>
                    </a:lnTo>
                    <a:lnTo>
                      <a:pt x="66" y="2"/>
                    </a:lnTo>
                    <a:lnTo>
                      <a:pt x="64" y="3"/>
                    </a:lnTo>
                    <a:lnTo>
                      <a:pt x="61" y="5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45" y="7"/>
                    </a:lnTo>
                    <a:lnTo>
                      <a:pt x="39" y="12"/>
                    </a:lnTo>
                    <a:lnTo>
                      <a:pt x="37" y="14"/>
                    </a:lnTo>
                    <a:lnTo>
                      <a:pt x="37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42" y="19"/>
                    </a:lnTo>
                    <a:lnTo>
                      <a:pt x="46" y="23"/>
                    </a:lnTo>
                    <a:lnTo>
                      <a:pt x="49" y="27"/>
                    </a:lnTo>
                    <a:lnTo>
                      <a:pt x="51" y="29"/>
                    </a:lnTo>
                    <a:lnTo>
                      <a:pt x="49" y="30"/>
                    </a:lnTo>
                    <a:lnTo>
                      <a:pt x="49" y="30"/>
                    </a:lnTo>
                    <a:lnTo>
                      <a:pt x="48" y="33"/>
                    </a:lnTo>
                    <a:lnTo>
                      <a:pt x="45" y="34"/>
                    </a:lnTo>
                    <a:lnTo>
                      <a:pt x="44" y="37"/>
                    </a:lnTo>
                    <a:lnTo>
                      <a:pt x="41" y="37"/>
                    </a:lnTo>
                    <a:lnTo>
                      <a:pt x="41" y="37"/>
                    </a:lnTo>
                    <a:lnTo>
                      <a:pt x="34" y="39"/>
                    </a:lnTo>
                    <a:lnTo>
                      <a:pt x="31" y="40"/>
                    </a:lnTo>
                    <a:lnTo>
                      <a:pt x="31" y="43"/>
                    </a:lnTo>
                    <a:lnTo>
                      <a:pt x="31" y="43"/>
                    </a:lnTo>
                    <a:lnTo>
                      <a:pt x="29" y="46"/>
                    </a:lnTo>
                    <a:lnTo>
                      <a:pt x="27" y="49"/>
                    </a:lnTo>
                    <a:lnTo>
                      <a:pt x="22" y="51"/>
                    </a:lnTo>
                    <a:lnTo>
                      <a:pt x="18" y="51"/>
                    </a:lnTo>
                    <a:lnTo>
                      <a:pt x="18" y="51"/>
                    </a:lnTo>
                    <a:lnTo>
                      <a:pt x="11" y="49"/>
                    </a:lnTo>
                    <a:lnTo>
                      <a:pt x="1" y="44"/>
                    </a:lnTo>
                    <a:lnTo>
                      <a:pt x="0" y="50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64"/>
                    </a:lnTo>
                    <a:lnTo>
                      <a:pt x="1" y="69"/>
                    </a:lnTo>
                    <a:lnTo>
                      <a:pt x="2" y="71"/>
                    </a:lnTo>
                    <a:lnTo>
                      <a:pt x="2" y="71"/>
                    </a:lnTo>
                    <a:lnTo>
                      <a:pt x="4" y="74"/>
                    </a:lnTo>
                    <a:lnTo>
                      <a:pt x="7" y="77"/>
                    </a:lnTo>
                    <a:lnTo>
                      <a:pt x="15" y="88"/>
                    </a:lnTo>
                    <a:lnTo>
                      <a:pt x="15" y="88"/>
                    </a:lnTo>
                    <a:lnTo>
                      <a:pt x="29" y="107"/>
                    </a:lnTo>
                    <a:lnTo>
                      <a:pt x="35" y="117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9" y="128"/>
                    </a:lnTo>
                    <a:lnTo>
                      <a:pt x="41" y="133"/>
                    </a:lnTo>
                    <a:lnTo>
                      <a:pt x="45" y="137"/>
                    </a:lnTo>
                    <a:lnTo>
                      <a:pt x="51" y="141"/>
                    </a:lnTo>
                    <a:lnTo>
                      <a:pt x="51" y="141"/>
                    </a:lnTo>
                    <a:lnTo>
                      <a:pt x="56" y="147"/>
                    </a:lnTo>
                    <a:lnTo>
                      <a:pt x="59" y="151"/>
                    </a:lnTo>
                    <a:lnTo>
                      <a:pt x="62" y="157"/>
                    </a:lnTo>
                    <a:lnTo>
                      <a:pt x="65" y="160"/>
                    </a:lnTo>
                    <a:lnTo>
                      <a:pt x="65" y="160"/>
                    </a:lnTo>
                    <a:lnTo>
                      <a:pt x="68" y="162"/>
                    </a:lnTo>
                    <a:lnTo>
                      <a:pt x="69" y="167"/>
                    </a:lnTo>
                    <a:lnTo>
                      <a:pt x="69" y="178"/>
                    </a:lnTo>
                    <a:lnTo>
                      <a:pt x="69" y="178"/>
                    </a:lnTo>
                    <a:lnTo>
                      <a:pt x="71" y="185"/>
                    </a:lnTo>
                    <a:lnTo>
                      <a:pt x="72" y="192"/>
                    </a:lnTo>
                    <a:lnTo>
                      <a:pt x="76" y="199"/>
                    </a:lnTo>
                    <a:lnTo>
                      <a:pt x="82" y="205"/>
                    </a:lnTo>
                    <a:lnTo>
                      <a:pt x="82" y="205"/>
                    </a:lnTo>
                    <a:lnTo>
                      <a:pt x="88" y="208"/>
                    </a:lnTo>
                    <a:lnTo>
                      <a:pt x="93" y="214"/>
                    </a:lnTo>
                    <a:lnTo>
                      <a:pt x="98" y="219"/>
                    </a:lnTo>
                    <a:lnTo>
                      <a:pt x="101" y="225"/>
                    </a:lnTo>
                    <a:lnTo>
                      <a:pt x="101" y="225"/>
                    </a:lnTo>
                    <a:lnTo>
                      <a:pt x="108" y="239"/>
                    </a:lnTo>
                    <a:lnTo>
                      <a:pt x="115" y="251"/>
                    </a:lnTo>
                    <a:lnTo>
                      <a:pt x="115" y="251"/>
                    </a:lnTo>
                    <a:lnTo>
                      <a:pt x="118" y="253"/>
                    </a:lnTo>
                    <a:lnTo>
                      <a:pt x="119" y="256"/>
                    </a:lnTo>
                    <a:lnTo>
                      <a:pt x="119" y="259"/>
                    </a:lnTo>
                    <a:lnTo>
                      <a:pt x="120" y="262"/>
                    </a:lnTo>
                    <a:lnTo>
                      <a:pt x="120" y="262"/>
                    </a:lnTo>
                    <a:lnTo>
                      <a:pt x="126" y="272"/>
                    </a:lnTo>
                    <a:lnTo>
                      <a:pt x="126" y="272"/>
                    </a:lnTo>
                    <a:lnTo>
                      <a:pt x="133" y="268"/>
                    </a:lnTo>
                    <a:lnTo>
                      <a:pt x="133" y="268"/>
                    </a:lnTo>
                    <a:lnTo>
                      <a:pt x="133" y="263"/>
                    </a:lnTo>
                    <a:lnTo>
                      <a:pt x="133" y="261"/>
                    </a:lnTo>
                    <a:lnTo>
                      <a:pt x="133" y="259"/>
                    </a:lnTo>
                    <a:lnTo>
                      <a:pt x="133" y="259"/>
                    </a:lnTo>
                    <a:lnTo>
                      <a:pt x="136" y="255"/>
                    </a:lnTo>
                    <a:lnTo>
                      <a:pt x="140" y="253"/>
                    </a:lnTo>
                    <a:lnTo>
                      <a:pt x="140" y="253"/>
                    </a:lnTo>
                    <a:lnTo>
                      <a:pt x="142" y="253"/>
                    </a:lnTo>
                    <a:lnTo>
                      <a:pt x="145" y="253"/>
                    </a:lnTo>
                    <a:lnTo>
                      <a:pt x="147" y="255"/>
                    </a:lnTo>
                    <a:lnTo>
                      <a:pt x="152" y="255"/>
                    </a:lnTo>
                    <a:lnTo>
                      <a:pt x="152" y="255"/>
                    </a:lnTo>
                    <a:lnTo>
                      <a:pt x="163" y="255"/>
                    </a:lnTo>
                    <a:lnTo>
                      <a:pt x="172" y="256"/>
                    </a:lnTo>
                    <a:lnTo>
                      <a:pt x="172" y="256"/>
                    </a:lnTo>
                    <a:lnTo>
                      <a:pt x="175" y="258"/>
                    </a:lnTo>
                    <a:lnTo>
                      <a:pt x="182" y="258"/>
                    </a:lnTo>
                    <a:lnTo>
                      <a:pt x="189" y="259"/>
                    </a:lnTo>
                    <a:lnTo>
                      <a:pt x="194" y="261"/>
                    </a:lnTo>
                    <a:lnTo>
                      <a:pt x="194" y="261"/>
                    </a:lnTo>
                    <a:lnTo>
                      <a:pt x="197" y="262"/>
                    </a:lnTo>
                    <a:lnTo>
                      <a:pt x="200" y="262"/>
                    </a:lnTo>
                    <a:lnTo>
                      <a:pt x="203" y="261"/>
                    </a:lnTo>
                    <a:lnTo>
                      <a:pt x="204" y="256"/>
                    </a:lnTo>
                    <a:lnTo>
                      <a:pt x="204" y="256"/>
                    </a:lnTo>
                    <a:lnTo>
                      <a:pt x="210" y="251"/>
                    </a:lnTo>
                    <a:lnTo>
                      <a:pt x="217" y="243"/>
                    </a:lnTo>
                    <a:lnTo>
                      <a:pt x="230" y="235"/>
                    </a:lnTo>
                    <a:lnTo>
                      <a:pt x="230" y="235"/>
                    </a:lnTo>
                    <a:lnTo>
                      <a:pt x="234" y="234"/>
                    </a:lnTo>
                    <a:lnTo>
                      <a:pt x="243" y="234"/>
                    </a:lnTo>
                    <a:lnTo>
                      <a:pt x="253" y="234"/>
                    </a:lnTo>
                    <a:lnTo>
                      <a:pt x="261" y="232"/>
                    </a:lnTo>
                    <a:lnTo>
                      <a:pt x="261" y="232"/>
                    </a:lnTo>
                    <a:lnTo>
                      <a:pt x="295" y="222"/>
                    </a:lnTo>
                    <a:lnTo>
                      <a:pt x="325" y="212"/>
                    </a:lnTo>
                    <a:lnTo>
                      <a:pt x="325" y="212"/>
                    </a:lnTo>
                    <a:lnTo>
                      <a:pt x="328" y="207"/>
                    </a:lnTo>
                    <a:lnTo>
                      <a:pt x="332" y="195"/>
                    </a:lnTo>
                    <a:lnTo>
                      <a:pt x="337" y="178"/>
                    </a:lnTo>
                    <a:lnTo>
                      <a:pt x="337" y="178"/>
                    </a:lnTo>
                    <a:lnTo>
                      <a:pt x="337" y="175"/>
                    </a:lnTo>
                    <a:lnTo>
                      <a:pt x="334" y="171"/>
                    </a:lnTo>
                    <a:lnTo>
                      <a:pt x="331" y="168"/>
                    </a:lnTo>
                    <a:lnTo>
                      <a:pt x="328" y="167"/>
                    </a:lnTo>
                    <a:lnTo>
                      <a:pt x="328" y="167"/>
                    </a:lnTo>
                    <a:lnTo>
                      <a:pt x="308" y="165"/>
                    </a:lnTo>
                    <a:lnTo>
                      <a:pt x="288" y="162"/>
                    </a:lnTo>
                    <a:lnTo>
                      <a:pt x="288" y="162"/>
                    </a:lnTo>
                    <a:lnTo>
                      <a:pt x="283" y="157"/>
                    </a:lnTo>
                    <a:lnTo>
                      <a:pt x="278" y="151"/>
                    </a:lnTo>
                    <a:lnTo>
                      <a:pt x="276" y="145"/>
                    </a:lnTo>
                    <a:lnTo>
                      <a:pt x="276" y="145"/>
                    </a:lnTo>
                    <a:lnTo>
                      <a:pt x="273" y="141"/>
                    </a:lnTo>
                    <a:lnTo>
                      <a:pt x="270" y="135"/>
                    </a:lnTo>
                    <a:lnTo>
                      <a:pt x="270" y="135"/>
                    </a:lnTo>
                    <a:lnTo>
                      <a:pt x="266" y="135"/>
                    </a:lnTo>
                    <a:lnTo>
                      <a:pt x="263" y="134"/>
                    </a:lnTo>
                    <a:lnTo>
                      <a:pt x="258" y="131"/>
                    </a:lnTo>
                    <a:lnTo>
                      <a:pt x="256" y="125"/>
                    </a:lnTo>
                    <a:lnTo>
                      <a:pt x="256" y="125"/>
                    </a:lnTo>
                    <a:lnTo>
                      <a:pt x="253" y="123"/>
                    </a:lnTo>
                    <a:lnTo>
                      <a:pt x="250" y="117"/>
                    </a:lnTo>
                    <a:lnTo>
                      <a:pt x="247" y="113"/>
                    </a:lnTo>
                    <a:lnTo>
                      <a:pt x="247" y="110"/>
                    </a:lnTo>
                    <a:lnTo>
                      <a:pt x="247" y="108"/>
                    </a:lnTo>
                    <a:lnTo>
                      <a:pt x="247" y="108"/>
                    </a:lnTo>
                    <a:lnTo>
                      <a:pt x="248" y="104"/>
                    </a:lnTo>
                    <a:lnTo>
                      <a:pt x="247" y="100"/>
                    </a:lnTo>
                    <a:lnTo>
                      <a:pt x="244" y="96"/>
                    </a:lnTo>
                    <a:lnTo>
                      <a:pt x="240" y="91"/>
                    </a:lnTo>
                    <a:lnTo>
                      <a:pt x="240" y="91"/>
                    </a:lnTo>
                    <a:lnTo>
                      <a:pt x="230" y="81"/>
                    </a:lnTo>
                    <a:lnTo>
                      <a:pt x="226" y="77"/>
                    </a:lnTo>
                    <a:lnTo>
                      <a:pt x="224" y="71"/>
                    </a:lnTo>
                    <a:lnTo>
                      <a:pt x="224" y="71"/>
                    </a:lnTo>
                    <a:lnTo>
                      <a:pt x="221" y="66"/>
                    </a:lnTo>
                    <a:lnTo>
                      <a:pt x="209" y="64"/>
                    </a:lnTo>
                    <a:lnTo>
                      <a:pt x="202" y="57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80" name="Afghanistan">
                <a:extLst>
                  <a:ext uri="{FF2B5EF4-FFF2-40B4-BE49-F238E27FC236}">
                    <a16:creationId xmlns:a16="http://schemas.microsoft.com/office/drawing/2014/main" id="{7014A559-9096-3FF3-7786-0B977ED223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8786" y="3347880"/>
                <a:ext cx="335911" cy="239725"/>
              </a:xfrm>
              <a:custGeom>
                <a:avLst/>
                <a:gdLst/>
                <a:ahLst/>
                <a:cxnLst>
                  <a:cxn ang="0">
                    <a:pos x="216" y="21"/>
                  </a:cxn>
                  <a:cxn ang="0">
                    <a:pos x="206" y="21"/>
                  </a:cxn>
                  <a:cxn ang="0">
                    <a:pos x="187" y="33"/>
                  </a:cxn>
                  <a:cxn ang="0">
                    <a:pos x="179" y="30"/>
                  </a:cxn>
                  <a:cxn ang="0">
                    <a:pos x="180" y="14"/>
                  </a:cxn>
                  <a:cxn ang="0">
                    <a:pos x="176" y="10"/>
                  </a:cxn>
                  <a:cxn ang="0">
                    <a:pos x="173" y="0"/>
                  </a:cxn>
                  <a:cxn ang="0">
                    <a:pos x="159" y="10"/>
                  </a:cxn>
                  <a:cxn ang="0">
                    <a:pos x="156" y="16"/>
                  </a:cxn>
                  <a:cxn ang="0">
                    <a:pos x="143" y="21"/>
                  </a:cxn>
                  <a:cxn ang="0">
                    <a:pos x="136" y="24"/>
                  </a:cxn>
                  <a:cxn ang="0">
                    <a:pos x="126" y="25"/>
                  </a:cxn>
                  <a:cxn ang="0">
                    <a:pos x="116" y="23"/>
                  </a:cxn>
                  <a:cxn ang="0">
                    <a:pos x="106" y="20"/>
                  </a:cxn>
                  <a:cxn ang="0">
                    <a:pos x="95" y="18"/>
                  </a:cxn>
                  <a:cxn ang="0">
                    <a:pos x="82" y="17"/>
                  </a:cxn>
                  <a:cxn ang="0">
                    <a:pos x="74" y="23"/>
                  </a:cxn>
                  <a:cxn ang="0">
                    <a:pos x="68" y="27"/>
                  </a:cxn>
                  <a:cxn ang="0">
                    <a:pos x="59" y="43"/>
                  </a:cxn>
                  <a:cxn ang="0">
                    <a:pos x="41" y="51"/>
                  </a:cxn>
                  <a:cxn ang="0">
                    <a:pos x="35" y="58"/>
                  </a:cxn>
                  <a:cxn ang="0">
                    <a:pos x="27" y="57"/>
                  </a:cxn>
                  <a:cxn ang="0">
                    <a:pos x="15" y="54"/>
                  </a:cxn>
                  <a:cxn ang="0">
                    <a:pos x="8" y="61"/>
                  </a:cxn>
                  <a:cxn ang="0">
                    <a:pos x="2" y="74"/>
                  </a:cxn>
                  <a:cxn ang="0">
                    <a:pos x="1" y="88"/>
                  </a:cxn>
                  <a:cxn ang="0">
                    <a:pos x="0" y="99"/>
                  </a:cxn>
                  <a:cxn ang="0">
                    <a:pos x="2" y="117"/>
                  </a:cxn>
                  <a:cxn ang="0">
                    <a:pos x="11" y="126"/>
                  </a:cxn>
                  <a:cxn ang="0">
                    <a:pos x="18" y="132"/>
                  </a:cxn>
                  <a:cxn ang="0">
                    <a:pos x="5" y="151"/>
                  </a:cxn>
                  <a:cxn ang="0">
                    <a:pos x="5" y="159"/>
                  </a:cxn>
                  <a:cxn ang="0">
                    <a:pos x="31" y="162"/>
                  </a:cxn>
                  <a:cxn ang="0">
                    <a:pos x="95" y="155"/>
                  </a:cxn>
                  <a:cxn ang="0">
                    <a:pos x="94" y="138"/>
                  </a:cxn>
                  <a:cxn ang="0">
                    <a:pos x="106" y="131"/>
                  </a:cxn>
                  <a:cxn ang="0">
                    <a:pos x="118" y="128"/>
                  </a:cxn>
                  <a:cxn ang="0">
                    <a:pos x="125" y="122"/>
                  </a:cxn>
                  <a:cxn ang="0">
                    <a:pos x="135" y="122"/>
                  </a:cxn>
                  <a:cxn ang="0">
                    <a:pos x="142" y="115"/>
                  </a:cxn>
                  <a:cxn ang="0">
                    <a:pos x="148" y="98"/>
                  </a:cxn>
                  <a:cxn ang="0">
                    <a:pos x="158" y="94"/>
                  </a:cxn>
                  <a:cxn ang="0">
                    <a:pos x="152" y="82"/>
                  </a:cxn>
                  <a:cxn ang="0">
                    <a:pos x="162" y="82"/>
                  </a:cxn>
                  <a:cxn ang="0">
                    <a:pos x="170" y="81"/>
                  </a:cxn>
                  <a:cxn ang="0">
                    <a:pos x="172" y="68"/>
                  </a:cxn>
                  <a:cxn ang="0">
                    <a:pos x="180" y="57"/>
                  </a:cxn>
                  <a:cxn ang="0">
                    <a:pos x="177" y="48"/>
                  </a:cxn>
                  <a:cxn ang="0">
                    <a:pos x="176" y="41"/>
                  </a:cxn>
                  <a:cxn ang="0">
                    <a:pos x="182" y="38"/>
                  </a:cxn>
                  <a:cxn ang="0">
                    <a:pos x="195" y="33"/>
                  </a:cxn>
                  <a:cxn ang="0">
                    <a:pos x="212" y="30"/>
                  </a:cxn>
                  <a:cxn ang="0">
                    <a:pos x="227" y="24"/>
                  </a:cxn>
                  <a:cxn ang="0">
                    <a:pos x="220" y="23"/>
                  </a:cxn>
                </a:cxnLst>
                <a:rect l="0" t="0" r="r" b="b"/>
                <a:pathLst>
                  <a:path w="227" h="162">
                    <a:moveTo>
                      <a:pt x="220" y="23"/>
                    </a:moveTo>
                    <a:lnTo>
                      <a:pt x="220" y="23"/>
                    </a:lnTo>
                    <a:lnTo>
                      <a:pt x="217" y="23"/>
                    </a:lnTo>
                    <a:lnTo>
                      <a:pt x="216" y="21"/>
                    </a:lnTo>
                    <a:lnTo>
                      <a:pt x="213" y="18"/>
                    </a:lnTo>
                    <a:lnTo>
                      <a:pt x="213" y="18"/>
                    </a:lnTo>
                    <a:lnTo>
                      <a:pt x="210" y="18"/>
                    </a:lnTo>
                    <a:lnTo>
                      <a:pt x="206" y="21"/>
                    </a:lnTo>
                    <a:lnTo>
                      <a:pt x="196" y="30"/>
                    </a:lnTo>
                    <a:lnTo>
                      <a:pt x="196" y="30"/>
                    </a:lnTo>
                    <a:lnTo>
                      <a:pt x="187" y="33"/>
                    </a:lnTo>
                    <a:lnTo>
                      <a:pt x="187" y="33"/>
                    </a:lnTo>
                    <a:lnTo>
                      <a:pt x="183" y="34"/>
                    </a:lnTo>
                    <a:lnTo>
                      <a:pt x="180" y="33"/>
                    </a:lnTo>
                    <a:lnTo>
                      <a:pt x="180" y="33"/>
                    </a:lnTo>
                    <a:lnTo>
                      <a:pt x="179" y="30"/>
                    </a:lnTo>
                    <a:lnTo>
                      <a:pt x="179" y="28"/>
                    </a:lnTo>
                    <a:lnTo>
                      <a:pt x="180" y="23"/>
                    </a:lnTo>
                    <a:lnTo>
                      <a:pt x="182" y="17"/>
                    </a:lnTo>
                    <a:lnTo>
                      <a:pt x="180" y="14"/>
                    </a:lnTo>
                    <a:lnTo>
                      <a:pt x="179" y="13"/>
                    </a:lnTo>
                    <a:lnTo>
                      <a:pt x="179" y="13"/>
                    </a:lnTo>
                    <a:lnTo>
                      <a:pt x="177" y="11"/>
                    </a:lnTo>
                    <a:lnTo>
                      <a:pt x="176" y="10"/>
                    </a:lnTo>
                    <a:lnTo>
                      <a:pt x="176" y="6"/>
                    </a:lnTo>
                    <a:lnTo>
                      <a:pt x="175" y="1"/>
                    </a:lnTo>
                    <a:lnTo>
                      <a:pt x="175" y="0"/>
                    </a:lnTo>
                    <a:lnTo>
                      <a:pt x="173" y="0"/>
                    </a:lnTo>
                    <a:lnTo>
                      <a:pt x="173" y="0"/>
                    </a:lnTo>
                    <a:lnTo>
                      <a:pt x="167" y="1"/>
                    </a:lnTo>
                    <a:lnTo>
                      <a:pt x="163" y="6"/>
                    </a:lnTo>
                    <a:lnTo>
                      <a:pt x="159" y="10"/>
                    </a:lnTo>
                    <a:lnTo>
                      <a:pt x="158" y="14"/>
                    </a:lnTo>
                    <a:lnTo>
                      <a:pt x="158" y="14"/>
                    </a:lnTo>
                    <a:lnTo>
                      <a:pt x="158" y="16"/>
                    </a:lnTo>
                    <a:lnTo>
                      <a:pt x="156" y="16"/>
                    </a:lnTo>
                    <a:lnTo>
                      <a:pt x="150" y="17"/>
                    </a:lnTo>
                    <a:lnTo>
                      <a:pt x="145" y="18"/>
                    </a:lnTo>
                    <a:lnTo>
                      <a:pt x="143" y="20"/>
                    </a:lnTo>
                    <a:lnTo>
                      <a:pt x="143" y="21"/>
                    </a:lnTo>
                    <a:lnTo>
                      <a:pt x="143" y="21"/>
                    </a:lnTo>
                    <a:lnTo>
                      <a:pt x="142" y="23"/>
                    </a:lnTo>
                    <a:lnTo>
                      <a:pt x="140" y="23"/>
                    </a:lnTo>
                    <a:lnTo>
                      <a:pt x="136" y="24"/>
                    </a:lnTo>
                    <a:lnTo>
                      <a:pt x="130" y="24"/>
                    </a:lnTo>
                    <a:lnTo>
                      <a:pt x="128" y="24"/>
                    </a:lnTo>
                    <a:lnTo>
                      <a:pt x="126" y="25"/>
                    </a:lnTo>
                    <a:lnTo>
                      <a:pt x="126" y="25"/>
                    </a:lnTo>
                    <a:lnTo>
                      <a:pt x="125" y="27"/>
                    </a:lnTo>
                    <a:lnTo>
                      <a:pt x="123" y="27"/>
                    </a:lnTo>
                    <a:lnTo>
                      <a:pt x="121" y="25"/>
                    </a:lnTo>
                    <a:lnTo>
                      <a:pt x="116" y="23"/>
                    </a:lnTo>
                    <a:lnTo>
                      <a:pt x="112" y="23"/>
                    </a:lnTo>
                    <a:lnTo>
                      <a:pt x="112" y="23"/>
                    </a:lnTo>
                    <a:lnTo>
                      <a:pt x="109" y="21"/>
                    </a:lnTo>
                    <a:lnTo>
                      <a:pt x="106" y="20"/>
                    </a:lnTo>
                    <a:lnTo>
                      <a:pt x="103" y="17"/>
                    </a:lnTo>
                    <a:lnTo>
                      <a:pt x="99" y="17"/>
                    </a:lnTo>
                    <a:lnTo>
                      <a:pt x="99" y="17"/>
                    </a:lnTo>
                    <a:lnTo>
                      <a:pt x="95" y="18"/>
                    </a:lnTo>
                    <a:lnTo>
                      <a:pt x="92" y="17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2" y="17"/>
                    </a:lnTo>
                    <a:lnTo>
                      <a:pt x="79" y="20"/>
                    </a:lnTo>
                    <a:lnTo>
                      <a:pt x="76" y="23"/>
                    </a:lnTo>
                    <a:lnTo>
                      <a:pt x="75" y="23"/>
                    </a:lnTo>
                    <a:lnTo>
                      <a:pt x="74" y="23"/>
                    </a:lnTo>
                    <a:lnTo>
                      <a:pt x="74" y="23"/>
                    </a:lnTo>
                    <a:lnTo>
                      <a:pt x="72" y="23"/>
                    </a:lnTo>
                    <a:lnTo>
                      <a:pt x="69" y="24"/>
                    </a:lnTo>
                    <a:lnTo>
                      <a:pt x="68" y="27"/>
                    </a:lnTo>
                    <a:lnTo>
                      <a:pt x="64" y="38"/>
                    </a:lnTo>
                    <a:lnTo>
                      <a:pt x="64" y="38"/>
                    </a:lnTo>
                    <a:lnTo>
                      <a:pt x="62" y="41"/>
                    </a:lnTo>
                    <a:lnTo>
                      <a:pt x="59" y="43"/>
                    </a:lnTo>
                    <a:lnTo>
                      <a:pt x="51" y="45"/>
                    </a:lnTo>
                    <a:lnTo>
                      <a:pt x="44" y="48"/>
                    </a:lnTo>
                    <a:lnTo>
                      <a:pt x="42" y="50"/>
                    </a:lnTo>
                    <a:lnTo>
                      <a:pt x="41" y="51"/>
                    </a:lnTo>
                    <a:lnTo>
                      <a:pt x="41" y="51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5" y="58"/>
                    </a:lnTo>
                    <a:lnTo>
                      <a:pt x="29" y="60"/>
                    </a:lnTo>
                    <a:lnTo>
                      <a:pt x="28" y="58"/>
                    </a:lnTo>
                    <a:lnTo>
                      <a:pt x="27" y="57"/>
                    </a:lnTo>
                    <a:lnTo>
                      <a:pt x="27" y="57"/>
                    </a:lnTo>
                    <a:lnTo>
                      <a:pt x="25" y="55"/>
                    </a:lnTo>
                    <a:lnTo>
                      <a:pt x="21" y="54"/>
                    </a:lnTo>
                    <a:lnTo>
                      <a:pt x="15" y="54"/>
                    </a:lnTo>
                    <a:lnTo>
                      <a:pt x="15" y="54"/>
                    </a:lnTo>
                    <a:lnTo>
                      <a:pt x="14" y="54"/>
                    </a:lnTo>
                    <a:lnTo>
                      <a:pt x="11" y="54"/>
                    </a:lnTo>
                    <a:lnTo>
                      <a:pt x="10" y="57"/>
                    </a:lnTo>
                    <a:lnTo>
                      <a:pt x="8" y="61"/>
                    </a:lnTo>
                    <a:lnTo>
                      <a:pt x="8" y="61"/>
                    </a:lnTo>
                    <a:lnTo>
                      <a:pt x="8" y="65"/>
                    </a:lnTo>
                    <a:lnTo>
                      <a:pt x="5" y="70"/>
                    </a:lnTo>
                    <a:lnTo>
                      <a:pt x="2" y="74"/>
                    </a:lnTo>
                    <a:lnTo>
                      <a:pt x="2" y="74"/>
                    </a:lnTo>
                    <a:lnTo>
                      <a:pt x="0" y="81"/>
                    </a:lnTo>
                    <a:lnTo>
                      <a:pt x="0" y="84"/>
                    </a:lnTo>
                    <a:lnTo>
                      <a:pt x="1" y="88"/>
                    </a:lnTo>
                    <a:lnTo>
                      <a:pt x="1" y="88"/>
                    </a:lnTo>
                    <a:lnTo>
                      <a:pt x="1" y="91"/>
                    </a:lnTo>
                    <a:lnTo>
                      <a:pt x="0" y="95"/>
                    </a:lnTo>
                    <a:lnTo>
                      <a:pt x="0" y="99"/>
                    </a:lnTo>
                    <a:lnTo>
                      <a:pt x="1" y="105"/>
                    </a:lnTo>
                    <a:lnTo>
                      <a:pt x="1" y="105"/>
                    </a:lnTo>
                    <a:lnTo>
                      <a:pt x="2" y="111"/>
                    </a:lnTo>
                    <a:lnTo>
                      <a:pt x="2" y="117"/>
                    </a:lnTo>
                    <a:lnTo>
                      <a:pt x="2" y="124"/>
                    </a:lnTo>
                    <a:lnTo>
                      <a:pt x="2" y="124"/>
                    </a:lnTo>
                    <a:lnTo>
                      <a:pt x="5" y="125"/>
                    </a:lnTo>
                    <a:lnTo>
                      <a:pt x="11" y="126"/>
                    </a:lnTo>
                    <a:lnTo>
                      <a:pt x="15" y="128"/>
                    </a:lnTo>
                    <a:lnTo>
                      <a:pt x="18" y="129"/>
                    </a:lnTo>
                    <a:lnTo>
                      <a:pt x="18" y="132"/>
                    </a:lnTo>
                    <a:lnTo>
                      <a:pt x="18" y="132"/>
                    </a:lnTo>
                    <a:lnTo>
                      <a:pt x="20" y="135"/>
                    </a:lnTo>
                    <a:lnTo>
                      <a:pt x="17" y="138"/>
                    </a:lnTo>
                    <a:lnTo>
                      <a:pt x="12" y="144"/>
                    </a:lnTo>
                    <a:lnTo>
                      <a:pt x="5" y="151"/>
                    </a:lnTo>
                    <a:lnTo>
                      <a:pt x="2" y="155"/>
                    </a:lnTo>
                    <a:lnTo>
                      <a:pt x="2" y="155"/>
                    </a:lnTo>
                    <a:lnTo>
                      <a:pt x="2" y="156"/>
                    </a:lnTo>
                    <a:lnTo>
                      <a:pt x="5" y="159"/>
                    </a:lnTo>
                    <a:lnTo>
                      <a:pt x="5" y="159"/>
                    </a:lnTo>
                    <a:lnTo>
                      <a:pt x="18" y="161"/>
                    </a:lnTo>
                    <a:lnTo>
                      <a:pt x="31" y="162"/>
                    </a:lnTo>
                    <a:lnTo>
                      <a:pt x="31" y="162"/>
                    </a:lnTo>
                    <a:lnTo>
                      <a:pt x="45" y="162"/>
                    </a:lnTo>
                    <a:lnTo>
                      <a:pt x="66" y="159"/>
                    </a:lnTo>
                    <a:lnTo>
                      <a:pt x="86" y="156"/>
                    </a:lnTo>
                    <a:lnTo>
                      <a:pt x="95" y="155"/>
                    </a:lnTo>
                    <a:lnTo>
                      <a:pt x="95" y="155"/>
                    </a:lnTo>
                    <a:lnTo>
                      <a:pt x="94" y="146"/>
                    </a:lnTo>
                    <a:lnTo>
                      <a:pt x="94" y="138"/>
                    </a:lnTo>
                    <a:lnTo>
                      <a:pt x="94" y="138"/>
                    </a:lnTo>
                    <a:lnTo>
                      <a:pt x="95" y="136"/>
                    </a:lnTo>
                    <a:lnTo>
                      <a:pt x="98" y="134"/>
                    </a:lnTo>
                    <a:lnTo>
                      <a:pt x="102" y="131"/>
                    </a:lnTo>
                    <a:lnTo>
                      <a:pt x="106" y="131"/>
                    </a:lnTo>
                    <a:lnTo>
                      <a:pt x="106" y="131"/>
                    </a:lnTo>
                    <a:lnTo>
                      <a:pt x="113" y="131"/>
                    </a:lnTo>
                    <a:lnTo>
                      <a:pt x="116" y="131"/>
                    </a:lnTo>
                    <a:lnTo>
                      <a:pt x="118" y="128"/>
                    </a:lnTo>
                    <a:lnTo>
                      <a:pt x="118" y="128"/>
                    </a:lnTo>
                    <a:lnTo>
                      <a:pt x="118" y="126"/>
                    </a:lnTo>
                    <a:lnTo>
                      <a:pt x="119" y="125"/>
                    </a:lnTo>
                    <a:lnTo>
                      <a:pt x="125" y="122"/>
                    </a:lnTo>
                    <a:lnTo>
                      <a:pt x="130" y="121"/>
                    </a:lnTo>
                    <a:lnTo>
                      <a:pt x="133" y="121"/>
                    </a:lnTo>
                    <a:lnTo>
                      <a:pt x="135" y="122"/>
                    </a:lnTo>
                    <a:lnTo>
                      <a:pt x="135" y="122"/>
                    </a:lnTo>
                    <a:lnTo>
                      <a:pt x="136" y="124"/>
                    </a:lnTo>
                    <a:lnTo>
                      <a:pt x="138" y="124"/>
                    </a:lnTo>
                    <a:lnTo>
                      <a:pt x="140" y="121"/>
                    </a:lnTo>
                    <a:lnTo>
                      <a:pt x="142" y="115"/>
                    </a:lnTo>
                    <a:lnTo>
                      <a:pt x="142" y="115"/>
                    </a:lnTo>
                    <a:lnTo>
                      <a:pt x="142" y="104"/>
                    </a:lnTo>
                    <a:lnTo>
                      <a:pt x="143" y="99"/>
                    </a:lnTo>
                    <a:lnTo>
                      <a:pt x="148" y="98"/>
                    </a:lnTo>
                    <a:lnTo>
                      <a:pt x="148" y="98"/>
                    </a:lnTo>
                    <a:lnTo>
                      <a:pt x="150" y="97"/>
                    </a:lnTo>
                    <a:lnTo>
                      <a:pt x="155" y="95"/>
                    </a:lnTo>
                    <a:lnTo>
                      <a:pt x="158" y="94"/>
                    </a:lnTo>
                    <a:lnTo>
                      <a:pt x="158" y="91"/>
                    </a:lnTo>
                    <a:lnTo>
                      <a:pt x="158" y="91"/>
                    </a:lnTo>
                    <a:lnTo>
                      <a:pt x="155" y="85"/>
                    </a:lnTo>
                    <a:lnTo>
                      <a:pt x="152" y="82"/>
                    </a:lnTo>
                    <a:lnTo>
                      <a:pt x="153" y="81"/>
                    </a:lnTo>
                    <a:lnTo>
                      <a:pt x="153" y="81"/>
                    </a:lnTo>
                    <a:lnTo>
                      <a:pt x="156" y="81"/>
                    </a:lnTo>
                    <a:lnTo>
                      <a:pt x="162" y="82"/>
                    </a:lnTo>
                    <a:lnTo>
                      <a:pt x="167" y="82"/>
                    </a:lnTo>
                    <a:lnTo>
                      <a:pt x="169" y="82"/>
                    </a:lnTo>
                    <a:lnTo>
                      <a:pt x="170" y="81"/>
                    </a:lnTo>
                    <a:lnTo>
                      <a:pt x="170" y="81"/>
                    </a:lnTo>
                    <a:lnTo>
                      <a:pt x="172" y="78"/>
                    </a:lnTo>
                    <a:lnTo>
                      <a:pt x="172" y="75"/>
                    </a:lnTo>
                    <a:lnTo>
                      <a:pt x="172" y="71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7" y="62"/>
                    </a:lnTo>
                    <a:lnTo>
                      <a:pt x="179" y="60"/>
                    </a:lnTo>
                    <a:lnTo>
                      <a:pt x="180" y="57"/>
                    </a:lnTo>
                    <a:lnTo>
                      <a:pt x="180" y="57"/>
                    </a:lnTo>
                    <a:lnTo>
                      <a:pt x="179" y="52"/>
                    </a:lnTo>
                    <a:lnTo>
                      <a:pt x="179" y="50"/>
                    </a:lnTo>
                    <a:lnTo>
                      <a:pt x="177" y="48"/>
                    </a:lnTo>
                    <a:lnTo>
                      <a:pt x="177" y="48"/>
                    </a:lnTo>
                    <a:lnTo>
                      <a:pt x="175" y="45"/>
                    </a:lnTo>
                    <a:lnTo>
                      <a:pt x="175" y="43"/>
                    </a:lnTo>
                    <a:lnTo>
                      <a:pt x="176" y="41"/>
                    </a:lnTo>
                    <a:lnTo>
                      <a:pt x="179" y="40"/>
                    </a:lnTo>
                    <a:lnTo>
                      <a:pt x="179" y="40"/>
                    </a:lnTo>
                    <a:lnTo>
                      <a:pt x="182" y="38"/>
                    </a:lnTo>
                    <a:lnTo>
                      <a:pt x="182" y="38"/>
                    </a:lnTo>
                    <a:lnTo>
                      <a:pt x="186" y="37"/>
                    </a:lnTo>
                    <a:lnTo>
                      <a:pt x="190" y="35"/>
                    </a:lnTo>
                    <a:lnTo>
                      <a:pt x="190" y="35"/>
                    </a:lnTo>
                    <a:lnTo>
                      <a:pt x="195" y="33"/>
                    </a:lnTo>
                    <a:lnTo>
                      <a:pt x="202" y="30"/>
                    </a:lnTo>
                    <a:lnTo>
                      <a:pt x="207" y="28"/>
                    </a:lnTo>
                    <a:lnTo>
                      <a:pt x="212" y="30"/>
                    </a:lnTo>
                    <a:lnTo>
                      <a:pt x="212" y="30"/>
                    </a:lnTo>
                    <a:lnTo>
                      <a:pt x="214" y="30"/>
                    </a:lnTo>
                    <a:lnTo>
                      <a:pt x="219" y="30"/>
                    </a:lnTo>
                    <a:lnTo>
                      <a:pt x="223" y="27"/>
                    </a:lnTo>
                    <a:lnTo>
                      <a:pt x="227" y="24"/>
                    </a:lnTo>
                    <a:lnTo>
                      <a:pt x="227" y="24"/>
                    </a:lnTo>
                    <a:lnTo>
                      <a:pt x="223" y="23"/>
                    </a:lnTo>
                    <a:lnTo>
                      <a:pt x="220" y="23"/>
                    </a:lnTo>
                    <a:lnTo>
                      <a:pt x="220" y="23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81" name="Pakistan">
                <a:extLst>
                  <a:ext uri="{FF2B5EF4-FFF2-40B4-BE49-F238E27FC236}">
                    <a16:creationId xmlns:a16="http://schemas.microsoft.com/office/drawing/2014/main" id="{68921D21-0A8C-3116-6C14-EA21BC5700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6186" y="3383395"/>
                <a:ext cx="393622" cy="355148"/>
              </a:xfrm>
              <a:custGeom>
                <a:avLst/>
                <a:gdLst/>
                <a:ahLst/>
                <a:cxnLst>
                  <a:cxn ang="0">
                    <a:pos x="245" y="13"/>
                  </a:cxn>
                  <a:cxn ang="0">
                    <a:pos x="231" y="1"/>
                  </a:cxn>
                  <a:cxn ang="0">
                    <a:pos x="218" y="3"/>
                  </a:cxn>
                  <a:cxn ang="0">
                    <a:pos x="202" y="4"/>
                  </a:cxn>
                  <a:cxn ang="0">
                    <a:pos x="181" y="13"/>
                  </a:cxn>
                  <a:cxn ang="0">
                    <a:pos x="171" y="17"/>
                  </a:cxn>
                  <a:cxn ang="0">
                    <a:pos x="174" y="26"/>
                  </a:cxn>
                  <a:cxn ang="0">
                    <a:pos x="172" y="38"/>
                  </a:cxn>
                  <a:cxn ang="0">
                    <a:pos x="167" y="54"/>
                  </a:cxn>
                  <a:cxn ang="0">
                    <a:pos x="157" y="58"/>
                  </a:cxn>
                  <a:cxn ang="0">
                    <a:pos x="150" y="61"/>
                  </a:cxn>
                  <a:cxn ang="0">
                    <a:pos x="145" y="73"/>
                  </a:cxn>
                  <a:cxn ang="0">
                    <a:pos x="137" y="91"/>
                  </a:cxn>
                  <a:cxn ang="0">
                    <a:pos x="130" y="98"/>
                  </a:cxn>
                  <a:cxn ang="0">
                    <a:pos x="114" y="101"/>
                  </a:cxn>
                  <a:cxn ang="0">
                    <a:pos x="108" y="107"/>
                  </a:cxn>
                  <a:cxn ang="0">
                    <a:pos x="90" y="112"/>
                  </a:cxn>
                  <a:cxn ang="0">
                    <a:pos x="90" y="131"/>
                  </a:cxn>
                  <a:cxn ang="0">
                    <a:pos x="26" y="138"/>
                  </a:cxn>
                  <a:cxn ang="0">
                    <a:pos x="7" y="144"/>
                  </a:cxn>
                  <a:cxn ang="0">
                    <a:pos x="24" y="158"/>
                  </a:cxn>
                  <a:cxn ang="0">
                    <a:pos x="30" y="174"/>
                  </a:cxn>
                  <a:cxn ang="0">
                    <a:pos x="37" y="182"/>
                  </a:cxn>
                  <a:cxn ang="0">
                    <a:pos x="29" y="189"/>
                  </a:cxn>
                  <a:cxn ang="0">
                    <a:pos x="12" y="203"/>
                  </a:cxn>
                  <a:cxn ang="0">
                    <a:pos x="30" y="212"/>
                  </a:cxn>
                  <a:cxn ang="0">
                    <a:pos x="47" y="208"/>
                  </a:cxn>
                  <a:cxn ang="0">
                    <a:pos x="66" y="211"/>
                  </a:cxn>
                  <a:cxn ang="0">
                    <a:pos x="89" y="208"/>
                  </a:cxn>
                  <a:cxn ang="0">
                    <a:pos x="96" y="216"/>
                  </a:cxn>
                  <a:cxn ang="0">
                    <a:pos x="103" y="229"/>
                  </a:cxn>
                  <a:cxn ang="0">
                    <a:pos x="117" y="238"/>
                  </a:cxn>
                  <a:cxn ang="0">
                    <a:pos x="121" y="239"/>
                  </a:cxn>
                  <a:cxn ang="0">
                    <a:pos x="141" y="229"/>
                  </a:cxn>
                  <a:cxn ang="0">
                    <a:pos x="158" y="228"/>
                  </a:cxn>
                  <a:cxn ang="0">
                    <a:pos x="162" y="218"/>
                  </a:cxn>
                  <a:cxn ang="0">
                    <a:pos x="150" y="194"/>
                  </a:cxn>
                  <a:cxn ang="0">
                    <a:pos x="141" y="185"/>
                  </a:cxn>
                  <a:cxn ang="0">
                    <a:pos x="145" y="174"/>
                  </a:cxn>
                  <a:cxn ang="0">
                    <a:pos x="161" y="169"/>
                  </a:cxn>
                  <a:cxn ang="0">
                    <a:pos x="168" y="166"/>
                  </a:cxn>
                  <a:cxn ang="0">
                    <a:pos x="182" y="159"/>
                  </a:cxn>
                  <a:cxn ang="0">
                    <a:pos x="190" y="151"/>
                  </a:cxn>
                  <a:cxn ang="0">
                    <a:pos x="204" y="131"/>
                  </a:cxn>
                  <a:cxn ang="0">
                    <a:pos x="212" y="122"/>
                  </a:cxn>
                  <a:cxn ang="0">
                    <a:pos x="221" y="114"/>
                  </a:cxn>
                  <a:cxn ang="0">
                    <a:pos x="224" y="102"/>
                  </a:cxn>
                  <a:cxn ang="0">
                    <a:pos x="232" y="90"/>
                  </a:cxn>
                  <a:cxn ang="0">
                    <a:pos x="224" y="83"/>
                  </a:cxn>
                  <a:cxn ang="0">
                    <a:pos x="215" y="68"/>
                  </a:cxn>
                  <a:cxn ang="0">
                    <a:pos x="212" y="53"/>
                  </a:cxn>
                  <a:cxn ang="0">
                    <a:pos x="221" y="44"/>
                  </a:cxn>
                  <a:cxn ang="0">
                    <a:pos x="244" y="48"/>
                  </a:cxn>
                  <a:cxn ang="0">
                    <a:pos x="263" y="37"/>
                  </a:cxn>
                </a:cxnLst>
                <a:rect l="0" t="0" r="r" b="b"/>
                <a:pathLst>
                  <a:path w="266" h="240">
                    <a:moveTo>
                      <a:pt x="254" y="26"/>
                    </a:moveTo>
                    <a:lnTo>
                      <a:pt x="254" y="26"/>
                    </a:lnTo>
                    <a:lnTo>
                      <a:pt x="249" y="21"/>
                    </a:lnTo>
                    <a:lnTo>
                      <a:pt x="246" y="19"/>
                    </a:lnTo>
                    <a:lnTo>
                      <a:pt x="245" y="13"/>
                    </a:lnTo>
                    <a:lnTo>
                      <a:pt x="245" y="13"/>
                    </a:lnTo>
                    <a:lnTo>
                      <a:pt x="244" y="11"/>
                    </a:lnTo>
                    <a:lnTo>
                      <a:pt x="241" y="9"/>
                    </a:lnTo>
                    <a:lnTo>
                      <a:pt x="231" y="1"/>
                    </a:lnTo>
                    <a:lnTo>
                      <a:pt x="231" y="1"/>
                    </a:lnTo>
                    <a:lnTo>
                      <a:pt x="225" y="1"/>
                    </a:lnTo>
                    <a:lnTo>
                      <a:pt x="225" y="1"/>
                    </a:lnTo>
                    <a:lnTo>
                      <a:pt x="222" y="0"/>
                    </a:lnTo>
                    <a:lnTo>
                      <a:pt x="222" y="0"/>
                    </a:lnTo>
                    <a:lnTo>
                      <a:pt x="218" y="3"/>
                    </a:lnTo>
                    <a:lnTo>
                      <a:pt x="214" y="6"/>
                    </a:lnTo>
                    <a:lnTo>
                      <a:pt x="209" y="6"/>
                    </a:lnTo>
                    <a:lnTo>
                      <a:pt x="207" y="6"/>
                    </a:lnTo>
                    <a:lnTo>
                      <a:pt x="207" y="6"/>
                    </a:lnTo>
                    <a:lnTo>
                      <a:pt x="202" y="4"/>
                    </a:lnTo>
                    <a:lnTo>
                      <a:pt x="197" y="6"/>
                    </a:lnTo>
                    <a:lnTo>
                      <a:pt x="190" y="9"/>
                    </a:lnTo>
                    <a:lnTo>
                      <a:pt x="185" y="11"/>
                    </a:lnTo>
                    <a:lnTo>
                      <a:pt x="185" y="11"/>
                    </a:lnTo>
                    <a:lnTo>
                      <a:pt x="181" y="13"/>
                    </a:lnTo>
                    <a:lnTo>
                      <a:pt x="177" y="14"/>
                    </a:lnTo>
                    <a:lnTo>
                      <a:pt x="177" y="14"/>
                    </a:lnTo>
                    <a:lnTo>
                      <a:pt x="174" y="16"/>
                    </a:lnTo>
                    <a:lnTo>
                      <a:pt x="174" y="16"/>
                    </a:lnTo>
                    <a:lnTo>
                      <a:pt x="171" y="17"/>
                    </a:lnTo>
                    <a:lnTo>
                      <a:pt x="170" y="19"/>
                    </a:lnTo>
                    <a:lnTo>
                      <a:pt x="170" y="21"/>
                    </a:lnTo>
                    <a:lnTo>
                      <a:pt x="172" y="24"/>
                    </a:lnTo>
                    <a:lnTo>
                      <a:pt x="172" y="24"/>
                    </a:lnTo>
                    <a:lnTo>
                      <a:pt x="174" y="26"/>
                    </a:lnTo>
                    <a:lnTo>
                      <a:pt x="174" y="28"/>
                    </a:lnTo>
                    <a:lnTo>
                      <a:pt x="175" y="33"/>
                    </a:lnTo>
                    <a:lnTo>
                      <a:pt x="175" y="33"/>
                    </a:lnTo>
                    <a:lnTo>
                      <a:pt x="174" y="36"/>
                    </a:lnTo>
                    <a:lnTo>
                      <a:pt x="172" y="38"/>
                    </a:lnTo>
                    <a:lnTo>
                      <a:pt x="167" y="44"/>
                    </a:lnTo>
                    <a:lnTo>
                      <a:pt x="167" y="44"/>
                    </a:lnTo>
                    <a:lnTo>
                      <a:pt x="167" y="47"/>
                    </a:lnTo>
                    <a:lnTo>
                      <a:pt x="167" y="51"/>
                    </a:lnTo>
                    <a:lnTo>
                      <a:pt x="167" y="54"/>
                    </a:lnTo>
                    <a:lnTo>
                      <a:pt x="165" y="57"/>
                    </a:lnTo>
                    <a:lnTo>
                      <a:pt x="165" y="57"/>
                    </a:lnTo>
                    <a:lnTo>
                      <a:pt x="164" y="58"/>
                    </a:lnTo>
                    <a:lnTo>
                      <a:pt x="162" y="58"/>
                    </a:lnTo>
                    <a:lnTo>
                      <a:pt x="157" y="58"/>
                    </a:lnTo>
                    <a:lnTo>
                      <a:pt x="151" y="57"/>
                    </a:lnTo>
                    <a:lnTo>
                      <a:pt x="148" y="57"/>
                    </a:lnTo>
                    <a:lnTo>
                      <a:pt x="148" y="57"/>
                    </a:lnTo>
                    <a:lnTo>
                      <a:pt x="147" y="58"/>
                    </a:lnTo>
                    <a:lnTo>
                      <a:pt x="150" y="61"/>
                    </a:lnTo>
                    <a:lnTo>
                      <a:pt x="153" y="67"/>
                    </a:lnTo>
                    <a:lnTo>
                      <a:pt x="153" y="67"/>
                    </a:lnTo>
                    <a:lnTo>
                      <a:pt x="153" y="70"/>
                    </a:lnTo>
                    <a:lnTo>
                      <a:pt x="150" y="71"/>
                    </a:lnTo>
                    <a:lnTo>
                      <a:pt x="145" y="73"/>
                    </a:lnTo>
                    <a:lnTo>
                      <a:pt x="143" y="74"/>
                    </a:lnTo>
                    <a:lnTo>
                      <a:pt x="143" y="74"/>
                    </a:lnTo>
                    <a:lnTo>
                      <a:pt x="138" y="75"/>
                    </a:lnTo>
                    <a:lnTo>
                      <a:pt x="137" y="80"/>
                    </a:lnTo>
                    <a:lnTo>
                      <a:pt x="137" y="91"/>
                    </a:lnTo>
                    <a:lnTo>
                      <a:pt x="137" y="91"/>
                    </a:lnTo>
                    <a:lnTo>
                      <a:pt x="135" y="97"/>
                    </a:lnTo>
                    <a:lnTo>
                      <a:pt x="133" y="100"/>
                    </a:lnTo>
                    <a:lnTo>
                      <a:pt x="131" y="100"/>
                    </a:lnTo>
                    <a:lnTo>
                      <a:pt x="130" y="98"/>
                    </a:lnTo>
                    <a:lnTo>
                      <a:pt x="130" y="98"/>
                    </a:lnTo>
                    <a:lnTo>
                      <a:pt x="128" y="97"/>
                    </a:lnTo>
                    <a:lnTo>
                      <a:pt x="125" y="97"/>
                    </a:lnTo>
                    <a:lnTo>
                      <a:pt x="120" y="98"/>
                    </a:lnTo>
                    <a:lnTo>
                      <a:pt x="114" y="101"/>
                    </a:lnTo>
                    <a:lnTo>
                      <a:pt x="113" y="102"/>
                    </a:lnTo>
                    <a:lnTo>
                      <a:pt x="113" y="104"/>
                    </a:lnTo>
                    <a:lnTo>
                      <a:pt x="113" y="104"/>
                    </a:lnTo>
                    <a:lnTo>
                      <a:pt x="111" y="107"/>
                    </a:lnTo>
                    <a:lnTo>
                      <a:pt x="108" y="107"/>
                    </a:lnTo>
                    <a:lnTo>
                      <a:pt x="101" y="107"/>
                    </a:lnTo>
                    <a:lnTo>
                      <a:pt x="101" y="107"/>
                    </a:lnTo>
                    <a:lnTo>
                      <a:pt x="97" y="107"/>
                    </a:lnTo>
                    <a:lnTo>
                      <a:pt x="93" y="110"/>
                    </a:lnTo>
                    <a:lnTo>
                      <a:pt x="90" y="112"/>
                    </a:lnTo>
                    <a:lnTo>
                      <a:pt x="89" y="114"/>
                    </a:lnTo>
                    <a:lnTo>
                      <a:pt x="89" y="114"/>
                    </a:lnTo>
                    <a:lnTo>
                      <a:pt x="89" y="122"/>
                    </a:lnTo>
                    <a:lnTo>
                      <a:pt x="90" y="131"/>
                    </a:lnTo>
                    <a:lnTo>
                      <a:pt x="90" y="131"/>
                    </a:lnTo>
                    <a:lnTo>
                      <a:pt x="81" y="132"/>
                    </a:lnTo>
                    <a:lnTo>
                      <a:pt x="61" y="135"/>
                    </a:lnTo>
                    <a:lnTo>
                      <a:pt x="40" y="138"/>
                    </a:lnTo>
                    <a:lnTo>
                      <a:pt x="26" y="138"/>
                    </a:lnTo>
                    <a:lnTo>
                      <a:pt x="26" y="138"/>
                    </a:lnTo>
                    <a:lnTo>
                      <a:pt x="13" y="137"/>
                    </a:lnTo>
                    <a:lnTo>
                      <a:pt x="0" y="135"/>
                    </a:lnTo>
                    <a:lnTo>
                      <a:pt x="0" y="135"/>
                    </a:lnTo>
                    <a:lnTo>
                      <a:pt x="5" y="139"/>
                    </a:lnTo>
                    <a:lnTo>
                      <a:pt x="7" y="144"/>
                    </a:lnTo>
                    <a:lnTo>
                      <a:pt x="7" y="144"/>
                    </a:lnTo>
                    <a:lnTo>
                      <a:pt x="10" y="148"/>
                    </a:lnTo>
                    <a:lnTo>
                      <a:pt x="15" y="152"/>
                    </a:lnTo>
                    <a:lnTo>
                      <a:pt x="19" y="155"/>
                    </a:lnTo>
                    <a:lnTo>
                      <a:pt x="24" y="158"/>
                    </a:lnTo>
                    <a:lnTo>
                      <a:pt x="24" y="158"/>
                    </a:lnTo>
                    <a:lnTo>
                      <a:pt x="27" y="159"/>
                    </a:lnTo>
                    <a:lnTo>
                      <a:pt x="29" y="162"/>
                    </a:lnTo>
                    <a:lnTo>
                      <a:pt x="30" y="168"/>
                    </a:lnTo>
                    <a:lnTo>
                      <a:pt x="30" y="174"/>
                    </a:lnTo>
                    <a:lnTo>
                      <a:pt x="32" y="175"/>
                    </a:lnTo>
                    <a:lnTo>
                      <a:pt x="32" y="176"/>
                    </a:lnTo>
                    <a:lnTo>
                      <a:pt x="32" y="176"/>
                    </a:lnTo>
                    <a:lnTo>
                      <a:pt x="34" y="178"/>
                    </a:lnTo>
                    <a:lnTo>
                      <a:pt x="37" y="182"/>
                    </a:lnTo>
                    <a:lnTo>
                      <a:pt x="39" y="186"/>
                    </a:lnTo>
                    <a:lnTo>
                      <a:pt x="37" y="188"/>
                    </a:lnTo>
                    <a:lnTo>
                      <a:pt x="36" y="188"/>
                    </a:lnTo>
                    <a:lnTo>
                      <a:pt x="36" y="188"/>
                    </a:lnTo>
                    <a:lnTo>
                      <a:pt x="29" y="189"/>
                    </a:lnTo>
                    <a:lnTo>
                      <a:pt x="22" y="192"/>
                    </a:lnTo>
                    <a:lnTo>
                      <a:pt x="22" y="192"/>
                    </a:lnTo>
                    <a:lnTo>
                      <a:pt x="17" y="195"/>
                    </a:lnTo>
                    <a:lnTo>
                      <a:pt x="15" y="199"/>
                    </a:lnTo>
                    <a:lnTo>
                      <a:pt x="12" y="203"/>
                    </a:lnTo>
                    <a:lnTo>
                      <a:pt x="12" y="209"/>
                    </a:lnTo>
                    <a:lnTo>
                      <a:pt x="12" y="209"/>
                    </a:lnTo>
                    <a:lnTo>
                      <a:pt x="12" y="213"/>
                    </a:lnTo>
                    <a:lnTo>
                      <a:pt x="12" y="213"/>
                    </a:lnTo>
                    <a:lnTo>
                      <a:pt x="30" y="212"/>
                    </a:lnTo>
                    <a:lnTo>
                      <a:pt x="39" y="212"/>
                    </a:lnTo>
                    <a:lnTo>
                      <a:pt x="42" y="211"/>
                    </a:lnTo>
                    <a:lnTo>
                      <a:pt x="42" y="211"/>
                    </a:lnTo>
                    <a:lnTo>
                      <a:pt x="44" y="209"/>
                    </a:lnTo>
                    <a:lnTo>
                      <a:pt x="47" y="208"/>
                    </a:lnTo>
                    <a:lnTo>
                      <a:pt x="52" y="208"/>
                    </a:lnTo>
                    <a:lnTo>
                      <a:pt x="54" y="209"/>
                    </a:lnTo>
                    <a:lnTo>
                      <a:pt x="54" y="209"/>
                    </a:lnTo>
                    <a:lnTo>
                      <a:pt x="59" y="211"/>
                    </a:lnTo>
                    <a:lnTo>
                      <a:pt x="66" y="211"/>
                    </a:lnTo>
                    <a:lnTo>
                      <a:pt x="73" y="211"/>
                    </a:lnTo>
                    <a:lnTo>
                      <a:pt x="80" y="209"/>
                    </a:lnTo>
                    <a:lnTo>
                      <a:pt x="80" y="209"/>
                    </a:lnTo>
                    <a:lnTo>
                      <a:pt x="86" y="206"/>
                    </a:lnTo>
                    <a:lnTo>
                      <a:pt x="89" y="208"/>
                    </a:lnTo>
                    <a:lnTo>
                      <a:pt x="91" y="209"/>
                    </a:lnTo>
                    <a:lnTo>
                      <a:pt x="93" y="212"/>
                    </a:lnTo>
                    <a:lnTo>
                      <a:pt x="93" y="212"/>
                    </a:lnTo>
                    <a:lnTo>
                      <a:pt x="93" y="215"/>
                    </a:lnTo>
                    <a:lnTo>
                      <a:pt x="96" y="216"/>
                    </a:lnTo>
                    <a:lnTo>
                      <a:pt x="100" y="221"/>
                    </a:lnTo>
                    <a:lnTo>
                      <a:pt x="100" y="221"/>
                    </a:lnTo>
                    <a:lnTo>
                      <a:pt x="101" y="223"/>
                    </a:lnTo>
                    <a:lnTo>
                      <a:pt x="101" y="226"/>
                    </a:lnTo>
                    <a:lnTo>
                      <a:pt x="103" y="229"/>
                    </a:lnTo>
                    <a:lnTo>
                      <a:pt x="103" y="232"/>
                    </a:lnTo>
                    <a:lnTo>
                      <a:pt x="103" y="232"/>
                    </a:lnTo>
                    <a:lnTo>
                      <a:pt x="106" y="235"/>
                    </a:lnTo>
                    <a:lnTo>
                      <a:pt x="108" y="235"/>
                    </a:lnTo>
                    <a:lnTo>
                      <a:pt x="117" y="238"/>
                    </a:lnTo>
                    <a:lnTo>
                      <a:pt x="117" y="238"/>
                    </a:lnTo>
                    <a:lnTo>
                      <a:pt x="120" y="240"/>
                    </a:lnTo>
                    <a:lnTo>
                      <a:pt x="120" y="240"/>
                    </a:lnTo>
                    <a:lnTo>
                      <a:pt x="121" y="239"/>
                    </a:lnTo>
                    <a:lnTo>
                      <a:pt x="121" y="239"/>
                    </a:lnTo>
                    <a:lnTo>
                      <a:pt x="125" y="230"/>
                    </a:lnTo>
                    <a:lnTo>
                      <a:pt x="130" y="229"/>
                    </a:lnTo>
                    <a:lnTo>
                      <a:pt x="135" y="229"/>
                    </a:lnTo>
                    <a:lnTo>
                      <a:pt x="135" y="229"/>
                    </a:lnTo>
                    <a:lnTo>
                      <a:pt x="141" y="229"/>
                    </a:lnTo>
                    <a:lnTo>
                      <a:pt x="144" y="229"/>
                    </a:lnTo>
                    <a:lnTo>
                      <a:pt x="147" y="228"/>
                    </a:lnTo>
                    <a:lnTo>
                      <a:pt x="151" y="228"/>
                    </a:lnTo>
                    <a:lnTo>
                      <a:pt x="151" y="228"/>
                    </a:lnTo>
                    <a:lnTo>
                      <a:pt x="158" y="228"/>
                    </a:lnTo>
                    <a:lnTo>
                      <a:pt x="161" y="228"/>
                    </a:lnTo>
                    <a:lnTo>
                      <a:pt x="162" y="225"/>
                    </a:lnTo>
                    <a:lnTo>
                      <a:pt x="162" y="225"/>
                    </a:lnTo>
                    <a:lnTo>
                      <a:pt x="164" y="222"/>
                    </a:lnTo>
                    <a:lnTo>
                      <a:pt x="162" y="218"/>
                    </a:lnTo>
                    <a:lnTo>
                      <a:pt x="157" y="211"/>
                    </a:lnTo>
                    <a:lnTo>
                      <a:pt x="157" y="211"/>
                    </a:lnTo>
                    <a:lnTo>
                      <a:pt x="153" y="203"/>
                    </a:lnTo>
                    <a:lnTo>
                      <a:pt x="150" y="198"/>
                    </a:lnTo>
                    <a:lnTo>
                      <a:pt x="150" y="194"/>
                    </a:lnTo>
                    <a:lnTo>
                      <a:pt x="150" y="194"/>
                    </a:lnTo>
                    <a:lnTo>
                      <a:pt x="150" y="192"/>
                    </a:lnTo>
                    <a:lnTo>
                      <a:pt x="148" y="189"/>
                    </a:lnTo>
                    <a:lnTo>
                      <a:pt x="145" y="188"/>
                    </a:lnTo>
                    <a:lnTo>
                      <a:pt x="141" y="185"/>
                    </a:lnTo>
                    <a:lnTo>
                      <a:pt x="140" y="184"/>
                    </a:lnTo>
                    <a:lnTo>
                      <a:pt x="140" y="182"/>
                    </a:lnTo>
                    <a:lnTo>
                      <a:pt x="140" y="182"/>
                    </a:lnTo>
                    <a:lnTo>
                      <a:pt x="141" y="178"/>
                    </a:lnTo>
                    <a:lnTo>
                      <a:pt x="145" y="174"/>
                    </a:lnTo>
                    <a:lnTo>
                      <a:pt x="153" y="166"/>
                    </a:lnTo>
                    <a:lnTo>
                      <a:pt x="153" y="166"/>
                    </a:lnTo>
                    <a:lnTo>
                      <a:pt x="154" y="166"/>
                    </a:lnTo>
                    <a:lnTo>
                      <a:pt x="158" y="168"/>
                    </a:lnTo>
                    <a:lnTo>
                      <a:pt x="161" y="169"/>
                    </a:lnTo>
                    <a:lnTo>
                      <a:pt x="162" y="169"/>
                    </a:lnTo>
                    <a:lnTo>
                      <a:pt x="164" y="168"/>
                    </a:lnTo>
                    <a:lnTo>
                      <a:pt x="164" y="168"/>
                    </a:lnTo>
                    <a:lnTo>
                      <a:pt x="165" y="166"/>
                    </a:lnTo>
                    <a:lnTo>
                      <a:pt x="168" y="166"/>
                    </a:lnTo>
                    <a:lnTo>
                      <a:pt x="175" y="168"/>
                    </a:lnTo>
                    <a:lnTo>
                      <a:pt x="175" y="168"/>
                    </a:lnTo>
                    <a:lnTo>
                      <a:pt x="177" y="166"/>
                    </a:lnTo>
                    <a:lnTo>
                      <a:pt x="180" y="164"/>
                    </a:lnTo>
                    <a:lnTo>
                      <a:pt x="182" y="159"/>
                    </a:lnTo>
                    <a:lnTo>
                      <a:pt x="184" y="155"/>
                    </a:lnTo>
                    <a:lnTo>
                      <a:pt x="184" y="155"/>
                    </a:lnTo>
                    <a:lnTo>
                      <a:pt x="184" y="154"/>
                    </a:lnTo>
                    <a:lnTo>
                      <a:pt x="185" y="152"/>
                    </a:lnTo>
                    <a:lnTo>
                      <a:pt x="190" y="151"/>
                    </a:lnTo>
                    <a:lnTo>
                      <a:pt x="197" y="148"/>
                    </a:lnTo>
                    <a:lnTo>
                      <a:pt x="197" y="148"/>
                    </a:lnTo>
                    <a:lnTo>
                      <a:pt x="201" y="139"/>
                    </a:lnTo>
                    <a:lnTo>
                      <a:pt x="204" y="131"/>
                    </a:lnTo>
                    <a:lnTo>
                      <a:pt x="204" y="131"/>
                    </a:lnTo>
                    <a:lnTo>
                      <a:pt x="205" y="129"/>
                    </a:lnTo>
                    <a:lnTo>
                      <a:pt x="208" y="128"/>
                    </a:lnTo>
                    <a:lnTo>
                      <a:pt x="211" y="127"/>
                    </a:lnTo>
                    <a:lnTo>
                      <a:pt x="212" y="125"/>
                    </a:lnTo>
                    <a:lnTo>
                      <a:pt x="212" y="122"/>
                    </a:lnTo>
                    <a:lnTo>
                      <a:pt x="212" y="122"/>
                    </a:lnTo>
                    <a:lnTo>
                      <a:pt x="214" y="118"/>
                    </a:lnTo>
                    <a:lnTo>
                      <a:pt x="215" y="115"/>
                    </a:lnTo>
                    <a:lnTo>
                      <a:pt x="218" y="114"/>
                    </a:lnTo>
                    <a:lnTo>
                      <a:pt x="221" y="114"/>
                    </a:lnTo>
                    <a:lnTo>
                      <a:pt x="221" y="114"/>
                    </a:lnTo>
                    <a:lnTo>
                      <a:pt x="222" y="112"/>
                    </a:lnTo>
                    <a:lnTo>
                      <a:pt x="224" y="110"/>
                    </a:lnTo>
                    <a:lnTo>
                      <a:pt x="224" y="102"/>
                    </a:lnTo>
                    <a:lnTo>
                      <a:pt x="224" y="102"/>
                    </a:lnTo>
                    <a:lnTo>
                      <a:pt x="224" y="98"/>
                    </a:lnTo>
                    <a:lnTo>
                      <a:pt x="226" y="94"/>
                    </a:lnTo>
                    <a:lnTo>
                      <a:pt x="228" y="91"/>
                    </a:lnTo>
                    <a:lnTo>
                      <a:pt x="232" y="90"/>
                    </a:lnTo>
                    <a:lnTo>
                      <a:pt x="232" y="90"/>
                    </a:lnTo>
                    <a:lnTo>
                      <a:pt x="234" y="90"/>
                    </a:lnTo>
                    <a:lnTo>
                      <a:pt x="234" y="88"/>
                    </a:lnTo>
                    <a:lnTo>
                      <a:pt x="232" y="85"/>
                    </a:lnTo>
                    <a:lnTo>
                      <a:pt x="228" y="83"/>
                    </a:lnTo>
                    <a:lnTo>
                      <a:pt x="224" y="83"/>
                    </a:lnTo>
                    <a:lnTo>
                      <a:pt x="224" y="83"/>
                    </a:lnTo>
                    <a:lnTo>
                      <a:pt x="222" y="83"/>
                    </a:lnTo>
                    <a:lnTo>
                      <a:pt x="221" y="81"/>
                    </a:lnTo>
                    <a:lnTo>
                      <a:pt x="217" y="75"/>
                    </a:lnTo>
                    <a:lnTo>
                      <a:pt x="215" y="68"/>
                    </a:lnTo>
                    <a:lnTo>
                      <a:pt x="215" y="68"/>
                    </a:lnTo>
                    <a:lnTo>
                      <a:pt x="215" y="61"/>
                    </a:lnTo>
                    <a:lnTo>
                      <a:pt x="214" y="56"/>
                    </a:lnTo>
                    <a:lnTo>
                      <a:pt x="212" y="53"/>
                    </a:lnTo>
                    <a:lnTo>
                      <a:pt x="212" y="53"/>
                    </a:lnTo>
                    <a:lnTo>
                      <a:pt x="211" y="50"/>
                    </a:lnTo>
                    <a:lnTo>
                      <a:pt x="212" y="47"/>
                    </a:lnTo>
                    <a:lnTo>
                      <a:pt x="215" y="44"/>
                    </a:lnTo>
                    <a:lnTo>
                      <a:pt x="221" y="44"/>
                    </a:lnTo>
                    <a:lnTo>
                      <a:pt x="221" y="44"/>
                    </a:lnTo>
                    <a:lnTo>
                      <a:pt x="226" y="44"/>
                    </a:lnTo>
                    <a:lnTo>
                      <a:pt x="234" y="47"/>
                    </a:lnTo>
                    <a:lnTo>
                      <a:pt x="239" y="48"/>
                    </a:lnTo>
                    <a:lnTo>
                      <a:pt x="242" y="48"/>
                    </a:lnTo>
                    <a:lnTo>
                      <a:pt x="244" y="48"/>
                    </a:lnTo>
                    <a:lnTo>
                      <a:pt x="244" y="48"/>
                    </a:lnTo>
                    <a:lnTo>
                      <a:pt x="254" y="44"/>
                    </a:lnTo>
                    <a:lnTo>
                      <a:pt x="261" y="41"/>
                    </a:lnTo>
                    <a:lnTo>
                      <a:pt x="261" y="41"/>
                    </a:lnTo>
                    <a:lnTo>
                      <a:pt x="263" y="37"/>
                    </a:lnTo>
                    <a:lnTo>
                      <a:pt x="266" y="31"/>
                    </a:lnTo>
                    <a:lnTo>
                      <a:pt x="266" y="31"/>
                    </a:lnTo>
                    <a:lnTo>
                      <a:pt x="254" y="26"/>
                    </a:lnTo>
                    <a:lnTo>
                      <a:pt x="254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82" name="Iran">
                <a:extLst>
                  <a:ext uri="{FF2B5EF4-FFF2-40B4-BE49-F238E27FC236}">
                    <a16:creationId xmlns:a16="http://schemas.microsoft.com/office/drawing/2014/main" id="{0EB55A92-B0D0-E14D-C01B-7A10BBFB7B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0726" y="3303486"/>
                <a:ext cx="463172" cy="395102"/>
              </a:xfrm>
              <a:custGeom>
                <a:avLst/>
                <a:gdLst/>
                <a:ahLst/>
                <a:cxnLst>
                  <a:cxn ang="0">
                    <a:pos x="304" y="222"/>
                  </a:cxn>
                  <a:cxn ang="0">
                    <a:pos x="293" y="209"/>
                  </a:cxn>
                  <a:cxn ang="0">
                    <a:pos x="280" y="195"/>
                  </a:cxn>
                  <a:cxn ang="0">
                    <a:pos x="274" y="181"/>
                  </a:cxn>
                  <a:cxn ang="0">
                    <a:pos x="287" y="162"/>
                  </a:cxn>
                  <a:cxn ang="0">
                    <a:pos x="271" y="154"/>
                  </a:cxn>
                  <a:cxn ang="0">
                    <a:pos x="270" y="135"/>
                  </a:cxn>
                  <a:cxn ang="0">
                    <a:pos x="270" y="118"/>
                  </a:cxn>
                  <a:cxn ang="0">
                    <a:pos x="274" y="100"/>
                  </a:cxn>
                  <a:cxn ang="0">
                    <a:pos x="281" y="84"/>
                  </a:cxn>
                  <a:cxn ang="0">
                    <a:pos x="277" y="63"/>
                  </a:cxn>
                  <a:cxn ang="0">
                    <a:pos x="262" y="58"/>
                  </a:cxn>
                  <a:cxn ang="0">
                    <a:pos x="252" y="51"/>
                  </a:cxn>
                  <a:cxn ang="0">
                    <a:pos x="244" y="44"/>
                  </a:cxn>
                  <a:cxn ang="0">
                    <a:pos x="229" y="40"/>
                  </a:cxn>
                  <a:cxn ang="0">
                    <a:pos x="216" y="34"/>
                  </a:cxn>
                  <a:cxn ang="0">
                    <a:pos x="197" y="34"/>
                  </a:cxn>
                  <a:cxn ang="0">
                    <a:pos x="186" y="36"/>
                  </a:cxn>
                  <a:cxn ang="0">
                    <a:pos x="169" y="47"/>
                  </a:cxn>
                  <a:cxn ang="0">
                    <a:pos x="158" y="57"/>
                  </a:cxn>
                  <a:cxn ang="0">
                    <a:pos x="124" y="64"/>
                  </a:cxn>
                  <a:cxn ang="0">
                    <a:pos x="102" y="50"/>
                  </a:cxn>
                  <a:cxn ang="0">
                    <a:pos x="87" y="44"/>
                  </a:cxn>
                  <a:cxn ang="0">
                    <a:pos x="67" y="23"/>
                  </a:cxn>
                  <a:cxn ang="0">
                    <a:pos x="65" y="10"/>
                  </a:cxn>
                  <a:cxn ang="0">
                    <a:pos x="47" y="14"/>
                  </a:cxn>
                  <a:cxn ang="0">
                    <a:pos x="21" y="17"/>
                  </a:cxn>
                  <a:cxn ang="0">
                    <a:pos x="14" y="9"/>
                  </a:cxn>
                  <a:cxn ang="0">
                    <a:pos x="7" y="0"/>
                  </a:cxn>
                  <a:cxn ang="0">
                    <a:pos x="3" y="9"/>
                  </a:cxn>
                  <a:cxn ang="0">
                    <a:pos x="0" y="14"/>
                  </a:cxn>
                  <a:cxn ang="0">
                    <a:pos x="1" y="36"/>
                  </a:cxn>
                  <a:cxn ang="0">
                    <a:pos x="10" y="48"/>
                  </a:cxn>
                  <a:cxn ang="0">
                    <a:pos x="14" y="61"/>
                  </a:cxn>
                  <a:cxn ang="0">
                    <a:pos x="21" y="73"/>
                  </a:cxn>
                  <a:cxn ang="0">
                    <a:pos x="31" y="80"/>
                  </a:cxn>
                  <a:cxn ang="0">
                    <a:pos x="28" y="88"/>
                  </a:cxn>
                  <a:cxn ang="0">
                    <a:pos x="24" y="98"/>
                  </a:cxn>
                  <a:cxn ang="0">
                    <a:pos x="23" y="114"/>
                  </a:cxn>
                  <a:cxn ang="0">
                    <a:pos x="32" y="125"/>
                  </a:cxn>
                  <a:cxn ang="0">
                    <a:pos x="45" y="135"/>
                  </a:cxn>
                  <a:cxn ang="0">
                    <a:pos x="57" y="147"/>
                  </a:cxn>
                  <a:cxn ang="0">
                    <a:pos x="57" y="156"/>
                  </a:cxn>
                  <a:cxn ang="0">
                    <a:pos x="62" y="168"/>
                  </a:cxn>
                  <a:cxn ang="0">
                    <a:pos x="71" y="181"/>
                  </a:cxn>
                  <a:cxn ang="0">
                    <a:pos x="79" y="176"/>
                  </a:cxn>
                  <a:cxn ang="0">
                    <a:pos x="94" y="178"/>
                  </a:cxn>
                  <a:cxn ang="0">
                    <a:pos x="109" y="202"/>
                  </a:cxn>
                  <a:cxn ang="0">
                    <a:pos x="124" y="219"/>
                  </a:cxn>
                  <a:cxn ang="0">
                    <a:pos x="146" y="232"/>
                  </a:cxn>
                  <a:cxn ang="0">
                    <a:pos x="180" y="240"/>
                  </a:cxn>
                  <a:cxn ang="0">
                    <a:pos x="200" y="233"/>
                  </a:cxn>
                  <a:cxn ang="0">
                    <a:pos x="213" y="255"/>
                  </a:cxn>
                  <a:cxn ang="0">
                    <a:pos x="269" y="266"/>
                  </a:cxn>
                  <a:cxn ang="0">
                    <a:pos x="286" y="263"/>
                  </a:cxn>
                  <a:cxn ang="0">
                    <a:pos x="296" y="246"/>
                  </a:cxn>
                  <a:cxn ang="0">
                    <a:pos x="313" y="240"/>
                  </a:cxn>
                </a:cxnLst>
                <a:rect l="0" t="0" r="r" b="b"/>
                <a:pathLst>
                  <a:path w="313" h="267">
                    <a:moveTo>
                      <a:pt x="306" y="230"/>
                    </a:moveTo>
                    <a:lnTo>
                      <a:pt x="306" y="230"/>
                    </a:lnTo>
                    <a:lnTo>
                      <a:pt x="306" y="229"/>
                    </a:lnTo>
                    <a:lnTo>
                      <a:pt x="304" y="228"/>
                    </a:lnTo>
                    <a:lnTo>
                      <a:pt x="304" y="222"/>
                    </a:lnTo>
                    <a:lnTo>
                      <a:pt x="303" y="216"/>
                    </a:lnTo>
                    <a:lnTo>
                      <a:pt x="301" y="213"/>
                    </a:lnTo>
                    <a:lnTo>
                      <a:pt x="298" y="212"/>
                    </a:lnTo>
                    <a:lnTo>
                      <a:pt x="298" y="212"/>
                    </a:lnTo>
                    <a:lnTo>
                      <a:pt x="293" y="209"/>
                    </a:lnTo>
                    <a:lnTo>
                      <a:pt x="289" y="206"/>
                    </a:lnTo>
                    <a:lnTo>
                      <a:pt x="284" y="202"/>
                    </a:lnTo>
                    <a:lnTo>
                      <a:pt x="281" y="198"/>
                    </a:lnTo>
                    <a:lnTo>
                      <a:pt x="281" y="198"/>
                    </a:lnTo>
                    <a:lnTo>
                      <a:pt x="280" y="195"/>
                    </a:lnTo>
                    <a:lnTo>
                      <a:pt x="276" y="191"/>
                    </a:lnTo>
                    <a:lnTo>
                      <a:pt x="273" y="188"/>
                    </a:lnTo>
                    <a:lnTo>
                      <a:pt x="271" y="185"/>
                    </a:lnTo>
                    <a:lnTo>
                      <a:pt x="271" y="185"/>
                    </a:lnTo>
                    <a:lnTo>
                      <a:pt x="274" y="181"/>
                    </a:lnTo>
                    <a:lnTo>
                      <a:pt x="281" y="174"/>
                    </a:lnTo>
                    <a:lnTo>
                      <a:pt x="286" y="168"/>
                    </a:lnTo>
                    <a:lnTo>
                      <a:pt x="289" y="165"/>
                    </a:lnTo>
                    <a:lnTo>
                      <a:pt x="287" y="162"/>
                    </a:lnTo>
                    <a:lnTo>
                      <a:pt x="287" y="162"/>
                    </a:lnTo>
                    <a:lnTo>
                      <a:pt x="287" y="159"/>
                    </a:lnTo>
                    <a:lnTo>
                      <a:pt x="284" y="158"/>
                    </a:lnTo>
                    <a:lnTo>
                      <a:pt x="280" y="156"/>
                    </a:lnTo>
                    <a:lnTo>
                      <a:pt x="274" y="155"/>
                    </a:lnTo>
                    <a:lnTo>
                      <a:pt x="271" y="154"/>
                    </a:lnTo>
                    <a:lnTo>
                      <a:pt x="271" y="154"/>
                    </a:lnTo>
                    <a:lnTo>
                      <a:pt x="271" y="147"/>
                    </a:lnTo>
                    <a:lnTo>
                      <a:pt x="271" y="141"/>
                    </a:lnTo>
                    <a:lnTo>
                      <a:pt x="270" y="135"/>
                    </a:lnTo>
                    <a:lnTo>
                      <a:pt x="270" y="135"/>
                    </a:lnTo>
                    <a:lnTo>
                      <a:pt x="269" y="129"/>
                    </a:lnTo>
                    <a:lnTo>
                      <a:pt x="269" y="125"/>
                    </a:lnTo>
                    <a:lnTo>
                      <a:pt x="270" y="121"/>
                    </a:lnTo>
                    <a:lnTo>
                      <a:pt x="270" y="118"/>
                    </a:lnTo>
                    <a:lnTo>
                      <a:pt x="270" y="118"/>
                    </a:lnTo>
                    <a:lnTo>
                      <a:pt x="269" y="114"/>
                    </a:lnTo>
                    <a:lnTo>
                      <a:pt x="269" y="111"/>
                    </a:lnTo>
                    <a:lnTo>
                      <a:pt x="271" y="104"/>
                    </a:lnTo>
                    <a:lnTo>
                      <a:pt x="271" y="104"/>
                    </a:lnTo>
                    <a:lnTo>
                      <a:pt x="274" y="100"/>
                    </a:lnTo>
                    <a:lnTo>
                      <a:pt x="277" y="95"/>
                    </a:lnTo>
                    <a:lnTo>
                      <a:pt x="277" y="91"/>
                    </a:lnTo>
                    <a:lnTo>
                      <a:pt x="277" y="91"/>
                    </a:lnTo>
                    <a:lnTo>
                      <a:pt x="279" y="87"/>
                    </a:lnTo>
                    <a:lnTo>
                      <a:pt x="281" y="84"/>
                    </a:lnTo>
                    <a:lnTo>
                      <a:pt x="281" y="84"/>
                    </a:lnTo>
                    <a:lnTo>
                      <a:pt x="279" y="73"/>
                    </a:lnTo>
                    <a:lnTo>
                      <a:pt x="279" y="64"/>
                    </a:lnTo>
                    <a:lnTo>
                      <a:pt x="279" y="64"/>
                    </a:lnTo>
                    <a:lnTo>
                      <a:pt x="277" y="63"/>
                    </a:lnTo>
                    <a:lnTo>
                      <a:pt x="274" y="63"/>
                    </a:lnTo>
                    <a:lnTo>
                      <a:pt x="267" y="63"/>
                    </a:lnTo>
                    <a:lnTo>
                      <a:pt x="267" y="63"/>
                    </a:lnTo>
                    <a:lnTo>
                      <a:pt x="264" y="61"/>
                    </a:lnTo>
                    <a:lnTo>
                      <a:pt x="262" y="58"/>
                    </a:lnTo>
                    <a:lnTo>
                      <a:pt x="259" y="55"/>
                    </a:lnTo>
                    <a:lnTo>
                      <a:pt x="256" y="54"/>
                    </a:lnTo>
                    <a:lnTo>
                      <a:pt x="256" y="54"/>
                    </a:lnTo>
                    <a:lnTo>
                      <a:pt x="253" y="53"/>
                    </a:lnTo>
                    <a:lnTo>
                      <a:pt x="252" y="51"/>
                    </a:lnTo>
                    <a:lnTo>
                      <a:pt x="250" y="50"/>
                    </a:lnTo>
                    <a:lnTo>
                      <a:pt x="249" y="48"/>
                    </a:lnTo>
                    <a:lnTo>
                      <a:pt x="249" y="48"/>
                    </a:lnTo>
                    <a:lnTo>
                      <a:pt x="247" y="46"/>
                    </a:lnTo>
                    <a:lnTo>
                      <a:pt x="244" y="44"/>
                    </a:lnTo>
                    <a:lnTo>
                      <a:pt x="236" y="44"/>
                    </a:lnTo>
                    <a:lnTo>
                      <a:pt x="236" y="44"/>
                    </a:lnTo>
                    <a:lnTo>
                      <a:pt x="232" y="43"/>
                    </a:lnTo>
                    <a:lnTo>
                      <a:pt x="230" y="41"/>
                    </a:lnTo>
                    <a:lnTo>
                      <a:pt x="229" y="40"/>
                    </a:lnTo>
                    <a:lnTo>
                      <a:pt x="227" y="40"/>
                    </a:lnTo>
                    <a:lnTo>
                      <a:pt x="227" y="40"/>
                    </a:lnTo>
                    <a:lnTo>
                      <a:pt x="222" y="38"/>
                    </a:lnTo>
                    <a:lnTo>
                      <a:pt x="219" y="37"/>
                    </a:lnTo>
                    <a:lnTo>
                      <a:pt x="216" y="34"/>
                    </a:lnTo>
                    <a:lnTo>
                      <a:pt x="216" y="34"/>
                    </a:lnTo>
                    <a:lnTo>
                      <a:pt x="212" y="33"/>
                    </a:lnTo>
                    <a:lnTo>
                      <a:pt x="206" y="31"/>
                    </a:lnTo>
                    <a:lnTo>
                      <a:pt x="200" y="33"/>
                    </a:lnTo>
                    <a:lnTo>
                      <a:pt x="197" y="34"/>
                    </a:lnTo>
                    <a:lnTo>
                      <a:pt x="197" y="34"/>
                    </a:lnTo>
                    <a:lnTo>
                      <a:pt x="195" y="36"/>
                    </a:lnTo>
                    <a:lnTo>
                      <a:pt x="192" y="36"/>
                    </a:lnTo>
                    <a:lnTo>
                      <a:pt x="186" y="36"/>
                    </a:lnTo>
                    <a:lnTo>
                      <a:pt x="186" y="36"/>
                    </a:lnTo>
                    <a:lnTo>
                      <a:pt x="182" y="37"/>
                    </a:lnTo>
                    <a:lnTo>
                      <a:pt x="178" y="40"/>
                    </a:lnTo>
                    <a:lnTo>
                      <a:pt x="172" y="46"/>
                    </a:lnTo>
                    <a:lnTo>
                      <a:pt x="172" y="46"/>
                    </a:lnTo>
                    <a:lnTo>
                      <a:pt x="169" y="47"/>
                    </a:lnTo>
                    <a:lnTo>
                      <a:pt x="166" y="47"/>
                    </a:lnTo>
                    <a:lnTo>
                      <a:pt x="159" y="48"/>
                    </a:lnTo>
                    <a:lnTo>
                      <a:pt x="159" y="48"/>
                    </a:lnTo>
                    <a:lnTo>
                      <a:pt x="159" y="53"/>
                    </a:lnTo>
                    <a:lnTo>
                      <a:pt x="158" y="57"/>
                    </a:lnTo>
                    <a:lnTo>
                      <a:pt x="158" y="57"/>
                    </a:lnTo>
                    <a:lnTo>
                      <a:pt x="153" y="58"/>
                    </a:lnTo>
                    <a:lnTo>
                      <a:pt x="145" y="61"/>
                    </a:lnTo>
                    <a:lnTo>
                      <a:pt x="133" y="63"/>
                    </a:lnTo>
                    <a:lnTo>
                      <a:pt x="124" y="64"/>
                    </a:lnTo>
                    <a:lnTo>
                      <a:pt x="124" y="64"/>
                    </a:lnTo>
                    <a:lnTo>
                      <a:pt x="119" y="63"/>
                    </a:lnTo>
                    <a:lnTo>
                      <a:pt x="115" y="61"/>
                    </a:lnTo>
                    <a:lnTo>
                      <a:pt x="109" y="55"/>
                    </a:lnTo>
                    <a:lnTo>
                      <a:pt x="102" y="50"/>
                    </a:lnTo>
                    <a:lnTo>
                      <a:pt x="99" y="47"/>
                    </a:lnTo>
                    <a:lnTo>
                      <a:pt x="94" y="47"/>
                    </a:lnTo>
                    <a:lnTo>
                      <a:pt x="94" y="47"/>
                    </a:lnTo>
                    <a:lnTo>
                      <a:pt x="89" y="46"/>
                    </a:lnTo>
                    <a:lnTo>
                      <a:pt x="87" y="44"/>
                    </a:lnTo>
                    <a:lnTo>
                      <a:pt x="81" y="40"/>
                    </a:lnTo>
                    <a:lnTo>
                      <a:pt x="77" y="34"/>
                    </a:lnTo>
                    <a:lnTo>
                      <a:pt x="75" y="27"/>
                    </a:lnTo>
                    <a:lnTo>
                      <a:pt x="75" y="27"/>
                    </a:lnTo>
                    <a:lnTo>
                      <a:pt x="67" y="23"/>
                    </a:lnTo>
                    <a:lnTo>
                      <a:pt x="64" y="21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4" y="16"/>
                    </a:lnTo>
                    <a:lnTo>
                      <a:pt x="65" y="10"/>
                    </a:lnTo>
                    <a:lnTo>
                      <a:pt x="64" y="4"/>
                    </a:lnTo>
                    <a:lnTo>
                      <a:pt x="62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47" y="14"/>
                    </a:lnTo>
                    <a:lnTo>
                      <a:pt x="37" y="17"/>
                    </a:lnTo>
                    <a:lnTo>
                      <a:pt x="32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1" y="17"/>
                    </a:lnTo>
                    <a:lnTo>
                      <a:pt x="20" y="16"/>
                    </a:lnTo>
                    <a:lnTo>
                      <a:pt x="20" y="14"/>
                    </a:lnTo>
                    <a:lnTo>
                      <a:pt x="17" y="13"/>
                    </a:lnTo>
                    <a:lnTo>
                      <a:pt x="17" y="13"/>
                    </a:lnTo>
                    <a:lnTo>
                      <a:pt x="14" y="9"/>
                    </a:lnTo>
                    <a:lnTo>
                      <a:pt x="13" y="6"/>
                    </a:lnTo>
                    <a:lnTo>
                      <a:pt x="11" y="1"/>
                    </a:lnTo>
                    <a:lnTo>
                      <a:pt x="10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3" y="4"/>
                    </a:lnTo>
                    <a:lnTo>
                      <a:pt x="3" y="7"/>
                    </a:lnTo>
                    <a:lnTo>
                      <a:pt x="3" y="9"/>
                    </a:lnTo>
                    <a:lnTo>
                      <a:pt x="1" y="9"/>
                    </a:lnTo>
                    <a:lnTo>
                      <a:pt x="1" y="9"/>
                    </a:lnTo>
                    <a:lnTo>
                      <a:pt x="1" y="9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3" y="26"/>
                    </a:lnTo>
                    <a:lnTo>
                      <a:pt x="1" y="31"/>
                    </a:lnTo>
                    <a:lnTo>
                      <a:pt x="1" y="36"/>
                    </a:lnTo>
                    <a:lnTo>
                      <a:pt x="3" y="38"/>
                    </a:lnTo>
                    <a:lnTo>
                      <a:pt x="3" y="38"/>
                    </a:lnTo>
                    <a:lnTo>
                      <a:pt x="4" y="41"/>
                    </a:lnTo>
                    <a:lnTo>
                      <a:pt x="7" y="44"/>
                    </a:lnTo>
                    <a:lnTo>
                      <a:pt x="10" y="48"/>
                    </a:lnTo>
                    <a:lnTo>
                      <a:pt x="10" y="51"/>
                    </a:lnTo>
                    <a:lnTo>
                      <a:pt x="10" y="51"/>
                    </a:lnTo>
                    <a:lnTo>
                      <a:pt x="11" y="54"/>
                    </a:lnTo>
                    <a:lnTo>
                      <a:pt x="13" y="57"/>
                    </a:lnTo>
                    <a:lnTo>
                      <a:pt x="14" y="61"/>
                    </a:lnTo>
                    <a:lnTo>
                      <a:pt x="15" y="64"/>
                    </a:lnTo>
                    <a:lnTo>
                      <a:pt x="15" y="64"/>
                    </a:lnTo>
                    <a:lnTo>
                      <a:pt x="17" y="67"/>
                    </a:lnTo>
                    <a:lnTo>
                      <a:pt x="18" y="71"/>
                    </a:lnTo>
                    <a:lnTo>
                      <a:pt x="21" y="73"/>
                    </a:lnTo>
                    <a:lnTo>
                      <a:pt x="24" y="74"/>
                    </a:lnTo>
                    <a:lnTo>
                      <a:pt x="24" y="74"/>
                    </a:lnTo>
                    <a:lnTo>
                      <a:pt x="30" y="75"/>
                    </a:lnTo>
                    <a:lnTo>
                      <a:pt x="31" y="77"/>
                    </a:lnTo>
                    <a:lnTo>
                      <a:pt x="31" y="80"/>
                    </a:lnTo>
                    <a:lnTo>
                      <a:pt x="31" y="80"/>
                    </a:lnTo>
                    <a:lnTo>
                      <a:pt x="31" y="82"/>
                    </a:lnTo>
                    <a:lnTo>
                      <a:pt x="31" y="85"/>
                    </a:lnTo>
                    <a:lnTo>
                      <a:pt x="31" y="88"/>
                    </a:lnTo>
                    <a:lnTo>
                      <a:pt x="28" y="88"/>
                    </a:lnTo>
                    <a:lnTo>
                      <a:pt x="28" y="88"/>
                    </a:lnTo>
                    <a:lnTo>
                      <a:pt x="28" y="90"/>
                    </a:lnTo>
                    <a:lnTo>
                      <a:pt x="27" y="91"/>
                    </a:lnTo>
                    <a:lnTo>
                      <a:pt x="25" y="94"/>
                    </a:lnTo>
                    <a:lnTo>
                      <a:pt x="24" y="98"/>
                    </a:lnTo>
                    <a:lnTo>
                      <a:pt x="23" y="101"/>
                    </a:lnTo>
                    <a:lnTo>
                      <a:pt x="23" y="101"/>
                    </a:lnTo>
                    <a:lnTo>
                      <a:pt x="21" y="104"/>
                    </a:lnTo>
                    <a:lnTo>
                      <a:pt x="21" y="110"/>
                    </a:lnTo>
                    <a:lnTo>
                      <a:pt x="23" y="114"/>
                    </a:lnTo>
                    <a:lnTo>
                      <a:pt x="24" y="117"/>
                    </a:lnTo>
                    <a:lnTo>
                      <a:pt x="24" y="117"/>
                    </a:lnTo>
                    <a:lnTo>
                      <a:pt x="30" y="119"/>
                    </a:lnTo>
                    <a:lnTo>
                      <a:pt x="31" y="122"/>
                    </a:lnTo>
                    <a:lnTo>
                      <a:pt x="32" y="125"/>
                    </a:lnTo>
                    <a:lnTo>
                      <a:pt x="32" y="125"/>
                    </a:lnTo>
                    <a:lnTo>
                      <a:pt x="32" y="127"/>
                    </a:lnTo>
                    <a:lnTo>
                      <a:pt x="34" y="128"/>
                    </a:lnTo>
                    <a:lnTo>
                      <a:pt x="40" y="132"/>
                    </a:lnTo>
                    <a:lnTo>
                      <a:pt x="45" y="135"/>
                    </a:lnTo>
                    <a:lnTo>
                      <a:pt x="50" y="137"/>
                    </a:lnTo>
                    <a:lnTo>
                      <a:pt x="50" y="137"/>
                    </a:lnTo>
                    <a:lnTo>
                      <a:pt x="52" y="138"/>
                    </a:lnTo>
                    <a:lnTo>
                      <a:pt x="54" y="141"/>
                    </a:lnTo>
                    <a:lnTo>
                      <a:pt x="57" y="147"/>
                    </a:lnTo>
                    <a:lnTo>
                      <a:pt x="57" y="147"/>
                    </a:lnTo>
                    <a:lnTo>
                      <a:pt x="58" y="149"/>
                    </a:lnTo>
                    <a:lnTo>
                      <a:pt x="58" y="152"/>
                    </a:lnTo>
                    <a:lnTo>
                      <a:pt x="57" y="155"/>
                    </a:lnTo>
                    <a:lnTo>
                      <a:pt x="57" y="156"/>
                    </a:lnTo>
                    <a:lnTo>
                      <a:pt x="57" y="156"/>
                    </a:lnTo>
                    <a:lnTo>
                      <a:pt x="57" y="159"/>
                    </a:lnTo>
                    <a:lnTo>
                      <a:pt x="60" y="162"/>
                    </a:lnTo>
                    <a:lnTo>
                      <a:pt x="61" y="165"/>
                    </a:lnTo>
                    <a:lnTo>
                      <a:pt x="62" y="168"/>
                    </a:lnTo>
                    <a:lnTo>
                      <a:pt x="62" y="168"/>
                    </a:lnTo>
                    <a:lnTo>
                      <a:pt x="62" y="171"/>
                    </a:lnTo>
                    <a:lnTo>
                      <a:pt x="65" y="174"/>
                    </a:lnTo>
                    <a:lnTo>
                      <a:pt x="71" y="181"/>
                    </a:lnTo>
                    <a:lnTo>
                      <a:pt x="71" y="181"/>
                    </a:lnTo>
                    <a:lnTo>
                      <a:pt x="75" y="179"/>
                    </a:lnTo>
                    <a:lnTo>
                      <a:pt x="75" y="179"/>
                    </a:lnTo>
                    <a:lnTo>
                      <a:pt x="77" y="179"/>
                    </a:lnTo>
                    <a:lnTo>
                      <a:pt x="79" y="178"/>
                    </a:lnTo>
                    <a:lnTo>
                      <a:pt x="79" y="176"/>
                    </a:lnTo>
                    <a:lnTo>
                      <a:pt x="82" y="178"/>
                    </a:lnTo>
                    <a:lnTo>
                      <a:pt x="82" y="178"/>
                    </a:lnTo>
                    <a:lnTo>
                      <a:pt x="85" y="179"/>
                    </a:lnTo>
                    <a:lnTo>
                      <a:pt x="88" y="179"/>
                    </a:lnTo>
                    <a:lnTo>
                      <a:pt x="94" y="178"/>
                    </a:lnTo>
                    <a:lnTo>
                      <a:pt x="94" y="178"/>
                    </a:lnTo>
                    <a:lnTo>
                      <a:pt x="96" y="181"/>
                    </a:lnTo>
                    <a:lnTo>
                      <a:pt x="101" y="186"/>
                    </a:lnTo>
                    <a:lnTo>
                      <a:pt x="109" y="202"/>
                    </a:lnTo>
                    <a:lnTo>
                      <a:pt x="109" y="202"/>
                    </a:lnTo>
                    <a:lnTo>
                      <a:pt x="114" y="212"/>
                    </a:lnTo>
                    <a:lnTo>
                      <a:pt x="115" y="215"/>
                    </a:lnTo>
                    <a:lnTo>
                      <a:pt x="119" y="218"/>
                    </a:lnTo>
                    <a:lnTo>
                      <a:pt x="119" y="218"/>
                    </a:lnTo>
                    <a:lnTo>
                      <a:pt x="124" y="219"/>
                    </a:lnTo>
                    <a:lnTo>
                      <a:pt x="128" y="220"/>
                    </a:lnTo>
                    <a:lnTo>
                      <a:pt x="132" y="222"/>
                    </a:lnTo>
                    <a:lnTo>
                      <a:pt x="138" y="228"/>
                    </a:lnTo>
                    <a:lnTo>
                      <a:pt x="138" y="228"/>
                    </a:lnTo>
                    <a:lnTo>
                      <a:pt x="146" y="232"/>
                    </a:lnTo>
                    <a:lnTo>
                      <a:pt x="156" y="238"/>
                    </a:lnTo>
                    <a:lnTo>
                      <a:pt x="166" y="240"/>
                    </a:lnTo>
                    <a:lnTo>
                      <a:pt x="175" y="240"/>
                    </a:lnTo>
                    <a:lnTo>
                      <a:pt x="175" y="240"/>
                    </a:lnTo>
                    <a:lnTo>
                      <a:pt x="180" y="240"/>
                    </a:lnTo>
                    <a:lnTo>
                      <a:pt x="186" y="236"/>
                    </a:lnTo>
                    <a:lnTo>
                      <a:pt x="193" y="235"/>
                    </a:lnTo>
                    <a:lnTo>
                      <a:pt x="196" y="233"/>
                    </a:lnTo>
                    <a:lnTo>
                      <a:pt x="200" y="233"/>
                    </a:lnTo>
                    <a:lnTo>
                      <a:pt x="200" y="233"/>
                    </a:lnTo>
                    <a:lnTo>
                      <a:pt x="205" y="235"/>
                    </a:lnTo>
                    <a:lnTo>
                      <a:pt x="206" y="238"/>
                    </a:lnTo>
                    <a:lnTo>
                      <a:pt x="209" y="243"/>
                    </a:lnTo>
                    <a:lnTo>
                      <a:pt x="210" y="250"/>
                    </a:lnTo>
                    <a:lnTo>
                      <a:pt x="213" y="255"/>
                    </a:lnTo>
                    <a:lnTo>
                      <a:pt x="213" y="255"/>
                    </a:lnTo>
                    <a:lnTo>
                      <a:pt x="216" y="257"/>
                    </a:lnTo>
                    <a:lnTo>
                      <a:pt x="222" y="259"/>
                    </a:lnTo>
                    <a:lnTo>
                      <a:pt x="240" y="262"/>
                    </a:lnTo>
                    <a:lnTo>
                      <a:pt x="269" y="266"/>
                    </a:lnTo>
                    <a:lnTo>
                      <a:pt x="269" y="266"/>
                    </a:lnTo>
                    <a:lnTo>
                      <a:pt x="286" y="267"/>
                    </a:lnTo>
                    <a:lnTo>
                      <a:pt x="286" y="267"/>
                    </a:lnTo>
                    <a:lnTo>
                      <a:pt x="286" y="263"/>
                    </a:lnTo>
                    <a:lnTo>
                      <a:pt x="286" y="263"/>
                    </a:lnTo>
                    <a:lnTo>
                      <a:pt x="286" y="257"/>
                    </a:lnTo>
                    <a:lnTo>
                      <a:pt x="289" y="253"/>
                    </a:lnTo>
                    <a:lnTo>
                      <a:pt x="291" y="249"/>
                    </a:lnTo>
                    <a:lnTo>
                      <a:pt x="296" y="246"/>
                    </a:lnTo>
                    <a:lnTo>
                      <a:pt x="296" y="246"/>
                    </a:lnTo>
                    <a:lnTo>
                      <a:pt x="303" y="243"/>
                    </a:lnTo>
                    <a:lnTo>
                      <a:pt x="310" y="242"/>
                    </a:lnTo>
                    <a:lnTo>
                      <a:pt x="310" y="242"/>
                    </a:lnTo>
                    <a:lnTo>
                      <a:pt x="311" y="242"/>
                    </a:lnTo>
                    <a:lnTo>
                      <a:pt x="313" y="240"/>
                    </a:lnTo>
                    <a:lnTo>
                      <a:pt x="311" y="236"/>
                    </a:lnTo>
                    <a:lnTo>
                      <a:pt x="308" y="232"/>
                    </a:lnTo>
                    <a:lnTo>
                      <a:pt x="306" y="230"/>
                    </a:lnTo>
                    <a:lnTo>
                      <a:pt x="306" y="23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83" name="Iraq">
                <a:extLst>
                  <a:ext uri="{FF2B5EF4-FFF2-40B4-BE49-F238E27FC236}">
                    <a16:creationId xmlns:a16="http://schemas.microsoft.com/office/drawing/2014/main" id="{D9331812-C9F8-D191-4B24-09A0067431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3464" y="3371556"/>
                <a:ext cx="232326" cy="224928"/>
              </a:xfrm>
              <a:custGeom>
                <a:avLst/>
                <a:gdLst/>
                <a:ahLst/>
                <a:cxnLst>
                  <a:cxn ang="0">
                    <a:pos x="134" y="135"/>
                  </a:cxn>
                  <a:cxn ang="0">
                    <a:pos x="140" y="132"/>
                  </a:cxn>
                  <a:cxn ang="0">
                    <a:pos x="150" y="139"/>
                  </a:cxn>
                  <a:cxn ang="0">
                    <a:pos x="157" y="135"/>
                  </a:cxn>
                  <a:cxn ang="0">
                    <a:pos x="148" y="125"/>
                  </a:cxn>
                  <a:cxn ang="0">
                    <a:pos x="147" y="119"/>
                  </a:cxn>
                  <a:cxn ang="0">
                    <a:pos x="143" y="110"/>
                  </a:cxn>
                  <a:cxn ang="0">
                    <a:pos x="144" y="106"/>
                  </a:cxn>
                  <a:cxn ang="0">
                    <a:pos x="143" y="101"/>
                  </a:cxn>
                  <a:cxn ang="0">
                    <a:pos x="136" y="91"/>
                  </a:cxn>
                  <a:cxn ang="0">
                    <a:pos x="126" y="86"/>
                  </a:cxn>
                  <a:cxn ang="0">
                    <a:pos x="118" y="79"/>
                  </a:cxn>
                  <a:cxn ang="0">
                    <a:pos x="116" y="73"/>
                  </a:cxn>
                  <a:cxn ang="0">
                    <a:pos x="109" y="68"/>
                  </a:cxn>
                  <a:cxn ang="0">
                    <a:pos x="109" y="55"/>
                  </a:cxn>
                  <a:cxn ang="0">
                    <a:pos x="111" y="48"/>
                  </a:cxn>
                  <a:cxn ang="0">
                    <a:pos x="114" y="42"/>
                  </a:cxn>
                  <a:cxn ang="0">
                    <a:pos x="117" y="39"/>
                  </a:cxn>
                  <a:cxn ang="0">
                    <a:pos x="117" y="34"/>
                  </a:cxn>
                  <a:cxn ang="0">
                    <a:pos x="110" y="28"/>
                  </a:cxn>
                  <a:cxn ang="0">
                    <a:pos x="104" y="25"/>
                  </a:cxn>
                  <a:cxn ang="0">
                    <a:pos x="101" y="18"/>
                  </a:cxn>
                  <a:cxn ang="0">
                    <a:pos x="97" y="8"/>
                  </a:cxn>
                  <a:cxn ang="0">
                    <a:pos x="94" y="8"/>
                  </a:cxn>
                  <a:cxn ang="0">
                    <a:pos x="83" y="4"/>
                  </a:cxn>
                  <a:cxn ang="0">
                    <a:pos x="79" y="2"/>
                  </a:cxn>
                  <a:cxn ang="0">
                    <a:pos x="70" y="0"/>
                  </a:cxn>
                  <a:cxn ang="0">
                    <a:pos x="62" y="1"/>
                  </a:cxn>
                  <a:cxn ang="0">
                    <a:pos x="57" y="5"/>
                  </a:cxn>
                  <a:cxn ang="0">
                    <a:pos x="44" y="14"/>
                  </a:cxn>
                  <a:cxn ang="0">
                    <a:pos x="39" y="19"/>
                  </a:cxn>
                  <a:cxn ang="0">
                    <a:pos x="40" y="31"/>
                  </a:cxn>
                  <a:cxn ang="0">
                    <a:pos x="39" y="36"/>
                  </a:cxn>
                  <a:cxn ang="0">
                    <a:pos x="39" y="46"/>
                  </a:cxn>
                  <a:cxn ang="0">
                    <a:pos x="35" y="55"/>
                  </a:cxn>
                  <a:cxn ang="0">
                    <a:pos x="0" y="73"/>
                  </a:cxn>
                  <a:cxn ang="0">
                    <a:pos x="5" y="98"/>
                  </a:cxn>
                  <a:cxn ang="0">
                    <a:pos x="17" y="98"/>
                  </a:cxn>
                  <a:cxn ang="0">
                    <a:pos x="33" y="106"/>
                  </a:cxn>
                  <a:cxn ang="0">
                    <a:pos x="69" y="129"/>
                  </a:cxn>
                  <a:cxn ang="0">
                    <a:pos x="93" y="147"/>
                  </a:cxn>
                  <a:cxn ang="0">
                    <a:pos x="107" y="150"/>
                  </a:cxn>
                  <a:cxn ang="0">
                    <a:pos x="128" y="143"/>
                  </a:cxn>
                </a:cxnLst>
                <a:rect l="0" t="0" r="r" b="b"/>
                <a:pathLst>
                  <a:path w="157" h="152">
                    <a:moveTo>
                      <a:pt x="131" y="137"/>
                    </a:moveTo>
                    <a:lnTo>
                      <a:pt x="131" y="137"/>
                    </a:lnTo>
                    <a:lnTo>
                      <a:pt x="134" y="135"/>
                    </a:lnTo>
                    <a:lnTo>
                      <a:pt x="136" y="133"/>
                    </a:lnTo>
                    <a:lnTo>
                      <a:pt x="140" y="132"/>
                    </a:lnTo>
                    <a:lnTo>
                      <a:pt x="140" y="132"/>
                    </a:lnTo>
                    <a:lnTo>
                      <a:pt x="141" y="132"/>
                    </a:lnTo>
                    <a:lnTo>
                      <a:pt x="144" y="133"/>
                    </a:lnTo>
                    <a:lnTo>
                      <a:pt x="150" y="139"/>
                    </a:lnTo>
                    <a:lnTo>
                      <a:pt x="150" y="139"/>
                    </a:lnTo>
                    <a:lnTo>
                      <a:pt x="153" y="136"/>
                    </a:lnTo>
                    <a:lnTo>
                      <a:pt x="157" y="135"/>
                    </a:lnTo>
                    <a:lnTo>
                      <a:pt x="157" y="135"/>
                    </a:lnTo>
                    <a:lnTo>
                      <a:pt x="151" y="128"/>
                    </a:lnTo>
                    <a:lnTo>
                      <a:pt x="148" y="125"/>
                    </a:lnTo>
                    <a:lnTo>
                      <a:pt x="148" y="122"/>
                    </a:lnTo>
                    <a:lnTo>
                      <a:pt x="148" y="122"/>
                    </a:lnTo>
                    <a:lnTo>
                      <a:pt x="147" y="119"/>
                    </a:lnTo>
                    <a:lnTo>
                      <a:pt x="146" y="116"/>
                    </a:lnTo>
                    <a:lnTo>
                      <a:pt x="143" y="113"/>
                    </a:lnTo>
                    <a:lnTo>
                      <a:pt x="143" y="110"/>
                    </a:lnTo>
                    <a:lnTo>
                      <a:pt x="143" y="110"/>
                    </a:lnTo>
                    <a:lnTo>
                      <a:pt x="143" y="109"/>
                    </a:lnTo>
                    <a:lnTo>
                      <a:pt x="144" y="106"/>
                    </a:lnTo>
                    <a:lnTo>
                      <a:pt x="144" y="103"/>
                    </a:lnTo>
                    <a:lnTo>
                      <a:pt x="143" y="101"/>
                    </a:lnTo>
                    <a:lnTo>
                      <a:pt x="143" y="101"/>
                    </a:lnTo>
                    <a:lnTo>
                      <a:pt x="140" y="95"/>
                    </a:lnTo>
                    <a:lnTo>
                      <a:pt x="138" y="92"/>
                    </a:lnTo>
                    <a:lnTo>
                      <a:pt x="136" y="91"/>
                    </a:lnTo>
                    <a:lnTo>
                      <a:pt x="136" y="91"/>
                    </a:lnTo>
                    <a:lnTo>
                      <a:pt x="131" y="89"/>
                    </a:lnTo>
                    <a:lnTo>
                      <a:pt x="126" y="86"/>
                    </a:lnTo>
                    <a:lnTo>
                      <a:pt x="120" y="82"/>
                    </a:lnTo>
                    <a:lnTo>
                      <a:pt x="118" y="81"/>
                    </a:lnTo>
                    <a:lnTo>
                      <a:pt x="118" y="79"/>
                    </a:lnTo>
                    <a:lnTo>
                      <a:pt x="118" y="79"/>
                    </a:lnTo>
                    <a:lnTo>
                      <a:pt x="117" y="76"/>
                    </a:lnTo>
                    <a:lnTo>
                      <a:pt x="116" y="73"/>
                    </a:lnTo>
                    <a:lnTo>
                      <a:pt x="110" y="71"/>
                    </a:lnTo>
                    <a:lnTo>
                      <a:pt x="110" y="71"/>
                    </a:lnTo>
                    <a:lnTo>
                      <a:pt x="109" y="68"/>
                    </a:lnTo>
                    <a:lnTo>
                      <a:pt x="107" y="64"/>
                    </a:lnTo>
                    <a:lnTo>
                      <a:pt x="107" y="58"/>
                    </a:lnTo>
                    <a:lnTo>
                      <a:pt x="109" y="55"/>
                    </a:lnTo>
                    <a:lnTo>
                      <a:pt x="109" y="55"/>
                    </a:lnTo>
                    <a:lnTo>
                      <a:pt x="110" y="52"/>
                    </a:lnTo>
                    <a:lnTo>
                      <a:pt x="111" y="48"/>
                    </a:lnTo>
                    <a:lnTo>
                      <a:pt x="113" y="45"/>
                    </a:lnTo>
                    <a:lnTo>
                      <a:pt x="114" y="44"/>
                    </a:lnTo>
                    <a:lnTo>
                      <a:pt x="114" y="42"/>
                    </a:lnTo>
                    <a:lnTo>
                      <a:pt x="114" y="42"/>
                    </a:lnTo>
                    <a:lnTo>
                      <a:pt x="117" y="42"/>
                    </a:lnTo>
                    <a:lnTo>
                      <a:pt x="117" y="39"/>
                    </a:lnTo>
                    <a:lnTo>
                      <a:pt x="117" y="36"/>
                    </a:lnTo>
                    <a:lnTo>
                      <a:pt x="117" y="34"/>
                    </a:lnTo>
                    <a:lnTo>
                      <a:pt x="117" y="34"/>
                    </a:lnTo>
                    <a:lnTo>
                      <a:pt x="117" y="31"/>
                    </a:lnTo>
                    <a:lnTo>
                      <a:pt x="116" y="29"/>
                    </a:lnTo>
                    <a:lnTo>
                      <a:pt x="110" y="28"/>
                    </a:lnTo>
                    <a:lnTo>
                      <a:pt x="110" y="28"/>
                    </a:lnTo>
                    <a:lnTo>
                      <a:pt x="107" y="27"/>
                    </a:lnTo>
                    <a:lnTo>
                      <a:pt x="104" y="25"/>
                    </a:lnTo>
                    <a:lnTo>
                      <a:pt x="103" y="21"/>
                    </a:lnTo>
                    <a:lnTo>
                      <a:pt x="101" y="18"/>
                    </a:lnTo>
                    <a:lnTo>
                      <a:pt x="101" y="18"/>
                    </a:lnTo>
                    <a:lnTo>
                      <a:pt x="100" y="15"/>
                    </a:lnTo>
                    <a:lnTo>
                      <a:pt x="99" y="11"/>
                    </a:lnTo>
                    <a:lnTo>
                      <a:pt x="97" y="8"/>
                    </a:lnTo>
                    <a:lnTo>
                      <a:pt x="96" y="5"/>
                    </a:lnTo>
                    <a:lnTo>
                      <a:pt x="96" y="5"/>
                    </a:lnTo>
                    <a:lnTo>
                      <a:pt x="94" y="8"/>
                    </a:lnTo>
                    <a:lnTo>
                      <a:pt x="93" y="8"/>
                    </a:lnTo>
                    <a:lnTo>
                      <a:pt x="89" y="7"/>
                    </a:lnTo>
                    <a:lnTo>
                      <a:pt x="83" y="4"/>
                    </a:lnTo>
                    <a:lnTo>
                      <a:pt x="80" y="2"/>
                    </a:lnTo>
                    <a:lnTo>
                      <a:pt x="79" y="2"/>
                    </a:lnTo>
                    <a:lnTo>
                      <a:pt x="79" y="2"/>
                    </a:lnTo>
                    <a:lnTo>
                      <a:pt x="76" y="2"/>
                    </a:lnTo>
                    <a:lnTo>
                      <a:pt x="73" y="2"/>
                    </a:lnTo>
                    <a:lnTo>
                      <a:pt x="7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2" y="1"/>
                    </a:lnTo>
                    <a:lnTo>
                      <a:pt x="60" y="2"/>
                    </a:lnTo>
                    <a:lnTo>
                      <a:pt x="57" y="5"/>
                    </a:lnTo>
                    <a:lnTo>
                      <a:pt x="57" y="5"/>
                    </a:lnTo>
                    <a:lnTo>
                      <a:pt x="49" y="12"/>
                    </a:lnTo>
                    <a:lnTo>
                      <a:pt x="49" y="12"/>
                    </a:lnTo>
                    <a:lnTo>
                      <a:pt x="44" y="14"/>
                    </a:lnTo>
                    <a:lnTo>
                      <a:pt x="40" y="17"/>
                    </a:lnTo>
                    <a:lnTo>
                      <a:pt x="39" y="19"/>
                    </a:lnTo>
                    <a:lnTo>
                      <a:pt x="39" y="19"/>
                    </a:lnTo>
                    <a:lnTo>
                      <a:pt x="37" y="24"/>
                    </a:lnTo>
                    <a:lnTo>
                      <a:pt x="39" y="28"/>
                    </a:lnTo>
                    <a:lnTo>
                      <a:pt x="40" y="31"/>
                    </a:lnTo>
                    <a:lnTo>
                      <a:pt x="39" y="34"/>
                    </a:lnTo>
                    <a:lnTo>
                      <a:pt x="39" y="34"/>
                    </a:lnTo>
                    <a:lnTo>
                      <a:pt x="39" y="36"/>
                    </a:lnTo>
                    <a:lnTo>
                      <a:pt x="37" y="39"/>
                    </a:lnTo>
                    <a:lnTo>
                      <a:pt x="39" y="46"/>
                    </a:lnTo>
                    <a:lnTo>
                      <a:pt x="39" y="46"/>
                    </a:lnTo>
                    <a:lnTo>
                      <a:pt x="37" y="48"/>
                    </a:lnTo>
                    <a:lnTo>
                      <a:pt x="36" y="52"/>
                    </a:lnTo>
                    <a:lnTo>
                      <a:pt x="35" y="55"/>
                    </a:lnTo>
                    <a:lnTo>
                      <a:pt x="35" y="55"/>
                    </a:lnTo>
                    <a:lnTo>
                      <a:pt x="0" y="73"/>
                    </a:lnTo>
                    <a:lnTo>
                      <a:pt x="0" y="73"/>
                    </a:lnTo>
                    <a:lnTo>
                      <a:pt x="2" y="82"/>
                    </a:lnTo>
                    <a:lnTo>
                      <a:pt x="2" y="82"/>
                    </a:lnTo>
                    <a:lnTo>
                      <a:pt x="5" y="98"/>
                    </a:lnTo>
                    <a:lnTo>
                      <a:pt x="5" y="98"/>
                    </a:lnTo>
                    <a:lnTo>
                      <a:pt x="12" y="96"/>
                    </a:lnTo>
                    <a:lnTo>
                      <a:pt x="17" y="98"/>
                    </a:lnTo>
                    <a:lnTo>
                      <a:pt x="17" y="98"/>
                    </a:lnTo>
                    <a:lnTo>
                      <a:pt x="25" y="101"/>
                    </a:lnTo>
                    <a:lnTo>
                      <a:pt x="33" y="106"/>
                    </a:lnTo>
                    <a:lnTo>
                      <a:pt x="49" y="116"/>
                    </a:lnTo>
                    <a:lnTo>
                      <a:pt x="49" y="116"/>
                    </a:lnTo>
                    <a:lnTo>
                      <a:pt x="69" y="129"/>
                    </a:lnTo>
                    <a:lnTo>
                      <a:pt x="87" y="145"/>
                    </a:lnTo>
                    <a:lnTo>
                      <a:pt x="87" y="145"/>
                    </a:lnTo>
                    <a:lnTo>
                      <a:pt x="93" y="147"/>
                    </a:lnTo>
                    <a:lnTo>
                      <a:pt x="97" y="149"/>
                    </a:lnTo>
                    <a:lnTo>
                      <a:pt x="107" y="150"/>
                    </a:lnTo>
                    <a:lnTo>
                      <a:pt x="107" y="150"/>
                    </a:lnTo>
                    <a:lnTo>
                      <a:pt x="126" y="152"/>
                    </a:lnTo>
                    <a:lnTo>
                      <a:pt x="126" y="152"/>
                    </a:lnTo>
                    <a:lnTo>
                      <a:pt x="128" y="143"/>
                    </a:lnTo>
                    <a:lnTo>
                      <a:pt x="131" y="137"/>
                    </a:lnTo>
                    <a:lnTo>
                      <a:pt x="131" y="137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84" name="Kuwait">
                <a:extLst>
                  <a:ext uri="{FF2B5EF4-FFF2-40B4-BE49-F238E27FC236}">
                    <a16:creationId xmlns:a16="http://schemas.microsoft.com/office/drawing/2014/main" id="{08A09ECB-634E-3AFC-5572-148566B31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9917" y="3566888"/>
                <a:ext cx="42915" cy="44394"/>
              </a:xfrm>
              <a:custGeom>
                <a:avLst/>
                <a:gdLst/>
                <a:ahLst/>
                <a:cxnLst>
                  <a:cxn ang="0">
                    <a:pos x="10" y="21"/>
                  </a:cxn>
                  <a:cxn ang="0">
                    <a:pos x="17" y="28"/>
                  </a:cxn>
                  <a:cxn ang="0">
                    <a:pos x="29" y="30"/>
                  </a:cxn>
                  <a:cxn ang="0">
                    <a:pos x="29" y="30"/>
                  </a:cxn>
                  <a:cxn ang="0">
                    <a:pos x="25" y="17"/>
                  </a:cxn>
                  <a:cxn ang="0">
                    <a:pos x="22" y="8"/>
                  </a:cxn>
                  <a:cxn ang="0">
                    <a:pos x="22" y="8"/>
                  </a:cxn>
                  <a:cxn ang="0">
                    <a:pos x="24" y="7"/>
                  </a:cxn>
                  <a:cxn ang="0">
                    <a:pos x="24" y="7"/>
                  </a:cxn>
                  <a:cxn ang="0">
                    <a:pos x="18" y="1"/>
                  </a:cxn>
                  <a:cxn ang="0">
                    <a:pos x="15" y="0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1"/>
                  </a:cxn>
                  <a:cxn ang="0">
                    <a:pos x="8" y="3"/>
                  </a:cxn>
                  <a:cxn ang="0">
                    <a:pos x="5" y="5"/>
                  </a:cxn>
                  <a:cxn ang="0">
                    <a:pos x="5" y="5"/>
                  </a:cxn>
                  <a:cxn ang="0">
                    <a:pos x="2" y="11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10" y="21"/>
                  </a:cxn>
                  <a:cxn ang="0">
                    <a:pos x="10" y="21"/>
                  </a:cxn>
                </a:cxnLst>
                <a:rect l="0" t="0" r="r" b="b"/>
                <a:pathLst>
                  <a:path w="29" h="30">
                    <a:moveTo>
                      <a:pt x="10" y="21"/>
                    </a:moveTo>
                    <a:lnTo>
                      <a:pt x="17" y="28"/>
                    </a:lnTo>
                    <a:lnTo>
                      <a:pt x="29" y="30"/>
                    </a:lnTo>
                    <a:lnTo>
                      <a:pt x="29" y="30"/>
                    </a:lnTo>
                    <a:lnTo>
                      <a:pt x="25" y="17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4" y="7"/>
                    </a:lnTo>
                    <a:lnTo>
                      <a:pt x="24" y="7"/>
                    </a:lnTo>
                    <a:lnTo>
                      <a:pt x="18" y="1"/>
                    </a:lnTo>
                    <a:lnTo>
                      <a:pt x="15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1"/>
                    </a:lnTo>
                    <a:lnTo>
                      <a:pt x="8" y="3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2" y="11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0" y="21"/>
                    </a:lnTo>
                    <a:lnTo>
                      <a:pt x="10" y="21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85" name="Yemen">
                <a:extLst>
                  <a:ext uri="{FF2B5EF4-FFF2-40B4-BE49-F238E27FC236}">
                    <a16:creationId xmlns:a16="http://schemas.microsoft.com/office/drawing/2014/main" id="{9A85B060-BDE6-073A-C3C9-760E5F75C7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2250" y="3851007"/>
                <a:ext cx="253044" cy="153897"/>
              </a:xfrm>
              <a:custGeom>
                <a:avLst/>
                <a:gdLst/>
                <a:ahLst/>
                <a:cxnLst>
                  <a:cxn ang="0">
                    <a:pos x="135" y="4"/>
                  </a:cxn>
                  <a:cxn ang="0">
                    <a:pos x="117" y="6"/>
                  </a:cxn>
                  <a:cxn ang="0">
                    <a:pos x="104" y="7"/>
                  </a:cxn>
                  <a:cxn ang="0">
                    <a:pos x="91" y="15"/>
                  </a:cxn>
                  <a:cxn ang="0">
                    <a:pos x="78" y="28"/>
                  </a:cxn>
                  <a:cxn ang="0">
                    <a:pos x="77" y="33"/>
                  </a:cxn>
                  <a:cxn ang="0">
                    <a:pos x="71" y="34"/>
                  </a:cxn>
                  <a:cxn ang="0">
                    <a:pos x="68" y="33"/>
                  </a:cxn>
                  <a:cxn ang="0">
                    <a:pos x="56" y="30"/>
                  </a:cxn>
                  <a:cxn ang="0">
                    <a:pos x="46" y="28"/>
                  </a:cxn>
                  <a:cxn ang="0">
                    <a:pos x="37" y="27"/>
                  </a:cxn>
                  <a:cxn ang="0">
                    <a:pos x="26" y="27"/>
                  </a:cxn>
                  <a:cxn ang="0">
                    <a:pos x="19" y="25"/>
                  </a:cxn>
                  <a:cxn ang="0">
                    <a:pos x="14" y="25"/>
                  </a:cxn>
                  <a:cxn ang="0">
                    <a:pos x="10" y="27"/>
                  </a:cxn>
                  <a:cxn ang="0">
                    <a:pos x="7" y="31"/>
                  </a:cxn>
                  <a:cxn ang="0">
                    <a:pos x="7" y="35"/>
                  </a:cxn>
                  <a:cxn ang="0">
                    <a:pos x="7" y="40"/>
                  </a:cxn>
                  <a:cxn ang="0">
                    <a:pos x="0" y="44"/>
                  </a:cxn>
                  <a:cxn ang="0">
                    <a:pos x="2" y="54"/>
                  </a:cxn>
                  <a:cxn ang="0">
                    <a:pos x="0" y="58"/>
                  </a:cxn>
                  <a:cxn ang="0">
                    <a:pos x="3" y="72"/>
                  </a:cxn>
                  <a:cxn ang="0">
                    <a:pos x="6" y="80"/>
                  </a:cxn>
                  <a:cxn ang="0">
                    <a:pos x="10" y="92"/>
                  </a:cxn>
                  <a:cxn ang="0">
                    <a:pos x="12" y="102"/>
                  </a:cxn>
                  <a:cxn ang="0">
                    <a:pos x="16" y="104"/>
                  </a:cxn>
                  <a:cxn ang="0">
                    <a:pos x="33" y="102"/>
                  </a:cxn>
                  <a:cxn ang="0">
                    <a:pos x="41" y="99"/>
                  </a:cxn>
                  <a:cxn ang="0">
                    <a:pos x="51" y="94"/>
                  </a:cxn>
                  <a:cxn ang="0">
                    <a:pos x="61" y="92"/>
                  </a:cxn>
                  <a:cxn ang="0">
                    <a:pos x="71" y="89"/>
                  </a:cxn>
                  <a:cxn ang="0">
                    <a:pos x="78" y="84"/>
                  </a:cxn>
                  <a:cxn ang="0">
                    <a:pos x="86" y="82"/>
                  </a:cxn>
                  <a:cxn ang="0">
                    <a:pos x="95" y="82"/>
                  </a:cxn>
                  <a:cxn ang="0">
                    <a:pos x="101" y="80"/>
                  </a:cxn>
                  <a:cxn ang="0">
                    <a:pos x="107" y="74"/>
                  </a:cxn>
                  <a:cxn ang="0">
                    <a:pos x="120" y="68"/>
                  </a:cxn>
                  <a:cxn ang="0">
                    <a:pos x="141" y="62"/>
                  </a:cxn>
                  <a:cxn ang="0">
                    <a:pos x="154" y="54"/>
                  </a:cxn>
                  <a:cxn ang="0">
                    <a:pos x="157" y="45"/>
                  </a:cxn>
                  <a:cxn ang="0">
                    <a:pos x="159" y="44"/>
                  </a:cxn>
                  <a:cxn ang="0">
                    <a:pos x="171" y="41"/>
                  </a:cxn>
                  <a:cxn ang="0">
                    <a:pos x="151" y="0"/>
                  </a:cxn>
                  <a:cxn ang="0">
                    <a:pos x="135" y="4"/>
                  </a:cxn>
                </a:cxnLst>
                <a:rect l="0" t="0" r="r" b="b"/>
                <a:pathLst>
                  <a:path w="171" h="104">
                    <a:moveTo>
                      <a:pt x="135" y="4"/>
                    </a:moveTo>
                    <a:lnTo>
                      <a:pt x="135" y="4"/>
                    </a:lnTo>
                    <a:lnTo>
                      <a:pt x="127" y="6"/>
                    </a:lnTo>
                    <a:lnTo>
                      <a:pt x="117" y="6"/>
                    </a:lnTo>
                    <a:lnTo>
                      <a:pt x="108" y="6"/>
                    </a:lnTo>
                    <a:lnTo>
                      <a:pt x="104" y="7"/>
                    </a:lnTo>
                    <a:lnTo>
                      <a:pt x="104" y="7"/>
                    </a:lnTo>
                    <a:lnTo>
                      <a:pt x="91" y="15"/>
                    </a:lnTo>
                    <a:lnTo>
                      <a:pt x="84" y="23"/>
                    </a:lnTo>
                    <a:lnTo>
                      <a:pt x="78" y="28"/>
                    </a:lnTo>
                    <a:lnTo>
                      <a:pt x="78" y="28"/>
                    </a:lnTo>
                    <a:lnTo>
                      <a:pt x="77" y="33"/>
                    </a:lnTo>
                    <a:lnTo>
                      <a:pt x="74" y="34"/>
                    </a:lnTo>
                    <a:lnTo>
                      <a:pt x="71" y="34"/>
                    </a:lnTo>
                    <a:lnTo>
                      <a:pt x="68" y="33"/>
                    </a:lnTo>
                    <a:lnTo>
                      <a:pt x="68" y="33"/>
                    </a:lnTo>
                    <a:lnTo>
                      <a:pt x="63" y="31"/>
                    </a:lnTo>
                    <a:lnTo>
                      <a:pt x="56" y="30"/>
                    </a:lnTo>
                    <a:lnTo>
                      <a:pt x="49" y="30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37" y="27"/>
                    </a:lnTo>
                    <a:lnTo>
                      <a:pt x="26" y="27"/>
                    </a:lnTo>
                    <a:lnTo>
                      <a:pt x="26" y="27"/>
                    </a:lnTo>
                    <a:lnTo>
                      <a:pt x="21" y="27"/>
                    </a:lnTo>
                    <a:lnTo>
                      <a:pt x="19" y="25"/>
                    </a:lnTo>
                    <a:lnTo>
                      <a:pt x="16" y="25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10" y="27"/>
                    </a:lnTo>
                    <a:lnTo>
                      <a:pt x="7" y="31"/>
                    </a:lnTo>
                    <a:lnTo>
                      <a:pt x="7" y="31"/>
                    </a:lnTo>
                    <a:lnTo>
                      <a:pt x="7" y="33"/>
                    </a:lnTo>
                    <a:lnTo>
                      <a:pt x="7" y="35"/>
                    </a:lnTo>
                    <a:lnTo>
                      <a:pt x="7" y="40"/>
                    </a:lnTo>
                    <a:lnTo>
                      <a:pt x="7" y="40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2" y="50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0" y="58"/>
                    </a:lnTo>
                    <a:lnTo>
                      <a:pt x="2" y="65"/>
                    </a:lnTo>
                    <a:lnTo>
                      <a:pt x="3" y="72"/>
                    </a:lnTo>
                    <a:lnTo>
                      <a:pt x="6" y="80"/>
                    </a:lnTo>
                    <a:lnTo>
                      <a:pt x="6" y="80"/>
                    </a:lnTo>
                    <a:lnTo>
                      <a:pt x="9" y="85"/>
                    </a:lnTo>
                    <a:lnTo>
                      <a:pt x="10" y="92"/>
                    </a:lnTo>
                    <a:lnTo>
                      <a:pt x="10" y="99"/>
                    </a:lnTo>
                    <a:lnTo>
                      <a:pt x="12" y="102"/>
                    </a:lnTo>
                    <a:lnTo>
                      <a:pt x="12" y="102"/>
                    </a:lnTo>
                    <a:lnTo>
                      <a:pt x="16" y="104"/>
                    </a:lnTo>
                    <a:lnTo>
                      <a:pt x="24" y="104"/>
                    </a:lnTo>
                    <a:lnTo>
                      <a:pt x="33" y="102"/>
                    </a:lnTo>
                    <a:lnTo>
                      <a:pt x="41" y="99"/>
                    </a:lnTo>
                    <a:lnTo>
                      <a:pt x="41" y="99"/>
                    </a:lnTo>
                    <a:lnTo>
                      <a:pt x="47" y="97"/>
                    </a:lnTo>
                    <a:lnTo>
                      <a:pt x="51" y="94"/>
                    </a:lnTo>
                    <a:lnTo>
                      <a:pt x="61" y="92"/>
                    </a:lnTo>
                    <a:lnTo>
                      <a:pt x="61" y="92"/>
                    </a:lnTo>
                    <a:lnTo>
                      <a:pt x="67" y="92"/>
                    </a:lnTo>
                    <a:lnTo>
                      <a:pt x="71" y="89"/>
                    </a:lnTo>
                    <a:lnTo>
                      <a:pt x="78" y="84"/>
                    </a:lnTo>
                    <a:lnTo>
                      <a:pt x="78" y="84"/>
                    </a:lnTo>
                    <a:lnTo>
                      <a:pt x="81" y="82"/>
                    </a:lnTo>
                    <a:lnTo>
                      <a:pt x="86" y="82"/>
                    </a:lnTo>
                    <a:lnTo>
                      <a:pt x="95" y="82"/>
                    </a:lnTo>
                    <a:lnTo>
                      <a:pt x="95" y="82"/>
                    </a:lnTo>
                    <a:lnTo>
                      <a:pt x="98" y="81"/>
                    </a:lnTo>
                    <a:lnTo>
                      <a:pt x="101" y="80"/>
                    </a:lnTo>
                    <a:lnTo>
                      <a:pt x="107" y="74"/>
                    </a:lnTo>
                    <a:lnTo>
                      <a:pt x="107" y="74"/>
                    </a:lnTo>
                    <a:lnTo>
                      <a:pt x="113" y="70"/>
                    </a:lnTo>
                    <a:lnTo>
                      <a:pt x="120" y="68"/>
                    </a:lnTo>
                    <a:lnTo>
                      <a:pt x="141" y="62"/>
                    </a:lnTo>
                    <a:lnTo>
                      <a:pt x="141" y="62"/>
                    </a:lnTo>
                    <a:lnTo>
                      <a:pt x="150" y="58"/>
                    </a:lnTo>
                    <a:lnTo>
                      <a:pt x="154" y="54"/>
                    </a:lnTo>
                    <a:lnTo>
                      <a:pt x="155" y="50"/>
                    </a:lnTo>
                    <a:lnTo>
                      <a:pt x="157" y="45"/>
                    </a:lnTo>
                    <a:lnTo>
                      <a:pt x="157" y="45"/>
                    </a:lnTo>
                    <a:lnTo>
                      <a:pt x="159" y="44"/>
                    </a:lnTo>
                    <a:lnTo>
                      <a:pt x="162" y="43"/>
                    </a:lnTo>
                    <a:lnTo>
                      <a:pt x="171" y="41"/>
                    </a:lnTo>
                    <a:lnTo>
                      <a:pt x="171" y="41"/>
                    </a:lnTo>
                    <a:lnTo>
                      <a:pt x="151" y="0"/>
                    </a:lnTo>
                    <a:lnTo>
                      <a:pt x="151" y="0"/>
                    </a:lnTo>
                    <a:lnTo>
                      <a:pt x="135" y="4"/>
                    </a:lnTo>
                    <a:lnTo>
                      <a:pt x="135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86" name="Oman">
                <a:extLst>
                  <a:ext uri="{FF2B5EF4-FFF2-40B4-BE49-F238E27FC236}">
                    <a16:creationId xmlns:a16="http://schemas.microsoft.com/office/drawing/2014/main" id="{C7BA7BF3-8CC7-D8A4-6641-EE62BAD1E6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698" y="3698590"/>
                <a:ext cx="189412" cy="213089"/>
              </a:xfrm>
              <a:custGeom>
                <a:avLst/>
                <a:gdLst/>
                <a:ahLst/>
                <a:cxnLst>
                  <a:cxn ang="0">
                    <a:pos x="64" y="16"/>
                  </a:cxn>
                  <a:cxn ang="0">
                    <a:pos x="48" y="42"/>
                  </a:cxn>
                  <a:cxn ang="0">
                    <a:pos x="51" y="42"/>
                  </a:cxn>
                  <a:cxn ang="0">
                    <a:pos x="54" y="43"/>
                  </a:cxn>
                  <a:cxn ang="0">
                    <a:pos x="60" y="50"/>
                  </a:cxn>
                  <a:cxn ang="0">
                    <a:pos x="60" y="53"/>
                  </a:cxn>
                  <a:cxn ang="0">
                    <a:pos x="51" y="82"/>
                  </a:cxn>
                  <a:cxn ang="0">
                    <a:pos x="48" y="87"/>
                  </a:cxn>
                  <a:cxn ang="0">
                    <a:pos x="0" y="103"/>
                  </a:cxn>
                  <a:cxn ang="0">
                    <a:pos x="20" y="144"/>
                  </a:cxn>
                  <a:cxn ang="0">
                    <a:pos x="24" y="141"/>
                  </a:cxn>
                  <a:cxn ang="0">
                    <a:pos x="30" y="140"/>
                  </a:cxn>
                  <a:cxn ang="0">
                    <a:pos x="44" y="138"/>
                  </a:cxn>
                  <a:cxn ang="0">
                    <a:pos x="50" y="137"/>
                  </a:cxn>
                  <a:cxn ang="0">
                    <a:pos x="53" y="136"/>
                  </a:cxn>
                  <a:cxn ang="0">
                    <a:pos x="53" y="128"/>
                  </a:cxn>
                  <a:cxn ang="0">
                    <a:pos x="55" y="124"/>
                  </a:cxn>
                  <a:cxn ang="0">
                    <a:pos x="65" y="123"/>
                  </a:cxn>
                  <a:cxn ang="0">
                    <a:pos x="74" y="121"/>
                  </a:cxn>
                  <a:cxn ang="0">
                    <a:pos x="75" y="120"/>
                  </a:cxn>
                  <a:cxn ang="0">
                    <a:pos x="80" y="110"/>
                  </a:cxn>
                  <a:cxn ang="0">
                    <a:pos x="84" y="107"/>
                  </a:cxn>
                  <a:cxn ang="0">
                    <a:pos x="94" y="104"/>
                  </a:cxn>
                  <a:cxn ang="0">
                    <a:pos x="94" y="101"/>
                  </a:cxn>
                  <a:cxn ang="0">
                    <a:pos x="94" y="90"/>
                  </a:cxn>
                  <a:cxn ang="0">
                    <a:pos x="98" y="82"/>
                  </a:cxn>
                  <a:cxn ang="0">
                    <a:pos x="100" y="80"/>
                  </a:cxn>
                  <a:cxn ang="0">
                    <a:pos x="108" y="77"/>
                  </a:cxn>
                  <a:cxn ang="0">
                    <a:pos x="112" y="72"/>
                  </a:cxn>
                  <a:cxn ang="0">
                    <a:pos x="114" y="69"/>
                  </a:cxn>
                  <a:cxn ang="0">
                    <a:pos x="125" y="53"/>
                  </a:cxn>
                  <a:cxn ang="0">
                    <a:pos x="128" y="49"/>
                  </a:cxn>
                  <a:cxn ang="0">
                    <a:pos x="127" y="45"/>
                  </a:cxn>
                  <a:cxn ang="0">
                    <a:pos x="125" y="45"/>
                  </a:cxn>
                  <a:cxn ang="0">
                    <a:pos x="117" y="36"/>
                  </a:cxn>
                  <a:cxn ang="0">
                    <a:pos x="111" y="27"/>
                  </a:cxn>
                  <a:cxn ang="0">
                    <a:pos x="101" y="25"/>
                  </a:cxn>
                  <a:cxn ang="0">
                    <a:pos x="88" y="20"/>
                  </a:cxn>
                  <a:cxn ang="0">
                    <a:pos x="84" y="17"/>
                  </a:cxn>
                  <a:cxn ang="0">
                    <a:pos x="78" y="10"/>
                  </a:cxn>
                  <a:cxn ang="0">
                    <a:pos x="70" y="3"/>
                  </a:cxn>
                </a:cxnLst>
                <a:rect l="0" t="0" r="r" b="b"/>
                <a:pathLst>
                  <a:path w="128" h="144">
                    <a:moveTo>
                      <a:pt x="64" y="3"/>
                    </a:moveTo>
                    <a:lnTo>
                      <a:pt x="64" y="16"/>
                    </a:lnTo>
                    <a:lnTo>
                      <a:pt x="54" y="29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51" y="42"/>
                    </a:lnTo>
                    <a:lnTo>
                      <a:pt x="51" y="42"/>
                    </a:lnTo>
                    <a:lnTo>
                      <a:pt x="54" y="43"/>
                    </a:lnTo>
                    <a:lnTo>
                      <a:pt x="57" y="46"/>
                    </a:lnTo>
                    <a:lnTo>
                      <a:pt x="60" y="50"/>
                    </a:lnTo>
                    <a:lnTo>
                      <a:pt x="60" y="53"/>
                    </a:lnTo>
                    <a:lnTo>
                      <a:pt x="60" y="53"/>
                    </a:lnTo>
                    <a:lnTo>
                      <a:pt x="55" y="70"/>
                    </a:lnTo>
                    <a:lnTo>
                      <a:pt x="51" y="82"/>
                    </a:lnTo>
                    <a:lnTo>
                      <a:pt x="48" y="87"/>
                    </a:lnTo>
                    <a:lnTo>
                      <a:pt x="48" y="87"/>
                    </a:lnTo>
                    <a:lnTo>
                      <a:pt x="31" y="93"/>
                    </a:lnTo>
                    <a:lnTo>
                      <a:pt x="0" y="103"/>
                    </a:lnTo>
                    <a:lnTo>
                      <a:pt x="0" y="103"/>
                    </a:lnTo>
                    <a:lnTo>
                      <a:pt x="20" y="144"/>
                    </a:lnTo>
                    <a:lnTo>
                      <a:pt x="20" y="144"/>
                    </a:lnTo>
                    <a:lnTo>
                      <a:pt x="24" y="141"/>
                    </a:lnTo>
                    <a:lnTo>
                      <a:pt x="24" y="141"/>
                    </a:lnTo>
                    <a:lnTo>
                      <a:pt x="30" y="140"/>
                    </a:lnTo>
                    <a:lnTo>
                      <a:pt x="37" y="138"/>
                    </a:lnTo>
                    <a:lnTo>
                      <a:pt x="44" y="138"/>
                    </a:lnTo>
                    <a:lnTo>
                      <a:pt x="50" y="137"/>
                    </a:lnTo>
                    <a:lnTo>
                      <a:pt x="50" y="137"/>
                    </a:lnTo>
                    <a:lnTo>
                      <a:pt x="51" y="137"/>
                    </a:lnTo>
                    <a:lnTo>
                      <a:pt x="53" y="136"/>
                    </a:lnTo>
                    <a:lnTo>
                      <a:pt x="53" y="133"/>
                    </a:lnTo>
                    <a:lnTo>
                      <a:pt x="53" y="128"/>
                    </a:lnTo>
                    <a:lnTo>
                      <a:pt x="55" y="124"/>
                    </a:lnTo>
                    <a:lnTo>
                      <a:pt x="55" y="124"/>
                    </a:lnTo>
                    <a:lnTo>
                      <a:pt x="61" y="123"/>
                    </a:lnTo>
                    <a:lnTo>
                      <a:pt x="65" y="123"/>
                    </a:lnTo>
                    <a:lnTo>
                      <a:pt x="70" y="123"/>
                    </a:lnTo>
                    <a:lnTo>
                      <a:pt x="74" y="121"/>
                    </a:lnTo>
                    <a:lnTo>
                      <a:pt x="74" y="121"/>
                    </a:lnTo>
                    <a:lnTo>
                      <a:pt x="75" y="120"/>
                    </a:lnTo>
                    <a:lnTo>
                      <a:pt x="78" y="114"/>
                    </a:lnTo>
                    <a:lnTo>
                      <a:pt x="80" y="110"/>
                    </a:lnTo>
                    <a:lnTo>
                      <a:pt x="84" y="107"/>
                    </a:lnTo>
                    <a:lnTo>
                      <a:pt x="84" y="107"/>
                    </a:lnTo>
                    <a:lnTo>
                      <a:pt x="91" y="106"/>
                    </a:lnTo>
                    <a:lnTo>
                      <a:pt x="94" y="104"/>
                    </a:lnTo>
                    <a:lnTo>
                      <a:pt x="94" y="101"/>
                    </a:lnTo>
                    <a:lnTo>
                      <a:pt x="94" y="101"/>
                    </a:lnTo>
                    <a:lnTo>
                      <a:pt x="94" y="97"/>
                    </a:lnTo>
                    <a:lnTo>
                      <a:pt x="94" y="90"/>
                    </a:lnTo>
                    <a:lnTo>
                      <a:pt x="97" y="83"/>
                    </a:lnTo>
                    <a:lnTo>
                      <a:pt x="98" y="82"/>
                    </a:lnTo>
                    <a:lnTo>
                      <a:pt x="100" y="80"/>
                    </a:lnTo>
                    <a:lnTo>
                      <a:pt x="100" y="80"/>
                    </a:lnTo>
                    <a:lnTo>
                      <a:pt x="104" y="79"/>
                    </a:lnTo>
                    <a:lnTo>
                      <a:pt x="108" y="77"/>
                    </a:lnTo>
                    <a:lnTo>
                      <a:pt x="111" y="74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4" y="69"/>
                    </a:lnTo>
                    <a:lnTo>
                      <a:pt x="118" y="63"/>
                    </a:lnTo>
                    <a:lnTo>
                      <a:pt x="125" y="53"/>
                    </a:lnTo>
                    <a:lnTo>
                      <a:pt x="125" y="53"/>
                    </a:lnTo>
                    <a:lnTo>
                      <a:pt x="128" y="49"/>
                    </a:lnTo>
                    <a:lnTo>
                      <a:pt x="128" y="46"/>
                    </a:lnTo>
                    <a:lnTo>
                      <a:pt x="127" y="45"/>
                    </a:lnTo>
                    <a:lnTo>
                      <a:pt x="125" y="45"/>
                    </a:lnTo>
                    <a:lnTo>
                      <a:pt x="125" y="45"/>
                    </a:lnTo>
                    <a:lnTo>
                      <a:pt x="121" y="42"/>
                    </a:lnTo>
                    <a:lnTo>
                      <a:pt x="117" y="36"/>
                    </a:lnTo>
                    <a:lnTo>
                      <a:pt x="111" y="27"/>
                    </a:lnTo>
                    <a:lnTo>
                      <a:pt x="111" y="27"/>
                    </a:lnTo>
                    <a:lnTo>
                      <a:pt x="108" y="25"/>
                    </a:lnTo>
                    <a:lnTo>
                      <a:pt x="101" y="25"/>
                    </a:lnTo>
                    <a:lnTo>
                      <a:pt x="92" y="22"/>
                    </a:lnTo>
                    <a:lnTo>
                      <a:pt x="88" y="20"/>
                    </a:lnTo>
                    <a:lnTo>
                      <a:pt x="84" y="17"/>
                    </a:lnTo>
                    <a:lnTo>
                      <a:pt x="84" y="17"/>
                    </a:lnTo>
                    <a:lnTo>
                      <a:pt x="81" y="13"/>
                    </a:lnTo>
                    <a:lnTo>
                      <a:pt x="78" y="10"/>
                    </a:lnTo>
                    <a:lnTo>
                      <a:pt x="75" y="0"/>
                    </a:lnTo>
                    <a:lnTo>
                      <a:pt x="70" y="3"/>
                    </a:lnTo>
                    <a:lnTo>
                      <a:pt x="64" y="3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87" name="Qatar">
                <a:extLst>
                  <a:ext uri="{FF2B5EF4-FFF2-40B4-BE49-F238E27FC236}">
                    <a16:creationId xmlns:a16="http://schemas.microsoft.com/office/drawing/2014/main" id="{6110E30F-ADF6-AF95-8742-BBE1FFE6DA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4623" y="3676392"/>
                <a:ext cx="25157" cy="36995"/>
              </a:xfrm>
              <a:custGeom>
                <a:avLst/>
                <a:gdLst/>
                <a:ahLst/>
                <a:cxnLst>
                  <a:cxn ang="0">
                    <a:pos x="14" y="25"/>
                  </a:cxn>
                  <a:cxn ang="0">
                    <a:pos x="14" y="25"/>
                  </a:cxn>
                  <a:cxn ang="0">
                    <a:pos x="14" y="23"/>
                  </a:cxn>
                  <a:cxn ang="0">
                    <a:pos x="14" y="20"/>
                  </a:cxn>
                  <a:cxn ang="0">
                    <a:pos x="14" y="20"/>
                  </a:cxn>
                  <a:cxn ang="0">
                    <a:pos x="15" y="15"/>
                  </a:cxn>
                  <a:cxn ang="0">
                    <a:pos x="17" y="8"/>
                  </a:cxn>
                  <a:cxn ang="0">
                    <a:pos x="15" y="3"/>
                  </a:cxn>
                  <a:cxn ang="0">
                    <a:pos x="14" y="1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7" y="1"/>
                  </a:cxn>
                  <a:cxn ang="0">
                    <a:pos x="4" y="5"/>
                  </a:cxn>
                  <a:cxn ang="0">
                    <a:pos x="2" y="11"/>
                  </a:cxn>
                  <a:cxn ang="0">
                    <a:pos x="1" y="15"/>
                  </a:cxn>
                  <a:cxn ang="0">
                    <a:pos x="1" y="15"/>
                  </a:cxn>
                  <a:cxn ang="0">
                    <a:pos x="1" y="15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2" y="21"/>
                  </a:cxn>
                  <a:cxn ang="0">
                    <a:pos x="7" y="24"/>
                  </a:cxn>
                  <a:cxn ang="0">
                    <a:pos x="10" y="25"/>
                  </a:cxn>
                  <a:cxn ang="0">
                    <a:pos x="14" y="25"/>
                  </a:cxn>
                  <a:cxn ang="0">
                    <a:pos x="14" y="25"/>
                  </a:cxn>
                </a:cxnLst>
                <a:rect l="0" t="0" r="r" b="b"/>
                <a:pathLst>
                  <a:path w="17" h="25">
                    <a:moveTo>
                      <a:pt x="14" y="25"/>
                    </a:moveTo>
                    <a:lnTo>
                      <a:pt x="14" y="25"/>
                    </a:lnTo>
                    <a:lnTo>
                      <a:pt x="14" y="23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5" y="15"/>
                    </a:lnTo>
                    <a:lnTo>
                      <a:pt x="17" y="8"/>
                    </a:lnTo>
                    <a:lnTo>
                      <a:pt x="15" y="3"/>
                    </a:lnTo>
                    <a:lnTo>
                      <a:pt x="14" y="1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7" y="1"/>
                    </a:lnTo>
                    <a:lnTo>
                      <a:pt x="4" y="5"/>
                    </a:lnTo>
                    <a:lnTo>
                      <a:pt x="2" y="11"/>
                    </a:lnTo>
                    <a:lnTo>
                      <a:pt x="1" y="15"/>
                    </a:lnTo>
                    <a:lnTo>
                      <a:pt x="1" y="15"/>
                    </a:lnTo>
                    <a:lnTo>
                      <a:pt x="1" y="1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7" y="24"/>
                    </a:lnTo>
                    <a:lnTo>
                      <a:pt x="10" y="25"/>
                    </a:lnTo>
                    <a:lnTo>
                      <a:pt x="14" y="25"/>
                    </a:lnTo>
                    <a:lnTo>
                      <a:pt x="14" y="25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88" name="UAE">
                <a:extLst>
                  <a:ext uri="{FF2B5EF4-FFF2-40B4-BE49-F238E27FC236}">
                    <a16:creationId xmlns:a16="http://schemas.microsoft.com/office/drawing/2014/main" id="{E62DC23D-508C-C68E-D07B-C9C0AB2EAE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4219" y="3670473"/>
                <a:ext cx="112464" cy="90267"/>
              </a:xfrm>
              <a:custGeom>
                <a:avLst/>
                <a:gdLst/>
                <a:ahLst/>
                <a:cxnLst>
                  <a:cxn ang="0">
                    <a:pos x="12" y="56"/>
                  </a:cxn>
                  <a:cxn ang="0">
                    <a:pos x="12" y="56"/>
                  </a:cxn>
                  <a:cxn ang="0">
                    <a:pos x="28" y="59"/>
                  </a:cxn>
                  <a:cxn ang="0">
                    <a:pos x="49" y="61"/>
                  </a:cxn>
                  <a:cxn ang="0">
                    <a:pos x="55" y="48"/>
                  </a:cxn>
                  <a:cxn ang="0">
                    <a:pos x="65" y="35"/>
                  </a:cxn>
                  <a:cxn ang="0">
                    <a:pos x="65" y="22"/>
                  </a:cxn>
                  <a:cxn ang="0">
                    <a:pos x="71" y="22"/>
                  </a:cxn>
                  <a:cxn ang="0">
                    <a:pos x="76" y="19"/>
                  </a:cxn>
                  <a:cxn ang="0">
                    <a:pos x="76" y="19"/>
                  </a:cxn>
                  <a:cxn ang="0">
                    <a:pos x="73" y="5"/>
                  </a:cxn>
                  <a:cxn ang="0">
                    <a:pos x="73" y="1"/>
                  </a:cxn>
                  <a:cxn ang="0">
                    <a:pos x="72" y="0"/>
                  </a:cxn>
                  <a:cxn ang="0">
                    <a:pos x="72" y="0"/>
                  </a:cxn>
                  <a:cxn ang="0">
                    <a:pos x="69" y="1"/>
                  </a:cxn>
                  <a:cxn ang="0">
                    <a:pos x="64" y="7"/>
                  </a:cxn>
                  <a:cxn ang="0">
                    <a:pos x="58" y="14"/>
                  </a:cxn>
                  <a:cxn ang="0">
                    <a:pos x="54" y="21"/>
                  </a:cxn>
                  <a:cxn ang="0">
                    <a:pos x="54" y="21"/>
                  </a:cxn>
                  <a:cxn ang="0">
                    <a:pos x="48" y="27"/>
                  </a:cxn>
                  <a:cxn ang="0">
                    <a:pos x="41" y="32"/>
                  </a:cxn>
                  <a:cxn ang="0">
                    <a:pos x="32" y="35"/>
                  </a:cxn>
                  <a:cxn ang="0">
                    <a:pos x="22" y="35"/>
                  </a:cxn>
                  <a:cxn ang="0">
                    <a:pos x="22" y="35"/>
                  </a:cxn>
                  <a:cxn ang="0">
                    <a:pos x="15" y="35"/>
                  </a:cxn>
                  <a:cxn ang="0">
                    <a:pos x="9" y="36"/>
                  </a:cxn>
                  <a:cxn ang="0">
                    <a:pos x="4" y="39"/>
                  </a:cxn>
                  <a:cxn ang="0">
                    <a:pos x="4" y="39"/>
                  </a:cxn>
                  <a:cxn ang="0">
                    <a:pos x="2" y="41"/>
                  </a:cxn>
                  <a:cxn ang="0">
                    <a:pos x="0" y="39"/>
                  </a:cxn>
                  <a:cxn ang="0">
                    <a:pos x="0" y="39"/>
                  </a:cxn>
                  <a:cxn ang="0">
                    <a:pos x="2" y="45"/>
                  </a:cxn>
                  <a:cxn ang="0">
                    <a:pos x="7" y="51"/>
                  </a:cxn>
                  <a:cxn ang="0">
                    <a:pos x="12" y="56"/>
                  </a:cxn>
                  <a:cxn ang="0">
                    <a:pos x="12" y="56"/>
                  </a:cxn>
                </a:cxnLst>
                <a:rect l="0" t="0" r="r" b="b"/>
                <a:pathLst>
                  <a:path w="76" h="61">
                    <a:moveTo>
                      <a:pt x="12" y="56"/>
                    </a:moveTo>
                    <a:lnTo>
                      <a:pt x="12" y="56"/>
                    </a:lnTo>
                    <a:lnTo>
                      <a:pt x="28" y="59"/>
                    </a:lnTo>
                    <a:lnTo>
                      <a:pt x="49" y="61"/>
                    </a:lnTo>
                    <a:lnTo>
                      <a:pt x="55" y="48"/>
                    </a:lnTo>
                    <a:lnTo>
                      <a:pt x="65" y="35"/>
                    </a:lnTo>
                    <a:lnTo>
                      <a:pt x="65" y="22"/>
                    </a:lnTo>
                    <a:lnTo>
                      <a:pt x="71" y="22"/>
                    </a:lnTo>
                    <a:lnTo>
                      <a:pt x="76" y="19"/>
                    </a:lnTo>
                    <a:lnTo>
                      <a:pt x="76" y="19"/>
                    </a:lnTo>
                    <a:lnTo>
                      <a:pt x="73" y="5"/>
                    </a:lnTo>
                    <a:lnTo>
                      <a:pt x="73" y="1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69" y="1"/>
                    </a:lnTo>
                    <a:lnTo>
                      <a:pt x="64" y="7"/>
                    </a:lnTo>
                    <a:lnTo>
                      <a:pt x="58" y="14"/>
                    </a:lnTo>
                    <a:lnTo>
                      <a:pt x="54" y="21"/>
                    </a:lnTo>
                    <a:lnTo>
                      <a:pt x="54" y="21"/>
                    </a:lnTo>
                    <a:lnTo>
                      <a:pt x="48" y="27"/>
                    </a:lnTo>
                    <a:lnTo>
                      <a:pt x="41" y="32"/>
                    </a:lnTo>
                    <a:lnTo>
                      <a:pt x="32" y="35"/>
                    </a:lnTo>
                    <a:lnTo>
                      <a:pt x="22" y="35"/>
                    </a:lnTo>
                    <a:lnTo>
                      <a:pt x="22" y="35"/>
                    </a:lnTo>
                    <a:lnTo>
                      <a:pt x="15" y="35"/>
                    </a:lnTo>
                    <a:lnTo>
                      <a:pt x="9" y="36"/>
                    </a:lnTo>
                    <a:lnTo>
                      <a:pt x="4" y="39"/>
                    </a:lnTo>
                    <a:lnTo>
                      <a:pt x="4" y="39"/>
                    </a:lnTo>
                    <a:lnTo>
                      <a:pt x="2" y="41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2" y="45"/>
                    </a:lnTo>
                    <a:lnTo>
                      <a:pt x="7" y="51"/>
                    </a:lnTo>
                    <a:lnTo>
                      <a:pt x="12" y="56"/>
                    </a:lnTo>
                    <a:lnTo>
                      <a:pt x="12" y="56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89" name="West Bank">
                <a:extLst>
                  <a:ext uri="{FF2B5EF4-FFF2-40B4-BE49-F238E27FC236}">
                    <a16:creationId xmlns:a16="http://schemas.microsoft.com/office/drawing/2014/main" id="{229C8088-C3D7-1BD4-1982-FE1BD3EC5C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1718" y="3503258"/>
                <a:ext cx="11838" cy="31076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3" y="2"/>
                  </a:cxn>
                  <a:cxn ang="0">
                    <a:pos x="1" y="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1" y="16"/>
                  </a:cxn>
                  <a:cxn ang="0">
                    <a:pos x="7" y="21"/>
                  </a:cxn>
                  <a:cxn ang="0">
                    <a:pos x="7" y="21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21">
                    <a:moveTo>
                      <a:pt x="4" y="0"/>
                    </a:moveTo>
                    <a:lnTo>
                      <a:pt x="4" y="0"/>
                    </a:lnTo>
                    <a:lnTo>
                      <a:pt x="3" y="2"/>
                    </a:lnTo>
                    <a:lnTo>
                      <a:pt x="1" y="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16"/>
                    </a:lnTo>
                    <a:lnTo>
                      <a:pt x="7" y="21"/>
                    </a:lnTo>
                    <a:lnTo>
                      <a:pt x="7" y="21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90" name="Israel">
                <a:extLst>
                  <a:ext uri="{FF2B5EF4-FFF2-40B4-BE49-F238E27FC236}">
                    <a16:creationId xmlns:a16="http://schemas.microsoft.com/office/drawing/2014/main" id="{74DFB97C-D326-73DD-C99E-A150650176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2480" y="3482541"/>
                <a:ext cx="34036" cy="99146"/>
              </a:xfrm>
              <a:custGeom>
                <a:avLst/>
                <a:gdLst/>
                <a:ahLst/>
                <a:cxnLst>
                  <a:cxn ang="0">
                    <a:pos x="10" y="65"/>
                  </a:cxn>
                  <a:cxn ang="0">
                    <a:pos x="10" y="65"/>
                  </a:cxn>
                  <a:cxn ang="0">
                    <a:pos x="13" y="67"/>
                  </a:cxn>
                  <a:cxn ang="0">
                    <a:pos x="13" y="67"/>
                  </a:cxn>
                  <a:cxn ang="0">
                    <a:pos x="14" y="53"/>
                  </a:cxn>
                  <a:cxn ang="0">
                    <a:pos x="17" y="44"/>
                  </a:cxn>
                  <a:cxn ang="0">
                    <a:pos x="17" y="44"/>
                  </a:cxn>
                  <a:cxn ang="0">
                    <a:pos x="18" y="40"/>
                  </a:cxn>
                  <a:cxn ang="0">
                    <a:pos x="20" y="35"/>
                  </a:cxn>
                  <a:cxn ang="0">
                    <a:pos x="20" y="35"/>
                  </a:cxn>
                  <a:cxn ang="0">
                    <a:pos x="14" y="30"/>
                  </a:cxn>
                  <a:cxn ang="0">
                    <a:pos x="13" y="26"/>
                  </a:cxn>
                  <a:cxn ang="0">
                    <a:pos x="13" y="26"/>
                  </a:cxn>
                  <a:cxn ang="0">
                    <a:pos x="14" y="20"/>
                  </a:cxn>
                  <a:cxn ang="0">
                    <a:pos x="16" y="16"/>
                  </a:cxn>
                  <a:cxn ang="0">
                    <a:pos x="17" y="14"/>
                  </a:cxn>
                  <a:cxn ang="0">
                    <a:pos x="17" y="14"/>
                  </a:cxn>
                  <a:cxn ang="0">
                    <a:pos x="21" y="14"/>
                  </a:cxn>
                  <a:cxn ang="0">
                    <a:pos x="21" y="14"/>
                  </a:cxn>
                  <a:cxn ang="0">
                    <a:pos x="23" y="3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3" y="7"/>
                  </a:cxn>
                  <a:cxn ang="0">
                    <a:pos x="13" y="7"/>
                  </a:cxn>
                  <a:cxn ang="0">
                    <a:pos x="10" y="14"/>
                  </a:cxn>
                  <a:cxn ang="0">
                    <a:pos x="7" y="23"/>
                  </a:cxn>
                  <a:cxn ang="0">
                    <a:pos x="0" y="35"/>
                  </a:cxn>
                  <a:cxn ang="0">
                    <a:pos x="11" y="64"/>
                  </a:cxn>
                  <a:cxn ang="0">
                    <a:pos x="10" y="65"/>
                  </a:cxn>
                </a:cxnLst>
                <a:rect l="0" t="0" r="r" b="b"/>
                <a:pathLst>
                  <a:path w="23" h="67">
                    <a:moveTo>
                      <a:pt x="10" y="65"/>
                    </a:moveTo>
                    <a:lnTo>
                      <a:pt x="10" y="65"/>
                    </a:lnTo>
                    <a:lnTo>
                      <a:pt x="13" y="67"/>
                    </a:lnTo>
                    <a:lnTo>
                      <a:pt x="13" y="67"/>
                    </a:lnTo>
                    <a:lnTo>
                      <a:pt x="14" y="53"/>
                    </a:lnTo>
                    <a:lnTo>
                      <a:pt x="17" y="44"/>
                    </a:lnTo>
                    <a:lnTo>
                      <a:pt x="17" y="44"/>
                    </a:lnTo>
                    <a:lnTo>
                      <a:pt x="18" y="40"/>
                    </a:lnTo>
                    <a:lnTo>
                      <a:pt x="20" y="35"/>
                    </a:lnTo>
                    <a:lnTo>
                      <a:pt x="20" y="35"/>
                    </a:lnTo>
                    <a:lnTo>
                      <a:pt x="14" y="30"/>
                    </a:lnTo>
                    <a:lnTo>
                      <a:pt x="13" y="26"/>
                    </a:lnTo>
                    <a:lnTo>
                      <a:pt x="13" y="26"/>
                    </a:lnTo>
                    <a:lnTo>
                      <a:pt x="14" y="20"/>
                    </a:lnTo>
                    <a:lnTo>
                      <a:pt x="16" y="16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21" y="14"/>
                    </a:lnTo>
                    <a:lnTo>
                      <a:pt x="21" y="14"/>
                    </a:lnTo>
                    <a:lnTo>
                      <a:pt x="23" y="3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0" y="14"/>
                    </a:lnTo>
                    <a:lnTo>
                      <a:pt x="7" y="23"/>
                    </a:lnTo>
                    <a:lnTo>
                      <a:pt x="0" y="35"/>
                    </a:lnTo>
                    <a:lnTo>
                      <a:pt x="11" y="64"/>
                    </a:lnTo>
                    <a:lnTo>
                      <a:pt x="10" y="65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91" name="Jordan">
                <a:extLst>
                  <a:ext uri="{FF2B5EF4-FFF2-40B4-BE49-F238E27FC236}">
                    <a16:creationId xmlns:a16="http://schemas.microsoft.com/office/drawing/2014/main" id="{52E4985D-4239-E71D-7C02-B6289A97F6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1718" y="3479582"/>
                <a:ext cx="99146" cy="109504"/>
              </a:xfrm>
              <a:custGeom>
                <a:avLst/>
                <a:gdLst/>
                <a:ahLst/>
                <a:cxnLst>
                  <a:cxn ang="0">
                    <a:pos x="62" y="0"/>
                  </a:cxn>
                  <a:cxn ang="0">
                    <a:pos x="62" y="0"/>
                  </a:cxn>
                  <a:cxn ang="0">
                    <a:pos x="41" y="10"/>
                  </a:cxn>
                  <a:cxn ang="0">
                    <a:pos x="41" y="10"/>
                  </a:cxn>
                  <a:cxn ang="0">
                    <a:pos x="37" y="12"/>
                  </a:cxn>
                  <a:cxn ang="0">
                    <a:pos x="33" y="15"/>
                  </a:cxn>
                  <a:cxn ang="0">
                    <a:pos x="27" y="19"/>
                  </a:cxn>
                  <a:cxn ang="0">
                    <a:pos x="11" y="10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8" y="19"/>
                  </a:cxn>
                  <a:cxn ang="0">
                    <a:pos x="8" y="19"/>
                  </a:cxn>
                  <a:cxn ang="0">
                    <a:pos x="7" y="32"/>
                  </a:cxn>
                  <a:cxn ang="0">
                    <a:pos x="5" y="40"/>
                  </a:cxn>
                  <a:cxn ang="0">
                    <a:pos x="4" y="46"/>
                  </a:cxn>
                  <a:cxn ang="0">
                    <a:pos x="4" y="46"/>
                  </a:cxn>
                  <a:cxn ang="0">
                    <a:pos x="1" y="55"/>
                  </a:cxn>
                  <a:cxn ang="0">
                    <a:pos x="0" y="69"/>
                  </a:cxn>
                  <a:cxn ang="0">
                    <a:pos x="0" y="69"/>
                  </a:cxn>
                  <a:cxn ang="0">
                    <a:pos x="7" y="73"/>
                  </a:cxn>
                  <a:cxn ang="0">
                    <a:pos x="14" y="74"/>
                  </a:cxn>
                  <a:cxn ang="0">
                    <a:pos x="14" y="74"/>
                  </a:cxn>
                  <a:cxn ang="0">
                    <a:pos x="18" y="74"/>
                  </a:cxn>
                  <a:cxn ang="0">
                    <a:pos x="23" y="72"/>
                  </a:cxn>
                  <a:cxn ang="0">
                    <a:pos x="25" y="69"/>
                  </a:cxn>
                  <a:cxn ang="0">
                    <a:pos x="27" y="66"/>
                  </a:cxn>
                  <a:cxn ang="0">
                    <a:pos x="27" y="66"/>
                  </a:cxn>
                  <a:cxn ang="0">
                    <a:pos x="27" y="63"/>
                  </a:cxn>
                  <a:cxn ang="0">
                    <a:pos x="30" y="62"/>
                  </a:cxn>
                  <a:cxn ang="0">
                    <a:pos x="37" y="60"/>
                  </a:cxn>
                  <a:cxn ang="0">
                    <a:pos x="37" y="60"/>
                  </a:cxn>
                  <a:cxn ang="0">
                    <a:pos x="40" y="60"/>
                  </a:cxn>
                  <a:cxn ang="0">
                    <a:pos x="41" y="57"/>
                  </a:cxn>
                  <a:cxn ang="0">
                    <a:pos x="44" y="56"/>
                  </a:cxn>
                  <a:cxn ang="0">
                    <a:pos x="45" y="53"/>
                  </a:cxn>
                  <a:cxn ang="0">
                    <a:pos x="45" y="53"/>
                  </a:cxn>
                  <a:cxn ang="0">
                    <a:pos x="47" y="52"/>
                  </a:cxn>
                  <a:cxn ang="0">
                    <a:pos x="45" y="50"/>
                  </a:cxn>
                  <a:cxn ang="0">
                    <a:pos x="42" y="46"/>
                  </a:cxn>
                  <a:cxn ang="0">
                    <a:pos x="38" y="42"/>
                  </a:cxn>
                  <a:cxn ang="0">
                    <a:pos x="34" y="39"/>
                  </a:cxn>
                  <a:cxn ang="0">
                    <a:pos x="34" y="39"/>
                  </a:cxn>
                  <a:cxn ang="0">
                    <a:pos x="33" y="39"/>
                  </a:cxn>
                  <a:cxn ang="0">
                    <a:pos x="33" y="37"/>
                  </a:cxn>
                  <a:cxn ang="0">
                    <a:pos x="35" y="35"/>
                  </a:cxn>
                  <a:cxn ang="0">
                    <a:pos x="41" y="30"/>
                  </a:cxn>
                  <a:cxn ang="0">
                    <a:pos x="50" y="29"/>
                  </a:cxn>
                  <a:cxn ang="0">
                    <a:pos x="50" y="29"/>
                  </a:cxn>
                  <a:cxn ang="0">
                    <a:pos x="57" y="28"/>
                  </a:cxn>
                  <a:cxn ang="0">
                    <a:pos x="60" y="26"/>
                  </a:cxn>
                  <a:cxn ang="0">
                    <a:pos x="62" y="25"/>
                  </a:cxn>
                  <a:cxn ang="0">
                    <a:pos x="67" y="25"/>
                  </a:cxn>
                  <a:cxn ang="0">
                    <a:pos x="67" y="25"/>
                  </a:cxn>
                  <a:cxn ang="0">
                    <a:pos x="67" y="25"/>
                  </a:cxn>
                  <a:cxn ang="0">
                    <a:pos x="67" y="25"/>
                  </a:cxn>
                  <a:cxn ang="0">
                    <a:pos x="64" y="9"/>
                  </a:cxn>
                  <a:cxn ang="0">
                    <a:pos x="64" y="9"/>
                  </a:cxn>
                  <a:cxn ang="0">
                    <a:pos x="62" y="0"/>
                  </a:cxn>
                  <a:cxn ang="0">
                    <a:pos x="62" y="0"/>
                  </a:cxn>
                </a:cxnLst>
                <a:rect l="0" t="0" r="r" b="b"/>
                <a:pathLst>
                  <a:path w="67" h="74">
                    <a:moveTo>
                      <a:pt x="62" y="0"/>
                    </a:moveTo>
                    <a:lnTo>
                      <a:pt x="62" y="0"/>
                    </a:lnTo>
                    <a:lnTo>
                      <a:pt x="41" y="10"/>
                    </a:lnTo>
                    <a:lnTo>
                      <a:pt x="41" y="10"/>
                    </a:lnTo>
                    <a:lnTo>
                      <a:pt x="37" y="12"/>
                    </a:lnTo>
                    <a:lnTo>
                      <a:pt x="33" y="15"/>
                    </a:lnTo>
                    <a:lnTo>
                      <a:pt x="27" y="19"/>
                    </a:lnTo>
                    <a:lnTo>
                      <a:pt x="11" y="10"/>
                    </a:lnTo>
                    <a:lnTo>
                      <a:pt x="10" y="5"/>
                    </a:lnTo>
                    <a:lnTo>
                      <a:pt x="10" y="5"/>
                    </a:lnTo>
                    <a:lnTo>
                      <a:pt x="10" y="5"/>
                    </a:lnTo>
                    <a:lnTo>
                      <a:pt x="8" y="19"/>
                    </a:lnTo>
                    <a:lnTo>
                      <a:pt x="8" y="19"/>
                    </a:lnTo>
                    <a:lnTo>
                      <a:pt x="7" y="32"/>
                    </a:lnTo>
                    <a:lnTo>
                      <a:pt x="5" y="4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1" y="55"/>
                    </a:lnTo>
                    <a:lnTo>
                      <a:pt x="0" y="69"/>
                    </a:lnTo>
                    <a:lnTo>
                      <a:pt x="0" y="69"/>
                    </a:lnTo>
                    <a:lnTo>
                      <a:pt x="7" y="73"/>
                    </a:lnTo>
                    <a:lnTo>
                      <a:pt x="14" y="74"/>
                    </a:lnTo>
                    <a:lnTo>
                      <a:pt x="14" y="74"/>
                    </a:lnTo>
                    <a:lnTo>
                      <a:pt x="18" y="74"/>
                    </a:lnTo>
                    <a:lnTo>
                      <a:pt x="23" y="72"/>
                    </a:lnTo>
                    <a:lnTo>
                      <a:pt x="25" y="69"/>
                    </a:lnTo>
                    <a:lnTo>
                      <a:pt x="27" y="66"/>
                    </a:lnTo>
                    <a:lnTo>
                      <a:pt x="27" y="66"/>
                    </a:lnTo>
                    <a:lnTo>
                      <a:pt x="27" y="63"/>
                    </a:lnTo>
                    <a:lnTo>
                      <a:pt x="30" y="62"/>
                    </a:lnTo>
                    <a:lnTo>
                      <a:pt x="37" y="60"/>
                    </a:lnTo>
                    <a:lnTo>
                      <a:pt x="37" y="60"/>
                    </a:lnTo>
                    <a:lnTo>
                      <a:pt x="40" y="60"/>
                    </a:lnTo>
                    <a:lnTo>
                      <a:pt x="41" y="57"/>
                    </a:lnTo>
                    <a:lnTo>
                      <a:pt x="44" y="56"/>
                    </a:lnTo>
                    <a:lnTo>
                      <a:pt x="45" y="53"/>
                    </a:lnTo>
                    <a:lnTo>
                      <a:pt x="45" y="53"/>
                    </a:lnTo>
                    <a:lnTo>
                      <a:pt x="47" y="52"/>
                    </a:lnTo>
                    <a:lnTo>
                      <a:pt x="45" y="50"/>
                    </a:lnTo>
                    <a:lnTo>
                      <a:pt x="42" y="46"/>
                    </a:lnTo>
                    <a:lnTo>
                      <a:pt x="38" y="42"/>
                    </a:lnTo>
                    <a:lnTo>
                      <a:pt x="34" y="39"/>
                    </a:lnTo>
                    <a:lnTo>
                      <a:pt x="34" y="39"/>
                    </a:lnTo>
                    <a:lnTo>
                      <a:pt x="33" y="39"/>
                    </a:lnTo>
                    <a:lnTo>
                      <a:pt x="33" y="37"/>
                    </a:lnTo>
                    <a:lnTo>
                      <a:pt x="35" y="35"/>
                    </a:lnTo>
                    <a:lnTo>
                      <a:pt x="41" y="30"/>
                    </a:lnTo>
                    <a:lnTo>
                      <a:pt x="50" y="29"/>
                    </a:lnTo>
                    <a:lnTo>
                      <a:pt x="50" y="29"/>
                    </a:lnTo>
                    <a:lnTo>
                      <a:pt x="57" y="28"/>
                    </a:lnTo>
                    <a:lnTo>
                      <a:pt x="60" y="26"/>
                    </a:lnTo>
                    <a:lnTo>
                      <a:pt x="62" y="25"/>
                    </a:lnTo>
                    <a:lnTo>
                      <a:pt x="67" y="25"/>
                    </a:lnTo>
                    <a:lnTo>
                      <a:pt x="67" y="25"/>
                    </a:lnTo>
                    <a:lnTo>
                      <a:pt x="67" y="25"/>
                    </a:lnTo>
                    <a:lnTo>
                      <a:pt x="67" y="25"/>
                    </a:lnTo>
                    <a:lnTo>
                      <a:pt x="64" y="9"/>
                    </a:lnTo>
                    <a:lnTo>
                      <a:pt x="64" y="9"/>
                    </a:lnTo>
                    <a:lnTo>
                      <a:pt x="62" y="0"/>
                    </a:lnTo>
                    <a:lnTo>
                      <a:pt x="6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92" name="Lebanon">
                <a:extLst>
                  <a:ext uri="{FF2B5EF4-FFF2-40B4-BE49-F238E27FC236}">
                    <a16:creationId xmlns:a16="http://schemas.microsoft.com/office/drawing/2014/main" id="{4C1495E6-5FED-5E37-294E-F334BE7C96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3197" y="3442586"/>
                <a:ext cx="34036" cy="44394"/>
              </a:xfrm>
              <a:custGeom>
                <a:avLst/>
                <a:gdLst/>
                <a:ahLst/>
                <a:cxnLst>
                  <a:cxn ang="0">
                    <a:pos x="20" y="13"/>
                  </a:cxn>
                  <a:cxn ang="0">
                    <a:pos x="20" y="13"/>
                  </a:cxn>
                  <a:cxn ang="0">
                    <a:pos x="23" y="10"/>
                  </a:cxn>
                  <a:cxn ang="0">
                    <a:pos x="23" y="6"/>
                  </a:cxn>
                  <a:cxn ang="0">
                    <a:pos x="22" y="4"/>
                  </a:cxn>
                  <a:cxn ang="0">
                    <a:pos x="20" y="1"/>
                  </a:cxn>
                  <a:cxn ang="0">
                    <a:pos x="17" y="1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13" y="3"/>
                  </a:cxn>
                  <a:cxn ang="0">
                    <a:pos x="13" y="3"/>
                  </a:cxn>
                  <a:cxn ang="0">
                    <a:pos x="12" y="7"/>
                  </a:cxn>
                  <a:cxn ang="0">
                    <a:pos x="9" y="13"/>
                  </a:cxn>
                  <a:cxn ang="0">
                    <a:pos x="0" y="27"/>
                  </a:cxn>
                  <a:cxn ang="0">
                    <a:pos x="9" y="30"/>
                  </a:cxn>
                  <a:cxn ang="0">
                    <a:pos x="9" y="30"/>
                  </a:cxn>
                  <a:cxn ang="0">
                    <a:pos x="16" y="20"/>
                  </a:cxn>
                  <a:cxn ang="0">
                    <a:pos x="20" y="13"/>
                  </a:cxn>
                  <a:cxn ang="0">
                    <a:pos x="20" y="13"/>
                  </a:cxn>
                </a:cxnLst>
                <a:rect l="0" t="0" r="r" b="b"/>
                <a:pathLst>
                  <a:path w="23" h="30">
                    <a:moveTo>
                      <a:pt x="20" y="13"/>
                    </a:moveTo>
                    <a:lnTo>
                      <a:pt x="20" y="13"/>
                    </a:lnTo>
                    <a:lnTo>
                      <a:pt x="23" y="10"/>
                    </a:lnTo>
                    <a:lnTo>
                      <a:pt x="23" y="6"/>
                    </a:lnTo>
                    <a:lnTo>
                      <a:pt x="22" y="4"/>
                    </a:lnTo>
                    <a:lnTo>
                      <a:pt x="20" y="1"/>
                    </a:lnTo>
                    <a:lnTo>
                      <a:pt x="17" y="1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3"/>
                    </a:lnTo>
                    <a:lnTo>
                      <a:pt x="13" y="3"/>
                    </a:lnTo>
                    <a:lnTo>
                      <a:pt x="12" y="7"/>
                    </a:lnTo>
                    <a:lnTo>
                      <a:pt x="9" y="13"/>
                    </a:lnTo>
                    <a:lnTo>
                      <a:pt x="0" y="27"/>
                    </a:lnTo>
                    <a:lnTo>
                      <a:pt x="9" y="30"/>
                    </a:lnTo>
                    <a:lnTo>
                      <a:pt x="9" y="30"/>
                    </a:lnTo>
                    <a:lnTo>
                      <a:pt x="16" y="20"/>
                    </a:lnTo>
                    <a:lnTo>
                      <a:pt x="20" y="13"/>
                    </a:lnTo>
                    <a:lnTo>
                      <a:pt x="20" y="13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93" name="Syria">
                <a:extLst>
                  <a:ext uri="{FF2B5EF4-FFF2-40B4-BE49-F238E27FC236}">
                    <a16:creationId xmlns:a16="http://schemas.microsoft.com/office/drawing/2014/main" id="{7ADF3CD3-8049-1D67-6F6E-297D27A4A9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6515" y="3377476"/>
                <a:ext cx="161297" cy="130221"/>
              </a:xfrm>
              <a:custGeom>
                <a:avLst/>
                <a:gdLst/>
                <a:ahLst/>
                <a:cxnLst>
                  <a:cxn ang="0">
                    <a:pos x="11" y="57"/>
                  </a:cxn>
                  <a:cxn ang="0">
                    <a:pos x="0" y="74"/>
                  </a:cxn>
                  <a:cxn ang="0">
                    <a:pos x="1" y="79"/>
                  </a:cxn>
                  <a:cxn ang="0">
                    <a:pos x="17" y="88"/>
                  </a:cxn>
                  <a:cxn ang="0">
                    <a:pos x="27" y="81"/>
                  </a:cxn>
                  <a:cxn ang="0">
                    <a:pos x="31" y="79"/>
                  </a:cxn>
                  <a:cxn ang="0">
                    <a:pos x="61" y="65"/>
                  </a:cxn>
                  <a:cxn ang="0">
                    <a:pos x="87" y="51"/>
                  </a:cxn>
                  <a:cxn ang="0">
                    <a:pos x="89" y="44"/>
                  </a:cxn>
                  <a:cxn ang="0">
                    <a:pos x="91" y="42"/>
                  </a:cxn>
                  <a:cxn ang="0">
                    <a:pos x="91" y="32"/>
                  </a:cxn>
                  <a:cxn ang="0">
                    <a:pos x="91" y="30"/>
                  </a:cxn>
                  <a:cxn ang="0">
                    <a:pos x="91" y="24"/>
                  </a:cxn>
                  <a:cxn ang="0">
                    <a:pos x="91" y="15"/>
                  </a:cxn>
                  <a:cxn ang="0">
                    <a:pos x="92" y="13"/>
                  </a:cxn>
                  <a:cxn ang="0">
                    <a:pos x="101" y="8"/>
                  </a:cxn>
                  <a:cxn ang="0">
                    <a:pos x="104" y="0"/>
                  </a:cxn>
                  <a:cxn ang="0">
                    <a:pos x="98" y="1"/>
                  </a:cxn>
                  <a:cxn ang="0">
                    <a:pos x="85" y="3"/>
                  </a:cxn>
                  <a:cxn ang="0">
                    <a:pos x="79" y="3"/>
                  </a:cxn>
                  <a:cxn ang="0">
                    <a:pos x="71" y="7"/>
                  </a:cxn>
                  <a:cxn ang="0">
                    <a:pos x="64" y="8"/>
                  </a:cxn>
                  <a:cxn ang="0">
                    <a:pos x="48" y="10"/>
                  </a:cxn>
                  <a:cxn ang="0">
                    <a:pos x="45" y="8"/>
                  </a:cxn>
                  <a:cxn ang="0">
                    <a:pos x="42" y="7"/>
                  </a:cxn>
                  <a:cxn ang="0">
                    <a:pos x="35" y="10"/>
                  </a:cxn>
                  <a:cxn ang="0">
                    <a:pos x="27" y="11"/>
                  </a:cxn>
                  <a:cxn ang="0">
                    <a:pos x="21" y="10"/>
                  </a:cxn>
                  <a:cxn ang="0">
                    <a:pos x="18" y="8"/>
                  </a:cxn>
                  <a:cxn ang="0">
                    <a:pos x="15" y="14"/>
                  </a:cxn>
                  <a:cxn ang="0">
                    <a:pos x="14" y="17"/>
                  </a:cxn>
                  <a:cxn ang="0">
                    <a:pos x="11" y="23"/>
                  </a:cxn>
                  <a:cxn ang="0">
                    <a:pos x="5" y="24"/>
                  </a:cxn>
                  <a:cxn ang="0">
                    <a:pos x="4" y="31"/>
                  </a:cxn>
                  <a:cxn ang="0">
                    <a:pos x="5" y="32"/>
                  </a:cxn>
                  <a:cxn ang="0">
                    <a:pos x="5" y="38"/>
                  </a:cxn>
                  <a:cxn ang="0">
                    <a:pos x="4" y="44"/>
                  </a:cxn>
                  <a:cxn ang="0">
                    <a:pos x="11" y="45"/>
                  </a:cxn>
                  <a:cxn ang="0">
                    <a:pos x="14" y="50"/>
                  </a:cxn>
                  <a:cxn ang="0">
                    <a:pos x="11" y="57"/>
                  </a:cxn>
                </a:cxnLst>
                <a:rect l="0" t="0" r="r" b="b"/>
                <a:pathLst>
                  <a:path w="109" h="88">
                    <a:moveTo>
                      <a:pt x="11" y="57"/>
                    </a:moveTo>
                    <a:lnTo>
                      <a:pt x="11" y="57"/>
                    </a:lnTo>
                    <a:lnTo>
                      <a:pt x="7" y="6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1" y="79"/>
                    </a:lnTo>
                    <a:lnTo>
                      <a:pt x="17" y="88"/>
                    </a:lnTo>
                    <a:lnTo>
                      <a:pt x="17" y="88"/>
                    </a:lnTo>
                    <a:lnTo>
                      <a:pt x="23" y="84"/>
                    </a:lnTo>
                    <a:lnTo>
                      <a:pt x="27" y="81"/>
                    </a:lnTo>
                    <a:lnTo>
                      <a:pt x="31" y="79"/>
                    </a:lnTo>
                    <a:lnTo>
                      <a:pt x="31" y="79"/>
                    </a:lnTo>
                    <a:lnTo>
                      <a:pt x="42" y="75"/>
                    </a:lnTo>
                    <a:lnTo>
                      <a:pt x="61" y="65"/>
                    </a:lnTo>
                    <a:lnTo>
                      <a:pt x="87" y="51"/>
                    </a:lnTo>
                    <a:lnTo>
                      <a:pt x="87" y="51"/>
                    </a:lnTo>
                    <a:lnTo>
                      <a:pt x="88" y="48"/>
                    </a:lnTo>
                    <a:lnTo>
                      <a:pt x="89" y="44"/>
                    </a:lnTo>
                    <a:lnTo>
                      <a:pt x="91" y="42"/>
                    </a:lnTo>
                    <a:lnTo>
                      <a:pt x="91" y="42"/>
                    </a:lnTo>
                    <a:lnTo>
                      <a:pt x="89" y="35"/>
                    </a:lnTo>
                    <a:lnTo>
                      <a:pt x="91" y="32"/>
                    </a:lnTo>
                    <a:lnTo>
                      <a:pt x="91" y="30"/>
                    </a:lnTo>
                    <a:lnTo>
                      <a:pt x="91" y="30"/>
                    </a:lnTo>
                    <a:lnTo>
                      <a:pt x="92" y="27"/>
                    </a:lnTo>
                    <a:lnTo>
                      <a:pt x="91" y="24"/>
                    </a:lnTo>
                    <a:lnTo>
                      <a:pt x="89" y="20"/>
                    </a:lnTo>
                    <a:lnTo>
                      <a:pt x="91" y="15"/>
                    </a:lnTo>
                    <a:lnTo>
                      <a:pt x="91" y="15"/>
                    </a:lnTo>
                    <a:lnTo>
                      <a:pt x="92" y="13"/>
                    </a:lnTo>
                    <a:lnTo>
                      <a:pt x="96" y="10"/>
                    </a:lnTo>
                    <a:lnTo>
                      <a:pt x="101" y="8"/>
                    </a:lnTo>
                    <a:lnTo>
                      <a:pt x="109" y="1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98" y="1"/>
                    </a:lnTo>
                    <a:lnTo>
                      <a:pt x="92" y="1"/>
                    </a:lnTo>
                    <a:lnTo>
                      <a:pt x="85" y="3"/>
                    </a:lnTo>
                    <a:lnTo>
                      <a:pt x="85" y="3"/>
                    </a:lnTo>
                    <a:lnTo>
                      <a:pt x="79" y="3"/>
                    </a:lnTo>
                    <a:lnTo>
                      <a:pt x="75" y="5"/>
                    </a:lnTo>
                    <a:lnTo>
                      <a:pt x="71" y="7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52" y="10"/>
                    </a:lnTo>
                    <a:lnTo>
                      <a:pt x="48" y="10"/>
                    </a:lnTo>
                    <a:lnTo>
                      <a:pt x="45" y="8"/>
                    </a:lnTo>
                    <a:lnTo>
                      <a:pt x="45" y="8"/>
                    </a:lnTo>
                    <a:lnTo>
                      <a:pt x="44" y="7"/>
                    </a:lnTo>
                    <a:lnTo>
                      <a:pt x="42" y="7"/>
                    </a:lnTo>
                    <a:lnTo>
                      <a:pt x="35" y="10"/>
                    </a:lnTo>
                    <a:lnTo>
                      <a:pt x="35" y="10"/>
                    </a:lnTo>
                    <a:lnTo>
                      <a:pt x="31" y="11"/>
                    </a:lnTo>
                    <a:lnTo>
                      <a:pt x="27" y="11"/>
                    </a:lnTo>
                    <a:lnTo>
                      <a:pt x="24" y="11"/>
                    </a:lnTo>
                    <a:lnTo>
                      <a:pt x="21" y="10"/>
                    </a:lnTo>
                    <a:lnTo>
                      <a:pt x="21" y="10"/>
                    </a:lnTo>
                    <a:lnTo>
                      <a:pt x="18" y="8"/>
                    </a:lnTo>
                    <a:lnTo>
                      <a:pt x="17" y="10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14" y="17"/>
                    </a:lnTo>
                    <a:lnTo>
                      <a:pt x="14" y="20"/>
                    </a:lnTo>
                    <a:lnTo>
                      <a:pt x="11" y="23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4" y="28"/>
                    </a:lnTo>
                    <a:lnTo>
                      <a:pt x="4" y="31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7" y="35"/>
                    </a:lnTo>
                    <a:lnTo>
                      <a:pt x="5" y="3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5"/>
                    </a:lnTo>
                    <a:lnTo>
                      <a:pt x="11" y="45"/>
                    </a:lnTo>
                    <a:lnTo>
                      <a:pt x="13" y="48"/>
                    </a:lnTo>
                    <a:lnTo>
                      <a:pt x="14" y="50"/>
                    </a:lnTo>
                    <a:lnTo>
                      <a:pt x="14" y="54"/>
                    </a:lnTo>
                    <a:lnTo>
                      <a:pt x="11" y="57"/>
                    </a:lnTo>
                    <a:lnTo>
                      <a:pt x="11" y="57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</p:grpSp>
        <p:grpSp>
          <p:nvGrpSpPr>
            <p:cNvPr id="192" name="Carribean">
              <a:extLst>
                <a:ext uri="{FF2B5EF4-FFF2-40B4-BE49-F238E27FC236}">
                  <a16:creationId xmlns:a16="http://schemas.microsoft.com/office/drawing/2014/main" id="{529C9A5D-D048-31AD-DB43-FC402812908E}"/>
                </a:ext>
              </a:extLst>
            </p:cNvPr>
            <p:cNvGrpSpPr/>
            <p:nvPr/>
          </p:nvGrpSpPr>
          <p:grpSpPr>
            <a:xfrm>
              <a:off x="3823052" y="4160851"/>
              <a:ext cx="455774" cy="186453"/>
              <a:chOff x="2299052" y="3695629"/>
              <a:chExt cx="455774" cy="186453"/>
            </a:xfrm>
            <a:solidFill>
              <a:schemeClr val="bg1">
                <a:lumMod val="75000"/>
              </a:schemeClr>
            </a:solidFill>
          </p:grpSpPr>
          <p:sp>
            <p:nvSpPr>
              <p:cNvPr id="273" name="Bahamas">
                <a:extLst>
                  <a:ext uri="{FF2B5EF4-FFF2-40B4-BE49-F238E27FC236}">
                    <a16:creationId xmlns:a16="http://schemas.microsoft.com/office/drawing/2014/main" id="{6A45BF74-706F-B732-5350-C582A12AE0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8511" y="3695629"/>
                <a:ext cx="17758" cy="36995"/>
              </a:xfrm>
              <a:custGeom>
                <a:avLst/>
                <a:gdLst/>
                <a:ahLst/>
                <a:cxnLst>
                  <a:cxn ang="0">
                    <a:pos x="12" y="25"/>
                  </a:cxn>
                  <a:cxn ang="0">
                    <a:pos x="12" y="25"/>
                  </a:cxn>
                  <a:cxn ang="0">
                    <a:pos x="10" y="25"/>
                  </a:cxn>
                  <a:cxn ang="0">
                    <a:pos x="7" y="24"/>
                  </a:cxn>
                  <a:cxn ang="0">
                    <a:pos x="6" y="21"/>
                  </a:cxn>
                  <a:cxn ang="0">
                    <a:pos x="5" y="18"/>
                  </a:cxn>
                  <a:cxn ang="0">
                    <a:pos x="5" y="18"/>
                  </a:cxn>
                  <a:cxn ang="0">
                    <a:pos x="5" y="15"/>
                  </a:cxn>
                  <a:cxn ang="0">
                    <a:pos x="2" y="14"/>
                  </a:cxn>
                  <a:cxn ang="0">
                    <a:pos x="0" y="11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0" y="2"/>
                  </a:cxn>
                  <a:cxn ang="0">
                    <a:pos x="2" y="1"/>
                  </a:cxn>
                  <a:cxn ang="0">
                    <a:pos x="3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7" y="7"/>
                  </a:cxn>
                  <a:cxn ang="0">
                    <a:pos x="7" y="10"/>
                  </a:cxn>
                  <a:cxn ang="0">
                    <a:pos x="7" y="15"/>
                  </a:cxn>
                  <a:cxn ang="0">
                    <a:pos x="7" y="15"/>
                  </a:cxn>
                  <a:cxn ang="0">
                    <a:pos x="10" y="19"/>
                  </a:cxn>
                  <a:cxn ang="0">
                    <a:pos x="12" y="22"/>
                  </a:cxn>
                  <a:cxn ang="0">
                    <a:pos x="12" y="25"/>
                  </a:cxn>
                  <a:cxn ang="0">
                    <a:pos x="12" y="25"/>
                  </a:cxn>
                </a:cxnLst>
                <a:rect l="0" t="0" r="r" b="b"/>
                <a:pathLst>
                  <a:path w="12" h="25">
                    <a:moveTo>
                      <a:pt x="12" y="25"/>
                    </a:moveTo>
                    <a:lnTo>
                      <a:pt x="12" y="25"/>
                    </a:lnTo>
                    <a:lnTo>
                      <a:pt x="10" y="25"/>
                    </a:lnTo>
                    <a:lnTo>
                      <a:pt x="7" y="24"/>
                    </a:lnTo>
                    <a:lnTo>
                      <a:pt x="6" y="21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5" y="15"/>
                    </a:lnTo>
                    <a:lnTo>
                      <a:pt x="2" y="14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2"/>
                    </a:lnTo>
                    <a:lnTo>
                      <a:pt x="2" y="1"/>
                    </a:lnTo>
                    <a:lnTo>
                      <a:pt x="3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7" y="7"/>
                    </a:lnTo>
                    <a:lnTo>
                      <a:pt x="7" y="10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10" y="19"/>
                    </a:lnTo>
                    <a:lnTo>
                      <a:pt x="12" y="22"/>
                    </a:lnTo>
                    <a:lnTo>
                      <a:pt x="12" y="25"/>
                    </a:lnTo>
                    <a:lnTo>
                      <a:pt x="12" y="25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74" name="Puerto Rico">
                <a:extLst>
                  <a:ext uri="{FF2B5EF4-FFF2-40B4-BE49-F238E27FC236}">
                    <a16:creationId xmlns:a16="http://schemas.microsoft.com/office/drawing/2014/main" id="{39BF42F4-623D-EE15-2317-22E6E361D8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4872" y="3861366"/>
                <a:ext cx="39954" cy="19238"/>
              </a:xfrm>
              <a:custGeom>
                <a:avLst/>
                <a:gdLst/>
                <a:ahLst/>
                <a:cxnLst>
                  <a:cxn ang="0">
                    <a:pos x="1" y="7"/>
                  </a:cxn>
                  <a:cxn ang="0">
                    <a:pos x="1" y="7"/>
                  </a:cxn>
                  <a:cxn ang="0">
                    <a:pos x="4" y="10"/>
                  </a:cxn>
                  <a:cxn ang="0">
                    <a:pos x="7" y="11"/>
                  </a:cxn>
                  <a:cxn ang="0">
                    <a:pos x="11" y="13"/>
                  </a:cxn>
                  <a:cxn ang="0">
                    <a:pos x="15" y="13"/>
                  </a:cxn>
                  <a:cxn ang="0">
                    <a:pos x="24" y="10"/>
                  </a:cxn>
                  <a:cxn ang="0">
                    <a:pos x="27" y="7"/>
                  </a:cxn>
                  <a:cxn ang="0">
                    <a:pos x="27" y="7"/>
                  </a:cxn>
                  <a:cxn ang="0">
                    <a:pos x="27" y="4"/>
                  </a:cxn>
                  <a:cxn ang="0">
                    <a:pos x="24" y="3"/>
                  </a:cxn>
                  <a:cxn ang="0">
                    <a:pos x="18" y="1"/>
                  </a:cxn>
                  <a:cxn ang="0">
                    <a:pos x="12" y="0"/>
                  </a:cxn>
                  <a:cxn ang="0">
                    <a:pos x="7" y="1"/>
                  </a:cxn>
                  <a:cxn ang="0">
                    <a:pos x="2" y="1"/>
                  </a:cxn>
                  <a:cxn ang="0">
                    <a:pos x="0" y="4"/>
                  </a:cxn>
                  <a:cxn ang="0">
                    <a:pos x="1" y="7"/>
                  </a:cxn>
                  <a:cxn ang="0">
                    <a:pos x="1" y="7"/>
                  </a:cxn>
                </a:cxnLst>
                <a:rect l="0" t="0" r="r" b="b"/>
                <a:pathLst>
                  <a:path w="27" h="13">
                    <a:moveTo>
                      <a:pt x="1" y="7"/>
                    </a:moveTo>
                    <a:lnTo>
                      <a:pt x="1" y="7"/>
                    </a:lnTo>
                    <a:lnTo>
                      <a:pt x="4" y="10"/>
                    </a:lnTo>
                    <a:lnTo>
                      <a:pt x="7" y="11"/>
                    </a:lnTo>
                    <a:lnTo>
                      <a:pt x="11" y="13"/>
                    </a:lnTo>
                    <a:lnTo>
                      <a:pt x="15" y="13"/>
                    </a:lnTo>
                    <a:lnTo>
                      <a:pt x="24" y="10"/>
                    </a:lnTo>
                    <a:lnTo>
                      <a:pt x="27" y="7"/>
                    </a:lnTo>
                    <a:lnTo>
                      <a:pt x="27" y="7"/>
                    </a:lnTo>
                    <a:lnTo>
                      <a:pt x="27" y="4"/>
                    </a:lnTo>
                    <a:lnTo>
                      <a:pt x="24" y="3"/>
                    </a:lnTo>
                    <a:lnTo>
                      <a:pt x="18" y="1"/>
                    </a:lnTo>
                    <a:lnTo>
                      <a:pt x="12" y="0"/>
                    </a:lnTo>
                    <a:lnTo>
                      <a:pt x="7" y="1"/>
                    </a:lnTo>
                    <a:lnTo>
                      <a:pt x="2" y="1"/>
                    </a:lnTo>
                    <a:lnTo>
                      <a:pt x="0" y="4"/>
                    </a:lnTo>
                    <a:lnTo>
                      <a:pt x="1" y="7"/>
                    </a:lnTo>
                    <a:lnTo>
                      <a:pt x="1" y="7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75" name="Dominican Republic">
                <a:extLst>
                  <a:ext uri="{FF2B5EF4-FFF2-40B4-BE49-F238E27FC236}">
                    <a16:creationId xmlns:a16="http://schemas.microsoft.com/office/drawing/2014/main" id="{DF33041F-95DC-DDE8-B6CB-4FEB15B977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2409" y="3833249"/>
                <a:ext cx="79908" cy="47353"/>
              </a:xfrm>
              <a:custGeom>
                <a:avLst/>
                <a:gdLst/>
                <a:ahLst/>
                <a:cxnLst>
                  <a:cxn ang="0">
                    <a:pos x="22" y="25"/>
                  </a:cxn>
                  <a:cxn ang="0">
                    <a:pos x="22" y="25"/>
                  </a:cxn>
                  <a:cxn ang="0">
                    <a:pos x="26" y="23"/>
                  </a:cxn>
                  <a:cxn ang="0">
                    <a:pos x="31" y="23"/>
                  </a:cxn>
                  <a:cxn ang="0">
                    <a:pos x="43" y="23"/>
                  </a:cxn>
                  <a:cxn ang="0">
                    <a:pos x="51" y="23"/>
                  </a:cxn>
                  <a:cxn ang="0">
                    <a:pos x="54" y="22"/>
                  </a:cxn>
                  <a:cxn ang="0">
                    <a:pos x="54" y="18"/>
                  </a:cxn>
                  <a:cxn ang="0">
                    <a:pos x="54" y="18"/>
                  </a:cxn>
                  <a:cxn ang="0">
                    <a:pos x="53" y="15"/>
                  </a:cxn>
                  <a:cxn ang="0">
                    <a:pos x="50" y="10"/>
                  </a:cxn>
                  <a:cxn ang="0">
                    <a:pos x="43" y="8"/>
                  </a:cxn>
                  <a:cxn ang="0">
                    <a:pos x="37" y="5"/>
                  </a:cxn>
                  <a:cxn ang="0">
                    <a:pos x="23" y="0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2" y="32"/>
                  </a:cxn>
                  <a:cxn ang="0">
                    <a:pos x="2" y="32"/>
                  </a:cxn>
                  <a:cxn ang="0">
                    <a:pos x="4" y="32"/>
                  </a:cxn>
                  <a:cxn ang="0">
                    <a:pos x="9" y="30"/>
                  </a:cxn>
                  <a:cxn ang="0">
                    <a:pos x="13" y="27"/>
                  </a:cxn>
                  <a:cxn ang="0">
                    <a:pos x="22" y="25"/>
                  </a:cxn>
                  <a:cxn ang="0">
                    <a:pos x="22" y="25"/>
                  </a:cxn>
                </a:cxnLst>
                <a:rect l="0" t="0" r="r" b="b"/>
                <a:pathLst>
                  <a:path w="54" h="32">
                    <a:moveTo>
                      <a:pt x="22" y="25"/>
                    </a:moveTo>
                    <a:lnTo>
                      <a:pt x="22" y="25"/>
                    </a:lnTo>
                    <a:lnTo>
                      <a:pt x="26" y="23"/>
                    </a:lnTo>
                    <a:lnTo>
                      <a:pt x="31" y="23"/>
                    </a:lnTo>
                    <a:lnTo>
                      <a:pt x="43" y="23"/>
                    </a:lnTo>
                    <a:lnTo>
                      <a:pt x="51" y="23"/>
                    </a:lnTo>
                    <a:lnTo>
                      <a:pt x="54" y="22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3" y="15"/>
                    </a:lnTo>
                    <a:lnTo>
                      <a:pt x="50" y="10"/>
                    </a:lnTo>
                    <a:lnTo>
                      <a:pt x="43" y="8"/>
                    </a:lnTo>
                    <a:lnTo>
                      <a:pt x="37" y="5"/>
                    </a:lnTo>
                    <a:lnTo>
                      <a:pt x="23" y="0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4" y="32"/>
                    </a:lnTo>
                    <a:lnTo>
                      <a:pt x="9" y="30"/>
                    </a:lnTo>
                    <a:lnTo>
                      <a:pt x="13" y="27"/>
                    </a:lnTo>
                    <a:lnTo>
                      <a:pt x="22" y="25"/>
                    </a:lnTo>
                    <a:lnTo>
                      <a:pt x="22" y="25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76" name="Haiti">
                <a:extLst>
                  <a:ext uri="{FF2B5EF4-FFF2-40B4-BE49-F238E27FC236}">
                    <a16:creationId xmlns:a16="http://schemas.microsoft.com/office/drawing/2014/main" id="{8B9C7B9E-9EB2-589D-E720-4D315B2B96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0257" y="3825851"/>
                <a:ext cx="66591" cy="51792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19" y="0"/>
                  </a:cxn>
                  <a:cxn ang="0">
                    <a:pos x="18" y="3"/>
                  </a:cxn>
                  <a:cxn ang="0">
                    <a:pos x="18" y="5"/>
                  </a:cxn>
                  <a:cxn ang="0">
                    <a:pos x="22" y="11"/>
                  </a:cxn>
                  <a:cxn ang="0">
                    <a:pos x="28" y="17"/>
                  </a:cxn>
                  <a:cxn ang="0">
                    <a:pos x="29" y="20"/>
                  </a:cxn>
                  <a:cxn ang="0">
                    <a:pos x="31" y="23"/>
                  </a:cxn>
                  <a:cxn ang="0">
                    <a:pos x="31" y="23"/>
                  </a:cxn>
                  <a:cxn ang="0">
                    <a:pos x="29" y="24"/>
                  </a:cxn>
                  <a:cxn ang="0">
                    <a:pos x="27" y="25"/>
                  </a:cxn>
                  <a:cxn ang="0">
                    <a:pos x="17" y="25"/>
                  </a:cxn>
                  <a:cxn ang="0">
                    <a:pos x="5" y="25"/>
                  </a:cxn>
                  <a:cxn ang="0">
                    <a:pos x="1" y="27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0" y="30"/>
                  </a:cxn>
                  <a:cxn ang="0">
                    <a:pos x="1" y="31"/>
                  </a:cxn>
                  <a:cxn ang="0">
                    <a:pos x="5" y="34"/>
                  </a:cxn>
                  <a:cxn ang="0">
                    <a:pos x="12" y="34"/>
                  </a:cxn>
                  <a:cxn ang="0">
                    <a:pos x="19" y="32"/>
                  </a:cxn>
                  <a:cxn ang="0">
                    <a:pos x="19" y="32"/>
                  </a:cxn>
                  <a:cxn ang="0">
                    <a:pos x="27" y="31"/>
                  </a:cxn>
                  <a:cxn ang="0">
                    <a:pos x="32" y="32"/>
                  </a:cxn>
                  <a:cxn ang="0">
                    <a:pos x="38" y="34"/>
                  </a:cxn>
                  <a:cxn ang="0">
                    <a:pos x="42" y="35"/>
                  </a:cxn>
                  <a:cxn ang="0">
                    <a:pos x="42" y="35"/>
                  </a:cxn>
                  <a:cxn ang="0">
                    <a:pos x="45" y="5"/>
                  </a:cxn>
                  <a:cxn ang="0">
                    <a:pos x="45" y="5"/>
                  </a:cxn>
                  <a:cxn ang="0">
                    <a:pos x="31" y="0"/>
                  </a:cxn>
                  <a:cxn ang="0">
                    <a:pos x="25" y="0"/>
                  </a:cxn>
                  <a:cxn ang="0">
                    <a:pos x="22" y="0"/>
                  </a:cxn>
                  <a:cxn ang="0">
                    <a:pos x="19" y="0"/>
                  </a:cxn>
                  <a:cxn ang="0">
                    <a:pos x="19" y="0"/>
                  </a:cxn>
                </a:cxnLst>
                <a:rect l="0" t="0" r="r" b="b"/>
                <a:pathLst>
                  <a:path w="45" h="35">
                    <a:moveTo>
                      <a:pt x="19" y="0"/>
                    </a:moveTo>
                    <a:lnTo>
                      <a:pt x="19" y="0"/>
                    </a:lnTo>
                    <a:lnTo>
                      <a:pt x="18" y="3"/>
                    </a:lnTo>
                    <a:lnTo>
                      <a:pt x="18" y="5"/>
                    </a:lnTo>
                    <a:lnTo>
                      <a:pt x="22" y="11"/>
                    </a:lnTo>
                    <a:lnTo>
                      <a:pt x="28" y="17"/>
                    </a:lnTo>
                    <a:lnTo>
                      <a:pt x="29" y="20"/>
                    </a:lnTo>
                    <a:lnTo>
                      <a:pt x="31" y="23"/>
                    </a:lnTo>
                    <a:lnTo>
                      <a:pt x="31" y="23"/>
                    </a:lnTo>
                    <a:lnTo>
                      <a:pt x="29" y="24"/>
                    </a:lnTo>
                    <a:lnTo>
                      <a:pt x="27" y="25"/>
                    </a:lnTo>
                    <a:lnTo>
                      <a:pt x="17" y="25"/>
                    </a:lnTo>
                    <a:lnTo>
                      <a:pt x="5" y="25"/>
                    </a:lnTo>
                    <a:lnTo>
                      <a:pt x="1" y="27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1" y="31"/>
                    </a:lnTo>
                    <a:lnTo>
                      <a:pt x="5" y="34"/>
                    </a:lnTo>
                    <a:lnTo>
                      <a:pt x="12" y="34"/>
                    </a:lnTo>
                    <a:lnTo>
                      <a:pt x="19" y="32"/>
                    </a:lnTo>
                    <a:lnTo>
                      <a:pt x="19" y="32"/>
                    </a:lnTo>
                    <a:lnTo>
                      <a:pt x="27" y="31"/>
                    </a:lnTo>
                    <a:lnTo>
                      <a:pt x="32" y="32"/>
                    </a:lnTo>
                    <a:lnTo>
                      <a:pt x="38" y="34"/>
                    </a:lnTo>
                    <a:lnTo>
                      <a:pt x="42" y="35"/>
                    </a:lnTo>
                    <a:lnTo>
                      <a:pt x="42" y="3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31" y="0"/>
                    </a:lnTo>
                    <a:lnTo>
                      <a:pt x="25" y="0"/>
                    </a:lnTo>
                    <a:lnTo>
                      <a:pt x="22" y="0"/>
                    </a:lnTo>
                    <a:lnTo>
                      <a:pt x="19" y="0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77" name="Jamaica">
                <a:extLst>
                  <a:ext uri="{FF2B5EF4-FFF2-40B4-BE49-F238E27FC236}">
                    <a16:creationId xmlns:a16="http://schemas.microsoft.com/office/drawing/2014/main" id="{79696E97-E7E9-9D40-07AB-E4DF0C103A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4071" y="3865804"/>
                <a:ext cx="48833" cy="16278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3" y="4"/>
                  </a:cxn>
                  <a:cxn ang="0">
                    <a:pos x="8" y="7"/>
                  </a:cxn>
                  <a:cxn ang="0">
                    <a:pos x="18" y="10"/>
                  </a:cxn>
                  <a:cxn ang="0">
                    <a:pos x="28" y="11"/>
                  </a:cxn>
                  <a:cxn ang="0">
                    <a:pos x="32" y="10"/>
                  </a:cxn>
                  <a:cxn ang="0">
                    <a:pos x="33" y="8"/>
                  </a:cxn>
                  <a:cxn ang="0">
                    <a:pos x="33" y="8"/>
                  </a:cxn>
                  <a:cxn ang="0">
                    <a:pos x="33" y="7"/>
                  </a:cxn>
                  <a:cxn ang="0">
                    <a:pos x="33" y="5"/>
                  </a:cxn>
                  <a:cxn ang="0">
                    <a:pos x="29" y="4"/>
                  </a:cxn>
                  <a:cxn ang="0">
                    <a:pos x="18" y="1"/>
                  </a:cxn>
                  <a:cxn ang="0">
                    <a:pos x="5" y="0"/>
                  </a:cxn>
                  <a:cxn ang="0">
                    <a:pos x="2" y="1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0" y="3"/>
                  </a:cxn>
                </a:cxnLst>
                <a:rect l="0" t="0" r="r" b="b"/>
                <a:pathLst>
                  <a:path w="33" h="11">
                    <a:moveTo>
                      <a:pt x="0" y="3"/>
                    </a:moveTo>
                    <a:lnTo>
                      <a:pt x="0" y="3"/>
                    </a:lnTo>
                    <a:lnTo>
                      <a:pt x="3" y="4"/>
                    </a:lnTo>
                    <a:lnTo>
                      <a:pt x="8" y="7"/>
                    </a:lnTo>
                    <a:lnTo>
                      <a:pt x="18" y="10"/>
                    </a:lnTo>
                    <a:lnTo>
                      <a:pt x="28" y="11"/>
                    </a:lnTo>
                    <a:lnTo>
                      <a:pt x="32" y="10"/>
                    </a:lnTo>
                    <a:lnTo>
                      <a:pt x="33" y="8"/>
                    </a:lnTo>
                    <a:lnTo>
                      <a:pt x="33" y="8"/>
                    </a:lnTo>
                    <a:lnTo>
                      <a:pt x="33" y="7"/>
                    </a:lnTo>
                    <a:lnTo>
                      <a:pt x="33" y="5"/>
                    </a:lnTo>
                    <a:lnTo>
                      <a:pt x="29" y="4"/>
                    </a:lnTo>
                    <a:lnTo>
                      <a:pt x="18" y="1"/>
                    </a:lnTo>
                    <a:lnTo>
                      <a:pt x="5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78" name="Cuba">
                <a:extLst>
                  <a:ext uri="{FF2B5EF4-FFF2-40B4-BE49-F238E27FC236}">
                    <a16:creationId xmlns:a16="http://schemas.microsoft.com/office/drawing/2014/main" id="{829959B2-F550-382E-27DF-1319E9F4DC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9052" y="3747422"/>
                <a:ext cx="244165" cy="79908"/>
              </a:xfrm>
              <a:custGeom>
                <a:avLst/>
                <a:gdLst/>
                <a:ahLst/>
                <a:cxnLst>
                  <a:cxn ang="0">
                    <a:pos x="135" y="33"/>
                  </a:cxn>
                  <a:cxn ang="0">
                    <a:pos x="135" y="33"/>
                  </a:cxn>
                  <a:cxn ang="0">
                    <a:pos x="130" y="33"/>
                  </a:cxn>
                  <a:cxn ang="0">
                    <a:pos x="123" y="30"/>
                  </a:cxn>
                  <a:cxn ang="0">
                    <a:pos x="104" y="20"/>
                  </a:cxn>
                  <a:cxn ang="0">
                    <a:pos x="81" y="10"/>
                  </a:cxn>
                  <a:cxn ang="0">
                    <a:pos x="70" y="6"/>
                  </a:cxn>
                  <a:cxn ang="0">
                    <a:pos x="57" y="2"/>
                  </a:cxn>
                  <a:cxn ang="0">
                    <a:pos x="57" y="2"/>
                  </a:cxn>
                  <a:cxn ang="0">
                    <a:pos x="46" y="0"/>
                  </a:cxn>
                  <a:cxn ang="0">
                    <a:pos x="34" y="2"/>
                  </a:cxn>
                  <a:cxn ang="0">
                    <a:pos x="25" y="4"/>
                  </a:cxn>
                  <a:cxn ang="0">
                    <a:pos x="16" y="7"/>
                  </a:cxn>
                  <a:cxn ang="0">
                    <a:pos x="9" y="12"/>
                  </a:cxn>
                  <a:cxn ang="0">
                    <a:pos x="5" y="16"/>
                  </a:cxn>
                  <a:cxn ang="0">
                    <a:pos x="2" y="20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3" y="23"/>
                  </a:cxn>
                  <a:cxn ang="0">
                    <a:pos x="6" y="23"/>
                  </a:cxn>
                  <a:cxn ang="0">
                    <a:pos x="13" y="20"/>
                  </a:cxn>
                  <a:cxn ang="0">
                    <a:pos x="29" y="9"/>
                  </a:cxn>
                  <a:cxn ang="0">
                    <a:pos x="29" y="9"/>
                  </a:cxn>
                  <a:cxn ang="0">
                    <a:pos x="32" y="7"/>
                  </a:cxn>
                  <a:cxn ang="0">
                    <a:pos x="34" y="7"/>
                  </a:cxn>
                  <a:cxn ang="0">
                    <a:pos x="39" y="9"/>
                  </a:cxn>
                  <a:cxn ang="0">
                    <a:pos x="43" y="13"/>
                  </a:cxn>
                  <a:cxn ang="0">
                    <a:pos x="44" y="16"/>
                  </a:cxn>
                  <a:cxn ang="0">
                    <a:pos x="44" y="16"/>
                  </a:cxn>
                  <a:cxn ang="0">
                    <a:pos x="46" y="19"/>
                  </a:cxn>
                  <a:cxn ang="0">
                    <a:pos x="52" y="20"/>
                  </a:cxn>
                  <a:cxn ang="0">
                    <a:pos x="71" y="21"/>
                  </a:cxn>
                  <a:cxn ang="0">
                    <a:pos x="71" y="21"/>
                  </a:cxn>
                  <a:cxn ang="0">
                    <a:pos x="77" y="23"/>
                  </a:cxn>
                  <a:cxn ang="0">
                    <a:pos x="81" y="24"/>
                  </a:cxn>
                  <a:cxn ang="0">
                    <a:pos x="89" y="30"/>
                  </a:cxn>
                  <a:cxn ang="0">
                    <a:pos x="96" y="36"/>
                  </a:cxn>
                  <a:cxn ang="0">
                    <a:pos x="100" y="39"/>
                  </a:cxn>
                  <a:cxn ang="0">
                    <a:pos x="106" y="40"/>
                  </a:cxn>
                  <a:cxn ang="0">
                    <a:pos x="106" y="40"/>
                  </a:cxn>
                  <a:cxn ang="0">
                    <a:pos x="110" y="41"/>
                  </a:cxn>
                  <a:cxn ang="0">
                    <a:pos x="113" y="43"/>
                  </a:cxn>
                  <a:cxn ang="0">
                    <a:pos x="113" y="44"/>
                  </a:cxn>
                  <a:cxn ang="0">
                    <a:pos x="113" y="47"/>
                  </a:cxn>
                  <a:cxn ang="0">
                    <a:pos x="111" y="50"/>
                  </a:cxn>
                  <a:cxn ang="0">
                    <a:pos x="111" y="51"/>
                  </a:cxn>
                  <a:cxn ang="0">
                    <a:pos x="113" y="53"/>
                  </a:cxn>
                  <a:cxn ang="0">
                    <a:pos x="113" y="53"/>
                  </a:cxn>
                  <a:cxn ang="0">
                    <a:pos x="124" y="54"/>
                  </a:cxn>
                  <a:cxn ang="0">
                    <a:pos x="141" y="54"/>
                  </a:cxn>
                  <a:cxn ang="0">
                    <a:pos x="157" y="53"/>
                  </a:cxn>
                  <a:cxn ang="0">
                    <a:pos x="163" y="53"/>
                  </a:cxn>
                  <a:cxn ang="0">
                    <a:pos x="165" y="51"/>
                  </a:cxn>
                  <a:cxn ang="0">
                    <a:pos x="165" y="51"/>
                  </a:cxn>
                  <a:cxn ang="0">
                    <a:pos x="165" y="50"/>
                  </a:cxn>
                  <a:cxn ang="0">
                    <a:pos x="163" y="47"/>
                  </a:cxn>
                  <a:cxn ang="0">
                    <a:pos x="155" y="41"/>
                  </a:cxn>
                  <a:cxn ang="0">
                    <a:pos x="145" y="36"/>
                  </a:cxn>
                  <a:cxn ang="0">
                    <a:pos x="140" y="34"/>
                  </a:cxn>
                  <a:cxn ang="0">
                    <a:pos x="135" y="33"/>
                  </a:cxn>
                  <a:cxn ang="0">
                    <a:pos x="135" y="33"/>
                  </a:cxn>
                </a:cxnLst>
                <a:rect l="0" t="0" r="r" b="b"/>
                <a:pathLst>
                  <a:path w="165" h="54">
                    <a:moveTo>
                      <a:pt x="135" y="33"/>
                    </a:moveTo>
                    <a:lnTo>
                      <a:pt x="135" y="33"/>
                    </a:lnTo>
                    <a:lnTo>
                      <a:pt x="130" y="33"/>
                    </a:lnTo>
                    <a:lnTo>
                      <a:pt x="123" y="30"/>
                    </a:lnTo>
                    <a:lnTo>
                      <a:pt x="104" y="20"/>
                    </a:lnTo>
                    <a:lnTo>
                      <a:pt x="81" y="10"/>
                    </a:lnTo>
                    <a:lnTo>
                      <a:pt x="70" y="6"/>
                    </a:lnTo>
                    <a:lnTo>
                      <a:pt x="57" y="2"/>
                    </a:lnTo>
                    <a:lnTo>
                      <a:pt x="57" y="2"/>
                    </a:lnTo>
                    <a:lnTo>
                      <a:pt x="46" y="0"/>
                    </a:lnTo>
                    <a:lnTo>
                      <a:pt x="34" y="2"/>
                    </a:lnTo>
                    <a:lnTo>
                      <a:pt x="25" y="4"/>
                    </a:lnTo>
                    <a:lnTo>
                      <a:pt x="16" y="7"/>
                    </a:lnTo>
                    <a:lnTo>
                      <a:pt x="9" y="12"/>
                    </a:lnTo>
                    <a:lnTo>
                      <a:pt x="5" y="16"/>
                    </a:lnTo>
                    <a:lnTo>
                      <a:pt x="2" y="20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3" y="23"/>
                    </a:lnTo>
                    <a:lnTo>
                      <a:pt x="6" y="23"/>
                    </a:lnTo>
                    <a:lnTo>
                      <a:pt x="13" y="20"/>
                    </a:lnTo>
                    <a:lnTo>
                      <a:pt x="29" y="9"/>
                    </a:lnTo>
                    <a:lnTo>
                      <a:pt x="29" y="9"/>
                    </a:lnTo>
                    <a:lnTo>
                      <a:pt x="32" y="7"/>
                    </a:lnTo>
                    <a:lnTo>
                      <a:pt x="34" y="7"/>
                    </a:lnTo>
                    <a:lnTo>
                      <a:pt x="39" y="9"/>
                    </a:lnTo>
                    <a:lnTo>
                      <a:pt x="43" y="13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6" y="19"/>
                    </a:lnTo>
                    <a:lnTo>
                      <a:pt x="52" y="20"/>
                    </a:lnTo>
                    <a:lnTo>
                      <a:pt x="71" y="21"/>
                    </a:lnTo>
                    <a:lnTo>
                      <a:pt x="71" y="21"/>
                    </a:lnTo>
                    <a:lnTo>
                      <a:pt x="77" y="23"/>
                    </a:lnTo>
                    <a:lnTo>
                      <a:pt x="81" y="24"/>
                    </a:lnTo>
                    <a:lnTo>
                      <a:pt x="89" y="30"/>
                    </a:lnTo>
                    <a:lnTo>
                      <a:pt x="96" y="36"/>
                    </a:lnTo>
                    <a:lnTo>
                      <a:pt x="100" y="39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10" y="41"/>
                    </a:lnTo>
                    <a:lnTo>
                      <a:pt x="113" y="43"/>
                    </a:lnTo>
                    <a:lnTo>
                      <a:pt x="113" y="44"/>
                    </a:lnTo>
                    <a:lnTo>
                      <a:pt x="113" y="47"/>
                    </a:lnTo>
                    <a:lnTo>
                      <a:pt x="111" y="50"/>
                    </a:lnTo>
                    <a:lnTo>
                      <a:pt x="111" y="51"/>
                    </a:lnTo>
                    <a:lnTo>
                      <a:pt x="113" y="53"/>
                    </a:lnTo>
                    <a:lnTo>
                      <a:pt x="113" y="53"/>
                    </a:lnTo>
                    <a:lnTo>
                      <a:pt x="124" y="54"/>
                    </a:lnTo>
                    <a:lnTo>
                      <a:pt x="141" y="54"/>
                    </a:lnTo>
                    <a:lnTo>
                      <a:pt x="157" y="53"/>
                    </a:lnTo>
                    <a:lnTo>
                      <a:pt x="163" y="53"/>
                    </a:lnTo>
                    <a:lnTo>
                      <a:pt x="165" y="51"/>
                    </a:lnTo>
                    <a:lnTo>
                      <a:pt x="165" y="51"/>
                    </a:lnTo>
                    <a:lnTo>
                      <a:pt x="165" y="50"/>
                    </a:lnTo>
                    <a:lnTo>
                      <a:pt x="163" y="47"/>
                    </a:lnTo>
                    <a:lnTo>
                      <a:pt x="155" y="41"/>
                    </a:lnTo>
                    <a:lnTo>
                      <a:pt x="145" y="36"/>
                    </a:lnTo>
                    <a:lnTo>
                      <a:pt x="140" y="34"/>
                    </a:lnTo>
                    <a:lnTo>
                      <a:pt x="135" y="33"/>
                    </a:lnTo>
                    <a:lnTo>
                      <a:pt x="135" y="33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</p:grpSp>
        <p:grpSp>
          <p:nvGrpSpPr>
            <p:cNvPr id="193" name="Central America">
              <a:extLst>
                <a:ext uri="{FF2B5EF4-FFF2-40B4-BE49-F238E27FC236}">
                  <a16:creationId xmlns:a16="http://schemas.microsoft.com/office/drawing/2014/main" id="{7165A278-882B-93CD-ACE4-F9F3029071C9}"/>
                </a:ext>
              </a:extLst>
            </p:cNvPr>
            <p:cNvGrpSpPr/>
            <p:nvPr/>
          </p:nvGrpSpPr>
          <p:grpSpPr>
            <a:xfrm>
              <a:off x="3632161" y="4331026"/>
              <a:ext cx="368467" cy="273761"/>
              <a:chOff x="2108160" y="3865804"/>
              <a:chExt cx="368467" cy="273761"/>
            </a:xfrm>
            <a:solidFill>
              <a:schemeClr val="bg1">
                <a:lumMod val="75000"/>
              </a:schemeClr>
            </a:solidFill>
          </p:grpSpPr>
          <p:sp>
            <p:nvSpPr>
              <p:cNvPr id="266" name="Belize">
                <a:extLst>
                  <a:ext uri="{FF2B5EF4-FFF2-40B4-BE49-F238E27FC236}">
                    <a16:creationId xmlns:a16="http://schemas.microsoft.com/office/drawing/2014/main" id="{5F875C81-D83B-7058-73F1-92E515AF1C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8069" y="3865804"/>
                <a:ext cx="31076" cy="62150"/>
              </a:xfrm>
              <a:custGeom>
                <a:avLst/>
                <a:gdLst/>
                <a:ahLst/>
                <a:cxnLst>
                  <a:cxn ang="0">
                    <a:pos x="3" y="10"/>
                  </a:cxn>
                  <a:cxn ang="0">
                    <a:pos x="3" y="10"/>
                  </a:cxn>
                  <a:cxn ang="0">
                    <a:pos x="1" y="11"/>
                  </a:cxn>
                  <a:cxn ang="0">
                    <a:pos x="0" y="42"/>
                  </a:cxn>
                  <a:cxn ang="0">
                    <a:pos x="8" y="42"/>
                  </a:cxn>
                  <a:cxn ang="0">
                    <a:pos x="8" y="42"/>
                  </a:cxn>
                  <a:cxn ang="0">
                    <a:pos x="10" y="38"/>
                  </a:cxn>
                  <a:cxn ang="0">
                    <a:pos x="13" y="34"/>
                  </a:cxn>
                  <a:cxn ang="0">
                    <a:pos x="13" y="34"/>
                  </a:cxn>
                  <a:cxn ang="0">
                    <a:pos x="16" y="31"/>
                  </a:cxn>
                  <a:cxn ang="0">
                    <a:pos x="16" y="28"/>
                  </a:cxn>
                  <a:cxn ang="0">
                    <a:pos x="16" y="20"/>
                  </a:cxn>
                  <a:cxn ang="0">
                    <a:pos x="14" y="11"/>
                  </a:cxn>
                  <a:cxn ang="0">
                    <a:pos x="16" y="8"/>
                  </a:cxn>
                  <a:cxn ang="0">
                    <a:pos x="17" y="7"/>
                  </a:cxn>
                  <a:cxn ang="0">
                    <a:pos x="17" y="7"/>
                  </a:cxn>
                  <a:cxn ang="0">
                    <a:pos x="21" y="5"/>
                  </a:cxn>
                  <a:cxn ang="0">
                    <a:pos x="21" y="5"/>
                  </a:cxn>
                  <a:cxn ang="0">
                    <a:pos x="17" y="1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0" y="3"/>
                  </a:cxn>
                  <a:cxn ang="0">
                    <a:pos x="7" y="5"/>
                  </a:cxn>
                  <a:cxn ang="0">
                    <a:pos x="3" y="10"/>
                  </a:cxn>
                  <a:cxn ang="0">
                    <a:pos x="3" y="10"/>
                  </a:cxn>
                </a:cxnLst>
                <a:rect l="0" t="0" r="r" b="b"/>
                <a:pathLst>
                  <a:path w="21" h="42">
                    <a:moveTo>
                      <a:pt x="3" y="10"/>
                    </a:moveTo>
                    <a:lnTo>
                      <a:pt x="3" y="10"/>
                    </a:lnTo>
                    <a:lnTo>
                      <a:pt x="1" y="11"/>
                    </a:lnTo>
                    <a:lnTo>
                      <a:pt x="0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0" y="38"/>
                    </a:lnTo>
                    <a:lnTo>
                      <a:pt x="13" y="34"/>
                    </a:lnTo>
                    <a:lnTo>
                      <a:pt x="13" y="34"/>
                    </a:lnTo>
                    <a:lnTo>
                      <a:pt x="16" y="31"/>
                    </a:lnTo>
                    <a:lnTo>
                      <a:pt x="16" y="28"/>
                    </a:lnTo>
                    <a:lnTo>
                      <a:pt x="16" y="20"/>
                    </a:lnTo>
                    <a:lnTo>
                      <a:pt x="14" y="11"/>
                    </a:lnTo>
                    <a:lnTo>
                      <a:pt x="16" y="8"/>
                    </a:lnTo>
                    <a:lnTo>
                      <a:pt x="17" y="7"/>
                    </a:lnTo>
                    <a:lnTo>
                      <a:pt x="17" y="7"/>
                    </a:lnTo>
                    <a:lnTo>
                      <a:pt x="21" y="5"/>
                    </a:lnTo>
                    <a:lnTo>
                      <a:pt x="21" y="5"/>
                    </a:lnTo>
                    <a:lnTo>
                      <a:pt x="17" y="1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3"/>
                    </a:lnTo>
                    <a:lnTo>
                      <a:pt x="7" y="5"/>
                    </a:lnTo>
                    <a:lnTo>
                      <a:pt x="3" y="10"/>
                    </a:lnTo>
                    <a:lnTo>
                      <a:pt x="3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67" name="El Salvador">
                <a:extLst>
                  <a:ext uri="{FF2B5EF4-FFF2-40B4-BE49-F238E27FC236}">
                    <a16:creationId xmlns:a16="http://schemas.microsoft.com/office/drawing/2014/main" id="{1CB336E1-5B51-002C-F93A-216D552AD2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8832" y="3964951"/>
                <a:ext cx="54753" cy="31076"/>
              </a:xfrm>
              <a:custGeom>
                <a:avLst/>
                <a:gdLst/>
                <a:ahLst/>
                <a:cxnLst>
                  <a:cxn ang="0">
                    <a:pos x="36" y="8"/>
                  </a:cxn>
                  <a:cxn ang="0">
                    <a:pos x="36" y="8"/>
                  </a:cxn>
                  <a:cxn ang="0">
                    <a:pos x="33" y="7"/>
                  </a:cxn>
                  <a:cxn ang="0">
                    <a:pos x="29" y="7"/>
                  </a:cxn>
                  <a:cxn ang="0">
                    <a:pos x="24" y="5"/>
                  </a:cxn>
                  <a:cxn ang="0">
                    <a:pos x="19" y="4"/>
                  </a:cxn>
                  <a:cxn ang="0">
                    <a:pos x="19" y="4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2" y="1"/>
                  </a:cxn>
                  <a:cxn ang="0">
                    <a:pos x="12" y="1"/>
                  </a:cxn>
                  <a:cxn ang="0">
                    <a:pos x="7" y="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6" y="14"/>
                  </a:cxn>
                  <a:cxn ang="0">
                    <a:pos x="16" y="17"/>
                  </a:cxn>
                  <a:cxn ang="0">
                    <a:pos x="24" y="20"/>
                  </a:cxn>
                  <a:cxn ang="0">
                    <a:pos x="31" y="21"/>
                  </a:cxn>
                  <a:cxn ang="0">
                    <a:pos x="31" y="21"/>
                  </a:cxn>
                  <a:cxn ang="0">
                    <a:pos x="34" y="20"/>
                  </a:cxn>
                  <a:cxn ang="0">
                    <a:pos x="36" y="18"/>
                  </a:cxn>
                  <a:cxn ang="0">
                    <a:pos x="36" y="18"/>
                  </a:cxn>
                  <a:cxn ang="0">
                    <a:pos x="37" y="12"/>
                  </a:cxn>
                  <a:cxn ang="0">
                    <a:pos x="36" y="8"/>
                  </a:cxn>
                  <a:cxn ang="0">
                    <a:pos x="36" y="8"/>
                  </a:cxn>
                </a:cxnLst>
                <a:rect l="0" t="0" r="r" b="b"/>
                <a:pathLst>
                  <a:path w="37" h="21">
                    <a:moveTo>
                      <a:pt x="36" y="8"/>
                    </a:moveTo>
                    <a:lnTo>
                      <a:pt x="36" y="8"/>
                    </a:lnTo>
                    <a:lnTo>
                      <a:pt x="33" y="7"/>
                    </a:lnTo>
                    <a:lnTo>
                      <a:pt x="29" y="7"/>
                    </a:lnTo>
                    <a:lnTo>
                      <a:pt x="24" y="5"/>
                    </a:lnTo>
                    <a:lnTo>
                      <a:pt x="19" y="4"/>
                    </a:lnTo>
                    <a:lnTo>
                      <a:pt x="19" y="4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1"/>
                    </a:lnTo>
                    <a:lnTo>
                      <a:pt x="12" y="1"/>
                    </a:lnTo>
                    <a:lnTo>
                      <a:pt x="7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6" y="14"/>
                    </a:lnTo>
                    <a:lnTo>
                      <a:pt x="16" y="17"/>
                    </a:lnTo>
                    <a:lnTo>
                      <a:pt x="24" y="20"/>
                    </a:lnTo>
                    <a:lnTo>
                      <a:pt x="31" y="21"/>
                    </a:lnTo>
                    <a:lnTo>
                      <a:pt x="31" y="21"/>
                    </a:lnTo>
                    <a:lnTo>
                      <a:pt x="34" y="20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7" y="12"/>
                    </a:lnTo>
                    <a:lnTo>
                      <a:pt x="36" y="8"/>
                    </a:lnTo>
                    <a:lnTo>
                      <a:pt x="36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68" name="Guatemala">
                <a:extLst>
                  <a:ext uri="{FF2B5EF4-FFF2-40B4-BE49-F238E27FC236}">
                    <a16:creationId xmlns:a16="http://schemas.microsoft.com/office/drawing/2014/main" id="{68261119-2C1E-D070-B03F-A33B52D7CF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8160" y="3880603"/>
                <a:ext cx="100626" cy="99146"/>
              </a:xfrm>
              <a:custGeom>
                <a:avLst/>
                <a:gdLst/>
                <a:ahLst/>
                <a:cxnLst>
                  <a:cxn ang="0">
                    <a:pos x="60" y="45"/>
                  </a:cxn>
                  <a:cxn ang="0">
                    <a:pos x="60" y="45"/>
                  </a:cxn>
                  <a:cxn ang="0">
                    <a:pos x="68" y="35"/>
                  </a:cxn>
                  <a:cxn ang="0">
                    <a:pos x="68" y="35"/>
                  </a:cxn>
                  <a:cxn ang="0">
                    <a:pos x="65" y="37"/>
                  </a:cxn>
                  <a:cxn ang="0">
                    <a:pos x="62" y="37"/>
                  </a:cxn>
                  <a:cxn ang="0">
                    <a:pos x="62" y="35"/>
                  </a:cxn>
                  <a:cxn ang="0">
                    <a:pos x="62" y="32"/>
                  </a:cxn>
                  <a:cxn ang="0">
                    <a:pos x="54" y="32"/>
                  </a:cxn>
                  <a:cxn ang="0">
                    <a:pos x="55" y="1"/>
                  </a:cxn>
                  <a:cxn ang="0">
                    <a:pos x="55" y="1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7" y="3"/>
                  </a:cxn>
                  <a:cxn ang="0">
                    <a:pos x="25" y="5"/>
                  </a:cxn>
                  <a:cxn ang="0">
                    <a:pos x="24" y="10"/>
                  </a:cxn>
                  <a:cxn ang="0">
                    <a:pos x="23" y="13"/>
                  </a:cxn>
                  <a:cxn ang="0">
                    <a:pos x="23" y="13"/>
                  </a:cxn>
                  <a:cxn ang="0">
                    <a:pos x="24" y="14"/>
                  </a:cxn>
                  <a:cxn ang="0">
                    <a:pos x="28" y="18"/>
                  </a:cxn>
                  <a:cxn ang="0">
                    <a:pos x="33" y="24"/>
                  </a:cxn>
                  <a:cxn ang="0">
                    <a:pos x="34" y="25"/>
                  </a:cxn>
                  <a:cxn ang="0">
                    <a:pos x="34" y="28"/>
                  </a:cxn>
                  <a:cxn ang="0">
                    <a:pos x="34" y="28"/>
                  </a:cxn>
                  <a:cxn ang="0">
                    <a:pos x="33" y="30"/>
                  </a:cxn>
                  <a:cxn ang="0">
                    <a:pos x="31" y="30"/>
                  </a:cxn>
                  <a:cxn ang="0">
                    <a:pos x="24" y="31"/>
                  </a:cxn>
                  <a:cxn ang="0">
                    <a:pos x="13" y="30"/>
                  </a:cxn>
                  <a:cxn ang="0">
                    <a:pos x="13" y="30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10" y="57"/>
                  </a:cxn>
                  <a:cxn ang="0">
                    <a:pos x="18" y="62"/>
                  </a:cxn>
                  <a:cxn ang="0">
                    <a:pos x="18" y="62"/>
                  </a:cxn>
                  <a:cxn ang="0">
                    <a:pos x="24" y="64"/>
                  </a:cxn>
                  <a:cxn ang="0">
                    <a:pos x="30" y="65"/>
                  </a:cxn>
                  <a:cxn ang="0">
                    <a:pos x="35" y="65"/>
                  </a:cxn>
                  <a:cxn ang="0">
                    <a:pos x="40" y="67"/>
                  </a:cxn>
                  <a:cxn ang="0">
                    <a:pos x="40" y="67"/>
                  </a:cxn>
                  <a:cxn ang="0">
                    <a:pos x="41" y="67"/>
                  </a:cxn>
                  <a:cxn ang="0">
                    <a:pos x="41" y="67"/>
                  </a:cxn>
                  <a:cxn ang="0">
                    <a:pos x="48" y="61"/>
                  </a:cxn>
                  <a:cxn ang="0">
                    <a:pos x="53" y="58"/>
                  </a:cxn>
                  <a:cxn ang="0">
                    <a:pos x="53" y="58"/>
                  </a:cxn>
                  <a:cxn ang="0">
                    <a:pos x="54" y="55"/>
                  </a:cxn>
                  <a:cxn ang="0">
                    <a:pos x="55" y="52"/>
                  </a:cxn>
                  <a:cxn ang="0">
                    <a:pos x="57" y="50"/>
                  </a:cxn>
                  <a:cxn ang="0">
                    <a:pos x="60" y="45"/>
                  </a:cxn>
                  <a:cxn ang="0">
                    <a:pos x="60" y="45"/>
                  </a:cxn>
                </a:cxnLst>
                <a:rect l="0" t="0" r="r" b="b"/>
                <a:pathLst>
                  <a:path w="68" h="67">
                    <a:moveTo>
                      <a:pt x="60" y="45"/>
                    </a:moveTo>
                    <a:lnTo>
                      <a:pt x="60" y="45"/>
                    </a:lnTo>
                    <a:lnTo>
                      <a:pt x="68" y="35"/>
                    </a:lnTo>
                    <a:lnTo>
                      <a:pt x="68" y="35"/>
                    </a:lnTo>
                    <a:lnTo>
                      <a:pt x="65" y="37"/>
                    </a:lnTo>
                    <a:lnTo>
                      <a:pt x="62" y="37"/>
                    </a:lnTo>
                    <a:lnTo>
                      <a:pt x="62" y="35"/>
                    </a:lnTo>
                    <a:lnTo>
                      <a:pt x="62" y="32"/>
                    </a:lnTo>
                    <a:lnTo>
                      <a:pt x="54" y="32"/>
                    </a:lnTo>
                    <a:lnTo>
                      <a:pt x="55" y="1"/>
                    </a:lnTo>
                    <a:lnTo>
                      <a:pt x="55" y="1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7" y="3"/>
                    </a:lnTo>
                    <a:lnTo>
                      <a:pt x="25" y="5"/>
                    </a:lnTo>
                    <a:lnTo>
                      <a:pt x="24" y="10"/>
                    </a:lnTo>
                    <a:lnTo>
                      <a:pt x="23" y="13"/>
                    </a:lnTo>
                    <a:lnTo>
                      <a:pt x="23" y="13"/>
                    </a:lnTo>
                    <a:lnTo>
                      <a:pt x="24" y="14"/>
                    </a:lnTo>
                    <a:lnTo>
                      <a:pt x="28" y="18"/>
                    </a:lnTo>
                    <a:lnTo>
                      <a:pt x="33" y="24"/>
                    </a:lnTo>
                    <a:lnTo>
                      <a:pt x="34" y="25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3" y="30"/>
                    </a:lnTo>
                    <a:lnTo>
                      <a:pt x="31" y="30"/>
                    </a:lnTo>
                    <a:lnTo>
                      <a:pt x="24" y="31"/>
                    </a:lnTo>
                    <a:lnTo>
                      <a:pt x="13" y="30"/>
                    </a:lnTo>
                    <a:lnTo>
                      <a:pt x="13" y="30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10" y="57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24" y="64"/>
                    </a:lnTo>
                    <a:lnTo>
                      <a:pt x="30" y="65"/>
                    </a:lnTo>
                    <a:lnTo>
                      <a:pt x="35" y="65"/>
                    </a:lnTo>
                    <a:lnTo>
                      <a:pt x="40" y="67"/>
                    </a:lnTo>
                    <a:lnTo>
                      <a:pt x="40" y="67"/>
                    </a:lnTo>
                    <a:lnTo>
                      <a:pt x="41" y="67"/>
                    </a:lnTo>
                    <a:lnTo>
                      <a:pt x="41" y="67"/>
                    </a:lnTo>
                    <a:lnTo>
                      <a:pt x="48" y="61"/>
                    </a:lnTo>
                    <a:lnTo>
                      <a:pt x="53" y="58"/>
                    </a:lnTo>
                    <a:lnTo>
                      <a:pt x="53" y="58"/>
                    </a:lnTo>
                    <a:lnTo>
                      <a:pt x="54" y="55"/>
                    </a:lnTo>
                    <a:lnTo>
                      <a:pt x="55" y="52"/>
                    </a:lnTo>
                    <a:lnTo>
                      <a:pt x="57" y="50"/>
                    </a:lnTo>
                    <a:lnTo>
                      <a:pt x="60" y="45"/>
                    </a:lnTo>
                    <a:lnTo>
                      <a:pt x="60" y="45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69" name="Honduras">
                <a:extLst>
                  <a:ext uri="{FF2B5EF4-FFF2-40B4-BE49-F238E27FC236}">
                    <a16:creationId xmlns:a16="http://schemas.microsoft.com/office/drawing/2014/main" id="{04537752-ED91-AAA8-EB69-EC68469110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6588" y="3924995"/>
                <a:ext cx="145019" cy="75470"/>
              </a:xfrm>
              <a:custGeom>
                <a:avLst/>
                <a:gdLst/>
                <a:ahLst/>
                <a:cxnLst>
                  <a:cxn ang="0">
                    <a:pos x="41" y="45"/>
                  </a:cxn>
                  <a:cxn ang="0">
                    <a:pos x="42" y="37"/>
                  </a:cxn>
                  <a:cxn ang="0">
                    <a:pos x="46" y="35"/>
                  </a:cxn>
                  <a:cxn ang="0">
                    <a:pos x="52" y="35"/>
                  </a:cxn>
                  <a:cxn ang="0">
                    <a:pos x="62" y="31"/>
                  </a:cxn>
                  <a:cxn ang="0">
                    <a:pos x="64" y="28"/>
                  </a:cxn>
                  <a:cxn ang="0">
                    <a:pos x="66" y="25"/>
                  </a:cxn>
                  <a:cxn ang="0">
                    <a:pos x="79" y="25"/>
                  </a:cxn>
                  <a:cxn ang="0">
                    <a:pos x="86" y="21"/>
                  </a:cxn>
                  <a:cxn ang="0">
                    <a:pos x="98" y="17"/>
                  </a:cxn>
                  <a:cxn ang="0">
                    <a:pos x="98" y="15"/>
                  </a:cxn>
                  <a:cxn ang="0">
                    <a:pos x="92" y="11"/>
                  </a:cxn>
                  <a:cxn ang="0">
                    <a:pos x="81" y="4"/>
                  </a:cxn>
                  <a:cxn ang="0">
                    <a:pos x="76" y="2"/>
                  </a:cxn>
                  <a:cxn ang="0">
                    <a:pos x="64" y="0"/>
                  </a:cxn>
                  <a:cxn ang="0">
                    <a:pos x="46" y="4"/>
                  </a:cxn>
                  <a:cxn ang="0">
                    <a:pos x="39" y="5"/>
                  </a:cxn>
                  <a:cxn ang="0">
                    <a:pos x="24" y="4"/>
                  </a:cxn>
                  <a:cxn ang="0">
                    <a:pos x="17" y="5"/>
                  </a:cxn>
                  <a:cxn ang="0">
                    <a:pos x="15" y="5"/>
                  </a:cxn>
                  <a:cxn ang="0">
                    <a:pos x="7" y="15"/>
                  </a:cxn>
                  <a:cxn ang="0">
                    <a:pos x="4" y="18"/>
                  </a:cxn>
                  <a:cxn ang="0">
                    <a:pos x="1" y="25"/>
                  </a:cxn>
                  <a:cxn ang="0">
                    <a:pos x="0" y="27"/>
                  </a:cxn>
                  <a:cxn ang="0">
                    <a:pos x="7" y="31"/>
                  </a:cxn>
                  <a:cxn ang="0">
                    <a:pos x="17" y="34"/>
                  </a:cxn>
                  <a:cxn ang="0">
                    <a:pos x="24" y="35"/>
                  </a:cxn>
                  <a:cxn ang="0">
                    <a:pos x="25" y="39"/>
                  </a:cxn>
                  <a:cxn ang="0">
                    <a:pos x="24" y="45"/>
                  </a:cxn>
                  <a:cxn ang="0">
                    <a:pos x="29" y="45"/>
                  </a:cxn>
                  <a:cxn ang="0">
                    <a:pos x="31" y="48"/>
                  </a:cxn>
                  <a:cxn ang="0">
                    <a:pos x="36" y="49"/>
                  </a:cxn>
                  <a:cxn ang="0">
                    <a:pos x="41" y="45"/>
                  </a:cxn>
                </a:cxnLst>
                <a:rect l="0" t="0" r="r" b="b"/>
                <a:pathLst>
                  <a:path w="98" h="51">
                    <a:moveTo>
                      <a:pt x="41" y="45"/>
                    </a:moveTo>
                    <a:lnTo>
                      <a:pt x="41" y="45"/>
                    </a:lnTo>
                    <a:lnTo>
                      <a:pt x="41" y="41"/>
                    </a:lnTo>
                    <a:lnTo>
                      <a:pt x="42" y="37"/>
                    </a:lnTo>
                    <a:lnTo>
                      <a:pt x="44" y="37"/>
                    </a:lnTo>
                    <a:lnTo>
                      <a:pt x="46" y="35"/>
                    </a:lnTo>
                    <a:lnTo>
                      <a:pt x="46" y="35"/>
                    </a:lnTo>
                    <a:lnTo>
                      <a:pt x="52" y="35"/>
                    </a:lnTo>
                    <a:lnTo>
                      <a:pt x="58" y="34"/>
                    </a:lnTo>
                    <a:lnTo>
                      <a:pt x="62" y="31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5" y="27"/>
                    </a:lnTo>
                    <a:lnTo>
                      <a:pt x="66" y="25"/>
                    </a:lnTo>
                    <a:lnTo>
                      <a:pt x="71" y="24"/>
                    </a:lnTo>
                    <a:lnTo>
                      <a:pt x="79" y="25"/>
                    </a:lnTo>
                    <a:lnTo>
                      <a:pt x="79" y="25"/>
                    </a:lnTo>
                    <a:lnTo>
                      <a:pt x="86" y="21"/>
                    </a:lnTo>
                    <a:lnTo>
                      <a:pt x="92" y="18"/>
                    </a:lnTo>
                    <a:lnTo>
                      <a:pt x="98" y="17"/>
                    </a:lnTo>
                    <a:lnTo>
                      <a:pt x="98" y="17"/>
                    </a:lnTo>
                    <a:lnTo>
                      <a:pt x="98" y="15"/>
                    </a:lnTo>
                    <a:lnTo>
                      <a:pt x="96" y="12"/>
                    </a:lnTo>
                    <a:lnTo>
                      <a:pt x="92" y="11"/>
                    </a:lnTo>
                    <a:lnTo>
                      <a:pt x="86" y="8"/>
                    </a:lnTo>
                    <a:lnTo>
                      <a:pt x="81" y="4"/>
                    </a:lnTo>
                    <a:lnTo>
                      <a:pt x="81" y="4"/>
                    </a:lnTo>
                    <a:lnTo>
                      <a:pt x="76" y="2"/>
                    </a:lnTo>
                    <a:lnTo>
                      <a:pt x="72" y="1"/>
                    </a:lnTo>
                    <a:lnTo>
                      <a:pt x="64" y="0"/>
                    </a:lnTo>
                    <a:lnTo>
                      <a:pt x="54" y="1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39" y="5"/>
                    </a:lnTo>
                    <a:lnTo>
                      <a:pt x="31" y="4"/>
                    </a:lnTo>
                    <a:lnTo>
                      <a:pt x="24" y="4"/>
                    </a:lnTo>
                    <a:lnTo>
                      <a:pt x="19" y="4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15" y="5"/>
                    </a:lnTo>
                    <a:lnTo>
                      <a:pt x="15" y="5"/>
                    </a:lnTo>
                    <a:lnTo>
                      <a:pt x="7" y="15"/>
                    </a:lnTo>
                    <a:lnTo>
                      <a:pt x="7" y="15"/>
                    </a:lnTo>
                    <a:lnTo>
                      <a:pt x="4" y="18"/>
                    </a:lnTo>
                    <a:lnTo>
                      <a:pt x="2" y="22"/>
                    </a:lnTo>
                    <a:lnTo>
                      <a:pt x="1" y="25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7" y="31"/>
                    </a:lnTo>
                    <a:lnTo>
                      <a:pt x="7" y="31"/>
                    </a:lnTo>
                    <a:lnTo>
                      <a:pt x="12" y="32"/>
                    </a:lnTo>
                    <a:lnTo>
                      <a:pt x="17" y="34"/>
                    </a:lnTo>
                    <a:lnTo>
                      <a:pt x="21" y="34"/>
                    </a:lnTo>
                    <a:lnTo>
                      <a:pt x="24" y="35"/>
                    </a:lnTo>
                    <a:lnTo>
                      <a:pt x="24" y="35"/>
                    </a:lnTo>
                    <a:lnTo>
                      <a:pt x="25" y="39"/>
                    </a:lnTo>
                    <a:lnTo>
                      <a:pt x="24" y="45"/>
                    </a:lnTo>
                    <a:lnTo>
                      <a:pt x="24" y="45"/>
                    </a:lnTo>
                    <a:lnTo>
                      <a:pt x="27" y="44"/>
                    </a:lnTo>
                    <a:lnTo>
                      <a:pt x="29" y="45"/>
                    </a:lnTo>
                    <a:lnTo>
                      <a:pt x="29" y="45"/>
                    </a:lnTo>
                    <a:lnTo>
                      <a:pt x="31" y="48"/>
                    </a:lnTo>
                    <a:lnTo>
                      <a:pt x="31" y="51"/>
                    </a:lnTo>
                    <a:lnTo>
                      <a:pt x="36" y="49"/>
                    </a:lnTo>
                    <a:lnTo>
                      <a:pt x="36" y="49"/>
                    </a:lnTo>
                    <a:lnTo>
                      <a:pt x="41" y="45"/>
                    </a:lnTo>
                    <a:lnTo>
                      <a:pt x="41" y="45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70" name="Nicaragua">
                <a:extLst>
                  <a:ext uri="{FF2B5EF4-FFF2-40B4-BE49-F238E27FC236}">
                    <a16:creationId xmlns:a16="http://schemas.microsoft.com/office/drawing/2014/main" id="{4BD76286-BED0-BDEC-721C-7771DE70F1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2462" y="3950153"/>
                <a:ext cx="99146" cy="102106"/>
              </a:xfrm>
              <a:custGeom>
                <a:avLst/>
                <a:gdLst/>
                <a:ahLst/>
                <a:cxnLst>
                  <a:cxn ang="0">
                    <a:pos x="35" y="67"/>
                  </a:cxn>
                  <a:cxn ang="0">
                    <a:pos x="44" y="68"/>
                  </a:cxn>
                  <a:cxn ang="0">
                    <a:pos x="51" y="69"/>
                  </a:cxn>
                  <a:cxn ang="0">
                    <a:pos x="55" y="69"/>
                  </a:cxn>
                  <a:cxn ang="0">
                    <a:pos x="60" y="69"/>
                  </a:cxn>
                  <a:cxn ang="0">
                    <a:pos x="57" y="67"/>
                  </a:cxn>
                  <a:cxn ang="0">
                    <a:pos x="58" y="57"/>
                  </a:cxn>
                  <a:cxn ang="0">
                    <a:pos x="61" y="45"/>
                  </a:cxn>
                  <a:cxn ang="0">
                    <a:pos x="61" y="31"/>
                  </a:cxn>
                  <a:cxn ang="0">
                    <a:pos x="62" y="21"/>
                  </a:cxn>
                  <a:cxn ang="0">
                    <a:pos x="64" y="18"/>
                  </a:cxn>
                  <a:cxn ang="0">
                    <a:pos x="65" y="13"/>
                  </a:cxn>
                  <a:cxn ang="0">
                    <a:pos x="67" y="1"/>
                  </a:cxn>
                  <a:cxn ang="0">
                    <a:pos x="67" y="0"/>
                  </a:cxn>
                  <a:cxn ang="0">
                    <a:pos x="55" y="4"/>
                  </a:cxn>
                  <a:cxn ang="0">
                    <a:pos x="48" y="8"/>
                  </a:cxn>
                  <a:cxn ang="0">
                    <a:pos x="35" y="8"/>
                  </a:cxn>
                  <a:cxn ang="0">
                    <a:pos x="33" y="11"/>
                  </a:cxn>
                  <a:cxn ang="0">
                    <a:pos x="31" y="14"/>
                  </a:cxn>
                  <a:cxn ang="0">
                    <a:pos x="21" y="18"/>
                  </a:cxn>
                  <a:cxn ang="0">
                    <a:pos x="15" y="18"/>
                  </a:cxn>
                  <a:cxn ang="0">
                    <a:pos x="11" y="20"/>
                  </a:cxn>
                  <a:cxn ang="0">
                    <a:pos x="10" y="28"/>
                  </a:cxn>
                  <a:cxn ang="0">
                    <a:pos x="5" y="32"/>
                  </a:cxn>
                  <a:cxn ang="0">
                    <a:pos x="0" y="34"/>
                  </a:cxn>
                  <a:cxn ang="0">
                    <a:pos x="1" y="41"/>
                  </a:cxn>
                  <a:cxn ang="0">
                    <a:pos x="7" y="44"/>
                  </a:cxn>
                  <a:cxn ang="0">
                    <a:pos x="17" y="55"/>
                  </a:cxn>
                  <a:cxn ang="0">
                    <a:pos x="21" y="59"/>
                  </a:cxn>
                  <a:cxn ang="0">
                    <a:pos x="27" y="65"/>
                  </a:cxn>
                  <a:cxn ang="0">
                    <a:pos x="31" y="65"/>
                  </a:cxn>
                  <a:cxn ang="0">
                    <a:pos x="35" y="67"/>
                  </a:cxn>
                </a:cxnLst>
                <a:rect l="0" t="0" r="r" b="b"/>
                <a:pathLst>
                  <a:path w="67" h="69">
                    <a:moveTo>
                      <a:pt x="35" y="67"/>
                    </a:moveTo>
                    <a:lnTo>
                      <a:pt x="35" y="67"/>
                    </a:lnTo>
                    <a:lnTo>
                      <a:pt x="40" y="67"/>
                    </a:lnTo>
                    <a:lnTo>
                      <a:pt x="44" y="68"/>
                    </a:lnTo>
                    <a:lnTo>
                      <a:pt x="48" y="68"/>
                    </a:lnTo>
                    <a:lnTo>
                      <a:pt x="51" y="69"/>
                    </a:lnTo>
                    <a:lnTo>
                      <a:pt x="51" y="69"/>
                    </a:lnTo>
                    <a:lnTo>
                      <a:pt x="55" y="69"/>
                    </a:lnTo>
                    <a:lnTo>
                      <a:pt x="60" y="69"/>
                    </a:lnTo>
                    <a:lnTo>
                      <a:pt x="60" y="69"/>
                    </a:lnTo>
                    <a:lnTo>
                      <a:pt x="57" y="67"/>
                    </a:lnTo>
                    <a:lnTo>
                      <a:pt x="57" y="67"/>
                    </a:lnTo>
                    <a:lnTo>
                      <a:pt x="57" y="62"/>
                    </a:lnTo>
                    <a:lnTo>
                      <a:pt x="58" y="57"/>
                    </a:lnTo>
                    <a:lnTo>
                      <a:pt x="61" y="45"/>
                    </a:lnTo>
                    <a:lnTo>
                      <a:pt x="61" y="45"/>
                    </a:lnTo>
                    <a:lnTo>
                      <a:pt x="62" y="40"/>
                    </a:lnTo>
                    <a:lnTo>
                      <a:pt x="61" y="31"/>
                    </a:lnTo>
                    <a:lnTo>
                      <a:pt x="61" y="24"/>
                    </a:lnTo>
                    <a:lnTo>
                      <a:pt x="62" y="21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5" y="15"/>
                    </a:lnTo>
                    <a:lnTo>
                      <a:pt x="65" y="13"/>
                    </a:lnTo>
                    <a:lnTo>
                      <a:pt x="67" y="1"/>
                    </a:lnTo>
                    <a:lnTo>
                      <a:pt x="67" y="1"/>
                    </a:lnTo>
                    <a:lnTo>
                      <a:pt x="67" y="0"/>
                    </a:lnTo>
                    <a:lnTo>
                      <a:pt x="67" y="0"/>
                    </a:lnTo>
                    <a:lnTo>
                      <a:pt x="61" y="1"/>
                    </a:lnTo>
                    <a:lnTo>
                      <a:pt x="55" y="4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0" y="7"/>
                    </a:lnTo>
                    <a:lnTo>
                      <a:pt x="35" y="8"/>
                    </a:lnTo>
                    <a:lnTo>
                      <a:pt x="34" y="10"/>
                    </a:lnTo>
                    <a:lnTo>
                      <a:pt x="33" y="11"/>
                    </a:lnTo>
                    <a:lnTo>
                      <a:pt x="33" y="11"/>
                    </a:lnTo>
                    <a:lnTo>
                      <a:pt x="31" y="14"/>
                    </a:lnTo>
                    <a:lnTo>
                      <a:pt x="27" y="17"/>
                    </a:lnTo>
                    <a:lnTo>
                      <a:pt x="21" y="18"/>
                    </a:lnTo>
                    <a:lnTo>
                      <a:pt x="15" y="18"/>
                    </a:lnTo>
                    <a:lnTo>
                      <a:pt x="15" y="18"/>
                    </a:lnTo>
                    <a:lnTo>
                      <a:pt x="13" y="20"/>
                    </a:lnTo>
                    <a:lnTo>
                      <a:pt x="11" y="20"/>
                    </a:lnTo>
                    <a:lnTo>
                      <a:pt x="10" y="24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5" y="32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1" y="41"/>
                    </a:lnTo>
                    <a:lnTo>
                      <a:pt x="1" y="41"/>
                    </a:lnTo>
                    <a:lnTo>
                      <a:pt x="7" y="44"/>
                    </a:lnTo>
                    <a:lnTo>
                      <a:pt x="11" y="49"/>
                    </a:lnTo>
                    <a:lnTo>
                      <a:pt x="17" y="55"/>
                    </a:lnTo>
                    <a:lnTo>
                      <a:pt x="21" y="59"/>
                    </a:lnTo>
                    <a:lnTo>
                      <a:pt x="21" y="59"/>
                    </a:lnTo>
                    <a:lnTo>
                      <a:pt x="25" y="62"/>
                    </a:lnTo>
                    <a:lnTo>
                      <a:pt x="27" y="65"/>
                    </a:lnTo>
                    <a:lnTo>
                      <a:pt x="27" y="65"/>
                    </a:lnTo>
                    <a:lnTo>
                      <a:pt x="31" y="65"/>
                    </a:lnTo>
                    <a:lnTo>
                      <a:pt x="35" y="67"/>
                    </a:lnTo>
                    <a:lnTo>
                      <a:pt x="35" y="67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71" name="Costa Rica">
                <a:extLst>
                  <a:ext uri="{FF2B5EF4-FFF2-40B4-BE49-F238E27FC236}">
                    <a16:creationId xmlns:a16="http://schemas.microsoft.com/office/drawing/2014/main" id="{F4ECD453-E10B-429D-CAE4-D74E0A7B74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7977" y="4046338"/>
                <a:ext cx="75470" cy="65111"/>
              </a:xfrm>
              <a:custGeom>
                <a:avLst/>
                <a:gdLst/>
                <a:ahLst/>
                <a:cxnLst>
                  <a:cxn ang="0">
                    <a:pos x="48" y="34"/>
                  </a:cxn>
                  <a:cxn ang="0">
                    <a:pos x="48" y="34"/>
                  </a:cxn>
                  <a:cxn ang="0">
                    <a:pos x="48" y="30"/>
                  </a:cxn>
                  <a:cxn ang="0">
                    <a:pos x="51" y="24"/>
                  </a:cxn>
                  <a:cxn ang="0">
                    <a:pos x="51" y="24"/>
                  </a:cxn>
                  <a:cxn ang="0">
                    <a:pos x="43" y="14"/>
                  </a:cxn>
                  <a:cxn ang="0">
                    <a:pos x="36" y="4"/>
                  </a:cxn>
                  <a:cxn ang="0">
                    <a:pos x="36" y="4"/>
                  </a:cxn>
                  <a:cxn ang="0">
                    <a:pos x="31" y="4"/>
                  </a:cxn>
                  <a:cxn ang="0">
                    <a:pos x="27" y="4"/>
                  </a:cxn>
                  <a:cxn ang="0">
                    <a:pos x="27" y="4"/>
                  </a:cxn>
                  <a:cxn ang="0">
                    <a:pos x="24" y="3"/>
                  </a:cxn>
                  <a:cxn ang="0">
                    <a:pos x="20" y="3"/>
                  </a:cxn>
                  <a:cxn ang="0">
                    <a:pos x="16" y="2"/>
                  </a:cxn>
                  <a:cxn ang="0">
                    <a:pos x="11" y="2"/>
                  </a:cxn>
                  <a:cxn ang="0">
                    <a:pos x="11" y="2"/>
                  </a:cxn>
                  <a:cxn ang="0">
                    <a:pos x="7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3" y="4"/>
                  </a:cxn>
                  <a:cxn ang="0">
                    <a:pos x="1" y="7"/>
                  </a:cxn>
                  <a:cxn ang="0">
                    <a:pos x="1" y="7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1" y="17"/>
                  </a:cxn>
                  <a:cxn ang="0">
                    <a:pos x="6" y="21"/>
                  </a:cxn>
                  <a:cxn ang="0">
                    <a:pos x="6" y="21"/>
                  </a:cxn>
                  <a:cxn ang="0">
                    <a:pos x="10" y="21"/>
                  </a:cxn>
                  <a:cxn ang="0">
                    <a:pos x="11" y="21"/>
                  </a:cxn>
                  <a:cxn ang="0">
                    <a:pos x="13" y="20"/>
                  </a:cxn>
                  <a:cxn ang="0">
                    <a:pos x="16" y="19"/>
                  </a:cxn>
                  <a:cxn ang="0">
                    <a:pos x="16" y="19"/>
                  </a:cxn>
                  <a:cxn ang="0">
                    <a:pos x="17" y="20"/>
                  </a:cxn>
                  <a:cxn ang="0">
                    <a:pos x="18" y="23"/>
                  </a:cxn>
                  <a:cxn ang="0">
                    <a:pos x="20" y="24"/>
                  </a:cxn>
                  <a:cxn ang="0">
                    <a:pos x="23" y="26"/>
                  </a:cxn>
                  <a:cxn ang="0">
                    <a:pos x="23" y="26"/>
                  </a:cxn>
                  <a:cxn ang="0">
                    <a:pos x="26" y="26"/>
                  </a:cxn>
                  <a:cxn ang="0">
                    <a:pos x="30" y="29"/>
                  </a:cxn>
                  <a:cxn ang="0">
                    <a:pos x="33" y="31"/>
                  </a:cxn>
                  <a:cxn ang="0">
                    <a:pos x="34" y="36"/>
                  </a:cxn>
                  <a:cxn ang="0">
                    <a:pos x="34" y="36"/>
                  </a:cxn>
                  <a:cxn ang="0">
                    <a:pos x="34" y="39"/>
                  </a:cxn>
                  <a:cxn ang="0">
                    <a:pos x="36" y="41"/>
                  </a:cxn>
                  <a:cxn ang="0">
                    <a:pos x="38" y="43"/>
                  </a:cxn>
                  <a:cxn ang="0">
                    <a:pos x="43" y="43"/>
                  </a:cxn>
                  <a:cxn ang="0">
                    <a:pos x="43" y="43"/>
                  </a:cxn>
                  <a:cxn ang="0">
                    <a:pos x="47" y="44"/>
                  </a:cxn>
                  <a:cxn ang="0">
                    <a:pos x="47" y="44"/>
                  </a:cxn>
                  <a:cxn ang="0">
                    <a:pos x="48" y="39"/>
                  </a:cxn>
                  <a:cxn ang="0">
                    <a:pos x="48" y="34"/>
                  </a:cxn>
                  <a:cxn ang="0">
                    <a:pos x="48" y="34"/>
                  </a:cxn>
                </a:cxnLst>
                <a:rect l="0" t="0" r="r" b="b"/>
                <a:pathLst>
                  <a:path w="51" h="44">
                    <a:moveTo>
                      <a:pt x="48" y="34"/>
                    </a:moveTo>
                    <a:lnTo>
                      <a:pt x="48" y="34"/>
                    </a:lnTo>
                    <a:lnTo>
                      <a:pt x="48" y="30"/>
                    </a:lnTo>
                    <a:lnTo>
                      <a:pt x="51" y="24"/>
                    </a:lnTo>
                    <a:lnTo>
                      <a:pt x="51" y="24"/>
                    </a:lnTo>
                    <a:lnTo>
                      <a:pt x="43" y="1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1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4" y="3"/>
                    </a:lnTo>
                    <a:lnTo>
                      <a:pt x="20" y="3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4"/>
                    </a:lnTo>
                    <a:lnTo>
                      <a:pt x="1" y="7"/>
                    </a:lnTo>
                    <a:lnTo>
                      <a:pt x="1" y="7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6" y="21"/>
                    </a:lnTo>
                    <a:lnTo>
                      <a:pt x="6" y="21"/>
                    </a:lnTo>
                    <a:lnTo>
                      <a:pt x="10" y="21"/>
                    </a:lnTo>
                    <a:lnTo>
                      <a:pt x="11" y="21"/>
                    </a:lnTo>
                    <a:lnTo>
                      <a:pt x="13" y="20"/>
                    </a:lnTo>
                    <a:lnTo>
                      <a:pt x="16" y="19"/>
                    </a:lnTo>
                    <a:lnTo>
                      <a:pt x="16" y="19"/>
                    </a:lnTo>
                    <a:lnTo>
                      <a:pt x="17" y="20"/>
                    </a:lnTo>
                    <a:lnTo>
                      <a:pt x="18" y="23"/>
                    </a:lnTo>
                    <a:lnTo>
                      <a:pt x="20" y="24"/>
                    </a:lnTo>
                    <a:lnTo>
                      <a:pt x="23" y="26"/>
                    </a:lnTo>
                    <a:lnTo>
                      <a:pt x="23" y="26"/>
                    </a:lnTo>
                    <a:lnTo>
                      <a:pt x="26" y="26"/>
                    </a:lnTo>
                    <a:lnTo>
                      <a:pt x="30" y="29"/>
                    </a:lnTo>
                    <a:lnTo>
                      <a:pt x="33" y="31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9"/>
                    </a:lnTo>
                    <a:lnTo>
                      <a:pt x="36" y="41"/>
                    </a:lnTo>
                    <a:lnTo>
                      <a:pt x="38" y="43"/>
                    </a:lnTo>
                    <a:lnTo>
                      <a:pt x="43" y="43"/>
                    </a:lnTo>
                    <a:lnTo>
                      <a:pt x="43" y="43"/>
                    </a:lnTo>
                    <a:lnTo>
                      <a:pt x="47" y="44"/>
                    </a:lnTo>
                    <a:lnTo>
                      <a:pt x="47" y="44"/>
                    </a:lnTo>
                    <a:lnTo>
                      <a:pt x="48" y="39"/>
                    </a:lnTo>
                    <a:lnTo>
                      <a:pt x="48" y="34"/>
                    </a:lnTo>
                    <a:lnTo>
                      <a:pt x="48" y="3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72" name="Panama">
                <a:extLst>
                  <a:ext uri="{FF2B5EF4-FFF2-40B4-BE49-F238E27FC236}">
                    <a16:creationId xmlns:a16="http://schemas.microsoft.com/office/drawing/2014/main" id="{A6DA08F6-880A-CCF6-3FB6-D9DE0A5293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7527" y="4080374"/>
                <a:ext cx="139100" cy="59191"/>
              </a:xfrm>
              <a:custGeom>
                <a:avLst/>
                <a:gdLst/>
                <a:ahLst/>
                <a:cxnLst>
                  <a:cxn ang="0">
                    <a:pos x="84" y="11"/>
                  </a:cxn>
                  <a:cxn ang="0">
                    <a:pos x="72" y="4"/>
                  </a:cxn>
                  <a:cxn ang="0">
                    <a:pos x="61" y="1"/>
                  </a:cxn>
                  <a:cxn ang="0">
                    <a:pos x="50" y="1"/>
                  </a:cxn>
                  <a:cxn ang="0">
                    <a:pos x="38" y="10"/>
                  </a:cxn>
                  <a:cxn ang="0">
                    <a:pos x="36" y="13"/>
                  </a:cxn>
                  <a:cxn ang="0">
                    <a:pos x="26" y="14"/>
                  </a:cxn>
                  <a:cxn ang="0">
                    <a:pos x="13" y="8"/>
                  </a:cxn>
                  <a:cxn ang="0">
                    <a:pos x="4" y="1"/>
                  </a:cxn>
                  <a:cxn ang="0">
                    <a:pos x="1" y="7"/>
                  </a:cxn>
                  <a:cxn ang="0">
                    <a:pos x="1" y="11"/>
                  </a:cxn>
                  <a:cxn ang="0">
                    <a:pos x="0" y="21"/>
                  </a:cxn>
                  <a:cxn ang="0">
                    <a:pos x="11" y="24"/>
                  </a:cxn>
                  <a:cxn ang="0">
                    <a:pos x="20" y="30"/>
                  </a:cxn>
                  <a:cxn ang="0">
                    <a:pos x="24" y="33"/>
                  </a:cxn>
                  <a:cxn ang="0">
                    <a:pos x="30" y="35"/>
                  </a:cxn>
                  <a:cxn ang="0">
                    <a:pos x="33" y="38"/>
                  </a:cxn>
                  <a:cxn ang="0">
                    <a:pos x="36" y="40"/>
                  </a:cxn>
                  <a:cxn ang="0">
                    <a:pos x="43" y="37"/>
                  </a:cxn>
                  <a:cxn ang="0">
                    <a:pos x="44" y="34"/>
                  </a:cxn>
                  <a:cxn ang="0">
                    <a:pos x="43" y="30"/>
                  </a:cxn>
                  <a:cxn ang="0">
                    <a:pos x="40" y="26"/>
                  </a:cxn>
                  <a:cxn ang="0">
                    <a:pos x="41" y="24"/>
                  </a:cxn>
                  <a:cxn ang="0">
                    <a:pos x="47" y="21"/>
                  </a:cxn>
                  <a:cxn ang="0">
                    <a:pos x="48" y="18"/>
                  </a:cxn>
                  <a:cxn ang="0">
                    <a:pos x="55" y="13"/>
                  </a:cxn>
                  <a:cxn ang="0">
                    <a:pos x="67" y="13"/>
                  </a:cxn>
                  <a:cxn ang="0">
                    <a:pos x="70" y="14"/>
                  </a:cxn>
                  <a:cxn ang="0">
                    <a:pos x="72" y="20"/>
                  </a:cxn>
                  <a:cxn ang="0">
                    <a:pos x="71" y="23"/>
                  </a:cxn>
                  <a:cxn ang="0">
                    <a:pos x="70" y="27"/>
                  </a:cxn>
                  <a:cxn ang="0">
                    <a:pos x="80" y="40"/>
                  </a:cxn>
                  <a:cxn ang="0">
                    <a:pos x="91" y="30"/>
                  </a:cxn>
                  <a:cxn ang="0">
                    <a:pos x="92" y="27"/>
                  </a:cxn>
                  <a:cxn ang="0">
                    <a:pos x="94" y="24"/>
                  </a:cxn>
                  <a:cxn ang="0">
                    <a:pos x="84" y="11"/>
                  </a:cxn>
                </a:cxnLst>
                <a:rect l="0" t="0" r="r" b="b"/>
                <a:pathLst>
                  <a:path w="94" h="40">
                    <a:moveTo>
                      <a:pt x="84" y="11"/>
                    </a:moveTo>
                    <a:lnTo>
                      <a:pt x="84" y="11"/>
                    </a:lnTo>
                    <a:lnTo>
                      <a:pt x="78" y="7"/>
                    </a:lnTo>
                    <a:lnTo>
                      <a:pt x="72" y="4"/>
                    </a:lnTo>
                    <a:lnTo>
                      <a:pt x="61" y="1"/>
                    </a:lnTo>
                    <a:lnTo>
                      <a:pt x="61" y="1"/>
                    </a:lnTo>
                    <a:lnTo>
                      <a:pt x="55" y="0"/>
                    </a:lnTo>
                    <a:lnTo>
                      <a:pt x="50" y="1"/>
                    </a:lnTo>
                    <a:lnTo>
                      <a:pt x="44" y="4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6" y="13"/>
                    </a:lnTo>
                    <a:lnTo>
                      <a:pt x="31" y="13"/>
                    </a:lnTo>
                    <a:lnTo>
                      <a:pt x="26" y="14"/>
                    </a:lnTo>
                    <a:lnTo>
                      <a:pt x="18" y="11"/>
                    </a:lnTo>
                    <a:lnTo>
                      <a:pt x="13" y="8"/>
                    </a:lnTo>
                    <a:lnTo>
                      <a:pt x="13" y="8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1" y="7"/>
                    </a:lnTo>
                    <a:lnTo>
                      <a:pt x="1" y="11"/>
                    </a:lnTo>
                    <a:lnTo>
                      <a:pt x="1" y="11"/>
                    </a:lnTo>
                    <a:lnTo>
                      <a:pt x="1" y="16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11" y="24"/>
                    </a:lnTo>
                    <a:lnTo>
                      <a:pt x="16" y="27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33"/>
                    </a:lnTo>
                    <a:lnTo>
                      <a:pt x="27" y="34"/>
                    </a:lnTo>
                    <a:lnTo>
                      <a:pt x="30" y="35"/>
                    </a:lnTo>
                    <a:lnTo>
                      <a:pt x="33" y="38"/>
                    </a:lnTo>
                    <a:lnTo>
                      <a:pt x="33" y="38"/>
                    </a:lnTo>
                    <a:lnTo>
                      <a:pt x="34" y="40"/>
                    </a:lnTo>
                    <a:lnTo>
                      <a:pt x="36" y="40"/>
                    </a:lnTo>
                    <a:lnTo>
                      <a:pt x="38" y="40"/>
                    </a:lnTo>
                    <a:lnTo>
                      <a:pt x="43" y="37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3"/>
                    </a:lnTo>
                    <a:lnTo>
                      <a:pt x="43" y="30"/>
                    </a:lnTo>
                    <a:lnTo>
                      <a:pt x="41" y="28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1" y="24"/>
                    </a:lnTo>
                    <a:lnTo>
                      <a:pt x="44" y="23"/>
                    </a:lnTo>
                    <a:lnTo>
                      <a:pt x="47" y="21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1" y="14"/>
                    </a:lnTo>
                    <a:lnTo>
                      <a:pt x="55" y="13"/>
                    </a:lnTo>
                    <a:lnTo>
                      <a:pt x="61" y="11"/>
                    </a:lnTo>
                    <a:lnTo>
                      <a:pt x="67" y="13"/>
                    </a:lnTo>
                    <a:lnTo>
                      <a:pt x="67" y="13"/>
                    </a:lnTo>
                    <a:lnTo>
                      <a:pt x="70" y="14"/>
                    </a:lnTo>
                    <a:lnTo>
                      <a:pt x="72" y="17"/>
                    </a:lnTo>
                    <a:lnTo>
                      <a:pt x="72" y="20"/>
                    </a:lnTo>
                    <a:lnTo>
                      <a:pt x="71" y="23"/>
                    </a:lnTo>
                    <a:lnTo>
                      <a:pt x="71" y="23"/>
                    </a:lnTo>
                    <a:lnTo>
                      <a:pt x="70" y="26"/>
                    </a:lnTo>
                    <a:lnTo>
                      <a:pt x="70" y="27"/>
                    </a:lnTo>
                    <a:lnTo>
                      <a:pt x="72" y="31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91" y="30"/>
                    </a:lnTo>
                    <a:lnTo>
                      <a:pt x="91" y="30"/>
                    </a:lnTo>
                    <a:lnTo>
                      <a:pt x="92" y="27"/>
                    </a:lnTo>
                    <a:lnTo>
                      <a:pt x="94" y="24"/>
                    </a:lnTo>
                    <a:lnTo>
                      <a:pt x="94" y="24"/>
                    </a:lnTo>
                    <a:lnTo>
                      <a:pt x="88" y="20"/>
                    </a:lnTo>
                    <a:lnTo>
                      <a:pt x="84" y="11"/>
                    </a:lnTo>
                    <a:lnTo>
                      <a:pt x="84" y="11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</p:grpSp>
        <p:grpSp>
          <p:nvGrpSpPr>
            <p:cNvPr id="194" name="South America">
              <a:extLst>
                <a:ext uri="{FF2B5EF4-FFF2-40B4-BE49-F238E27FC236}">
                  <a16:creationId xmlns:a16="http://schemas.microsoft.com/office/drawing/2014/main" id="{D02FEA7F-4DC0-1AA0-CEE0-0779F37D8C43}"/>
                </a:ext>
              </a:extLst>
            </p:cNvPr>
            <p:cNvGrpSpPr/>
            <p:nvPr/>
          </p:nvGrpSpPr>
          <p:grpSpPr>
            <a:xfrm>
              <a:off x="3900002" y="4477525"/>
              <a:ext cx="1115757" cy="1792019"/>
              <a:chOff x="2376001" y="4012303"/>
              <a:chExt cx="1115757" cy="1792019"/>
            </a:xfrm>
            <a:solidFill>
              <a:schemeClr val="bg1">
                <a:lumMod val="75000"/>
              </a:schemeClr>
            </a:solidFill>
          </p:grpSpPr>
          <p:sp>
            <p:nvSpPr>
              <p:cNvPr id="252" name="Trinidad and Tobago">
                <a:extLst>
                  <a:ext uri="{FF2B5EF4-FFF2-40B4-BE49-F238E27FC236}">
                    <a16:creationId xmlns:a16="http://schemas.microsoft.com/office/drawing/2014/main" id="{2B7AEB48-CE30-7E14-3B25-6D6F4880E1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2133" y="4055217"/>
                <a:ext cx="23676" cy="16278"/>
              </a:xfrm>
              <a:custGeom>
                <a:avLst/>
                <a:gdLst/>
                <a:ahLst/>
                <a:cxnLst>
                  <a:cxn ang="0">
                    <a:pos x="2" y="11"/>
                  </a:cxn>
                  <a:cxn ang="0">
                    <a:pos x="2" y="11"/>
                  </a:cxn>
                  <a:cxn ang="0">
                    <a:pos x="2" y="10"/>
                  </a:cxn>
                  <a:cxn ang="0">
                    <a:pos x="2" y="7"/>
                  </a:cxn>
                  <a:cxn ang="0">
                    <a:pos x="3" y="6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0" y="3"/>
                  </a:cxn>
                  <a:cxn ang="0">
                    <a:pos x="2" y="1"/>
                  </a:cxn>
                  <a:cxn ang="0">
                    <a:pos x="5" y="0"/>
                  </a:cxn>
                  <a:cxn ang="0">
                    <a:pos x="9" y="0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16" y="3"/>
                  </a:cxn>
                  <a:cxn ang="0">
                    <a:pos x="16" y="6"/>
                  </a:cxn>
                  <a:cxn ang="0">
                    <a:pos x="16" y="8"/>
                  </a:cxn>
                  <a:cxn ang="0">
                    <a:pos x="15" y="10"/>
                  </a:cxn>
                  <a:cxn ang="0">
                    <a:pos x="15" y="10"/>
                  </a:cxn>
                  <a:cxn ang="0">
                    <a:pos x="7" y="11"/>
                  </a:cxn>
                  <a:cxn ang="0">
                    <a:pos x="5" y="11"/>
                  </a:cxn>
                  <a:cxn ang="0">
                    <a:pos x="2" y="11"/>
                  </a:cxn>
                  <a:cxn ang="0">
                    <a:pos x="2" y="11"/>
                  </a:cxn>
                </a:cxnLst>
                <a:rect l="0" t="0" r="r" b="b"/>
                <a:pathLst>
                  <a:path w="16" h="11">
                    <a:moveTo>
                      <a:pt x="2" y="11"/>
                    </a:moveTo>
                    <a:lnTo>
                      <a:pt x="2" y="11"/>
                    </a:lnTo>
                    <a:lnTo>
                      <a:pt x="2" y="10"/>
                    </a:lnTo>
                    <a:lnTo>
                      <a:pt x="2" y="7"/>
                    </a:lnTo>
                    <a:lnTo>
                      <a:pt x="3" y="6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3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6" y="3"/>
                    </a:lnTo>
                    <a:lnTo>
                      <a:pt x="16" y="6"/>
                    </a:lnTo>
                    <a:lnTo>
                      <a:pt x="16" y="8"/>
                    </a:lnTo>
                    <a:lnTo>
                      <a:pt x="15" y="10"/>
                    </a:lnTo>
                    <a:lnTo>
                      <a:pt x="15" y="10"/>
                    </a:lnTo>
                    <a:lnTo>
                      <a:pt x="7" y="11"/>
                    </a:lnTo>
                    <a:lnTo>
                      <a:pt x="5" y="11"/>
                    </a:lnTo>
                    <a:lnTo>
                      <a:pt x="2" y="11"/>
                    </a:lnTo>
                    <a:lnTo>
                      <a:pt x="2" y="11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53" name="Suriname">
                <a:extLst>
                  <a:ext uri="{FF2B5EF4-FFF2-40B4-BE49-F238E27FC236}">
                    <a16:creationId xmlns:a16="http://schemas.microsoft.com/office/drawing/2014/main" id="{91743DFC-AA90-3264-409A-F85E968BBF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5360" y="4164720"/>
                <a:ext cx="99146" cy="105065"/>
              </a:xfrm>
              <a:custGeom>
                <a:avLst/>
                <a:gdLst/>
                <a:ahLst/>
                <a:cxnLst>
                  <a:cxn ang="0">
                    <a:pos x="14" y="14"/>
                  </a:cxn>
                  <a:cxn ang="0">
                    <a:pos x="13" y="18"/>
                  </a:cxn>
                  <a:cxn ang="0">
                    <a:pos x="7" y="21"/>
                  </a:cxn>
                  <a:cxn ang="0">
                    <a:pos x="6" y="21"/>
                  </a:cxn>
                  <a:cxn ang="0">
                    <a:pos x="3" y="27"/>
                  </a:cxn>
                  <a:cxn ang="0">
                    <a:pos x="0" y="35"/>
                  </a:cxn>
                  <a:cxn ang="0">
                    <a:pos x="0" y="37"/>
                  </a:cxn>
                  <a:cxn ang="0">
                    <a:pos x="6" y="42"/>
                  </a:cxn>
                  <a:cxn ang="0">
                    <a:pos x="14" y="51"/>
                  </a:cxn>
                  <a:cxn ang="0">
                    <a:pos x="23" y="70"/>
                  </a:cxn>
                  <a:cxn ang="0">
                    <a:pos x="27" y="71"/>
                  </a:cxn>
                  <a:cxn ang="0">
                    <a:pos x="31" y="70"/>
                  </a:cxn>
                  <a:cxn ang="0">
                    <a:pos x="34" y="64"/>
                  </a:cxn>
                  <a:cxn ang="0">
                    <a:pos x="36" y="60"/>
                  </a:cxn>
                  <a:cxn ang="0">
                    <a:pos x="38" y="60"/>
                  </a:cxn>
                  <a:cxn ang="0">
                    <a:pos x="53" y="60"/>
                  </a:cxn>
                  <a:cxn ang="0">
                    <a:pos x="55" y="61"/>
                  </a:cxn>
                  <a:cxn ang="0">
                    <a:pos x="57" y="62"/>
                  </a:cxn>
                  <a:cxn ang="0">
                    <a:pos x="63" y="55"/>
                  </a:cxn>
                  <a:cxn ang="0">
                    <a:pos x="63" y="40"/>
                  </a:cxn>
                  <a:cxn ang="0">
                    <a:pos x="60" y="34"/>
                  </a:cxn>
                  <a:cxn ang="0">
                    <a:pos x="60" y="23"/>
                  </a:cxn>
                  <a:cxn ang="0">
                    <a:pos x="63" y="15"/>
                  </a:cxn>
                  <a:cxn ang="0">
                    <a:pos x="67" y="7"/>
                  </a:cxn>
                  <a:cxn ang="0">
                    <a:pos x="58" y="4"/>
                  </a:cxn>
                  <a:cxn ang="0">
                    <a:pos x="50" y="3"/>
                  </a:cxn>
                  <a:cxn ang="0">
                    <a:pos x="33" y="6"/>
                  </a:cxn>
                  <a:cxn ang="0">
                    <a:pos x="30" y="3"/>
                  </a:cxn>
                  <a:cxn ang="0">
                    <a:pos x="27" y="1"/>
                  </a:cxn>
                  <a:cxn ang="0">
                    <a:pos x="21" y="1"/>
                  </a:cxn>
                  <a:cxn ang="0">
                    <a:pos x="17" y="3"/>
                  </a:cxn>
                  <a:cxn ang="0">
                    <a:pos x="16" y="3"/>
                  </a:cxn>
                  <a:cxn ang="0">
                    <a:pos x="14" y="14"/>
                  </a:cxn>
                </a:cxnLst>
                <a:rect l="0" t="0" r="r" b="b"/>
                <a:pathLst>
                  <a:path w="67" h="71">
                    <a:moveTo>
                      <a:pt x="14" y="14"/>
                    </a:moveTo>
                    <a:lnTo>
                      <a:pt x="14" y="14"/>
                    </a:lnTo>
                    <a:lnTo>
                      <a:pt x="14" y="17"/>
                    </a:lnTo>
                    <a:lnTo>
                      <a:pt x="13" y="18"/>
                    </a:lnTo>
                    <a:lnTo>
                      <a:pt x="10" y="20"/>
                    </a:lnTo>
                    <a:lnTo>
                      <a:pt x="7" y="21"/>
                    </a:lnTo>
                    <a:lnTo>
                      <a:pt x="7" y="21"/>
                    </a:lnTo>
                    <a:lnTo>
                      <a:pt x="6" y="21"/>
                    </a:lnTo>
                    <a:lnTo>
                      <a:pt x="4" y="23"/>
                    </a:lnTo>
                    <a:lnTo>
                      <a:pt x="3" y="27"/>
                    </a:lnTo>
                    <a:lnTo>
                      <a:pt x="1" y="31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0" y="37"/>
                    </a:lnTo>
                    <a:lnTo>
                      <a:pt x="1" y="38"/>
                    </a:lnTo>
                    <a:lnTo>
                      <a:pt x="6" y="42"/>
                    </a:lnTo>
                    <a:lnTo>
                      <a:pt x="10" y="47"/>
                    </a:lnTo>
                    <a:lnTo>
                      <a:pt x="14" y="51"/>
                    </a:lnTo>
                    <a:lnTo>
                      <a:pt x="14" y="51"/>
                    </a:lnTo>
                    <a:lnTo>
                      <a:pt x="23" y="70"/>
                    </a:lnTo>
                    <a:lnTo>
                      <a:pt x="23" y="70"/>
                    </a:lnTo>
                    <a:lnTo>
                      <a:pt x="27" y="71"/>
                    </a:lnTo>
                    <a:lnTo>
                      <a:pt x="31" y="70"/>
                    </a:lnTo>
                    <a:lnTo>
                      <a:pt x="31" y="70"/>
                    </a:lnTo>
                    <a:lnTo>
                      <a:pt x="33" y="68"/>
                    </a:lnTo>
                    <a:lnTo>
                      <a:pt x="34" y="64"/>
                    </a:lnTo>
                    <a:lnTo>
                      <a:pt x="34" y="61"/>
                    </a:lnTo>
                    <a:lnTo>
                      <a:pt x="36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48" y="60"/>
                    </a:lnTo>
                    <a:lnTo>
                      <a:pt x="53" y="60"/>
                    </a:lnTo>
                    <a:lnTo>
                      <a:pt x="55" y="61"/>
                    </a:lnTo>
                    <a:lnTo>
                      <a:pt x="55" y="61"/>
                    </a:lnTo>
                    <a:lnTo>
                      <a:pt x="57" y="62"/>
                    </a:lnTo>
                    <a:lnTo>
                      <a:pt x="57" y="62"/>
                    </a:lnTo>
                    <a:lnTo>
                      <a:pt x="63" y="55"/>
                    </a:lnTo>
                    <a:lnTo>
                      <a:pt x="63" y="55"/>
                    </a:lnTo>
                    <a:lnTo>
                      <a:pt x="63" y="47"/>
                    </a:lnTo>
                    <a:lnTo>
                      <a:pt x="63" y="4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28"/>
                    </a:lnTo>
                    <a:lnTo>
                      <a:pt x="60" y="23"/>
                    </a:lnTo>
                    <a:lnTo>
                      <a:pt x="61" y="18"/>
                    </a:lnTo>
                    <a:lnTo>
                      <a:pt x="63" y="15"/>
                    </a:lnTo>
                    <a:lnTo>
                      <a:pt x="63" y="15"/>
                    </a:lnTo>
                    <a:lnTo>
                      <a:pt x="67" y="7"/>
                    </a:lnTo>
                    <a:lnTo>
                      <a:pt x="67" y="7"/>
                    </a:lnTo>
                    <a:lnTo>
                      <a:pt x="58" y="4"/>
                    </a:lnTo>
                    <a:lnTo>
                      <a:pt x="50" y="3"/>
                    </a:lnTo>
                    <a:lnTo>
                      <a:pt x="50" y="3"/>
                    </a:lnTo>
                    <a:lnTo>
                      <a:pt x="38" y="6"/>
                    </a:lnTo>
                    <a:lnTo>
                      <a:pt x="33" y="6"/>
                    </a:lnTo>
                    <a:lnTo>
                      <a:pt x="31" y="4"/>
                    </a:lnTo>
                    <a:lnTo>
                      <a:pt x="30" y="3"/>
                    </a:lnTo>
                    <a:lnTo>
                      <a:pt x="30" y="3"/>
                    </a:lnTo>
                    <a:lnTo>
                      <a:pt x="27" y="1"/>
                    </a:lnTo>
                    <a:lnTo>
                      <a:pt x="24" y="0"/>
                    </a:lnTo>
                    <a:lnTo>
                      <a:pt x="21" y="1"/>
                    </a:lnTo>
                    <a:lnTo>
                      <a:pt x="17" y="3"/>
                    </a:lnTo>
                    <a:lnTo>
                      <a:pt x="17" y="3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54" name="French Guiana">
                <a:extLst>
                  <a:ext uri="{FF2B5EF4-FFF2-40B4-BE49-F238E27FC236}">
                    <a16:creationId xmlns:a16="http://schemas.microsoft.com/office/drawing/2014/main" id="{7770DC27-90CF-B339-7AF4-B93197F080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9708" y="4175080"/>
                <a:ext cx="75470" cy="88787"/>
              </a:xfrm>
              <a:custGeom>
                <a:avLst/>
                <a:gdLst/>
                <a:ahLst/>
                <a:cxnLst>
                  <a:cxn ang="0">
                    <a:pos x="3" y="27"/>
                  </a:cxn>
                  <a:cxn ang="0">
                    <a:pos x="3" y="27"/>
                  </a:cxn>
                  <a:cxn ang="0">
                    <a:pos x="6" y="33"/>
                  </a:cxn>
                  <a:cxn ang="0">
                    <a:pos x="6" y="40"/>
                  </a:cxn>
                  <a:cxn ang="0">
                    <a:pos x="6" y="48"/>
                  </a:cxn>
                  <a:cxn ang="0">
                    <a:pos x="6" y="48"/>
                  </a:cxn>
                  <a:cxn ang="0">
                    <a:pos x="0" y="55"/>
                  </a:cxn>
                  <a:cxn ang="0">
                    <a:pos x="0" y="55"/>
                  </a:cxn>
                  <a:cxn ang="0">
                    <a:pos x="3" y="58"/>
                  </a:cxn>
                  <a:cxn ang="0">
                    <a:pos x="6" y="60"/>
                  </a:cxn>
                  <a:cxn ang="0">
                    <a:pos x="10" y="60"/>
                  </a:cxn>
                  <a:cxn ang="0">
                    <a:pos x="14" y="58"/>
                  </a:cxn>
                  <a:cxn ang="0">
                    <a:pos x="14" y="58"/>
                  </a:cxn>
                  <a:cxn ang="0">
                    <a:pos x="21" y="57"/>
                  </a:cxn>
                  <a:cxn ang="0">
                    <a:pos x="25" y="57"/>
                  </a:cxn>
                  <a:cxn ang="0">
                    <a:pos x="28" y="55"/>
                  </a:cxn>
                  <a:cxn ang="0">
                    <a:pos x="31" y="51"/>
                  </a:cxn>
                  <a:cxn ang="0">
                    <a:pos x="31" y="51"/>
                  </a:cxn>
                  <a:cxn ang="0">
                    <a:pos x="34" y="45"/>
                  </a:cxn>
                  <a:cxn ang="0">
                    <a:pos x="40" y="38"/>
                  </a:cxn>
                  <a:cxn ang="0">
                    <a:pos x="51" y="26"/>
                  </a:cxn>
                  <a:cxn ang="0">
                    <a:pos x="51" y="26"/>
                  </a:cxn>
                  <a:cxn ang="0">
                    <a:pos x="50" y="26"/>
                  </a:cxn>
                  <a:cxn ang="0">
                    <a:pos x="50" y="26"/>
                  </a:cxn>
                  <a:cxn ang="0">
                    <a:pos x="44" y="21"/>
                  </a:cxn>
                  <a:cxn ang="0">
                    <a:pos x="38" y="14"/>
                  </a:cxn>
                  <a:cxn ang="0">
                    <a:pos x="30" y="8"/>
                  </a:cxn>
                  <a:cxn ang="0">
                    <a:pos x="27" y="6"/>
                  </a:cxn>
                  <a:cxn ang="0">
                    <a:pos x="23" y="4"/>
                  </a:cxn>
                  <a:cxn ang="0">
                    <a:pos x="23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4" y="11"/>
                  </a:cxn>
                  <a:cxn ang="0">
                    <a:pos x="3" y="16"/>
                  </a:cxn>
                  <a:cxn ang="0">
                    <a:pos x="3" y="21"/>
                  </a:cxn>
                  <a:cxn ang="0">
                    <a:pos x="3" y="27"/>
                  </a:cxn>
                  <a:cxn ang="0">
                    <a:pos x="3" y="27"/>
                  </a:cxn>
                </a:cxnLst>
                <a:rect l="0" t="0" r="r" b="b"/>
                <a:pathLst>
                  <a:path w="51" h="60">
                    <a:moveTo>
                      <a:pt x="3" y="27"/>
                    </a:moveTo>
                    <a:lnTo>
                      <a:pt x="3" y="27"/>
                    </a:lnTo>
                    <a:lnTo>
                      <a:pt x="6" y="33"/>
                    </a:lnTo>
                    <a:lnTo>
                      <a:pt x="6" y="40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0" y="55"/>
                    </a:lnTo>
                    <a:lnTo>
                      <a:pt x="0" y="55"/>
                    </a:lnTo>
                    <a:lnTo>
                      <a:pt x="3" y="58"/>
                    </a:lnTo>
                    <a:lnTo>
                      <a:pt x="6" y="60"/>
                    </a:lnTo>
                    <a:lnTo>
                      <a:pt x="10" y="60"/>
                    </a:lnTo>
                    <a:lnTo>
                      <a:pt x="14" y="58"/>
                    </a:lnTo>
                    <a:lnTo>
                      <a:pt x="14" y="58"/>
                    </a:lnTo>
                    <a:lnTo>
                      <a:pt x="21" y="57"/>
                    </a:lnTo>
                    <a:lnTo>
                      <a:pt x="25" y="57"/>
                    </a:lnTo>
                    <a:lnTo>
                      <a:pt x="28" y="55"/>
                    </a:lnTo>
                    <a:lnTo>
                      <a:pt x="31" y="51"/>
                    </a:lnTo>
                    <a:lnTo>
                      <a:pt x="31" y="51"/>
                    </a:lnTo>
                    <a:lnTo>
                      <a:pt x="34" y="45"/>
                    </a:lnTo>
                    <a:lnTo>
                      <a:pt x="40" y="38"/>
                    </a:lnTo>
                    <a:lnTo>
                      <a:pt x="51" y="26"/>
                    </a:lnTo>
                    <a:lnTo>
                      <a:pt x="51" y="26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4" y="21"/>
                    </a:lnTo>
                    <a:lnTo>
                      <a:pt x="38" y="14"/>
                    </a:lnTo>
                    <a:lnTo>
                      <a:pt x="30" y="8"/>
                    </a:lnTo>
                    <a:lnTo>
                      <a:pt x="27" y="6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4" y="11"/>
                    </a:lnTo>
                    <a:lnTo>
                      <a:pt x="3" y="16"/>
                    </a:lnTo>
                    <a:lnTo>
                      <a:pt x="3" y="21"/>
                    </a:lnTo>
                    <a:lnTo>
                      <a:pt x="3" y="27"/>
                    </a:lnTo>
                    <a:lnTo>
                      <a:pt x="3" y="27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55" name="Guyana">
                <a:extLst>
                  <a:ext uri="{FF2B5EF4-FFF2-40B4-BE49-F238E27FC236}">
                    <a16:creationId xmlns:a16="http://schemas.microsoft.com/office/drawing/2014/main" id="{8EBC1EBC-0C41-D295-6BE0-85956EF084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6932" y="4109969"/>
                <a:ext cx="112464" cy="171655"/>
              </a:xfrm>
              <a:custGeom>
                <a:avLst/>
                <a:gdLst/>
                <a:ahLst/>
                <a:cxnLst>
                  <a:cxn ang="0">
                    <a:pos x="19" y="8"/>
                  </a:cxn>
                  <a:cxn ang="0">
                    <a:pos x="12" y="14"/>
                  </a:cxn>
                  <a:cxn ang="0">
                    <a:pos x="12" y="18"/>
                  </a:cxn>
                  <a:cxn ang="0">
                    <a:pos x="13" y="18"/>
                  </a:cxn>
                  <a:cxn ang="0">
                    <a:pos x="16" y="24"/>
                  </a:cxn>
                  <a:cxn ang="0">
                    <a:pos x="10" y="28"/>
                  </a:cxn>
                  <a:cxn ang="0">
                    <a:pos x="6" y="28"/>
                  </a:cxn>
                  <a:cxn ang="0">
                    <a:pos x="3" y="33"/>
                  </a:cxn>
                  <a:cxn ang="0">
                    <a:pos x="3" y="35"/>
                  </a:cxn>
                  <a:cxn ang="0">
                    <a:pos x="0" y="40"/>
                  </a:cxn>
                  <a:cxn ang="0">
                    <a:pos x="0" y="44"/>
                  </a:cxn>
                  <a:cxn ang="0">
                    <a:pos x="6" y="50"/>
                  </a:cxn>
                  <a:cxn ang="0">
                    <a:pos x="12" y="57"/>
                  </a:cxn>
                  <a:cxn ang="0">
                    <a:pos x="17" y="54"/>
                  </a:cxn>
                  <a:cxn ang="0">
                    <a:pos x="19" y="54"/>
                  </a:cxn>
                  <a:cxn ang="0">
                    <a:pos x="22" y="60"/>
                  </a:cxn>
                  <a:cxn ang="0">
                    <a:pos x="23" y="65"/>
                  </a:cxn>
                  <a:cxn ang="0">
                    <a:pos x="24" y="67"/>
                  </a:cxn>
                  <a:cxn ang="0">
                    <a:pos x="29" y="74"/>
                  </a:cxn>
                  <a:cxn ang="0">
                    <a:pos x="26" y="79"/>
                  </a:cxn>
                  <a:cxn ang="0">
                    <a:pos x="23" y="85"/>
                  </a:cxn>
                  <a:cxn ang="0">
                    <a:pos x="24" y="101"/>
                  </a:cxn>
                  <a:cxn ang="0">
                    <a:pos x="29" y="108"/>
                  </a:cxn>
                  <a:cxn ang="0">
                    <a:pos x="34" y="114"/>
                  </a:cxn>
                  <a:cxn ang="0">
                    <a:pos x="44" y="116"/>
                  </a:cxn>
                  <a:cxn ang="0">
                    <a:pos x="46" y="115"/>
                  </a:cxn>
                  <a:cxn ang="0">
                    <a:pos x="52" y="114"/>
                  </a:cxn>
                  <a:cxn ang="0">
                    <a:pos x="57" y="111"/>
                  </a:cxn>
                  <a:cxn ang="0">
                    <a:pos x="59" y="109"/>
                  </a:cxn>
                  <a:cxn ang="0">
                    <a:pos x="63" y="108"/>
                  </a:cxn>
                  <a:cxn ang="0">
                    <a:pos x="64" y="107"/>
                  </a:cxn>
                  <a:cxn ang="0">
                    <a:pos x="70" y="105"/>
                  </a:cxn>
                  <a:cxn ang="0">
                    <a:pos x="76" y="107"/>
                  </a:cxn>
                  <a:cxn ang="0">
                    <a:pos x="67" y="88"/>
                  </a:cxn>
                  <a:cxn ang="0">
                    <a:pos x="59" y="79"/>
                  </a:cxn>
                  <a:cxn ang="0">
                    <a:pos x="53" y="74"/>
                  </a:cxn>
                  <a:cxn ang="0">
                    <a:pos x="53" y="72"/>
                  </a:cxn>
                  <a:cxn ang="0">
                    <a:pos x="56" y="64"/>
                  </a:cxn>
                  <a:cxn ang="0">
                    <a:pos x="59" y="58"/>
                  </a:cxn>
                  <a:cxn ang="0">
                    <a:pos x="60" y="58"/>
                  </a:cxn>
                  <a:cxn ang="0">
                    <a:pos x="66" y="55"/>
                  </a:cxn>
                  <a:cxn ang="0">
                    <a:pos x="67" y="51"/>
                  </a:cxn>
                  <a:cxn ang="0">
                    <a:pos x="67" y="47"/>
                  </a:cxn>
                  <a:cxn ang="0">
                    <a:pos x="69" y="40"/>
                  </a:cxn>
                  <a:cxn ang="0">
                    <a:pos x="61" y="34"/>
                  </a:cxn>
                  <a:cxn ang="0">
                    <a:pos x="54" y="27"/>
                  </a:cxn>
                  <a:cxn ang="0">
                    <a:pos x="52" y="27"/>
                  </a:cxn>
                  <a:cxn ang="0">
                    <a:pos x="46" y="21"/>
                  </a:cxn>
                  <a:cxn ang="0">
                    <a:pos x="46" y="17"/>
                  </a:cxn>
                  <a:cxn ang="0">
                    <a:pos x="44" y="14"/>
                  </a:cxn>
                  <a:cxn ang="0">
                    <a:pos x="36" y="8"/>
                  </a:cxn>
                  <a:cxn ang="0">
                    <a:pos x="30" y="4"/>
                  </a:cxn>
                  <a:cxn ang="0">
                    <a:pos x="24" y="0"/>
                  </a:cxn>
                  <a:cxn ang="0">
                    <a:pos x="22" y="6"/>
                  </a:cxn>
                  <a:cxn ang="0">
                    <a:pos x="19" y="8"/>
                  </a:cxn>
                </a:cxnLst>
                <a:rect l="0" t="0" r="r" b="b"/>
                <a:pathLst>
                  <a:path w="76" h="116">
                    <a:moveTo>
                      <a:pt x="19" y="8"/>
                    </a:moveTo>
                    <a:lnTo>
                      <a:pt x="19" y="8"/>
                    </a:lnTo>
                    <a:lnTo>
                      <a:pt x="15" y="10"/>
                    </a:lnTo>
                    <a:lnTo>
                      <a:pt x="12" y="14"/>
                    </a:lnTo>
                    <a:lnTo>
                      <a:pt x="12" y="17"/>
                    </a:lnTo>
                    <a:lnTo>
                      <a:pt x="12" y="18"/>
                    </a:lnTo>
                    <a:lnTo>
                      <a:pt x="13" y="18"/>
                    </a:lnTo>
                    <a:lnTo>
                      <a:pt x="13" y="18"/>
                    </a:lnTo>
                    <a:lnTo>
                      <a:pt x="15" y="21"/>
                    </a:lnTo>
                    <a:lnTo>
                      <a:pt x="16" y="24"/>
                    </a:lnTo>
                    <a:lnTo>
                      <a:pt x="15" y="27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6" y="28"/>
                    </a:lnTo>
                    <a:lnTo>
                      <a:pt x="3" y="30"/>
                    </a:lnTo>
                    <a:lnTo>
                      <a:pt x="3" y="33"/>
                    </a:lnTo>
                    <a:lnTo>
                      <a:pt x="3" y="35"/>
                    </a:lnTo>
                    <a:lnTo>
                      <a:pt x="3" y="35"/>
                    </a:lnTo>
                    <a:lnTo>
                      <a:pt x="2" y="38"/>
                    </a:lnTo>
                    <a:lnTo>
                      <a:pt x="0" y="40"/>
                    </a:lnTo>
                    <a:lnTo>
                      <a:pt x="0" y="41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6" y="50"/>
                    </a:lnTo>
                    <a:lnTo>
                      <a:pt x="12" y="57"/>
                    </a:lnTo>
                    <a:lnTo>
                      <a:pt x="12" y="57"/>
                    </a:lnTo>
                    <a:lnTo>
                      <a:pt x="13" y="54"/>
                    </a:lnTo>
                    <a:lnTo>
                      <a:pt x="17" y="54"/>
                    </a:lnTo>
                    <a:lnTo>
                      <a:pt x="17" y="54"/>
                    </a:lnTo>
                    <a:lnTo>
                      <a:pt x="19" y="54"/>
                    </a:lnTo>
                    <a:lnTo>
                      <a:pt x="20" y="55"/>
                    </a:lnTo>
                    <a:lnTo>
                      <a:pt x="22" y="60"/>
                    </a:lnTo>
                    <a:lnTo>
                      <a:pt x="22" y="64"/>
                    </a:lnTo>
                    <a:lnTo>
                      <a:pt x="23" y="65"/>
                    </a:lnTo>
                    <a:lnTo>
                      <a:pt x="24" y="67"/>
                    </a:lnTo>
                    <a:lnTo>
                      <a:pt x="24" y="67"/>
                    </a:lnTo>
                    <a:lnTo>
                      <a:pt x="27" y="70"/>
                    </a:lnTo>
                    <a:lnTo>
                      <a:pt x="29" y="74"/>
                    </a:lnTo>
                    <a:lnTo>
                      <a:pt x="27" y="77"/>
                    </a:lnTo>
                    <a:lnTo>
                      <a:pt x="26" y="79"/>
                    </a:lnTo>
                    <a:lnTo>
                      <a:pt x="26" y="79"/>
                    </a:lnTo>
                    <a:lnTo>
                      <a:pt x="23" y="85"/>
                    </a:lnTo>
                    <a:lnTo>
                      <a:pt x="23" y="92"/>
                    </a:lnTo>
                    <a:lnTo>
                      <a:pt x="24" y="101"/>
                    </a:lnTo>
                    <a:lnTo>
                      <a:pt x="26" y="105"/>
                    </a:lnTo>
                    <a:lnTo>
                      <a:pt x="29" y="108"/>
                    </a:lnTo>
                    <a:lnTo>
                      <a:pt x="29" y="108"/>
                    </a:lnTo>
                    <a:lnTo>
                      <a:pt x="34" y="114"/>
                    </a:lnTo>
                    <a:lnTo>
                      <a:pt x="40" y="116"/>
                    </a:lnTo>
                    <a:lnTo>
                      <a:pt x="44" y="116"/>
                    </a:lnTo>
                    <a:lnTo>
                      <a:pt x="46" y="115"/>
                    </a:lnTo>
                    <a:lnTo>
                      <a:pt x="46" y="115"/>
                    </a:lnTo>
                    <a:lnTo>
                      <a:pt x="49" y="114"/>
                    </a:lnTo>
                    <a:lnTo>
                      <a:pt x="52" y="114"/>
                    </a:lnTo>
                    <a:lnTo>
                      <a:pt x="54" y="112"/>
                    </a:lnTo>
                    <a:lnTo>
                      <a:pt x="57" y="111"/>
                    </a:lnTo>
                    <a:lnTo>
                      <a:pt x="57" y="111"/>
                    </a:lnTo>
                    <a:lnTo>
                      <a:pt x="59" y="109"/>
                    </a:lnTo>
                    <a:lnTo>
                      <a:pt x="60" y="109"/>
                    </a:lnTo>
                    <a:lnTo>
                      <a:pt x="63" y="108"/>
                    </a:lnTo>
                    <a:lnTo>
                      <a:pt x="64" y="107"/>
                    </a:lnTo>
                    <a:lnTo>
                      <a:pt x="64" y="107"/>
                    </a:lnTo>
                    <a:lnTo>
                      <a:pt x="67" y="105"/>
                    </a:lnTo>
                    <a:lnTo>
                      <a:pt x="70" y="105"/>
                    </a:lnTo>
                    <a:lnTo>
                      <a:pt x="76" y="107"/>
                    </a:lnTo>
                    <a:lnTo>
                      <a:pt x="76" y="107"/>
                    </a:lnTo>
                    <a:lnTo>
                      <a:pt x="67" y="88"/>
                    </a:lnTo>
                    <a:lnTo>
                      <a:pt x="67" y="88"/>
                    </a:lnTo>
                    <a:lnTo>
                      <a:pt x="63" y="84"/>
                    </a:lnTo>
                    <a:lnTo>
                      <a:pt x="59" y="79"/>
                    </a:lnTo>
                    <a:lnTo>
                      <a:pt x="54" y="75"/>
                    </a:lnTo>
                    <a:lnTo>
                      <a:pt x="53" y="74"/>
                    </a:lnTo>
                    <a:lnTo>
                      <a:pt x="53" y="72"/>
                    </a:lnTo>
                    <a:lnTo>
                      <a:pt x="53" y="72"/>
                    </a:lnTo>
                    <a:lnTo>
                      <a:pt x="54" y="68"/>
                    </a:lnTo>
                    <a:lnTo>
                      <a:pt x="56" y="64"/>
                    </a:lnTo>
                    <a:lnTo>
                      <a:pt x="57" y="60"/>
                    </a:lnTo>
                    <a:lnTo>
                      <a:pt x="59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3" y="57"/>
                    </a:lnTo>
                    <a:lnTo>
                      <a:pt x="66" y="55"/>
                    </a:lnTo>
                    <a:lnTo>
                      <a:pt x="67" y="54"/>
                    </a:lnTo>
                    <a:lnTo>
                      <a:pt x="67" y="51"/>
                    </a:lnTo>
                    <a:lnTo>
                      <a:pt x="67" y="51"/>
                    </a:lnTo>
                    <a:lnTo>
                      <a:pt x="67" y="47"/>
                    </a:lnTo>
                    <a:lnTo>
                      <a:pt x="69" y="40"/>
                    </a:lnTo>
                    <a:lnTo>
                      <a:pt x="69" y="40"/>
                    </a:lnTo>
                    <a:lnTo>
                      <a:pt x="66" y="38"/>
                    </a:lnTo>
                    <a:lnTo>
                      <a:pt x="61" y="34"/>
                    </a:lnTo>
                    <a:lnTo>
                      <a:pt x="57" y="30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2" y="27"/>
                    </a:lnTo>
                    <a:lnTo>
                      <a:pt x="49" y="24"/>
                    </a:lnTo>
                    <a:lnTo>
                      <a:pt x="46" y="21"/>
                    </a:lnTo>
                    <a:lnTo>
                      <a:pt x="46" y="17"/>
                    </a:lnTo>
                    <a:lnTo>
                      <a:pt x="46" y="17"/>
                    </a:lnTo>
                    <a:lnTo>
                      <a:pt x="46" y="15"/>
                    </a:lnTo>
                    <a:lnTo>
                      <a:pt x="44" y="14"/>
                    </a:lnTo>
                    <a:lnTo>
                      <a:pt x="40" y="11"/>
                    </a:lnTo>
                    <a:lnTo>
                      <a:pt x="36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7" y="1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2" y="6"/>
                    </a:lnTo>
                    <a:lnTo>
                      <a:pt x="19" y="8"/>
                    </a:lnTo>
                    <a:lnTo>
                      <a:pt x="19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56" name="Uruguay">
                <a:extLst>
                  <a:ext uri="{FF2B5EF4-FFF2-40B4-BE49-F238E27FC236}">
                    <a16:creationId xmlns:a16="http://schemas.microsoft.com/office/drawing/2014/main" id="{F5FCCD03-4B38-2838-A4F1-EBC4C110A4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2041" y="5057031"/>
                <a:ext cx="121343" cy="125782"/>
              </a:xfrm>
              <a:custGeom>
                <a:avLst/>
                <a:gdLst/>
                <a:ahLst/>
                <a:cxnLst>
                  <a:cxn ang="0">
                    <a:pos x="79" y="41"/>
                  </a:cxn>
                  <a:cxn ang="0">
                    <a:pos x="74" y="33"/>
                  </a:cxn>
                  <a:cxn ang="0">
                    <a:pos x="69" y="28"/>
                  </a:cxn>
                  <a:cxn ang="0">
                    <a:pos x="54" y="20"/>
                  </a:cxn>
                  <a:cxn ang="0">
                    <a:pos x="50" y="16"/>
                  </a:cxn>
                  <a:cxn ang="0">
                    <a:pos x="45" y="14"/>
                  </a:cxn>
                  <a:cxn ang="0">
                    <a:pos x="42" y="17"/>
                  </a:cxn>
                  <a:cxn ang="0">
                    <a:pos x="40" y="17"/>
                  </a:cxn>
                  <a:cxn ang="0">
                    <a:pos x="37" y="11"/>
                  </a:cxn>
                  <a:cxn ang="0">
                    <a:pos x="35" y="6"/>
                  </a:cxn>
                  <a:cxn ang="0">
                    <a:pos x="26" y="1"/>
                  </a:cxn>
                  <a:cxn ang="0">
                    <a:pos x="20" y="1"/>
                  </a:cxn>
                  <a:cxn ang="0">
                    <a:pos x="16" y="1"/>
                  </a:cxn>
                  <a:cxn ang="0">
                    <a:pos x="12" y="6"/>
                  </a:cxn>
                  <a:cxn ang="0">
                    <a:pos x="10" y="10"/>
                  </a:cxn>
                  <a:cxn ang="0">
                    <a:pos x="8" y="23"/>
                  </a:cxn>
                  <a:cxn ang="0">
                    <a:pos x="5" y="38"/>
                  </a:cxn>
                  <a:cxn ang="0">
                    <a:pos x="5" y="46"/>
                  </a:cxn>
                  <a:cxn ang="0">
                    <a:pos x="2" y="53"/>
                  </a:cxn>
                  <a:cxn ang="0">
                    <a:pos x="0" y="58"/>
                  </a:cxn>
                  <a:cxn ang="0">
                    <a:pos x="3" y="67"/>
                  </a:cxn>
                  <a:cxn ang="0">
                    <a:pos x="6" y="68"/>
                  </a:cxn>
                  <a:cxn ang="0">
                    <a:pos x="5" y="75"/>
                  </a:cxn>
                  <a:cxn ang="0">
                    <a:pos x="8" y="78"/>
                  </a:cxn>
                  <a:cxn ang="0">
                    <a:pos x="10" y="78"/>
                  </a:cxn>
                  <a:cxn ang="0">
                    <a:pos x="20" y="80"/>
                  </a:cxn>
                  <a:cxn ang="0">
                    <a:pos x="32" y="84"/>
                  </a:cxn>
                  <a:cxn ang="0">
                    <a:pos x="37" y="85"/>
                  </a:cxn>
                  <a:cxn ang="0">
                    <a:pos x="45" y="84"/>
                  </a:cxn>
                  <a:cxn ang="0">
                    <a:pos x="56" y="84"/>
                  </a:cxn>
                  <a:cxn ang="0">
                    <a:pos x="69" y="81"/>
                  </a:cxn>
                  <a:cxn ang="0">
                    <a:pos x="72" y="78"/>
                  </a:cxn>
                  <a:cxn ang="0">
                    <a:pos x="82" y="65"/>
                  </a:cxn>
                  <a:cxn ang="0">
                    <a:pos x="79" y="58"/>
                  </a:cxn>
                  <a:cxn ang="0">
                    <a:pos x="79" y="41"/>
                  </a:cxn>
                </a:cxnLst>
                <a:rect l="0" t="0" r="r" b="b"/>
                <a:pathLst>
                  <a:path w="82" h="85">
                    <a:moveTo>
                      <a:pt x="79" y="41"/>
                    </a:moveTo>
                    <a:lnTo>
                      <a:pt x="79" y="41"/>
                    </a:lnTo>
                    <a:lnTo>
                      <a:pt x="77" y="37"/>
                    </a:lnTo>
                    <a:lnTo>
                      <a:pt x="74" y="33"/>
                    </a:lnTo>
                    <a:lnTo>
                      <a:pt x="69" y="28"/>
                    </a:lnTo>
                    <a:lnTo>
                      <a:pt x="69" y="28"/>
                    </a:lnTo>
                    <a:lnTo>
                      <a:pt x="60" y="23"/>
                    </a:lnTo>
                    <a:lnTo>
                      <a:pt x="54" y="20"/>
                    </a:lnTo>
                    <a:lnTo>
                      <a:pt x="50" y="16"/>
                    </a:lnTo>
                    <a:lnTo>
                      <a:pt x="50" y="16"/>
                    </a:lnTo>
                    <a:lnTo>
                      <a:pt x="47" y="13"/>
                    </a:lnTo>
                    <a:lnTo>
                      <a:pt x="45" y="14"/>
                    </a:lnTo>
                    <a:lnTo>
                      <a:pt x="43" y="16"/>
                    </a:lnTo>
                    <a:lnTo>
                      <a:pt x="42" y="17"/>
                    </a:lnTo>
                    <a:lnTo>
                      <a:pt x="42" y="17"/>
                    </a:lnTo>
                    <a:lnTo>
                      <a:pt x="40" y="17"/>
                    </a:lnTo>
                    <a:lnTo>
                      <a:pt x="39" y="14"/>
                    </a:lnTo>
                    <a:lnTo>
                      <a:pt x="37" y="11"/>
                    </a:lnTo>
                    <a:lnTo>
                      <a:pt x="35" y="6"/>
                    </a:lnTo>
                    <a:lnTo>
                      <a:pt x="35" y="6"/>
                    </a:lnTo>
                    <a:lnTo>
                      <a:pt x="30" y="3"/>
                    </a:lnTo>
                    <a:lnTo>
                      <a:pt x="26" y="1"/>
                    </a:lnTo>
                    <a:lnTo>
                      <a:pt x="23" y="0"/>
                    </a:lnTo>
                    <a:lnTo>
                      <a:pt x="20" y="1"/>
                    </a:lnTo>
                    <a:lnTo>
                      <a:pt x="20" y="1"/>
                    </a:lnTo>
                    <a:lnTo>
                      <a:pt x="16" y="1"/>
                    </a:lnTo>
                    <a:lnTo>
                      <a:pt x="16" y="1"/>
                    </a:lnTo>
                    <a:lnTo>
                      <a:pt x="12" y="6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6"/>
                    </a:lnTo>
                    <a:lnTo>
                      <a:pt x="8" y="23"/>
                    </a:lnTo>
                    <a:lnTo>
                      <a:pt x="6" y="30"/>
                    </a:lnTo>
                    <a:lnTo>
                      <a:pt x="5" y="38"/>
                    </a:lnTo>
                    <a:lnTo>
                      <a:pt x="5" y="38"/>
                    </a:lnTo>
                    <a:lnTo>
                      <a:pt x="5" y="46"/>
                    </a:lnTo>
                    <a:lnTo>
                      <a:pt x="3" y="50"/>
                    </a:lnTo>
                    <a:lnTo>
                      <a:pt x="2" y="53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2" y="64"/>
                    </a:lnTo>
                    <a:lnTo>
                      <a:pt x="3" y="67"/>
                    </a:lnTo>
                    <a:lnTo>
                      <a:pt x="6" y="68"/>
                    </a:lnTo>
                    <a:lnTo>
                      <a:pt x="6" y="68"/>
                    </a:lnTo>
                    <a:lnTo>
                      <a:pt x="6" y="71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8" y="78"/>
                    </a:lnTo>
                    <a:lnTo>
                      <a:pt x="10" y="78"/>
                    </a:lnTo>
                    <a:lnTo>
                      <a:pt x="10" y="78"/>
                    </a:lnTo>
                    <a:lnTo>
                      <a:pt x="16" y="78"/>
                    </a:lnTo>
                    <a:lnTo>
                      <a:pt x="20" y="80"/>
                    </a:lnTo>
                    <a:lnTo>
                      <a:pt x="32" y="84"/>
                    </a:lnTo>
                    <a:lnTo>
                      <a:pt x="32" y="84"/>
                    </a:lnTo>
                    <a:lnTo>
                      <a:pt x="36" y="85"/>
                    </a:lnTo>
                    <a:lnTo>
                      <a:pt x="37" y="85"/>
                    </a:lnTo>
                    <a:lnTo>
                      <a:pt x="40" y="84"/>
                    </a:lnTo>
                    <a:lnTo>
                      <a:pt x="45" y="84"/>
                    </a:lnTo>
                    <a:lnTo>
                      <a:pt x="45" y="84"/>
                    </a:lnTo>
                    <a:lnTo>
                      <a:pt x="56" y="84"/>
                    </a:lnTo>
                    <a:lnTo>
                      <a:pt x="62" y="84"/>
                    </a:lnTo>
                    <a:lnTo>
                      <a:pt x="69" y="81"/>
                    </a:lnTo>
                    <a:lnTo>
                      <a:pt x="69" y="81"/>
                    </a:lnTo>
                    <a:lnTo>
                      <a:pt x="72" y="78"/>
                    </a:lnTo>
                    <a:lnTo>
                      <a:pt x="74" y="74"/>
                    </a:lnTo>
                    <a:lnTo>
                      <a:pt x="82" y="65"/>
                    </a:lnTo>
                    <a:lnTo>
                      <a:pt x="82" y="65"/>
                    </a:lnTo>
                    <a:lnTo>
                      <a:pt x="79" y="58"/>
                    </a:lnTo>
                    <a:lnTo>
                      <a:pt x="79" y="53"/>
                    </a:lnTo>
                    <a:lnTo>
                      <a:pt x="79" y="41"/>
                    </a:lnTo>
                    <a:lnTo>
                      <a:pt x="79" y="41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57" name="Paraguay">
                <a:extLst>
                  <a:ext uri="{FF2B5EF4-FFF2-40B4-BE49-F238E27FC236}">
                    <a16:creationId xmlns:a16="http://schemas.microsoft.com/office/drawing/2014/main" id="{145400DF-DBC0-1935-12FF-CA48177CC8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6976" y="4781791"/>
                <a:ext cx="204210" cy="207170"/>
              </a:xfrm>
              <a:custGeom>
                <a:avLst/>
                <a:gdLst/>
                <a:ahLst/>
                <a:cxnLst>
                  <a:cxn ang="0">
                    <a:pos x="137" y="76"/>
                  </a:cxn>
                  <a:cxn ang="0">
                    <a:pos x="128" y="78"/>
                  </a:cxn>
                  <a:cxn ang="0">
                    <a:pos x="123" y="79"/>
                  </a:cxn>
                  <a:cxn ang="0">
                    <a:pos x="118" y="72"/>
                  </a:cxn>
                  <a:cxn ang="0">
                    <a:pos x="116" y="62"/>
                  </a:cxn>
                  <a:cxn ang="0">
                    <a:pos x="110" y="52"/>
                  </a:cxn>
                  <a:cxn ang="0">
                    <a:pos x="106" y="48"/>
                  </a:cxn>
                  <a:cxn ang="0">
                    <a:pos x="104" y="48"/>
                  </a:cxn>
                  <a:cxn ang="0">
                    <a:pos x="100" y="49"/>
                  </a:cxn>
                  <a:cxn ang="0">
                    <a:pos x="90" y="47"/>
                  </a:cxn>
                  <a:cxn ang="0">
                    <a:pos x="84" y="47"/>
                  </a:cxn>
                  <a:cxn ang="0">
                    <a:pos x="80" y="41"/>
                  </a:cxn>
                  <a:cxn ang="0">
                    <a:pos x="81" y="34"/>
                  </a:cxn>
                  <a:cxn ang="0">
                    <a:pos x="81" y="27"/>
                  </a:cxn>
                  <a:cxn ang="0">
                    <a:pos x="79" y="17"/>
                  </a:cxn>
                  <a:cxn ang="0">
                    <a:pos x="79" y="14"/>
                  </a:cxn>
                  <a:cxn ang="0">
                    <a:pos x="80" y="12"/>
                  </a:cxn>
                  <a:cxn ang="0">
                    <a:pos x="79" y="5"/>
                  </a:cxn>
                  <a:cxn ang="0">
                    <a:pos x="76" y="7"/>
                  </a:cxn>
                  <a:cxn ang="0">
                    <a:pos x="73" y="5"/>
                  </a:cxn>
                  <a:cxn ang="0">
                    <a:pos x="64" y="1"/>
                  </a:cxn>
                  <a:cxn ang="0">
                    <a:pos x="60" y="0"/>
                  </a:cxn>
                  <a:cxn ang="0">
                    <a:pos x="46" y="1"/>
                  </a:cxn>
                  <a:cxn ang="0">
                    <a:pos x="42" y="2"/>
                  </a:cxn>
                  <a:cxn ang="0">
                    <a:pos x="33" y="2"/>
                  </a:cxn>
                  <a:cxn ang="0">
                    <a:pos x="23" y="5"/>
                  </a:cxn>
                  <a:cxn ang="0">
                    <a:pos x="15" y="12"/>
                  </a:cxn>
                  <a:cxn ang="0">
                    <a:pos x="10" y="21"/>
                  </a:cxn>
                  <a:cxn ang="0">
                    <a:pos x="9" y="34"/>
                  </a:cxn>
                  <a:cxn ang="0">
                    <a:pos x="6" y="45"/>
                  </a:cxn>
                  <a:cxn ang="0">
                    <a:pos x="0" y="45"/>
                  </a:cxn>
                  <a:cxn ang="0">
                    <a:pos x="5" y="51"/>
                  </a:cxn>
                  <a:cxn ang="0">
                    <a:pos x="16" y="64"/>
                  </a:cxn>
                  <a:cxn ang="0">
                    <a:pos x="22" y="68"/>
                  </a:cxn>
                  <a:cxn ang="0">
                    <a:pos x="30" y="75"/>
                  </a:cxn>
                  <a:cxn ang="0">
                    <a:pos x="40" y="79"/>
                  </a:cxn>
                  <a:cxn ang="0">
                    <a:pos x="46" y="79"/>
                  </a:cxn>
                  <a:cxn ang="0">
                    <a:pos x="54" y="85"/>
                  </a:cxn>
                  <a:cxn ang="0">
                    <a:pos x="57" y="88"/>
                  </a:cxn>
                  <a:cxn ang="0">
                    <a:pos x="73" y="96"/>
                  </a:cxn>
                  <a:cxn ang="0">
                    <a:pos x="87" y="103"/>
                  </a:cxn>
                  <a:cxn ang="0">
                    <a:pos x="87" y="105"/>
                  </a:cxn>
                  <a:cxn ang="0">
                    <a:pos x="81" y="112"/>
                  </a:cxn>
                  <a:cxn ang="0">
                    <a:pos x="76" y="121"/>
                  </a:cxn>
                  <a:cxn ang="0">
                    <a:pos x="76" y="125"/>
                  </a:cxn>
                  <a:cxn ang="0">
                    <a:pos x="73" y="132"/>
                  </a:cxn>
                  <a:cxn ang="0">
                    <a:pos x="70" y="135"/>
                  </a:cxn>
                  <a:cxn ang="0">
                    <a:pos x="71" y="136"/>
                  </a:cxn>
                  <a:cxn ang="0">
                    <a:pos x="81" y="138"/>
                  </a:cxn>
                  <a:cxn ang="0">
                    <a:pos x="84" y="139"/>
                  </a:cxn>
                  <a:cxn ang="0">
                    <a:pos x="91" y="139"/>
                  </a:cxn>
                  <a:cxn ang="0">
                    <a:pos x="100" y="140"/>
                  </a:cxn>
                  <a:cxn ang="0">
                    <a:pos x="104" y="140"/>
                  </a:cxn>
                  <a:cxn ang="0">
                    <a:pos x="111" y="138"/>
                  </a:cxn>
                  <a:cxn ang="0">
                    <a:pos x="114" y="138"/>
                  </a:cxn>
                  <a:cxn ang="0">
                    <a:pos x="120" y="133"/>
                  </a:cxn>
                  <a:cxn ang="0">
                    <a:pos x="127" y="131"/>
                  </a:cxn>
                  <a:cxn ang="0">
                    <a:pos x="128" y="131"/>
                  </a:cxn>
                  <a:cxn ang="0">
                    <a:pos x="133" y="122"/>
                  </a:cxn>
                  <a:cxn ang="0">
                    <a:pos x="134" y="108"/>
                  </a:cxn>
                  <a:cxn ang="0">
                    <a:pos x="135" y="101"/>
                  </a:cxn>
                  <a:cxn ang="0">
                    <a:pos x="138" y="82"/>
                  </a:cxn>
                  <a:cxn ang="0">
                    <a:pos x="137" y="76"/>
                  </a:cxn>
                </a:cxnLst>
                <a:rect l="0" t="0" r="r" b="b"/>
                <a:pathLst>
                  <a:path w="138" h="140">
                    <a:moveTo>
                      <a:pt x="137" y="76"/>
                    </a:moveTo>
                    <a:lnTo>
                      <a:pt x="137" y="76"/>
                    </a:lnTo>
                    <a:lnTo>
                      <a:pt x="133" y="76"/>
                    </a:lnTo>
                    <a:lnTo>
                      <a:pt x="128" y="78"/>
                    </a:lnTo>
                    <a:lnTo>
                      <a:pt x="123" y="79"/>
                    </a:lnTo>
                    <a:lnTo>
                      <a:pt x="123" y="79"/>
                    </a:lnTo>
                    <a:lnTo>
                      <a:pt x="121" y="78"/>
                    </a:lnTo>
                    <a:lnTo>
                      <a:pt x="118" y="72"/>
                    </a:lnTo>
                    <a:lnTo>
                      <a:pt x="116" y="62"/>
                    </a:lnTo>
                    <a:lnTo>
                      <a:pt x="116" y="62"/>
                    </a:lnTo>
                    <a:lnTo>
                      <a:pt x="113" y="57"/>
                    </a:lnTo>
                    <a:lnTo>
                      <a:pt x="110" y="52"/>
                    </a:lnTo>
                    <a:lnTo>
                      <a:pt x="107" y="49"/>
                    </a:lnTo>
                    <a:lnTo>
                      <a:pt x="106" y="48"/>
                    </a:lnTo>
                    <a:lnTo>
                      <a:pt x="104" y="48"/>
                    </a:lnTo>
                    <a:lnTo>
                      <a:pt x="104" y="48"/>
                    </a:lnTo>
                    <a:lnTo>
                      <a:pt x="101" y="49"/>
                    </a:lnTo>
                    <a:lnTo>
                      <a:pt x="100" y="49"/>
                    </a:lnTo>
                    <a:lnTo>
                      <a:pt x="96" y="48"/>
                    </a:lnTo>
                    <a:lnTo>
                      <a:pt x="90" y="47"/>
                    </a:lnTo>
                    <a:lnTo>
                      <a:pt x="90" y="47"/>
                    </a:lnTo>
                    <a:lnTo>
                      <a:pt x="84" y="47"/>
                    </a:lnTo>
                    <a:lnTo>
                      <a:pt x="81" y="44"/>
                    </a:lnTo>
                    <a:lnTo>
                      <a:pt x="80" y="41"/>
                    </a:lnTo>
                    <a:lnTo>
                      <a:pt x="81" y="34"/>
                    </a:lnTo>
                    <a:lnTo>
                      <a:pt x="81" y="34"/>
                    </a:lnTo>
                    <a:lnTo>
                      <a:pt x="83" y="30"/>
                    </a:lnTo>
                    <a:lnTo>
                      <a:pt x="81" y="27"/>
                    </a:lnTo>
                    <a:lnTo>
                      <a:pt x="80" y="21"/>
                    </a:lnTo>
                    <a:lnTo>
                      <a:pt x="79" y="17"/>
                    </a:lnTo>
                    <a:lnTo>
                      <a:pt x="79" y="15"/>
                    </a:lnTo>
                    <a:lnTo>
                      <a:pt x="79" y="14"/>
                    </a:lnTo>
                    <a:lnTo>
                      <a:pt x="79" y="14"/>
                    </a:lnTo>
                    <a:lnTo>
                      <a:pt x="80" y="12"/>
                    </a:lnTo>
                    <a:lnTo>
                      <a:pt x="81" y="11"/>
                    </a:lnTo>
                    <a:lnTo>
                      <a:pt x="79" y="5"/>
                    </a:lnTo>
                    <a:lnTo>
                      <a:pt x="79" y="5"/>
                    </a:lnTo>
                    <a:lnTo>
                      <a:pt x="76" y="7"/>
                    </a:lnTo>
                    <a:lnTo>
                      <a:pt x="76" y="7"/>
                    </a:lnTo>
                    <a:lnTo>
                      <a:pt x="73" y="5"/>
                    </a:lnTo>
                    <a:lnTo>
                      <a:pt x="69" y="4"/>
                    </a:lnTo>
                    <a:lnTo>
                      <a:pt x="64" y="1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50" y="0"/>
                    </a:lnTo>
                    <a:lnTo>
                      <a:pt x="46" y="1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37" y="2"/>
                    </a:lnTo>
                    <a:lnTo>
                      <a:pt x="33" y="2"/>
                    </a:lnTo>
                    <a:lnTo>
                      <a:pt x="27" y="4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15" y="12"/>
                    </a:lnTo>
                    <a:lnTo>
                      <a:pt x="10" y="17"/>
                    </a:lnTo>
                    <a:lnTo>
                      <a:pt x="10" y="21"/>
                    </a:lnTo>
                    <a:lnTo>
                      <a:pt x="10" y="21"/>
                    </a:lnTo>
                    <a:lnTo>
                      <a:pt x="9" y="34"/>
                    </a:lnTo>
                    <a:lnTo>
                      <a:pt x="7" y="41"/>
                    </a:lnTo>
                    <a:lnTo>
                      <a:pt x="6" y="45"/>
                    </a:lnTo>
                    <a:lnTo>
                      <a:pt x="6" y="45"/>
                    </a:lnTo>
                    <a:lnTo>
                      <a:pt x="0" y="45"/>
                    </a:lnTo>
                    <a:lnTo>
                      <a:pt x="0" y="45"/>
                    </a:lnTo>
                    <a:lnTo>
                      <a:pt x="5" y="51"/>
                    </a:lnTo>
                    <a:lnTo>
                      <a:pt x="10" y="57"/>
                    </a:lnTo>
                    <a:lnTo>
                      <a:pt x="16" y="64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7" y="72"/>
                    </a:lnTo>
                    <a:lnTo>
                      <a:pt x="30" y="75"/>
                    </a:lnTo>
                    <a:lnTo>
                      <a:pt x="34" y="78"/>
                    </a:lnTo>
                    <a:lnTo>
                      <a:pt x="40" y="79"/>
                    </a:lnTo>
                    <a:lnTo>
                      <a:pt x="40" y="79"/>
                    </a:lnTo>
                    <a:lnTo>
                      <a:pt x="46" y="79"/>
                    </a:lnTo>
                    <a:lnTo>
                      <a:pt x="51" y="82"/>
                    </a:lnTo>
                    <a:lnTo>
                      <a:pt x="54" y="85"/>
                    </a:lnTo>
                    <a:lnTo>
                      <a:pt x="57" y="88"/>
                    </a:lnTo>
                    <a:lnTo>
                      <a:pt x="57" y="88"/>
                    </a:lnTo>
                    <a:lnTo>
                      <a:pt x="63" y="92"/>
                    </a:lnTo>
                    <a:lnTo>
                      <a:pt x="73" y="96"/>
                    </a:lnTo>
                    <a:lnTo>
                      <a:pt x="83" y="99"/>
                    </a:lnTo>
                    <a:lnTo>
                      <a:pt x="87" y="103"/>
                    </a:lnTo>
                    <a:lnTo>
                      <a:pt x="87" y="103"/>
                    </a:lnTo>
                    <a:lnTo>
                      <a:pt x="87" y="105"/>
                    </a:lnTo>
                    <a:lnTo>
                      <a:pt x="87" y="106"/>
                    </a:lnTo>
                    <a:lnTo>
                      <a:pt x="81" y="112"/>
                    </a:lnTo>
                    <a:lnTo>
                      <a:pt x="77" y="118"/>
                    </a:lnTo>
                    <a:lnTo>
                      <a:pt x="76" y="121"/>
                    </a:lnTo>
                    <a:lnTo>
                      <a:pt x="76" y="125"/>
                    </a:lnTo>
                    <a:lnTo>
                      <a:pt x="76" y="125"/>
                    </a:lnTo>
                    <a:lnTo>
                      <a:pt x="74" y="129"/>
                    </a:lnTo>
                    <a:lnTo>
                      <a:pt x="73" y="132"/>
                    </a:lnTo>
                    <a:lnTo>
                      <a:pt x="70" y="133"/>
                    </a:lnTo>
                    <a:lnTo>
                      <a:pt x="70" y="135"/>
                    </a:lnTo>
                    <a:lnTo>
                      <a:pt x="70" y="135"/>
                    </a:lnTo>
                    <a:lnTo>
                      <a:pt x="71" y="136"/>
                    </a:lnTo>
                    <a:lnTo>
                      <a:pt x="76" y="138"/>
                    </a:lnTo>
                    <a:lnTo>
                      <a:pt x="81" y="138"/>
                    </a:lnTo>
                    <a:lnTo>
                      <a:pt x="84" y="139"/>
                    </a:lnTo>
                    <a:lnTo>
                      <a:pt x="84" y="139"/>
                    </a:lnTo>
                    <a:lnTo>
                      <a:pt x="88" y="139"/>
                    </a:lnTo>
                    <a:lnTo>
                      <a:pt x="91" y="139"/>
                    </a:lnTo>
                    <a:lnTo>
                      <a:pt x="96" y="139"/>
                    </a:lnTo>
                    <a:lnTo>
                      <a:pt x="100" y="140"/>
                    </a:lnTo>
                    <a:lnTo>
                      <a:pt x="100" y="140"/>
                    </a:lnTo>
                    <a:lnTo>
                      <a:pt x="104" y="140"/>
                    </a:lnTo>
                    <a:lnTo>
                      <a:pt x="107" y="139"/>
                    </a:lnTo>
                    <a:lnTo>
                      <a:pt x="111" y="138"/>
                    </a:lnTo>
                    <a:lnTo>
                      <a:pt x="114" y="138"/>
                    </a:lnTo>
                    <a:lnTo>
                      <a:pt x="114" y="138"/>
                    </a:lnTo>
                    <a:lnTo>
                      <a:pt x="117" y="136"/>
                    </a:lnTo>
                    <a:lnTo>
                      <a:pt x="120" y="133"/>
                    </a:lnTo>
                    <a:lnTo>
                      <a:pt x="123" y="132"/>
                    </a:lnTo>
                    <a:lnTo>
                      <a:pt x="127" y="131"/>
                    </a:lnTo>
                    <a:lnTo>
                      <a:pt x="127" y="131"/>
                    </a:lnTo>
                    <a:lnTo>
                      <a:pt x="128" y="131"/>
                    </a:lnTo>
                    <a:lnTo>
                      <a:pt x="130" y="128"/>
                    </a:lnTo>
                    <a:lnTo>
                      <a:pt x="133" y="122"/>
                    </a:lnTo>
                    <a:lnTo>
                      <a:pt x="134" y="113"/>
                    </a:lnTo>
                    <a:lnTo>
                      <a:pt x="134" y="108"/>
                    </a:lnTo>
                    <a:lnTo>
                      <a:pt x="134" y="108"/>
                    </a:lnTo>
                    <a:lnTo>
                      <a:pt x="135" y="101"/>
                    </a:lnTo>
                    <a:lnTo>
                      <a:pt x="137" y="91"/>
                    </a:lnTo>
                    <a:lnTo>
                      <a:pt x="138" y="82"/>
                    </a:lnTo>
                    <a:lnTo>
                      <a:pt x="138" y="79"/>
                    </a:lnTo>
                    <a:lnTo>
                      <a:pt x="137" y="76"/>
                    </a:lnTo>
                    <a:lnTo>
                      <a:pt x="137" y="76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58" name="Ecuador">
                <a:extLst>
                  <a:ext uri="{FF2B5EF4-FFF2-40B4-BE49-F238E27FC236}">
                    <a16:creationId xmlns:a16="http://schemas.microsoft.com/office/drawing/2014/main" id="{EE3981DC-9D01-F00A-49E0-98679916B1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3400" y="4275705"/>
                <a:ext cx="137620" cy="155377"/>
              </a:xfrm>
              <a:custGeom>
                <a:avLst/>
                <a:gdLst/>
                <a:ahLst/>
                <a:cxnLst>
                  <a:cxn ang="0">
                    <a:pos x="86" y="29"/>
                  </a:cxn>
                  <a:cxn ang="0">
                    <a:pos x="76" y="19"/>
                  </a:cxn>
                  <a:cxn ang="0">
                    <a:pos x="74" y="19"/>
                  </a:cxn>
                  <a:cxn ang="0">
                    <a:pos x="70" y="22"/>
                  </a:cxn>
                  <a:cxn ang="0">
                    <a:pos x="63" y="19"/>
                  </a:cxn>
                  <a:cxn ang="0">
                    <a:pos x="57" y="14"/>
                  </a:cxn>
                  <a:cxn ang="0">
                    <a:pos x="53" y="12"/>
                  </a:cxn>
                  <a:cxn ang="0">
                    <a:pos x="49" y="10"/>
                  </a:cxn>
                  <a:cxn ang="0">
                    <a:pos x="33" y="0"/>
                  </a:cxn>
                  <a:cxn ang="0">
                    <a:pos x="33" y="3"/>
                  </a:cxn>
                  <a:cxn ang="0">
                    <a:pos x="32" y="4"/>
                  </a:cxn>
                  <a:cxn ang="0">
                    <a:pos x="22" y="9"/>
                  </a:cxn>
                  <a:cxn ang="0">
                    <a:pos x="17" y="10"/>
                  </a:cxn>
                  <a:cxn ang="0">
                    <a:pos x="16" y="20"/>
                  </a:cxn>
                  <a:cxn ang="0">
                    <a:pos x="16" y="23"/>
                  </a:cxn>
                  <a:cxn ang="0">
                    <a:pos x="12" y="27"/>
                  </a:cxn>
                  <a:cxn ang="0">
                    <a:pos x="9" y="30"/>
                  </a:cxn>
                  <a:cxn ang="0">
                    <a:pos x="7" y="37"/>
                  </a:cxn>
                  <a:cxn ang="0">
                    <a:pos x="5" y="39"/>
                  </a:cxn>
                  <a:cxn ang="0">
                    <a:pos x="0" y="43"/>
                  </a:cxn>
                  <a:cxn ang="0">
                    <a:pos x="2" y="50"/>
                  </a:cxn>
                  <a:cxn ang="0">
                    <a:pos x="2" y="53"/>
                  </a:cxn>
                  <a:cxn ang="0">
                    <a:pos x="0" y="60"/>
                  </a:cxn>
                  <a:cxn ang="0">
                    <a:pos x="0" y="61"/>
                  </a:cxn>
                  <a:cxn ang="0">
                    <a:pos x="9" y="68"/>
                  </a:cxn>
                  <a:cxn ang="0">
                    <a:pos x="12" y="70"/>
                  </a:cxn>
                  <a:cxn ang="0">
                    <a:pos x="16" y="68"/>
                  </a:cxn>
                  <a:cxn ang="0">
                    <a:pos x="17" y="70"/>
                  </a:cxn>
                  <a:cxn ang="0">
                    <a:pos x="16" y="77"/>
                  </a:cxn>
                  <a:cxn ang="0">
                    <a:pos x="10" y="80"/>
                  </a:cxn>
                  <a:cxn ang="0">
                    <a:pos x="9" y="80"/>
                  </a:cxn>
                  <a:cxn ang="0">
                    <a:pos x="12" y="86"/>
                  </a:cxn>
                  <a:cxn ang="0">
                    <a:pos x="12" y="88"/>
                  </a:cxn>
                  <a:cxn ang="0">
                    <a:pos x="9" y="93"/>
                  </a:cxn>
                  <a:cxn ang="0">
                    <a:pos x="12" y="97"/>
                  </a:cxn>
                  <a:cxn ang="0">
                    <a:pos x="14" y="98"/>
                  </a:cxn>
                  <a:cxn ang="0">
                    <a:pos x="22" y="98"/>
                  </a:cxn>
                  <a:cxn ang="0">
                    <a:pos x="24" y="100"/>
                  </a:cxn>
                  <a:cxn ang="0">
                    <a:pos x="30" y="105"/>
                  </a:cxn>
                  <a:cxn ang="0">
                    <a:pos x="36" y="100"/>
                  </a:cxn>
                  <a:cxn ang="0">
                    <a:pos x="41" y="84"/>
                  </a:cxn>
                  <a:cxn ang="0">
                    <a:pos x="47" y="76"/>
                  </a:cxn>
                  <a:cxn ang="0">
                    <a:pos x="50" y="74"/>
                  </a:cxn>
                  <a:cxn ang="0">
                    <a:pos x="66" y="68"/>
                  </a:cxn>
                  <a:cxn ang="0">
                    <a:pos x="78" y="61"/>
                  </a:cxn>
                  <a:cxn ang="0">
                    <a:pos x="81" y="57"/>
                  </a:cxn>
                  <a:cxn ang="0">
                    <a:pos x="87" y="46"/>
                  </a:cxn>
                  <a:cxn ang="0">
                    <a:pos x="90" y="40"/>
                  </a:cxn>
                  <a:cxn ang="0">
                    <a:pos x="93" y="39"/>
                  </a:cxn>
                  <a:cxn ang="0">
                    <a:pos x="86" y="29"/>
                  </a:cxn>
                </a:cxnLst>
                <a:rect l="0" t="0" r="r" b="b"/>
                <a:pathLst>
                  <a:path w="93" h="105">
                    <a:moveTo>
                      <a:pt x="86" y="29"/>
                    </a:moveTo>
                    <a:lnTo>
                      <a:pt x="86" y="29"/>
                    </a:lnTo>
                    <a:lnTo>
                      <a:pt x="78" y="20"/>
                    </a:lnTo>
                    <a:lnTo>
                      <a:pt x="76" y="19"/>
                    </a:lnTo>
                    <a:lnTo>
                      <a:pt x="74" y="19"/>
                    </a:lnTo>
                    <a:lnTo>
                      <a:pt x="74" y="19"/>
                    </a:lnTo>
                    <a:lnTo>
                      <a:pt x="73" y="20"/>
                    </a:lnTo>
                    <a:lnTo>
                      <a:pt x="70" y="22"/>
                    </a:lnTo>
                    <a:lnTo>
                      <a:pt x="66" y="20"/>
                    </a:lnTo>
                    <a:lnTo>
                      <a:pt x="63" y="19"/>
                    </a:lnTo>
                    <a:lnTo>
                      <a:pt x="63" y="19"/>
                    </a:lnTo>
                    <a:lnTo>
                      <a:pt x="57" y="14"/>
                    </a:lnTo>
                    <a:lnTo>
                      <a:pt x="54" y="13"/>
                    </a:lnTo>
                    <a:lnTo>
                      <a:pt x="53" y="12"/>
                    </a:lnTo>
                    <a:lnTo>
                      <a:pt x="53" y="12"/>
                    </a:lnTo>
                    <a:lnTo>
                      <a:pt x="49" y="10"/>
                    </a:lnTo>
                    <a:lnTo>
                      <a:pt x="43" y="9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33" y="3"/>
                    </a:lnTo>
                    <a:lnTo>
                      <a:pt x="33" y="3"/>
                    </a:lnTo>
                    <a:lnTo>
                      <a:pt x="32" y="4"/>
                    </a:lnTo>
                    <a:lnTo>
                      <a:pt x="29" y="7"/>
                    </a:lnTo>
                    <a:lnTo>
                      <a:pt x="22" y="9"/>
                    </a:lnTo>
                    <a:lnTo>
                      <a:pt x="22" y="9"/>
                    </a:lnTo>
                    <a:lnTo>
                      <a:pt x="17" y="10"/>
                    </a:lnTo>
                    <a:lnTo>
                      <a:pt x="16" y="13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3"/>
                    </a:lnTo>
                    <a:lnTo>
                      <a:pt x="13" y="24"/>
                    </a:lnTo>
                    <a:lnTo>
                      <a:pt x="12" y="27"/>
                    </a:lnTo>
                    <a:lnTo>
                      <a:pt x="9" y="30"/>
                    </a:lnTo>
                    <a:lnTo>
                      <a:pt x="9" y="30"/>
                    </a:lnTo>
                    <a:lnTo>
                      <a:pt x="7" y="36"/>
                    </a:lnTo>
                    <a:lnTo>
                      <a:pt x="7" y="37"/>
                    </a:lnTo>
                    <a:lnTo>
                      <a:pt x="5" y="39"/>
                    </a:lnTo>
                    <a:lnTo>
                      <a:pt x="5" y="39"/>
                    </a:lnTo>
                    <a:lnTo>
                      <a:pt x="2" y="40"/>
                    </a:lnTo>
                    <a:lnTo>
                      <a:pt x="0" y="43"/>
                    </a:lnTo>
                    <a:lnTo>
                      <a:pt x="0" y="46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53"/>
                    </a:lnTo>
                    <a:lnTo>
                      <a:pt x="2" y="56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1"/>
                    </a:lnTo>
                    <a:lnTo>
                      <a:pt x="3" y="63"/>
                    </a:lnTo>
                    <a:lnTo>
                      <a:pt x="9" y="68"/>
                    </a:lnTo>
                    <a:lnTo>
                      <a:pt x="9" y="68"/>
                    </a:lnTo>
                    <a:lnTo>
                      <a:pt x="12" y="70"/>
                    </a:lnTo>
                    <a:lnTo>
                      <a:pt x="14" y="70"/>
                    </a:lnTo>
                    <a:lnTo>
                      <a:pt x="16" y="68"/>
                    </a:lnTo>
                    <a:lnTo>
                      <a:pt x="17" y="70"/>
                    </a:lnTo>
                    <a:lnTo>
                      <a:pt x="17" y="70"/>
                    </a:lnTo>
                    <a:lnTo>
                      <a:pt x="17" y="73"/>
                    </a:lnTo>
                    <a:lnTo>
                      <a:pt x="16" y="77"/>
                    </a:lnTo>
                    <a:lnTo>
                      <a:pt x="14" y="78"/>
                    </a:lnTo>
                    <a:lnTo>
                      <a:pt x="10" y="80"/>
                    </a:lnTo>
                    <a:lnTo>
                      <a:pt x="10" y="80"/>
                    </a:lnTo>
                    <a:lnTo>
                      <a:pt x="9" y="80"/>
                    </a:lnTo>
                    <a:lnTo>
                      <a:pt x="9" y="80"/>
                    </a:lnTo>
                    <a:lnTo>
                      <a:pt x="12" y="86"/>
                    </a:lnTo>
                    <a:lnTo>
                      <a:pt x="12" y="87"/>
                    </a:lnTo>
                    <a:lnTo>
                      <a:pt x="12" y="88"/>
                    </a:lnTo>
                    <a:lnTo>
                      <a:pt x="12" y="88"/>
                    </a:lnTo>
                    <a:lnTo>
                      <a:pt x="9" y="93"/>
                    </a:lnTo>
                    <a:lnTo>
                      <a:pt x="9" y="94"/>
                    </a:lnTo>
                    <a:lnTo>
                      <a:pt x="12" y="97"/>
                    </a:lnTo>
                    <a:lnTo>
                      <a:pt x="12" y="97"/>
                    </a:lnTo>
                    <a:lnTo>
                      <a:pt x="14" y="98"/>
                    </a:lnTo>
                    <a:lnTo>
                      <a:pt x="19" y="98"/>
                    </a:lnTo>
                    <a:lnTo>
                      <a:pt x="22" y="98"/>
                    </a:lnTo>
                    <a:lnTo>
                      <a:pt x="24" y="100"/>
                    </a:lnTo>
                    <a:lnTo>
                      <a:pt x="24" y="100"/>
                    </a:lnTo>
                    <a:lnTo>
                      <a:pt x="27" y="104"/>
                    </a:lnTo>
                    <a:lnTo>
                      <a:pt x="30" y="105"/>
                    </a:lnTo>
                    <a:lnTo>
                      <a:pt x="33" y="104"/>
                    </a:lnTo>
                    <a:lnTo>
                      <a:pt x="36" y="100"/>
                    </a:lnTo>
                    <a:lnTo>
                      <a:pt x="36" y="100"/>
                    </a:lnTo>
                    <a:lnTo>
                      <a:pt x="41" y="84"/>
                    </a:lnTo>
                    <a:lnTo>
                      <a:pt x="46" y="77"/>
                    </a:lnTo>
                    <a:lnTo>
                      <a:pt x="47" y="76"/>
                    </a:lnTo>
                    <a:lnTo>
                      <a:pt x="50" y="74"/>
                    </a:lnTo>
                    <a:lnTo>
                      <a:pt x="50" y="74"/>
                    </a:lnTo>
                    <a:lnTo>
                      <a:pt x="57" y="71"/>
                    </a:lnTo>
                    <a:lnTo>
                      <a:pt x="66" y="68"/>
                    </a:lnTo>
                    <a:lnTo>
                      <a:pt x="74" y="64"/>
                    </a:lnTo>
                    <a:lnTo>
                      <a:pt x="78" y="61"/>
                    </a:lnTo>
                    <a:lnTo>
                      <a:pt x="81" y="57"/>
                    </a:lnTo>
                    <a:lnTo>
                      <a:pt x="81" y="57"/>
                    </a:lnTo>
                    <a:lnTo>
                      <a:pt x="86" y="50"/>
                    </a:lnTo>
                    <a:lnTo>
                      <a:pt x="87" y="46"/>
                    </a:lnTo>
                    <a:lnTo>
                      <a:pt x="88" y="43"/>
                    </a:lnTo>
                    <a:lnTo>
                      <a:pt x="90" y="40"/>
                    </a:lnTo>
                    <a:lnTo>
                      <a:pt x="90" y="40"/>
                    </a:lnTo>
                    <a:lnTo>
                      <a:pt x="93" y="39"/>
                    </a:lnTo>
                    <a:lnTo>
                      <a:pt x="91" y="36"/>
                    </a:lnTo>
                    <a:lnTo>
                      <a:pt x="86" y="29"/>
                    </a:lnTo>
                    <a:lnTo>
                      <a:pt x="86" y="29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59" name="Bolivia">
                <a:extLst>
                  <a:ext uri="{FF2B5EF4-FFF2-40B4-BE49-F238E27FC236}">
                    <a16:creationId xmlns:a16="http://schemas.microsoft.com/office/drawing/2014/main" id="{99075142-33E7-7228-B155-DE5BBE52DD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680" y="4549465"/>
                <a:ext cx="288558" cy="322593"/>
              </a:xfrm>
              <a:custGeom>
                <a:avLst/>
                <a:gdLst/>
                <a:ahLst/>
                <a:cxnLst>
                  <a:cxn ang="0">
                    <a:pos x="189" y="124"/>
                  </a:cxn>
                  <a:cxn ang="0">
                    <a:pos x="183" y="111"/>
                  </a:cxn>
                  <a:cxn ang="0">
                    <a:pos x="172" y="107"/>
                  </a:cxn>
                  <a:cxn ang="0">
                    <a:pos x="153" y="100"/>
                  </a:cxn>
                  <a:cxn ang="0">
                    <a:pos x="151" y="88"/>
                  </a:cxn>
                  <a:cxn ang="0">
                    <a:pos x="153" y="84"/>
                  </a:cxn>
                  <a:cxn ang="0">
                    <a:pos x="149" y="74"/>
                  </a:cxn>
                  <a:cxn ang="0">
                    <a:pos x="143" y="63"/>
                  </a:cxn>
                  <a:cxn ang="0">
                    <a:pos x="126" y="60"/>
                  </a:cxn>
                  <a:cxn ang="0">
                    <a:pos x="121" y="54"/>
                  </a:cxn>
                  <a:cxn ang="0">
                    <a:pos x="109" y="50"/>
                  </a:cxn>
                  <a:cxn ang="0">
                    <a:pos x="102" y="47"/>
                  </a:cxn>
                  <a:cxn ang="0">
                    <a:pos x="95" y="44"/>
                  </a:cxn>
                  <a:cxn ang="0">
                    <a:pos x="75" y="33"/>
                  </a:cxn>
                  <a:cxn ang="0">
                    <a:pos x="69" y="16"/>
                  </a:cxn>
                  <a:cxn ang="0">
                    <a:pos x="71" y="0"/>
                  </a:cxn>
                  <a:cxn ang="0">
                    <a:pos x="55" y="2"/>
                  </a:cxn>
                  <a:cxn ang="0">
                    <a:pos x="37" y="10"/>
                  </a:cxn>
                  <a:cxn ang="0">
                    <a:pos x="23" y="17"/>
                  </a:cxn>
                  <a:cxn ang="0">
                    <a:pos x="8" y="20"/>
                  </a:cxn>
                  <a:cxn ang="0">
                    <a:pos x="14" y="41"/>
                  </a:cxn>
                  <a:cxn ang="0">
                    <a:pos x="10" y="50"/>
                  </a:cxn>
                  <a:cxn ang="0">
                    <a:pos x="11" y="73"/>
                  </a:cxn>
                  <a:cxn ang="0">
                    <a:pos x="7" y="83"/>
                  </a:cxn>
                  <a:cxn ang="0">
                    <a:pos x="8" y="88"/>
                  </a:cxn>
                  <a:cxn ang="0">
                    <a:pos x="4" y="100"/>
                  </a:cxn>
                  <a:cxn ang="0">
                    <a:pos x="10" y="107"/>
                  </a:cxn>
                  <a:cxn ang="0">
                    <a:pos x="1" y="120"/>
                  </a:cxn>
                  <a:cxn ang="0">
                    <a:pos x="0" y="127"/>
                  </a:cxn>
                  <a:cxn ang="0">
                    <a:pos x="7" y="134"/>
                  </a:cxn>
                  <a:cxn ang="0">
                    <a:pos x="8" y="147"/>
                  </a:cxn>
                  <a:cxn ang="0">
                    <a:pos x="14" y="155"/>
                  </a:cxn>
                  <a:cxn ang="0">
                    <a:pos x="17" y="161"/>
                  </a:cxn>
                  <a:cxn ang="0">
                    <a:pos x="14" y="172"/>
                  </a:cxn>
                  <a:cxn ang="0">
                    <a:pos x="14" y="179"/>
                  </a:cxn>
                  <a:cxn ang="0">
                    <a:pos x="21" y="188"/>
                  </a:cxn>
                  <a:cxn ang="0">
                    <a:pos x="25" y="199"/>
                  </a:cxn>
                  <a:cxn ang="0">
                    <a:pos x="30" y="218"/>
                  </a:cxn>
                  <a:cxn ang="0">
                    <a:pos x="44" y="211"/>
                  </a:cxn>
                  <a:cxn ang="0">
                    <a:pos x="58" y="201"/>
                  </a:cxn>
                  <a:cxn ang="0">
                    <a:pos x="75" y="205"/>
                  </a:cxn>
                  <a:cxn ang="0">
                    <a:pos x="85" y="214"/>
                  </a:cxn>
                  <a:cxn ang="0">
                    <a:pos x="94" y="202"/>
                  </a:cxn>
                  <a:cxn ang="0">
                    <a:pos x="115" y="202"/>
                  </a:cxn>
                  <a:cxn ang="0">
                    <a:pos x="119" y="178"/>
                  </a:cxn>
                  <a:cxn ang="0">
                    <a:pos x="132" y="162"/>
                  </a:cxn>
                  <a:cxn ang="0">
                    <a:pos x="151" y="159"/>
                  </a:cxn>
                  <a:cxn ang="0">
                    <a:pos x="169" y="157"/>
                  </a:cxn>
                  <a:cxn ang="0">
                    <a:pos x="182" y="162"/>
                  </a:cxn>
                  <a:cxn ang="0">
                    <a:pos x="190" y="159"/>
                  </a:cxn>
                  <a:cxn ang="0">
                    <a:pos x="192" y="147"/>
                  </a:cxn>
                  <a:cxn ang="0">
                    <a:pos x="195" y="131"/>
                  </a:cxn>
                </a:cxnLst>
                <a:rect l="0" t="0" r="r" b="b"/>
                <a:pathLst>
                  <a:path w="195" h="218">
                    <a:moveTo>
                      <a:pt x="195" y="131"/>
                    </a:moveTo>
                    <a:lnTo>
                      <a:pt x="195" y="131"/>
                    </a:lnTo>
                    <a:lnTo>
                      <a:pt x="192" y="127"/>
                    </a:lnTo>
                    <a:lnTo>
                      <a:pt x="189" y="124"/>
                    </a:lnTo>
                    <a:lnTo>
                      <a:pt x="186" y="120"/>
                    </a:lnTo>
                    <a:lnTo>
                      <a:pt x="185" y="115"/>
                    </a:lnTo>
                    <a:lnTo>
                      <a:pt x="185" y="115"/>
                    </a:lnTo>
                    <a:lnTo>
                      <a:pt x="183" y="111"/>
                    </a:lnTo>
                    <a:lnTo>
                      <a:pt x="182" y="108"/>
                    </a:lnTo>
                    <a:lnTo>
                      <a:pt x="178" y="107"/>
                    </a:lnTo>
                    <a:lnTo>
                      <a:pt x="172" y="107"/>
                    </a:lnTo>
                    <a:lnTo>
                      <a:pt x="172" y="107"/>
                    </a:lnTo>
                    <a:lnTo>
                      <a:pt x="165" y="107"/>
                    </a:lnTo>
                    <a:lnTo>
                      <a:pt x="159" y="105"/>
                    </a:lnTo>
                    <a:lnTo>
                      <a:pt x="155" y="103"/>
                    </a:lnTo>
                    <a:lnTo>
                      <a:pt x="153" y="100"/>
                    </a:lnTo>
                    <a:lnTo>
                      <a:pt x="153" y="100"/>
                    </a:lnTo>
                    <a:lnTo>
                      <a:pt x="152" y="95"/>
                    </a:lnTo>
                    <a:lnTo>
                      <a:pt x="151" y="91"/>
                    </a:lnTo>
                    <a:lnTo>
                      <a:pt x="151" y="88"/>
                    </a:lnTo>
                    <a:lnTo>
                      <a:pt x="152" y="85"/>
                    </a:lnTo>
                    <a:lnTo>
                      <a:pt x="152" y="85"/>
                    </a:lnTo>
                    <a:lnTo>
                      <a:pt x="153" y="85"/>
                    </a:lnTo>
                    <a:lnTo>
                      <a:pt x="153" y="84"/>
                    </a:lnTo>
                    <a:lnTo>
                      <a:pt x="152" y="81"/>
                    </a:lnTo>
                    <a:lnTo>
                      <a:pt x="151" y="77"/>
                    </a:lnTo>
                    <a:lnTo>
                      <a:pt x="149" y="74"/>
                    </a:lnTo>
                    <a:lnTo>
                      <a:pt x="149" y="74"/>
                    </a:lnTo>
                    <a:lnTo>
                      <a:pt x="149" y="70"/>
                    </a:lnTo>
                    <a:lnTo>
                      <a:pt x="148" y="67"/>
                    </a:lnTo>
                    <a:lnTo>
                      <a:pt x="143" y="63"/>
                    </a:lnTo>
                    <a:lnTo>
                      <a:pt x="143" y="63"/>
                    </a:lnTo>
                    <a:lnTo>
                      <a:pt x="139" y="61"/>
                    </a:lnTo>
                    <a:lnTo>
                      <a:pt x="133" y="61"/>
                    </a:lnTo>
                    <a:lnTo>
                      <a:pt x="128" y="61"/>
                    </a:lnTo>
                    <a:lnTo>
                      <a:pt x="126" y="60"/>
                    </a:lnTo>
                    <a:lnTo>
                      <a:pt x="126" y="58"/>
                    </a:lnTo>
                    <a:lnTo>
                      <a:pt x="126" y="58"/>
                    </a:lnTo>
                    <a:lnTo>
                      <a:pt x="125" y="56"/>
                    </a:lnTo>
                    <a:lnTo>
                      <a:pt x="121" y="54"/>
                    </a:lnTo>
                    <a:lnTo>
                      <a:pt x="112" y="53"/>
                    </a:lnTo>
                    <a:lnTo>
                      <a:pt x="112" y="53"/>
                    </a:lnTo>
                    <a:lnTo>
                      <a:pt x="111" y="51"/>
                    </a:lnTo>
                    <a:lnTo>
                      <a:pt x="109" y="50"/>
                    </a:lnTo>
                    <a:lnTo>
                      <a:pt x="108" y="47"/>
                    </a:lnTo>
                    <a:lnTo>
                      <a:pt x="106" y="47"/>
                    </a:lnTo>
                    <a:lnTo>
                      <a:pt x="106" y="47"/>
                    </a:lnTo>
                    <a:lnTo>
                      <a:pt x="102" y="47"/>
                    </a:lnTo>
                    <a:lnTo>
                      <a:pt x="101" y="46"/>
                    </a:lnTo>
                    <a:lnTo>
                      <a:pt x="98" y="44"/>
                    </a:lnTo>
                    <a:lnTo>
                      <a:pt x="95" y="44"/>
                    </a:lnTo>
                    <a:lnTo>
                      <a:pt x="95" y="44"/>
                    </a:lnTo>
                    <a:lnTo>
                      <a:pt x="89" y="44"/>
                    </a:lnTo>
                    <a:lnTo>
                      <a:pt x="85" y="43"/>
                    </a:lnTo>
                    <a:lnTo>
                      <a:pt x="81" y="39"/>
                    </a:lnTo>
                    <a:lnTo>
                      <a:pt x="75" y="33"/>
                    </a:lnTo>
                    <a:lnTo>
                      <a:pt x="75" y="33"/>
                    </a:lnTo>
                    <a:lnTo>
                      <a:pt x="72" y="30"/>
                    </a:lnTo>
                    <a:lnTo>
                      <a:pt x="71" y="26"/>
                    </a:lnTo>
                    <a:lnTo>
                      <a:pt x="69" y="16"/>
                    </a:lnTo>
                    <a:lnTo>
                      <a:pt x="69" y="7"/>
                    </a:lnTo>
                    <a:lnTo>
                      <a:pt x="71" y="2"/>
                    </a:lnTo>
                    <a:lnTo>
                      <a:pt x="71" y="2"/>
                    </a:lnTo>
                    <a:lnTo>
                      <a:pt x="71" y="0"/>
                    </a:lnTo>
                    <a:lnTo>
                      <a:pt x="69" y="0"/>
                    </a:lnTo>
                    <a:lnTo>
                      <a:pt x="65" y="0"/>
                    </a:lnTo>
                    <a:lnTo>
                      <a:pt x="55" y="2"/>
                    </a:lnTo>
                    <a:lnTo>
                      <a:pt x="55" y="2"/>
                    </a:lnTo>
                    <a:lnTo>
                      <a:pt x="51" y="2"/>
                    </a:lnTo>
                    <a:lnTo>
                      <a:pt x="45" y="4"/>
                    </a:lnTo>
                    <a:lnTo>
                      <a:pt x="37" y="10"/>
                    </a:lnTo>
                    <a:lnTo>
                      <a:pt x="37" y="10"/>
                    </a:lnTo>
                    <a:lnTo>
                      <a:pt x="28" y="13"/>
                    </a:lnTo>
                    <a:lnTo>
                      <a:pt x="25" y="14"/>
                    </a:lnTo>
                    <a:lnTo>
                      <a:pt x="23" y="17"/>
                    </a:lnTo>
                    <a:lnTo>
                      <a:pt x="23" y="17"/>
                    </a:lnTo>
                    <a:lnTo>
                      <a:pt x="20" y="19"/>
                    </a:lnTo>
                    <a:lnTo>
                      <a:pt x="17" y="20"/>
                    </a:lnTo>
                    <a:lnTo>
                      <a:pt x="13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3" y="19"/>
                    </a:lnTo>
                    <a:lnTo>
                      <a:pt x="3" y="19"/>
                    </a:lnTo>
                    <a:lnTo>
                      <a:pt x="14" y="41"/>
                    </a:lnTo>
                    <a:lnTo>
                      <a:pt x="14" y="41"/>
                    </a:lnTo>
                    <a:lnTo>
                      <a:pt x="14" y="44"/>
                    </a:lnTo>
                    <a:lnTo>
                      <a:pt x="14" y="47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0" y="54"/>
                    </a:lnTo>
                    <a:lnTo>
                      <a:pt x="10" y="60"/>
                    </a:lnTo>
                    <a:lnTo>
                      <a:pt x="11" y="73"/>
                    </a:lnTo>
                    <a:lnTo>
                      <a:pt x="11" y="73"/>
                    </a:lnTo>
                    <a:lnTo>
                      <a:pt x="11" y="76"/>
                    </a:lnTo>
                    <a:lnTo>
                      <a:pt x="8" y="80"/>
                    </a:lnTo>
                    <a:lnTo>
                      <a:pt x="7" y="83"/>
                    </a:lnTo>
                    <a:lnTo>
                      <a:pt x="7" y="84"/>
                    </a:lnTo>
                    <a:lnTo>
                      <a:pt x="8" y="85"/>
                    </a:lnTo>
                    <a:lnTo>
                      <a:pt x="8" y="85"/>
                    </a:lnTo>
                    <a:lnTo>
                      <a:pt x="8" y="88"/>
                    </a:lnTo>
                    <a:lnTo>
                      <a:pt x="7" y="93"/>
                    </a:lnTo>
                    <a:lnTo>
                      <a:pt x="5" y="95"/>
                    </a:lnTo>
                    <a:lnTo>
                      <a:pt x="4" y="100"/>
                    </a:lnTo>
                    <a:lnTo>
                      <a:pt x="4" y="100"/>
                    </a:lnTo>
                    <a:lnTo>
                      <a:pt x="5" y="103"/>
                    </a:lnTo>
                    <a:lnTo>
                      <a:pt x="7" y="104"/>
                    </a:lnTo>
                    <a:lnTo>
                      <a:pt x="10" y="105"/>
                    </a:lnTo>
                    <a:lnTo>
                      <a:pt x="10" y="107"/>
                    </a:lnTo>
                    <a:lnTo>
                      <a:pt x="10" y="107"/>
                    </a:lnTo>
                    <a:lnTo>
                      <a:pt x="10" y="110"/>
                    </a:lnTo>
                    <a:lnTo>
                      <a:pt x="7" y="114"/>
                    </a:lnTo>
                    <a:lnTo>
                      <a:pt x="1" y="120"/>
                    </a:lnTo>
                    <a:lnTo>
                      <a:pt x="1" y="120"/>
                    </a:lnTo>
                    <a:lnTo>
                      <a:pt x="0" y="122"/>
                    </a:lnTo>
                    <a:lnTo>
                      <a:pt x="0" y="127"/>
                    </a:lnTo>
                    <a:lnTo>
                      <a:pt x="0" y="127"/>
                    </a:lnTo>
                    <a:lnTo>
                      <a:pt x="3" y="130"/>
                    </a:lnTo>
                    <a:lnTo>
                      <a:pt x="4" y="131"/>
                    </a:lnTo>
                    <a:lnTo>
                      <a:pt x="7" y="134"/>
                    </a:lnTo>
                    <a:lnTo>
                      <a:pt x="7" y="134"/>
                    </a:lnTo>
                    <a:lnTo>
                      <a:pt x="8" y="135"/>
                    </a:lnTo>
                    <a:lnTo>
                      <a:pt x="8" y="138"/>
                    </a:lnTo>
                    <a:lnTo>
                      <a:pt x="8" y="142"/>
                    </a:lnTo>
                    <a:lnTo>
                      <a:pt x="8" y="147"/>
                    </a:lnTo>
                    <a:lnTo>
                      <a:pt x="10" y="150"/>
                    </a:lnTo>
                    <a:lnTo>
                      <a:pt x="11" y="151"/>
                    </a:lnTo>
                    <a:lnTo>
                      <a:pt x="11" y="151"/>
                    </a:lnTo>
                    <a:lnTo>
                      <a:pt x="14" y="155"/>
                    </a:lnTo>
                    <a:lnTo>
                      <a:pt x="17" y="157"/>
                    </a:lnTo>
                    <a:lnTo>
                      <a:pt x="18" y="158"/>
                    </a:lnTo>
                    <a:lnTo>
                      <a:pt x="17" y="161"/>
                    </a:lnTo>
                    <a:lnTo>
                      <a:pt x="17" y="161"/>
                    </a:lnTo>
                    <a:lnTo>
                      <a:pt x="15" y="162"/>
                    </a:lnTo>
                    <a:lnTo>
                      <a:pt x="15" y="167"/>
                    </a:lnTo>
                    <a:lnTo>
                      <a:pt x="15" y="169"/>
                    </a:lnTo>
                    <a:lnTo>
                      <a:pt x="14" y="172"/>
                    </a:lnTo>
                    <a:lnTo>
                      <a:pt x="14" y="172"/>
                    </a:lnTo>
                    <a:lnTo>
                      <a:pt x="13" y="174"/>
                    </a:lnTo>
                    <a:lnTo>
                      <a:pt x="13" y="175"/>
                    </a:lnTo>
                    <a:lnTo>
                      <a:pt x="14" y="179"/>
                    </a:lnTo>
                    <a:lnTo>
                      <a:pt x="17" y="182"/>
                    </a:lnTo>
                    <a:lnTo>
                      <a:pt x="20" y="185"/>
                    </a:lnTo>
                    <a:lnTo>
                      <a:pt x="20" y="185"/>
                    </a:lnTo>
                    <a:lnTo>
                      <a:pt x="21" y="188"/>
                    </a:lnTo>
                    <a:lnTo>
                      <a:pt x="23" y="191"/>
                    </a:lnTo>
                    <a:lnTo>
                      <a:pt x="23" y="196"/>
                    </a:lnTo>
                    <a:lnTo>
                      <a:pt x="25" y="199"/>
                    </a:lnTo>
                    <a:lnTo>
                      <a:pt x="25" y="199"/>
                    </a:lnTo>
                    <a:lnTo>
                      <a:pt x="27" y="204"/>
                    </a:lnTo>
                    <a:lnTo>
                      <a:pt x="28" y="209"/>
                    </a:lnTo>
                    <a:lnTo>
                      <a:pt x="30" y="218"/>
                    </a:lnTo>
                    <a:lnTo>
                      <a:pt x="30" y="218"/>
                    </a:lnTo>
                    <a:lnTo>
                      <a:pt x="30" y="218"/>
                    </a:lnTo>
                    <a:lnTo>
                      <a:pt x="32" y="218"/>
                    </a:lnTo>
                    <a:lnTo>
                      <a:pt x="38" y="215"/>
                    </a:lnTo>
                    <a:lnTo>
                      <a:pt x="44" y="211"/>
                    </a:lnTo>
                    <a:lnTo>
                      <a:pt x="51" y="205"/>
                    </a:lnTo>
                    <a:lnTo>
                      <a:pt x="51" y="205"/>
                    </a:lnTo>
                    <a:lnTo>
                      <a:pt x="55" y="201"/>
                    </a:lnTo>
                    <a:lnTo>
                      <a:pt x="58" y="201"/>
                    </a:lnTo>
                    <a:lnTo>
                      <a:pt x="61" y="202"/>
                    </a:lnTo>
                    <a:lnTo>
                      <a:pt x="65" y="204"/>
                    </a:lnTo>
                    <a:lnTo>
                      <a:pt x="65" y="204"/>
                    </a:lnTo>
                    <a:lnTo>
                      <a:pt x="75" y="205"/>
                    </a:lnTo>
                    <a:lnTo>
                      <a:pt x="81" y="208"/>
                    </a:lnTo>
                    <a:lnTo>
                      <a:pt x="84" y="212"/>
                    </a:lnTo>
                    <a:lnTo>
                      <a:pt x="84" y="212"/>
                    </a:lnTo>
                    <a:lnTo>
                      <a:pt x="85" y="214"/>
                    </a:lnTo>
                    <a:lnTo>
                      <a:pt x="87" y="214"/>
                    </a:lnTo>
                    <a:lnTo>
                      <a:pt x="88" y="211"/>
                    </a:lnTo>
                    <a:lnTo>
                      <a:pt x="94" y="202"/>
                    </a:lnTo>
                    <a:lnTo>
                      <a:pt x="94" y="202"/>
                    </a:lnTo>
                    <a:lnTo>
                      <a:pt x="96" y="201"/>
                    </a:lnTo>
                    <a:lnTo>
                      <a:pt x="104" y="201"/>
                    </a:lnTo>
                    <a:lnTo>
                      <a:pt x="115" y="202"/>
                    </a:lnTo>
                    <a:lnTo>
                      <a:pt x="115" y="202"/>
                    </a:lnTo>
                    <a:lnTo>
                      <a:pt x="116" y="198"/>
                    </a:lnTo>
                    <a:lnTo>
                      <a:pt x="118" y="191"/>
                    </a:lnTo>
                    <a:lnTo>
                      <a:pt x="119" y="178"/>
                    </a:lnTo>
                    <a:lnTo>
                      <a:pt x="119" y="178"/>
                    </a:lnTo>
                    <a:lnTo>
                      <a:pt x="119" y="174"/>
                    </a:lnTo>
                    <a:lnTo>
                      <a:pt x="124" y="169"/>
                    </a:lnTo>
                    <a:lnTo>
                      <a:pt x="132" y="162"/>
                    </a:lnTo>
                    <a:lnTo>
                      <a:pt x="132" y="162"/>
                    </a:lnTo>
                    <a:lnTo>
                      <a:pt x="136" y="161"/>
                    </a:lnTo>
                    <a:lnTo>
                      <a:pt x="142" y="159"/>
                    </a:lnTo>
                    <a:lnTo>
                      <a:pt x="146" y="159"/>
                    </a:lnTo>
                    <a:lnTo>
                      <a:pt x="151" y="159"/>
                    </a:lnTo>
                    <a:lnTo>
                      <a:pt x="151" y="159"/>
                    </a:lnTo>
                    <a:lnTo>
                      <a:pt x="155" y="158"/>
                    </a:lnTo>
                    <a:lnTo>
                      <a:pt x="159" y="157"/>
                    </a:lnTo>
                    <a:lnTo>
                      <a:pt x="169" y="157"/>
                    </a:lnTo>
                    <a:lnTo>
                      <a:pt x="169" y="157"/>
                    </a:lnTo>
                    <a:lnTo>
                      <a:pt x="173" y="158"/>
                    </a:lnTo>
                    <a:lnTo>
                      <a:pt x="178" y="161"/>
                    </a:lnTo>
                    <a:lnTo>
                      <a:pt x="182" y="162"/>
                    </a:lnTo>
                    <a:lnTo>
                      <a:pt x="185" y="164"/>
                    </a:lnTo>
                    <a:lnTo>
                      <a:pt x="185" y="164"/>
                    </a:lnTo>
                    <a:lnTo>
                      <a:pt x="188" y="162"/>
                    </a:lnTo>
                    <a:lnTo>
                      <a:pt x="190" y="159"/>
                    </a:lnTo>
                    <a:lnTo>
                      <a:pt x="192" y="157"/>
                    </a:lnTo>
                    <a:lnTo>
                      <a:pt x="192" y="152"/>
                    </a:lnTo>
                    <a:lnTo>
                      <a:pt x="192" y="152"/>
                    </a:lnTo>
                    <a:lnTo>
                      <a:pt x="192" y="147"/>
                    </a:lnTo>
                    <a:lnTo>
                      <a:pt x="193" y="142"/>
                    </a:lnTo>
                    <a:lnTo>
                      <a:pt x="195" y="137"/>
                    </a:lnTo>
                    <a:lnTo>
                      <a:pt x="195" y="131"/>
                    </a:lnTo>
                    <a:lnTo>
                      <a:pt x="195" y="131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60" name="Peru">
                <a:extLst>
                  <a:ext uri="{FF2B5EF4-FFF2-40B4-BE49-F238E27FC236}">
                    <a16:creationId xmlns:a16="http://schemas.microsoft.com/office/drawing/2014/main" id="{D6D19B74-C6C7-2221-0EAE-225C6AB102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6001" y="4315658"/>
                <a:ext cx="300396" cy="443935"/>
              </a:xfrm>
              <a:custGeom>
                <a:avLst/>
                <a:gdLst/>
                <a:ahLst/>
                <a:cxnLst>
                  <a:cxn ang="0">
                    <a:pos x="189" y="285"/>
                  </a:cxn>
                  <a:cxn ang="0">
                    <a:pos x="196" y="272"/>
                  </a:cxn>
                  <a:cxn ang="0">
                    <a:pos x="199" y="263"/>
                  </a:cxn>
                  <a:cxn ang="0">
                    <a:pos x="193" y="258"/>
                  </a:cxn>
                  <a:cxn ang="0">
                    <a:pos x="197" y="243"/>
                  </a:cxn>
                  <a:cxn ang="0">
                    <a:pos x="197" y="238"/>
                  </a:cxn>
                  <a:cxn ang="0">
                    <a:pos x="199" y="218"/>
                  </a:cxn>
                  <a:cxn ang="0">
                    <a:pos x="203" y="205"/>
                  </a:cxn>
                  <a:cxn ang="0">
                    <a:pos x="192" y="177"/>
                  </a:cxn>
                  <a:cxn ang="0">
                    <a:pos x="177" y="178"/>
                  </a:cxn>
                  <a:cxn ang="0">
                    <a:pos x="173" y="157"/>
                  </a:cxn>
                  <a:cxn ang="0">
                    <a:pos x="167" y="155"/>
                  </a:cxn>
                  <a:cxn ang="0">
                    <a:pos x="159" y="161"/>
                  </a:cxn>
                  <a:cxn ang="0">
                    <a:pos x="145" y="160"/>
                  </a:cxn>
                  <a:cxn ang="0">
                    <a:pos x="140" y="151"/>
                  </a:cxn>
                  <a:cxn ang="0">
                    <a:pos x="132" y="148"/>
                  </a:cxn>
                  <a:cxn ang="0">
                    <a:pos x="130" y="138"/>
                  </a:cxn>
                  <a:cxn ang="0">
                    <a:pos x="120" y="121"/>
                  </a:cxn>
                  <a:cxn ang="0">
                    <a:pos x="122" y="113"/>
                  </a:cxn>
                  <a:cxn ang="0">
                    <a:pos x="126" y="106"/>
                  </a:cxn>
                  <a:cxn ang="0">
                    <a:pos x="130" y="98"/>
                  </a:cxn>
                  <a:cxn ang="0">
                    <a:pos x="136" y="84"/>
                  </a:cxn>
                  <a:cxn ang="0">
                    <a:pos x="145" y="77"/>
                  </a:cxn>
                  <a:cxn ang="0">
                    <a:pos x="160" y="70"/>
                  </a:cxn>
                  <a:cxn ang="0">
                    <a:pos x="173" y="66"/>
                  </a:cxn>
                  <a:cxn ang="0">
                    <a:pos x="180" y="64"/>
                  </a:cxn>
                  <a:cxn ang="0">
                    <a:pos x="173" y="59"/>
                  </a:cxn>
                  <a:cxn ang="0">
                    <a:pos x="182" y="46"/>
                  </a:cxn>
                  <a:cxn ang="0">
                    <a:pos x="170" y="36"/>
                  </a:cxn>
                  <a:cxn ang="0">
                    <a:pos x="162" y="37"/>
                  </a:cxn>
                  <a:cxn ang="0">
                    <a:pos x="155" y="36"/>
                  </a:cxn>
                  <a:cxn ang="0">
                    <a:pos x="139" y="39"/>
                  </a:cxn>
                  <a:cxn ang="0">
                    <a:pos x="130" y="34"/>
                  </a:cxn>
                  <a:cxn ang="0">
                    <a:pos x="125" y="24"/>
                  </a:cxn>
                  <a:cxn ang="0">
                    <a:pos x="119" y="16"/>
                  </a:cxn>
                  <a:cxn ang="0">
                    <a:pos x="112" y="13"/>
                  </a:cxn>
                  <a:cxn ang="0">
                    <a:pos x="105" y="2"/>
                  </a:cxn>
                  <a:cxn ang="0">
                    <a:pos x="92" y="2"/>
                  </a:cxn>
                  <a:cxn ang="0">
                    <a:pos x="95" y="13"/>
                  </a:cxn>
                  <a:cxn ang="0">
                    <a:pos x="86" y="30"/>
                  </a:cxn>
                  <a:cxn ang="0">
                    <a:pos x="71" y="41"/>
                  </a:cxn>
                  <a:cxn ang="0">
                    <a:pos x="52" y="49"/>
                  </a:cxn>
                  <a:cxn ang="0">
                    <a:pos x="41" y="73"/>
                  </a:cxn>
                  <a:cxn ang="0">
                    <a:pos x="29" y="73"/>
                  </a:cxn>
                  <a:cxn ang="0">
                    <a:pos x="19" y="71"/>
                  </a:cxn>
                  <a:cxn ang="0">
                    <a:pos x="14" y="66"/>
                  </a:cxn>
                  <a:cxn ang="0">
                    <a:pos x="17" y="59"/>
                  </a:cxn>
                  <a:cxn ang="0">
                    <a:pos x="7" y="59"/>
                  </a:cxn>
                  <a:cxn ang="0">
                    <a:pos x="0" y="73"/>
                  </a:cxn>
                  <a:cxn ang="0">
                    <a:pos x="7" y="91"/>
                  </a:cxn>
                  <a:cxn ang="0">
                    <a:pos x="1" y="94"/>
                  </a:cxn>
                  <a:cxn ang="0">
                    <a:pos x="19" y="107"/>
                  </a:cxn>
                  <a:cxn ang="0">
                    <a:pos x="31" y="124"/>
                  </a:cxn>
                  <a:cxn ang="0">
                    <a:pos x="41" y="138"/>
                  </a:cxn>
                  <a:cxn ang="0">
                    <a:pos x="65" y="192"/>
                  </a:cxn>
                  <a:cxn ang="0">
                    <a:pos x="79" y="215"/>
                  </a:cxn>
                  <a:cxn ang="0">
                    <a:pos x="81" y="225"/>
                  </a:cxn>
                  <a:cxn ang="0">
                    <a:pos x="86" y="236"/>
                  </a:cxn>
                  <a:cxn ang="0">
                    <a:pos x="112" y="255"/>
                  </a:cxn>
                  <a:cxn ang="0">
                    <a:pos x="159" y="283"/>
                  </a:cxn>
                  <a:cxn ang="0">
                    <a:pos x="177" y="298"/>
                  </a:cxn>
                  <a:cxn ang="0">
                    <a:pos x="182" y="298"/>
                  </a:cxn>
                  <a:cxn ang="0">
                    <a:pos x="189" y="285"/>
                  </a:cxn>
                </a:cxnLst>
                <a:rect l="0" t="0" r="r" b="b"/>
                <a:pathLst>
                  <a:path w="203" h="300">
                    <a:moveTo>
                      <a:pt x="189" y="285"/>
                    </a:moveTo>
                    <a:lnTo>
                      <a:pt x="189" y="285"/>
                    </a:lnTo>
                    <a:lnTo>
                      <a:pt x="189" y="285"/>
                    </a:lnTo>
                    <a:lnTo>
                      <a:pt x="189" y="285"/>
                    </a:lnTo>
                    <a:lnTo>
                      <a:pt x="189" y="280"/>
                    </a:lnTo>
                    <a:lnTo>
                      <a:pt x="190" y="278"/>
                    </a:lnTo>
                    <a:lnTo>
                      <a:pt x="190" y="278"/>
                    </a:lnTo>
                    <a:lnTo>
                      <a:pt x="196" y="272"/>
                    </a:lnTo>
                    <a:lnTo>
                      <a:pt x="199" y="268"/>
                    </a:lnTo>
                    <a:lnTo>
                      <a:pt x="199" y="265"/>
                    </a:lnTo>
                    <a:lnTo>
                      <a:pt x="199" y="265"/>
                    </a:lnTo>
                    <a:lnTo>
                      <a:pt x="199" y="263"/>
                    </a:lnTo>
                    <a:lnTo>
                      <a:pt x="196" y="262"/>
                    </a:lnTo>
                    <a:lnTo>
                      <a:pt x="194" y="261"/>
                    </a:lnTo>
                    <a:lnTo>
                      <a:pt x="193" y="258"/>
                    </a:lnTo>
                    <a:lnTo>
                      <a:pt x="193" y="258"/>
                    </a:lnTo>
                    <a:lnTo>
                      <a:pt x="194" y="253"/>
                    </a:lnTo>
                    <a:lnTo>
                      <a:pt x="196" y="251"/>
                    </a:lnTo>
                    <a:lnTo>
                      <a:pt x="197" y="246"/>
                    </a:lnTo>
                    <a:lnTo>
                      <a:pt x="197" y="243"/>
                    </a:lnTo>
                    <a:lnTo>
                      <a:pt x="197" y="243"/>
                    </a:lnTo>
                    <a:lnTo>
                      <a:pt x="196" y="242"/>
                    </a:lnTo>
                    <a:lnTo>
                      <a:pt x="196" y="241"/>
                    </a:lnTo>
                    <a:lnTo>
                      <a:pt x="197" y="238"/>
                    </a:lnTo>
                    <a:lnTo>
                      <a:pt x="200" y="234"/>
                    </a:lnTo>
                    <a:lnTo>
                      <a:pt x="200" y="231"/>
                    </a:lnTo>
                    <a:lnTo>
                      <a:pt x="200" y="231"/>
                    </a:lnTo>
                    <a:lnTo>
                      <a:pt x="199" y="218"/>
                    </a:lnTo>
                    <a:lnTo>
                      <a:pt x="199" y="212"/>
                    </a:lnTo>
                    <a:lnTo>
                      <a:pt x="199" y="208"/>
                    </a:lnTo>
                    <a:lnTo>
                      <a:pt x="199" y="208"/>
                    </a:lnTo>
                    <a:lnTo>
                      <a:pt x="203" y="205"/>
                    </a:lnTo>
                    <a:lnTo>
                      <a:pt x="203" y="202"/>
                    </a:lnTo>
                    <a:lnTo>
                      <a:pt x="203" y="199"/>
                    </a:lnTo>
                    <a:lnTo>
                      <a:pt x="203" y="199"/>
                    </a:lnTo>
                    <a:lnTo>
                      <a:pt x="192" y="177"/>
                    </a:lnTo>
                    <a:lnTo>
                      <a:pt x="192" y="177"/>
                    </a:lnTo>
                    <a:lnTo>
                      <a:pt x="184" y="177"/>
                    </a:lnTo>
                    <a:lnTo>
                      <a:pt x="177" y="178"/>
                    </a:lnTo>
                    <a:lnTo>
                      <a:pt x="177" y="178"/>
                    </a:lnTo>
                    <a:lnTo>
                      <a:pt x="175" y="178"/>
                    </a:lnTo>
                    <a:lnTo>
                      <a:pt x="175" y="175"/>
                    </a:lnTo>
                    <a:lnTo>
                      <a:pt x="173" y="170"/>
                    </a:lnTo>
                    <a:lnTo>
                      <a:pt x="173" y="157"/>
                    </a:lnTo>
                    <a:lnTo>
                      <a:pt x="173" y="157"/>
                    </a:lnTo>
                    <a:lnTo>
                      <a:pt x="172" y="154"/>
                    </a:lnTo>
                    <a:lnTo>
                      <a:pt x="170" y="154"/>
                    </a:lnTo>
                    <a:lnTo>
                      <a:pt x="167" y="155"/>
                    </a:lnTo>
                    <a:lnTo>
                      <a:pt x="166" y="158"/>
                    </a:lnTo>
                    <a:lnTo>
                      <a:pt x="166" y="158"/>
                    </a:lnTo>
                    <a:lnTo>
                      <a:pt x="163" y="160"/>
                    </a:lnTo>
                    <a:lnTo>
                      <a:pt x="159" y="161"/>
                    </a:lnTo>
                    <a:lnTo>
                      <a:pt x="149" y="161"/>
                    </a:lnTo>
                    <a:lnTo>
                      <a:pt x="149" y="161"/>
                    </a:lnTo>
                    <a:lnTo>
                      <a:pt x="146" y="160"/>
                    </a:lnTo>
                    <a:lnTo>
                      <a:pt x="145" y="160"/>
                    </a:lnTo>
                    <a:lnTo>
                      <a:pt x="143" y="155"/>
                    </a:lnTo>
                    <a:lnTo>
                      <a:pt x="142" y="152"/>
                    </a:lnTo>
                    <a:lnTo>
                      <a:pt x="142" y="151"/>
                    </a:lnTo>
                    <a:lnTo>
                      <a:pt x="140" y="151"/>
                    </a:lnTo>
                    <a:lnTo>
                      <a:pt x="140" y="151"/>
                    </a:lnTo>
                    <a:lnTo>
                      <a:pt x="138" y="151"/>
                    </a:lnTo>
                    <a:lnTo>
                      <a:pt x="135" y="150"/>
                    </a:lnTo>
                    <a:lnTo>
                      <a:pt x="132" y="148"/>
                    </a:lnTo>
                    <a:lnTo>
                      <a:pt x="132" y="145"/>
                    </a:lnTo>
                    <a:lnTo>
                      <a:pt x="132" y="145"/>
                    </a:lnTo>
                    <a:lnTo>
                      <a:pt x="132" y="142"/>
                    </a:lnTo>
                    <a:lnTo>
                      <a:pt x="130" y="138"/>
                    </a:lnTo>
                    <a:lnTo>
                      <a:pt x="126" y="131"/>
                    </a:lnTo>
                    <a:lnTo>
                      <a:pt x="126" y="131"/>
                    </a:lnTo>
                    <a:lnTo>
                      <a:pt x="120" y="124"/>
                    </a:lnTo>
                    <a:lnTo>
                      <a:pt x="120" y="121"/>
                    </a:lnTo>
                    <a:lnTo>
                      <a:pt x="122" y="118"/>
                    </a:lnTo>
                    <a:lnTo>
                      <a:pt x="122" y="118"/>
                    </a:lnTo>
                    <a:lnTo>
                      <a:pt x="122" y="115"/>
                    </a:lnTo>
                    <a:lnTo>
                      <a:pt x="122" y="113"/>
                    </a:lnTo>
                    <a:lnTo>
                      <a:pt x="122" y="110"/>
                    </a:lnTo>
                    <a:lnTo>
                      <a:pt x="123" y="107"/>
                    </a:lnTo>
                    <a:lnTo>
                      <a:pt x="123" y="107"/>
                    </a:lnTo>
                    <a:lnTo>
                      <a:pt x="126" y="106"/>
                    </a:lnTo>
                    <a:lnTo>
                      <a:pt x="129" y="104"/>
                    </a:lnTo>
                    <a:lnTo>
                      <a:pt x="130" y="101"/>
                    </a:lnTo>
                    <a:lnTo>
                      <a:pt x="130" y="98"/>
                    </a:lnTo>
                    <a:lnTo>
                      <a:pt x="130" y="98"/>
                    </a:lnTo>
                    <a:lnTo>
                      <a:pt x="130" y="96"/>
                    </a:lnTo>
                    <a:lnTo>
                      <a:pt x="133" y="91"/>
                    </a:lnTo>
                    <a:lnTo>
                      <a:pt x="135" y="88"/>
                    </a:lnTo>
                    <a:lnTo>
                      <a:pt x="136" y="84"/>
                    </a:lnTo>
                    <a:lnTo>
                      <a:pt x="136" y="84"/>
                    </a:lnTo>
                    <a:lnTo>
                      <a:pt x="138" y="80"/>
                    </a:lnTo>
                    <a:lnTo>
                      <a:pt x="140" y="78"/>
                    </a:lnTo>
                    <a:lnTo>
                      <a:pt x="145" y="77"/>
                    </a:lnTo>
                    <a:lnTo>
                      <a:pt x="150" y="74"/>
                    </a:lnTo>
                    <a:lnTo>
                      <a:pt x="150" y="74"/>
                    </a:lnTo>
                    <a:lnTo>
                      <a:pt x="155" y="71"/>
                    </a:lnTo>
                    <a:lnTo>
                      <a:pt x="160" y="70"/>
                    </a:lnTo>
                    <a:lnTo>
                      <a:pt x="165" y="70"/>
                    </a:lnTo>
                    <a:lnTo>
                      <a:pt x="170" y="67"/>
                    </a:lnTo>
                    <a:lnTo>
                      <a:pt x="170" y="67"/>
                    </a:lnTo>
                    <a:lnTo>
                      <a:pt x="173" y="66"/>
                    </a:lnTo>
                    <a:lnTo>
                      <a:pt x="176" y="66"/>
                    </a:lnTo>
                    <a:lnTo>
                      <a:pt x="183" y="66"/>
                    </a:lnTo>
                    <a:lnTo>
                      <a:pt x="183" y="66"/>
                    </a:lnTo>
                    <a:lnTo>
                      <a:pt x="180" y="64"/>
                    </a:lnTo>
                    <a:lnTo>
                      <a:pt x="177" y="61"/>
                    </a:lnTo>
                    <a:lnTo>
                      <a:pt x="175" y="60"/>
                    </a:lnTo>
                    <a:lnTo>
                      <a:pt x="173" y="59"/>
                    </a:lnTo>
                    <a:lnTo>
                      <a:pt x="173" y="59"/>
                    </a:lnTo>
                    <a:lnTo>
                      <a:pt x="173" y="56"/>
                    </a:lnTo>
                    <a:lnTo>
                      <a:pt x="176" y="51"/>
                    </a:lnTo>
                    <a:lnTo>
                      <a:pt x="182" y="46"/>
                    </a:lnTo>
                    <a:lnTo>
                      <a:pt x="182" y="46"/>
                    </a:lnTo>
                    <a:lnTo>
                      <a:pt x="182" y="43"/>
                    </a:lnTo>
                    <a:lnTo>
                      <a:pt x="180" y="41"/>
                    </a:lnTo>
                    <a:lnTo>
                      <a:pt x="177" y="39"/>
                    </a:lnTo>
                    <a:lnTo>
                      <a:pt x="170" y="36"/>
                    </a:lnTo>
                    <a:lnTo>
                      <a:pt x="170" y="36"/>
                    </a:lnTo>
                    <a:lnTo>
                      <a:pt x="167" y="36"/>
                    </a:lnTo>
                    <a:lnTo>
                      <a:pt x="165" y="36"/>
                    </a:lnTo>
                    <a:lnTo>
                      <a:pt x="162" y="37"/>
                    </a:lnTo>
                    <a:lnTo>
                      <a:pt x="159" y="36"/>
                    </a:lnTo>
                    <a:lnTo>
                      <a:pt x="159" y="36"/>
                    </a:lnTo>
                    <a:lnTo>
                      <a:pt x="156" y="36"/>
                    </a:lnTo>
                    <a:lnTo>
                      <a:pt x="155" y="36"/>
                    </a:lnTo>
                    <a:lnTo>
                      <a:pt x="149" y="37"/>
                    </a:lnTo>
                    <a:lnTo>
                      <a:pt x="149" y="37"/>
                    </a:lnTo>
                    <a:lnTo>
                      <a:pt x="146" y="39"/>
                    </a:lnTo>
                    <a:lnTo>
                      <a:pt x="139" y="39"/>
                    </a:lnTo>
                    <a:lnTo>
                      <a:pt x="133" y="37"/>
                    </a:lnTo>
                    <a:lnTo>
                      <a:pt x="132" y="37"/>
                    </a:lnTo>
                    <a:lnTo>
                      <a:pt x="130" y="34"/>
                    </a:lnTo>
                    <a:lnTo>
                      <a:pt x="130" y="34"/>
                    </a:lnTo>
                    <a:lnTo>
                      <a:pt x="130" y="32"/>
                    </a:lnTo>
                    <a:lnTo>
                      <a:pt x="128" y="29"/>
                    </a:lnTo>
                    <a:lnTo>
                      <a:pt x="126" y="27"/>
                    </a:lnTo>
                    <a:lnTo>
                      <a:pt x="125" y="24"/>
                    </a:lnTo>
                    <a:lnTo>
                      <a:pt x="125" y="24"/>
                    </a:lnTo>
                    <a:lnTo>
                      <a:pt x="125" y="22"/>
                    </a:lnTo>
                    <a:lnTo>
                      <a:pt x="122" y="19"/>
                    </a:lnTo>
                    <a:lnTo>
                      <a:pt x="119" y="16"/>
                    </a:lnTo>
                    <a:lnTo>
                      <a:pt x="115" y="14"/>
                    </a:lnTo>
                    <a:lnTo>
                      <a:pt x="115" y="14"/>
                    </a:lnTo>
                    <a:lnTo>
                      <a:pt x="113" y="14"/>
                    </a:lnTo>
                    <a:lnTo>
                      <a:pt x="112" y="13"/>
                    </a:lnTo>
                    <a:lnTo>
                      <a:pt x="109" y="9"/>
                    </a:lnTo>
                    <a:lnTo>
                      <a:pt x="108" y="5"/>
                    </a:lnTo>
                    <a:lnTo>
                      <a:pt x="105" y="2"/>
                    </a:lnTo>
                    <a:lnTo>
                      <a:pt x="105" y="2"/>
                    </a:lnTo>
                    <a:lnTo>
                      <a:pt x="103" y="0"/>
                    </a:lnTo>
                    <a:lnTo>
                      <a:pt x="99" y="0"/>
                    </a:lnTo>
                    <a:lnTo>
                      <a:pt x="92" y="2"/>
                    </a:lnTo>
                    <a:lnTo>
                      <a:pt x="92" y="2"/>
                    </a:lnTo>
                    <a:lnTo>
                      <a:pt x="96" y="9"/>
                    </a:lnTo>
                    <a:lnTo>
                      <a:pt x="98" y="12"/>
                    </a:lnTo>
                    <a:lnTo>
                      <a:pt x="95" y="13"/>
                    </a:lnTo>
                    <a:lnTo>
                      <a:pt x="95" y="13"/>
                    </a:lnTo>
                    <a:lnTo>
                      <a:pt x="93" y="16"/>
                    </a:lnTo>
                    <a:lnTo>
                      <a:pt x="92" y="19"/>
                    </a:lnTo>
                    <a:lnTo>
                      <a:pt x="91" y="23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3" y="34"/>
                    </a:lnTo>
                    <a:lnTo>
                      <a:pt x="79" y="37"/>
                    </a:lnTo>
                    <a:lnTo>
                      <a:pt x="71" y="41"/>
                    </a:lnTo>
                    <a:lnTo>
                      <a:pt x="62" y="44"/>
                    </a:lnTo>
                    <a:lnTo>
                      <a:pt x="55" y="47"/>
                    </a:lnTo>
                    <a:lnTo>
                      <a:pt x="55" y="47"/>
                    </a:lnTo>
                    <a:lnTo>
                      <a:pt x="52" y="49"/>
                    </a:lnTo>
                    <a:lnTo>
                      <a:pt x="51" y="50"/>
                    </a:lnTo>
                    <a:lnTo>
                      <a:pt x="46" y="57"/>
                    </a:lnTo>
                    <a:lnTo>
                      <a:pt x="41" y="73"/>
                    </a:lnTo>
                    <a:lnTo>
                      <a:pt x="41" y="73"/>
                    </a:lnTo>
                    <a:lnTo>
                      <a:pt x="38" y="77"/>
                    </a:lnTo>
                    <a:lnTo>
                      <a:pt x="35" y="78"/>
                    </a:lnTo>
                    <a:lnTo>
                      <a:pt x="32" y="77"/>
                    </a:lnTo>
                    <a:lnTo>
                      <a:pt x="29" y="73"/>
                    </a:lnTo>
                    <a:lnTo>
                      <a:pt x="29" y="73"/>
                    </a:lnTo>
                    <a:lnTo>
                      <a:pt x="27" y="71"/>
                    </a:lnTo>
                    <a:lnTo>
                      <a:pt x="24" y="71"/>
                    </a:lnTo>
                    <a:lnTo>
                      <a:pt x="19" y="71"/>
                    </a:lnTo>
                    <a:lnTo>
                      <a:pt x="17" y="70"/>
                    </a:lnTo>
                    <a:lnTo>
                      <a:pt x="17" y="70"/>
                    </a:lnTo>
                    <a:lnTo>
                      <a:pt x="14" y="67"/>
                    </a:lnTo>
                    <a:lnTo>
                      <a:pt x="14" y="66"/>
                    </a:lnTo>
                    <a:lnTo>
                      <a:pt x="17" y="61"/>
                    </a:lnTo>
                    <a:lnTo>
                      <a:pt x="17" y="61"/>
                    </a:lnTo>
                    <a:lnTo>
                      <a:pt x="17" y="60"/>
                    </a:lnTo>
                    <a:lnTo>
                      <a:pt x="17" y="59"/>
                    </a:lnTo>
                    <a:lnTo>
                      <a:pt x="14" y="53"/>
                    </a:lnTo>
                    <a:lnTo>
                      <a:pt x="14" y="53"/>
                    </a:lnTo>
                    <a:lnTo>
                      <a:pt x="10" y="56"/>
                    </a:lnTo>
                    <a:lnTo>
                      <a:pt x="7" y="59"/>
                    </a:lnTo>
                    <a:lnTo>
                      <a:pt x="1" y="67"/>
                    </a:lnTo>
                    <a:lnTo>
                      <a:pt x="1" y="67"/>
                    </a:lnTo>
                    <a:lnTo>
                      <a:pt x="0" y="70"/>
                    </a:lnTo>
                    <a:lnTo>
                      <a:pt x="0" y="73"/>
                    </a:lnTo>
                    <a:lnTo>
                      <a:pt x="2" y="78"/>
                    </a:lnTo>
                    <a:lnTo>
                      <a:pt x="7" y="90"/>
                    </a:lnTo>
                    <a:lnTo>
                      <a:pt x="7" y="90"/>
                    </a:lnTo>
                    <a:lnTo>
                      <a:pt x="7" y="91"/>
                    </a:lnTo>
                    <a:lnTo>
                      <a:pt x="5" y="91"/>
                    </a:lnTo>
                    <a:lnTo>
                      <a:pt x="2" y="91"/>
                    </a:lnTo>
                    <a:lnTo>
                      <a:pt x="1" y="94"/>
                    </a:lnTo>
                    <a:lnTo>
                      <a:pt x="1" y="94"/>
                    </a:lnTo>
                    <a:lnTo>
                      <a:pt x="2" y="96"/>
                    </a:lnTo>
                    <a:lnTo>
                      <a:pt x="2" y="97"/>
                    </a:lnTo>
                    <a:lnTo>
                      <a:pt x="8" y="100"/>
                    </a:lnTo>
                    <a:lnTo>
                      <a:pt x="19" y="107"/>
                    </a:lnTo>
                    <a:lnTo>
                      <a:pt x="19" y="107"/>
                    </a:lnTo>
                    <a:lnTo>
                      <a:pt x="24" y="113"/>
                    </a:lnTo>
                    <a:lnTo>
                      <a:pt x="27" y="118"/>
                    </a:lnTo>
                    <a:lnTo>
                      <a:pt x="31" y="124"/>
                    </a:lnTo>
                    <a:lnTo>
                      <a:pt x="35" y="130"/>
                    </a:lnTo>
                    <a:lnTo>
                      <a:pt x="35" y="130"/>
                    </a:lnTo>
                    <a:lnTo>
                      <a:pt x="38" y="134"/>
                    </a:lnTo>
                    <a:lnTo>
                      <a:pt x="41" y="138"/>
                    </a:lnTo>
                    <a:lnTo>
                      <a:pt x="46" y="154"/>
                    </a:lnTo>
                    <a:lnTo>
                      <a:pt x="46" y="154"/>
                    </a:lnTo>
                    <a:lnTo>
                      <a:pt x="58" y="179"/>
                    </a:lnTo>
                    <a:lnTo>
                      <a:pt x="65" y="192"/>
                    </a:lnTo>
                    <a:lnTo>
                      <a:pt x="71" y="201"/>
                    </a:lnTo>
                    <a:lnTo>
                      <a:pt x="71" y="201"/>
                    </a:lnTo>
                    <a:lnTo>
                      <a:pt x="76" y="208"/>
                    </a:lnTo>
                    <a:lnTo>
                      <a:pt x="79" y="215"/>
                    </a:lnTo>
                    <a:lnTo>
                      <a:pt x="81" y="219"/>
                    </a:lnTo>
                    <a:lnTo>
                      <a:pt x="81" y="222"/>
                    </a:lnTo>
                    <a:lnTo>
                      <a:pt x="81" y="222"/>
                    </a:lnTo>
                    <a:lnTo>
                      <a:pt x="81" y="225"/>
                    </a:lnTo>
                    <a:lnTo>
                      <a:pt x="81" y="229"/>
                    </a:lnTo>
                    <a:lnTo>
                      <a:pt x="83" y="234"/>
                    </a:lnTo>
                    <a:lnTo>
                      <a:pt x="86" y="236"/>
                    </a:lnTo>
                    <a:lnTo>
                      <a:pt x="86" y="236"/>
                    </a:lnTo>
                    <a:lnTo>
                      <a:pt x="96" y="243"/>
                    </a:lnTo>
                    <a:lnTo>
                      <a:pt x="102" y="249"/>
                    </a:lnTo>
                    <a:lnTo>
                      <a:pt x="112" y="255"/>
                    </a:lnTo>
                    <a:lnTo>
                      <a:pt x="112" y="255"/>
                    </a:lnTo>
                    <a:lnTo>
                      <a:pt x="139" y="269"/>
                    </a:lnTo>
                    <a:lnTo>
                      <a:pt x="152" y="276"/>
                    </a:lnTo>
                    <a:lnTo>
                      <a:pt x="156" y="280"/>
                    </a:lnTo>
                    <a:lnTo>
                      <a:pt x="159" y="283"/>
                    </a:lnTo>
                    <a:lnTo>
                      <a:pt x="159" y="283"/>
                    </a:lnTo>
                    <a:lnTo>
                      <a:pt x="163" y="288"/>
                    </a:lnTo>
                    <a:lnTo>
                      <a:pt x="169" y="292"/>
                    </a:lnTo>
                    <a:lnTo>
                      <a:pt x="177" y="298"/>
                    </a:lnTo>
                    <a:lnTo>
                      <a:pt x="177" y="298"/>
                    </a:lnTo>
                    <a:lnTo>
                      <a:pt x="179" y="300"/>
                    </a:lnTo>
                    <a:lnTo>
                      <a:pt x="179" y="300"/>
                    </a:lnTo>
                    <a:lnTo>
                      <a:pt x="182" y="298"/>
                    </a:lnTo>
                    <a:lnTo>
                      <a:pt x="182" y="298"/>
                    </a:lnTo>
                    <a:lnTo>
                      <a:pt x="184" y="295"/>
                    </a:lnTo>
                    <a:lnTo>
                      <a:pt x="186" y="292"/>
                    </a:lnTo>
                    <a:lnTo>
                      <a:pt x="189" y="285"/>
                    </a:lnTo>
                    <a:lnTo>
                      <a:pt x="189" y="285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61" name="Colombia">
                <a:extLst>
                  <a:ext uri="{FF2B5EF4-FFF2-40B4-BE49-F238E27FC236}">
                    <a16:creationId xmlns:a16="http://schemas.microsoft.com/office/drawing/2014/main" id="{F5400B6B-FF68-5648-BBA7-7BE80AA8EF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2233" y="4012303"/>
                <a:ext cx="282640" cy="401022"/>
              </a:xfrm>
              <a:custGeom>
                <a:avLst/>
                <a:gdLst/>
                <a:ahLst/>
                <a:cxnLst>
                  <a:cxn ang="0">
                    <a:pos x="40" y="198"/>
                  </a:cxn>
                  <a:cxn ang="0">
                    <a:pos x="53" y="207"/>
                  </a:cxn>
                  <a:cxn ang="0">
                    <a:pos x="65" y="205"/>
                  </a:cxn>
                  <a:cxn ang="0">
                    <a:pos x="74" y="218"/>
                  </a:cxn>
                  <a:cxn ang="0">
                    <a:pos x="84" y="224"/>
                  </a:cxn>
                  <a:cxn ang="0">
                    <a:pos x="90" y="234"/>
                  </a:cxn>
                  <a:cxn ang="0">
                    <a:pos x="95" y="242"/>
                  </a:cxn>
                  <a:cxn ang="0">
                    <a:pos x="117" y="241"/>
                  </a:cxn>
                  <a:cxn ang="0">
                    <a:pos x="127" y="241"/>
                  </a:cxn>
                  <a:cxn ang="0">
                    <a:pos x="142" y="246"/>
                  </a:cxn>
                  <a:cxn ang="0">
                    <a:pos x="135" y="261"/>
                  </a:cxn>
                  <a:cxn ang="0">
                    <a:pos x="142" y="269"/>
                  </a:cxn>
                  <a:cxn ang="0">
                    <a:pos x="146" y="271"/>
                  </a:cxn>
                  <a:cxn ang="0">
                    <a:pos x="152" y="238"/>
                  </a:cxn>
                  <a:cxn ang="0">
                    <a:pos x="151" y="215"/>
                  </a:cxn>
                  <a:cxn ang="0">
                    <a:pos x="145" y="197"/>
                  </a:cxn>
                  <a:cxn ang="0">
                    <a:pos x="158" y="190"/>
                  </a:cxn>
                  <a:cxn ang="0">
                    <a:pos x="149" y="182"/>
                  </a:cxn>
                  <a:cxn ang="0">
                    <a:pos x="151" y="175"/>
                  </a:cxn>
                  <a:cxn ang="0">
                    <a:pos x="183" y="173"/>
                  </a:cxn>
                  <a:cxn ang="0">
                    <a:pos x="188" y="161"/>
                  </a:cxn>
                  <a:cxn ang="0">
                    <a:pos x="188" y="150"/>
                  </a:cxn>
                  <a:cxn ang="0">
                    <a:pos x="182" y="137"/>
                  </a:cxn>
                  <a:cxn ang="0">
                    <a:pos x="185" y="107"/>
                  </a:cxn>
                  <a:cxn ang="0">
                    <a:pos x="182" y="101"/>
                  </a:cxn>
                  <a:cxn ang="0">
                    <a:pos x="155" y="101"/>
                  </a:cxn>
                  <a:cxn ang="0">
                    <a:pos x="139" y="90"/>
                  </a:cxn>
                  <a:cxn ang="0">
                    <a:pos x="109" y="89"/>
                  </a:cxn>
                  <a:cxn ang="0">
                    <a:pos x="107" y="69"/>
                  </a:cxn>
                  <a:cxn ang="0">
                    <a:pos x="100" y="59"/>
                  </a:cxn>
                  <a:cxn ang="0">
                    <a:pos x="91" y="54"/>
                  </a:cxn>
                  <a:cxn ang="0">
                    <a:pos x="97" y="36"/>
                  </a:cxn>
                  <a:cxn ang="0">
                    <a:pos x="111" y="17"/>
                  </a:cxn>
                  <a:cxn ang="0">
                    <a:pos x="119" y="12"/>
                  </a:cxn>
                  <a:cxn ang="0">
                    <a:pos x="124" y="2"/>
                  </a:cxn>
                  <a:cxn ang="0">
                    <a:pos x="111" y="7"/>
                  </a:cxn>
                  <a:cxn ang="0">
                    <a:pos x="91" y="19"/>
                  </a:cxn>
                  <a:cxn ang="0">
                    <a:pos x="77" y="22"/>
                  </a:cxn>
                  <a:cxn ang="0">
                    <a:pos x="70" y="22"/>
                  </a:cxn>
                  <a:cxn ang="0">
                    <a:pos x="54" y="36"/>
                  </a:cxn>
                  <a:cxn ang="0">
                    <a:pos x="48" y="52"/>
                  </a:cxn>
                  <a:cxn ang="0">
                    <a:pos x="31" y="70"/>
                  </a:cxn>
                  <a:cxn ang="0">
                    <a:pos x="27" y="76"/>
                  </a:cxn>
                  <a:cxn ang="0">
                    <a:pos x="24" y="94"/>
                  </a:cxn>
                  <a:cxn ang="0">
                    <a:pos x="26" y="109"/>
                  </a:cxn>
                  <a:cxn ang="0">
                    <a:pos x="24" y="124"/>
                  </a:cxn>
                  <a:cxn ang="0">
                    <a:pos x="28" y="143"/>
                  </a:cxn>
                  <a:cxn ang="0">
                    <a:pos x="16" y="161"/>
                  </a:cxn>
                  <a:cxn ang="0">
                    <a:pos x="6" y="167"/>
                  </a:cxn>
                  <a:cxn ang="0">
                    <a:pos x="0" y="174"/>
                  </a:cxn>
                  <a:cxn ang="0">
                    <a:pos x="20" y="190"/>
                  </a:cxn>
                  <a:cxn ang="0">
                    <a:pos x="30" y="197"/>
                  </a:cxn>
                </a:cxnLst>
                <a:rect l="0" t="0" r="r" b="b"/>
                <a:pathLst>
                  <a:path w="191" h="271">
                    <a:moveTo>
                      <a:pt x="30" y="197"/>
                    </a:moveTo>
                    <a:lnTo>
                      <a:pt x="30" y="197"/>
                    </a:lnTo>
                    <a:lnTo>
                      <a:pt x="33" y="198"/>
                    </a:lnTo>
                    <a:lnTo>
                      <a:pt x="37" y="200"/>
                    </a:lnTo>
                    <a:lnTo>
                      <a:pt x="40" y="198"/>
                    </a:lnTo>
                    <a:lnTo>
                      <a:pt x="41" y="197"/>
                    </a:lnTo>
                    <a:lnTo>
                      <a:pt x="41" y="197"/>
                    </a:lnTo>
                    <a:lnTo>
                      <a:pt x="43" y="197"/>
                    </a:lnTo>
                    <a:lnTo>
                      <a:pt x="45" y="198"/>
                    </a:lnTo>
                    <a:lnTo>
                      <a:pt x="53" y="207"/>
                    </a:lnTo>
                    <a:lnTo>
                      <a:pt x="53" y="207"/>
                    </a:lnTo>
                    <a:lnTo>
                      <a:pt x="54" y="207"/>
                    </a:lnTo>
                    <a:lnTo>
                      <a:pt x="54" y="207"/>
                    </a:lnTo>
                    <a:lnTo>
                      <a:pt x="61" y="205"/>
                    </a:lnTo>
                    <a:lnTo>
                      <a:pt x="65" y="205"/>
                    </a:lnTo>
                    <a:lnTo>
                      <a:pt x="67" y="207"/>
                    </a:lnTo>
                    <a:lnTo>
                      <a:pt x="67" y="207"/>
                    </a:lnTo>
                    <a:lnTo>
                      <a:pt x="70" y="210"/>
                    </a:lnTo>
                    <a:lnTo>
                      <a:pt x="71" y="214"/>
                    </a:lnTo>
                    <a:lnTo>
                      <a:pt x="74" y="218"/>
                    </a:lnTo>
                    <a:lnTo>
                      <a:pt x="75" y="219"/>
                    </a:lnTo>
                    <a:lnTo>
                      <a:pt x="77" y="219"/>
                    </a:lnTo>
                    <a:lnTo>
                      <a:pt x="77" y="219"/>
                    </a:lnTo>
                    <a:lnTo>
                      <a:pt x="81" y="221"/>
                    </a:lnTo>
                    <a:lnTo>
                      <a:pt x="84" y="224"/>
                    </a:lnTo>
                    <a:lnTo>
                      <a:pt x="87" y="227"/>
                    </a:lnTo>
                    <a:lnTo>
                      <a:pt x="87" y="229"/>
                    </a:lnTo>
                    <a:lnTo>
                      <a:pt x="87" y="229"/>
                    </a:lnTo>
                    <a:lnTo>
                      <a:pt x="88" y="232"/>
                    </a:lnTo>
                    <a:lnTo>
                      <a:pt x="90" y="234"/>
                    </a:lnTo>
                    <a:lnTo>
                      <a:pt x="92" y="237"/>
                    </a:lnTo>
                    <a:lnTo>
                      <a:pt x="92" y="239"/>
                    </a:lnTo>
                    <a:lnTo>
                      <a:pt x="92" y="239"/>
                    </a:lnTo>
                    <a:lnTo>
                      <a:pt x="94" y="242"/>
                    </a:lnTo>
                    <a:lnTo>
                      <a:pt x="95" y="242"/>
                    </a:lnTo>
                    <a:lnTo>
                      <a:pt x="101" y="244"/>
                    </a:lnTo>
                    <a:lnTo>
                      <a:pt x="108" y="244"/>
                    </a:lnTo>
                    <a:lnTo>
                      <a:pt x="111" y="242"/>
                    </a:lnTo>
                    <a:lnTo>
                      <a:pt x="111" y="242"/>
                    </a:lnTo>
                    <a:lnTo>
                      <a:pt x="117" y="241"/>
                    </a:lnTo>
                    <a:lnTo>
                      <a:pt x="118" y="241"/>
                    </a:lnTo>
                    <a:lnTo>
                      <a:pt x="121" y="241"/>
                    </a:lnTo>
                    <a:lnTo>
                      <a:pt x="121" y="241"/>
                    </a:lnTo>
                    <a:lnTo>
                      <a:pt x="124" y="242"/>
                    </a:lnTo>
                    <a:lnTo>
                      <a:pt x="127" y="241"/>
                    </a:lnTo>
                    <a:lnTo>
                      <a:pt x="129" y="241"/>
                    </a:lnTo>
                    <a:lnTo>
                      <a:pt x="132" y="241"/>
                    </a:lnTo>
                    <a:lnTo>
                      <a:pt x="132" y="241"/>
                    </a:lnTo>
                    <a:lnTo>
                      <a:pt x="139" y="244"/>
                    </a:lnTo>
                    <a:lnTo>
                      <a:pt x="142" y="246"/>
                    </a:lnTo>
                    <a:lnTo>
                      <a:pt x="144" y="248"/>
                    </a:lnTo>
                    <a:lnTo>
                      <a:pt x="144" y="251"/>
                    </a:lnTo>
                    <a:lnTo>
                      <a:pt x="144" y="251"/>
                    </a:lnTo>
                    <a:lnTo>
                      <a:pt x="138" y="256"/>
                    </a:lnTo>
                    <a:lnTo>
                      <a:pt x="135" y="261"/>
                    </a:lnTo>
                    <a:lnTo>
                      <a:pt x="135" y="264"/>
                    </a:lnTo>
                    <a:lnTo>
                      <a:pt x="135" y="264"/>
                    </a:lnTo>
                    <a:lnTo>
                      <a:pt x="137" y="265"/>
                    </a:lnTo>
                    <a:lnTo>
                      <a:pt x="139" y="266"/>
                    </a:lnTo>
                    <a:lnTo>
                      <a:pt x="142" y="269"/>
                    </a:lnTo>
                    <a:lnTo>
                      <a:pt x="145" y="271"/>
                    </a:lnTo>
                    <a:lnTo>
                      <a:pt x="145" y="271"/>
                    </a:lnTo>
                    <a:lnTo>
                      <a:pt x="145" y="271"/>
                    </a:lnTo>
                    <a:lnTo>
                      <a:pt x="145" y="271"/>
                    </a:lnTo>
                    <a:lnTo>
                      <a:pt x="146" y="271"/>
                    </a:lnTo>
                    <a:lnTo>
                      <a:pt x="148" y="268"/>
                    </a:lnTo>
                    <a:lnTo>
                      <a:pt x="149" y="262"/>
                    </a:lnTo>
                    <a:lnTo>
                      <a:pt x="152" y="249"/>
                    </a:lnTo>
                    <a:lnTo>
                      <a:pt x="152" y="249"/>
                    </a:lnTo>
                    <a:lnTo>
                      <a:pt x="152" y="238"/>
                    </a:lnTo>
                    <a:lnTo>
                      <a:pt x="155" y="228"/>
                    </a:lnTo>
                    <a:lnTo>
                      <a:pt x="155" y="228"/>
                    </a:lnTo>
                    <a:lnTo>
                      <a:pt x="155" y="224"/>
                    </a:lnTo>
                    <a:lnTo>
                      <a:pt x="154" y="221"/>
                    </a:lnTo>
                    <a:lnTo>
                      <a:pt x="151" y="215"/>
                    </a:lnTo>
                    <a:lnTo>
                      <a:pt x="146" y="208"/>
                    </a:lnTo>
                    <a:lnTo>
                      <a:pt x="145" y="205"/>
                    </a:lnTo>
                    <a:lnTo>
                      <a:pt x="145" y="201"/>
                    </a:lnTo>
                    <a:lnTo>
                      <a:pt x="145" y="201"/>
                    </a:lnTo>
                    <a:lnTo>
                      <a:pt x="145" y="197"/>
                    </a:lnTo>
                    <a:lnTo>
                      <a:pt x="148" y="195"/>
                    </a:lnTo>
                    <a:lnTo>
                      <a:pt x="151" y="194"/>
                    </a:lnTo>
                    <a:lnTo>
                      <a:pt x="155" y="192"/>
                    </a:lnTo>
                    <a:lnTo>
                      <a:pt x="155" y="192"/>
                    </a:lnTo>
                    <a:lnTo>
                      <a:pt x="158" y="190"/>
                    </a:lnTo>
                    <a:lnTo>
                      <a:pt x="156" y="188"/>
                    </a:lnTo>
                    <a:lnTo>
                      <a:pt x="152" y="187"/>
                    </a:lnTo>
                    <a:lnTo>
                      <a:pt x="152" y="187"/>
                    </a:lnTo>
                    <a:lnTo>
                      <a:pt x="151" y="185"/>
                    </a:lnTo>
                    <a:lnTo>
                      <a:pt x="149" y="182"/>
                    </a:lnTo>
                    <a:lnTo>
                      <a:pt x="148" y="180"/>
                    </a:lnTo>
                    <a:lnTo>
                      <a:pt x="148" y="177"/>
                    </a:lnTo>
                    <a:lnTo>
                      <a:pt x="148" y="177"/>
                    </a:lnTo>
                    <a:lnTo>
                      <a:pt x="149" y="177"/>
                    </a:lnTo>
                    <a:lnTo>
                      <a:pt x="151" y="175"/>
                    </a:lnTo>
                    <a:lnTo>
                      <a:pt x="158" y="175"/>
                    </a:lnTo>
                    <a:lnTo>
                      <a:pt x="172" y="175"/>
                    </a:lnTo>
                    <a:lnTo>
                      <a:pt x="172" y="175"/>
                    </a:lnTo>
                    <a:lnTo>
                      <a:pt x="178" y="175"/>
                    </a:lnTo>
                    <a:lnTo>
                      <a:pt x="183" y="173"/>
                    </a:lnTo>
                    <a:lnTo>
                      <a:pt x="191" y="170"/>
                    </a:lnTo>
                    <a:lnTo>
                      <a:pt x="191" y="170"/>
                    </a:lnTo>
                    <a:lnTo>
                      <a:pt x="191" y="167"/>
                    </a:lnTo>
                    <a:lnTo>
                      <a:pt x="189" y="164"/>
                    </a:lnTo>
                    <a:lnTo>
                      <a:pt x="188" y="161"/>
                    </a:lnTo>
                    <a:lnTo>
                      <a:pt x="188" y="161"/>
                    </a:lnTo>
                    <a:lnTo>
                      <a:pt x="185" y="158"/>
                    </a:lnTo>
                    <a:lnTo>
                      <a:pt x="185" y="155"/>
                    </a:lnTo>
                    <a:lnTo>
                      <a:pt x="186" y="153"/>
                    </a:lnTo>
                    <a:lnTo>
                      <a:pt x="188" y="150"/>
                    </a:lnTo>
                    <a:lnTo>
                      <a:pt x="188" y="150"/>
                    </a:lnTo>
                    <a:lnTo>
                      <a:pt x="189" y="147"/>
                    </a:lnTo>
                    <a:lnTo>
                      <a:pt x="188" y="144"/>
                    </a:lnTo>
                    <a:lnTo>
                      <a:pt x="182" y="137"/>
                    </a:lnTo>
                    <a:lnTo>
                      <a:pt x="182" y="137"/>
                    </a:lnTo>
                    <a:lnTo>
                      <a:pt x="181" y="134"/>
                    </a:lnTo>
                    <a:lnTo>
                      <a:pt x="179" y="131"/>
                    </a:lnTo>
                    <a:lnTo>
                      <a:pt x="181" y="124"/>
                    </a:lnTo>
                    <a:lnTo>
                      <a:pt x="182" y="116"/>
                    </a:lnTo>
                    <a:lnTo>
                      <a:pt x="185" y="107"/>
                    </a:lnTo>
                    <a:lnTo>
                      <a:pt x="185" y="107"/>
                    </a:lnTo>
                    <a:lnTo>
                      <a:pt x="186" y="106"/>
                    </a:lnTo>
                    <a:lnTo>
                      <a:pt x="186" y="103"/>
                    </a:lnTo>
                    <a:lnTo>
                      <a:pt x="183" y="103"/>
                    </a:lnTo>
                    <a:lnTo>
                      <a:pt x="182" y="101"/>
                    </a:lnTo>
                    <a:lnTo>
                      <a:pt x="174" y="101"/>
                    </a:lnTo>
                    <a:lnTo>
                      <a:pt x="166" y="103"/>
                    </a:lnTo>
                    <a:lnTo>
                      <a:pt x="166" y="103"/>
                    </a:lnTo>
                    <a:lnTo>
                      <a:pt x="161" y="103"/>
                    </a:lnTo>
                    <a:lnTo>
                      <a:pt x="155" y="101"/>
                    </a:lnTo>
                    <a:lnTo>
                      <a:pt x="149" y="97"/>
                    </a:lnTo>
                    <a:lnTo>
                      <a:pt x="144" y="93"/>
                    </a:lnTo>
                    <a:lnTo>
                      <a:pt x="144" y="93"/>
                    </a:lnTo>
                    <a:lnTo>
                      <a:pt x="142" y="90"/>
                    </a:lnTo>
                    <a:lnTo>
                      <a:pt x="139" y="90"/>
                    </a:lnTo>
                    <a:lnTo>
                      <a:pt x="134" y="89"/>
                    </a:lnTo>
                    <a:lnTo>
                      <a:pt x="117" y="90"/>
                    </a:lnTo>
                    <a:lnTo>
                      <a:pt x="117" y="90"/>
                    </a:lnTo>
                    <a:lnTo>
                      <a:pt x="112" y="90"/>
                    </a:lnTo>
                    <a:lnTo>
                      <a:pt x="109" y="89"/>
                    </a:lnTo>
                    <a:lnTo>
                      <a:pt x="108" y="86"/>
                    </a:lnTo>
                    <a:lnTo>
                      <a:pt x="107" y="83"/>
                    </a:lnTo>
                    <a:lnTo>
                      <a:pt x="105" y="76"/>
                    </a:lnTo>
                    <a:lnTo>
                      <a:pt x="107" y="69"/>
                    </a:lnTo>
                    <a:lnTo>
                      <a:pt x="107" y="69"/>
                    </a:lnTo>
                    <a:lnTo>
                      <a:pt x="105" y="66"/>
                    </a:lnTo>
                    <a:lnTo>
                      <a:pt x="104" y="63"/>
                    </a:lnTo>
                    <a:lnTo>
                      <a:pt x="101" y="62"/>
                    </a:lnTo>
                    <a:lnTo>
                      <a:pt x="100" y="59"/>
                    </a:lnTo>
                    <a:lnTo>
                      <a:pt x="100" y="59"/>
                    </a:lnTo>
                    <a:lnTo>
                      <a:pt x="98" y="56"/>
                    </a:lnTo>
                    <a:lnTo>
                      <a:pt x="97" y="56"/>
                    </a:lnTo>
                    <a:lnTo>
                      <a:pt x="92" y="56"/>
                    </a:lnTo>
                    <a:lnTo>
                      <a:pt x="92" y="56"/>
                    </a:lnTo>
                    <a:lnTo>
                      <a:pt x="91" y="54"/>
                    </a:lnTo>
                    <a:lnTo>
                      <a:pt x="91" y="53"/>
                    </a:lnTo>
                    <a:lnTo>
                      <a:pt x="94" y="47"/>
                    </a:lnTo>
                    <a:lnTo>
                      <a:pt x="94" y="47"/>
                    </a:lnTo>
                    <a:lnTo>
                      <a:pt x="97" y="43"/>
                    </a:lnTo>
                    <a:lnTo>
                      <a:pt x="97" y="36"/>
                    </a:lnTo>
                    <a:lnTo>
                      <a:pt x="97" y="36"/>
                    </a:lnTo>
                    <a:lnTo>
                      <a:pt x="98" y="32"/>
                    </a:lnTo>
                    <a:lnTo>
                      <a:pt x="102" y="27"/>
                    </a:lnTo>
                    <a:lnTo>
                      <a:pt x="111" y="17"/>
                    </a:lnTo>
                    <a:lnTo>
                      <a:pt x="111" y="17"/>
                    </a:lnTo>
                    <a:lnTo>
                      <a:pt x="112" y="16"/>
                    </a:lnTo>
                    <a:lnTo>
                      <a:pt x="115" y="15"/>
                    </a:lnTo>
                    <a:lnTo>
                      <a:pt x="115" y="15"/>
                    </a:lnTo>
                    <a:lnTo>
                      <a:pt x="117" y="13"/>
                    </a:lnTo>
                    <a:lnTo>
                      <a:pt x="119" y="12"/>
                    </a:lnTo>
                    <a:lnTo>
                      <a:pt x="119" y="12"/>
                    </a:lnTo>
                    <a:lnTo>
                      <a:pt x="124" y="10"/>
                    </a:lnTo>
                    <a:lnTo>
                      <a:pt x="127" y="7"/>
                    </a:lnTo>
                    <a:lnTo>
                      <a:pt x="127" y="5"/>
                    </a:lnTo>
                    <a:lnTo>
                      <a:pt x="124" y="2"/>
                    </a:lnTo>
                    <a:lnTo>
                      <a:pt x="124" y="2"/>
                    </a:lnTo>
                    <a:lnTo>
                      <a:pt x="121" y="0"/>
                    </a:lnTo>
                    <a:lnTo>
                      <a:pt x="119" y="2"/>
                    </a:lnTo>
                    <a:lnTo>
                      <a:pt x="115" y="5"/>
                    </a:lnTo>
                    <a:lnTo>
                      <a:pt x="111" y="7"/>
                    </a:lnTo>
                    <a:lnTo>
                      <a:pt x="105" y="10"/>
                    </a:lnTo>
                    <a:lnTo>
                      <a:pt x="105" y="10"/>
                    </a:lnTo>
                    <a:lnTo>
                      <a:pt x="101" y="12"/>
                    </a:lnTo>
                    <a:lnTo>
                      <a:pt x="98" y="13"/>
                    </a:lnTo>
                    <a:lnTo>
                      <a:pt x="91" y="19"/>
                    </a:lnTo>
                    <a:lnTo>
                      <a:pt x="91" y="19"/>
                    </a:lnTo>
                    <a:lnTo>
                      <a:pt x="87" y="19"/>
                    </a:lnTo>
                    <a:lnTo>
                      <a:pt x="82" y="20"/>
                    </a:lnTo>
                    <a:lnTo>
                      <a:pt x="78" y="20"/>
                    </a:lnTo>
                    <a:lnTo>
                      <a:pt x="77" y="22"/>
                    </a:lnTo>
                    <a:lnTo>
                      <a:pt x="77" y="23"/>
                    </a:lnTo>
                    <a:lnTo>
                      <a:pt x="77" y="23"/>
                    </a:lnTo>
                    <a:lnTo>
                      <a:pt x="77" y="25"/>
                    </a:lnTo>
                    <a:lnTo>
                      <a:pt x="74" y="25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65" y="23"/>
                    </a:lnTo>
                    <a:lnTo>
                      <a:pt x="60" y="26"/>
                    </a:lnTo>
                    <a:lnTo>
                      <a:pt x="55" y="32"/>
                    </a:lnTo>
                    <a:lnTo>
                      <a:pt x="54" y="36"/>
                    </a:lnTo>
                    <a:lnTo>
                      <a:pt x="54" y="36"/>
                    </a:lnTo>
                    <a:lnTo>
                      <a:pt x="55" y="43"/>
                    </a:lnTo>
                    <a:lnTo>
                      <a:pt x="53" y="47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4" y="56"/>
                    </a:lnTo>
                    <a:lnTo>
                      <a:pt x="40" y="60"/>
                    </a:lnTo>
                    <a:lnTo>
                      <a:pt x="33" y="70"/>
                    </a:lnTo>
                    <a:lnTo>
                      <a:pt x="33" y="70"/>
                    </a:lnTo>
                    <a:lnTo>
                      <a:pt x="31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8" y="73"/>
                    </a:lnTo>
                    <a:lnTo>
                      <a:pt x="27" y="76"/>
                    </a:lnTo>
                    <a:lnTo>
                      <a:pt x="27" y="7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21" y="91"/>
                    </a:lnTo>
                    <a:lnTo>
                      <a:pt x="21" y="91"/>
                    </a:lnTo>
                    <a:lnTo>
                      <a:pt x="24" y="94"/>
                    </a:lnTo>
                    <a:lnTo>
                      <a:pt x="24" y="99"/>
                    </a:lnTo>
                    <a:lnTo>
                      <a:pt x="24" y="101"/>
                    </a:lnTo>
                    <a:lnTo>
                      <a:pt x="24" y="103"/>
                    </a:lnTo>
                    <a:lnTo>
                      <a:pt x="24" y="103"/>
                    </a:lnTo>
                    <a:lnTo>
                      <a:pt x="26" y="109"/>
                    </a:lnTo>
                    <a:lnTo>
                      <a:pt x="26" y="110"/>
                    </a:lnTo>
                    <a:lnTo>
                      <a:pt x="24" y="113"/>
                    </a:lnTo>
                    <a:lnTo>
                      <a:pt x="24" y="113"/>
                    </a:lnTo>
                    <a:lnTo>
                      <a:pt x="24" y="117"/>
                    </a:lnTo>
                    <a:lnTo>
                      <a:pt x="24" y="124"/>
                    </a:lnTo>
                    <a:lnTo>
                      <a:pt x="26" y="133"/>
                    </a:lnTo>
                    <a:lnTo>
                      <a:pt x="27" y="137"/>
                    </a:lnTo>
                    <a:lnTo>
                      <a:pt x="27" y="137"/>
                    </a:lnTo>
                    <a:lnTo>
                      <a:pt x="28" y="140"/>
                    </a:lnTo>
                    <a:lnTo>
                      <a:pt x="28" y="143"/>
                    </a:lnTo>
                    <a:lnTo>
                      <a:pt x="24" y="151"/>
                    </a:lnTo>
                    <a:lnTo>
                      <a:pt x="24" y="151"/>
                    </a:lnTo>
                    <a:lnTo>
                      <a:pt x="21" y="155"/>
                    </a:lnTo>
                    <a:lnTo>
                      <a:pt x="18" y="158"/>
                    </a:lnTo>
                    <a:lnTo>
                      <a:pt x="16" y="161"/>
                    </a:lnTo>
                    <a:lnTo>
                      <a:pt x="11" y="161"/>
                    </a:lnTo>
                    <a:lnTo>
                      <a:pt x="11" y="161"/>
                    </a:lnTo>
                    <a:lnTo>
                      <a:pt x="8" y="163"/>
                    </a:lnTo>
                    <a:lnTo>
                      <a:pt x="7" y="164"/>
                    </a:lnTo>
                    <a:lnTo>
                      <a:pt x="6" y="167"/>
                    </a:lnTo>
                    <a:lnTo>
                      <a:pt x="4" y="171"/>
                    </a:lnTo>
                    <a:lnTo>
                      <a:pt x="3" y="173"/>
                    </a:lnTo>
                    <a:lnTo>
                      <a:pt x="3" y="173"/>
                    </a:lnTo>
                    <a:lnTo>
                      <a:pt x="1" y="173"/>
                    </a:lnTo>
                    <a:lnTo>
                      <a:pt x="0" y="174"/>
                    </a:lnTo>
                    <a:lnTo>
                      <a:pt x="0" y="178"/>
                    </a:lnTo>
                    <a:lnTo>
                      <a:pt x="0" y="178"/>
                    </a:lnTo>
                    <a:lnTo>
                      <a:pt x="10" y="187"/>
                    </a:lnTo>
                    <a:lnTo>
                      <a:pt x="16" y="188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1" y="191"/>
                    </a:lnTo>
                    <a:lnTo>
                      <a:pt x="24" y="192"/>
                    </a:lnTo>
                    <a:lnTo>
                      <a:pt x="30" y="197"/>
                    </a:lnTo>
                    <a:lnTo>
                      <a:pt x="30" y="197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62" name="Venezuela">
                <a:extLst>
                  <a:ext uri="{FF2B5EF4-FFF2-40B4-BE49-F238E27FC236}">
                    <a16:creationId xmlns:a16="http://schemas.microsoft.com/office/drawing/2014/main" id="{34082DBA-BF9B-4CAE-E05B-951C8E4287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6893" y="4021182"/>
                <a:ext cx="325552" cy="273761"/>
              </a:xfrm>
              <a:custGeom>
                <a:avLst/>
                <a:gdLst/>
                <a:ahLst/>
                <a:cxnLst>
                  <a:cxn ang="0">
                    <a:pos x="6" y="30"/>
                  </a:cxn>
                  <a:cxn ang="0">
                    <a:pos x="0" y="47"/>
                  </a:cxn>
                  <a:cxn ang="0">
                    <a:pos x="7" y="50"/>
                  </a:cxn>
                  <a:cxn ang="0">
                    <a:pos x="14" y="60"/>
                  </a:cxn>
                  <a:cxn ang="0">
                    <a:pos x="17" y="80"/>
                  </a:cxn>
                  <a:cxn ang="0">
                    <a:pos x="43" y="83"/>
                  </a:cxn>
                  <a:cxn ang="0">
                    <a:pos x="58" y="91"/>
                  </a:cxn>
                  <a:cxn ang="0">
                    <a:pos x="83" y="95"/>
                  </a:cxn>
                  <a:cxn ang="0">
                    <a:pos x="94" y="101"/>
                  </a:cxn>
                  <a:cxn ang="0">
                    <a:pos x="90" y="128"/>
                  </a:cxn>
                  <a:cxn ang="0">
                    <a:pos x="97" y="144"/>
                  </a:cxn>
                  <a:cxn ang="0">
                    <a:pos x="97" y="155"/>
                  </a:cxn>
                  <a:cxn ang="0">
                    <a:pos x="100" y="164"/>
                  </a:cxn>
                  <a:cxn ang="0">
                    <a:pos x="107" y="178"/>
                  </a:cxn>
                  <a:cxn ang="0">
                    <a:pos x="119" y="185"/>
                  </a:cxn>
                  <a:cxn ang="0">
                    <a:pos x="128" y="184"/>
                  </a:cxn>
                  <a:cxn ang="0">
                    <a:pos x="142" y="176"/>
                  </a:cxn>
                  <a:cxn ang="0">
                    <a:pos x="151" y="169"/>
                  </a:cxn>
                  <a:cxn ang="0">
                    <a:pos x="161" y="162"/>
                  </a:cxn>
                  <a:cxn ang="0">
                    <a:pos x="155" y="158"/>
                  </a:cxn>
                  <a:cxn ang="0">
                    <a:pos x="149" y="149"/>
                  </a:cxn>
                  <a:cxn ang="0">
                    <a:pos x="145" y="135"/>
                  </a:cxn>
                  <a:cxn ang="0">
                    <a:pos x="144" y="130"/>
                  </a:cxn>
                  <a:cxn ang="0">
                    <a:pos x="159" y="132"/>
                  </a:cxn>
                  <a:cxn ang="0">
                    <a:pos x="168" y="138"/>
                  </a:cxn>
                  <a:cxn ang="0">
                    <a:pos x="174" y="132"/>
                  </a:cxn>
                  <a:cxn ang="0">
                    <a:pos x="188" y="130"/>
                  </a:cxn>
                  <a:cxn ang="0">
                    <a:pos x="208" y="117"/>
                  </a:cxn>
                  <a:cxn ang="0">
                    <a:pos x="196" y="101"/>
                  </a:cxn>
                  <a:cxn ang="0">
                    <a:pos x="199" y="93"/>
                  </a:cxn>
                  <a:cxn ang="0">
                    <a:pos x="211" y="87"/>
                  </a:cxn>
                  <a:cxn ang="0">
                    <a:pos x="208" y="78"/>
                  </a:cxn>
                  <a:cxn ang="0">
                    <a:pos x="215" y="68"/>
                  </a:cxn>
                  <a:cxn ang="0">
                    <a:pos x="208" y="58"/>
                  </a:cxn>
                  <a:cxn ang="0">
                    <a:pos x="196" y="54"/>
                  </a:cxn>
                  <a:cxn ang="0">
                    <a:pos x="199" y="41"/>
                  </a:cxn>
                  <a:cxn ang="0">
                    <a:pos x="174" y="31"/>
                  </a:cxn>
                  <a:cxn ang="0">
                    <a:pos x="182" y="26"/>
                  </a:cxn>
                  <a:cxn ang="0">
                    <a:pos x="158" y="24"/>
                  </a:cxn>
                  <a:cxn ang="0">
                    <a:pos x="128" y="34"/>
                  </a:cxn>
                  <a:cxn ang="0">
                    <a:pos x="105" y="26"/>
                  </a:cxn>
                  <a:cxn ang="0">
                    <a:pos x="84" y="21"/>
                  </a:cxn>
                  <a:cxn ang="0">
                    <a:pos x="71" y="9"/>
                  </a:cxn>
                  <a:cxn ang="0">
                    <a:pos x="61" y="1"/>
                  </a:cxn>
                  <a:cxn ang="0">
                    <a:pos x="55" y="1"/>
                  </a:cxn>
                  <a:cxn ang="0">
                    <a:pos x="53" y="10"/>
                  </a:cxn>
                  <a:cxn ang="0">
                    <a:pos x="31" y="23"/>
                  </a:cxn>
                  <a:cxn ang="0">
                    <a:pos x="37" y="47"/>
                  </a:cxn>
                  <a:cxn ang="0">
                    <a:pos x="23" y="46"/>
                  </a:cxn>
                  <a:cxn ang="0">
                    <a:pos x="23" y="30"/>
                  </a:cxn>
                  <a:cxn ang="0">
                    <a:pos x="24" y="14"/>
                  </a:cxn>
                  <a:cxn ang="0">
                    <a:pos x="20" y="11"/>
                  </a:cxn>
                </a:cxnLst>
                <a:rect l="0" t="0" r="r" b="b"/>
                <a:pathLst>
                  <a:path w="220" h="185">
                    <a:moveTo>
                      <a:pt x="20" y="11"/>
                    </a:moveTo>
                    <a:lnTo>
                      <a:pt x="20" y="11"/>
                    </a:lnTo>
                    <a:lnTo>
                      <a:pt x="11" y="21"/>
                    </a:lnTo>
                    <a:lnTo>
                      <a:pt x="7" y="26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7"/>
                    </a:lnTo>
                    <a:lnTo>
                      <a:pt x="3" y="41"/>
                    </a:lnTo>
                    <a:lnTo>
                      <a:pt x="3" y="41"/>
                    </a:lnTo>
                    <a:lnTo>
                      <a:pt x="0" y="47"/>
                    </a:lnTo>
                    <a:lnTo>
                      <a:pt x="0" y="48"/>
                    </a:lnTo>
                    <a:lnTo>
                      <a:pt x="1" y="50"/>
                    </a:lnTo>
                    <a:lnTo>
                      <a:pt x="1" y="50"/>
                    </a:lnTo>
                    <a:lnTo>
                      <a:pt x="6" y="50"/>
                    </a:lnTo>
                    <a:lnTo>
                      <a:pt x="7" y="50"/>
                    </a:lnTo>
                    <a:lnTo>
                      <a:pt x="9" y="53"/>
                    </a:lnTo>
                    <a:lnTo>
                      <a:pt x="9" y="53"/>
                    </a:lnTo>
                    <a:lnTo>
                      <a:pt x="10" y="56"/>
                    </a:lnTo>
                    <a:lnTo>
                      <a:pt x="13" y="57"/>
                    </a:lnTo>
                    <a:lnTo>
                      <a:pt x="14" y="60"/>
                    </a:lnTo>
                    <a:lnTo>
                      <a:pt x="16" y="63"/>
                    </a:lnTo>
                    <a:lnTo>
                      <a:pt x="16" y="63"/>
                    </a:lnTo>
                    <a:lnTo>
                      <a:pt x="14" y="70"/>
                    </a:lnTo>
                    <a:lnTo>
                      <a:pt x="16" y="77"/>
                    </a:lnTo>
                    <a:lnTo>
                      <a:pt x="17" y="80"/>
                    </a:lnTo>
                    <a:lnTo>
                      <a:pt x="18" y="83"/>
                    </a:lnTo>
                    <a:lnTo>
                      <a:pt x="21" y="84"/>
                    </a:lnTo>
                    <a:lnTo>
                      <a:pt x="26" y="84"/>
                    </a:lnTo>
                    <a:lnTo>
                      <a:pt x="26" y="84"/>
                    </a:lnTo>
                    <a:lnTo>
                      <a:pt x="43" y="83"/>
                    </a:lnTo>
                    <a:lnTo>
                      <a:pt x="48" y="84"/>
                    </a:lnTo>
                    <a:lnTo>
                      <a:pt x="51" y="84"/>
                    </a:lnTo>
                    <a:lnTo>
                      <a:pt x="53" y="87"/>
                    </a:lnTo>
                    <a:lnTo>
                      <a:pt x="53" y="87"/>
                    </a:lnTo>
                    <a:lnTo>
                      <a:pt x="58" y="91"/>
                    </a:lnTo>
                    <a:lnTo>
                      <a:pt x="64" y="95"/>
                    </a:lnTo>
                    <a:lnTo>
                      <a:pt x="70" y="97"/>
                    </a:lnTo>
                    <a:lnTo>
                      <a:pt x="75" y="97"/>
                    </a:lnTo>
                    <a:lnTo>
                      <a:pt x="75" y="97"/>
                    </a:lnTo>
                    <a:lnTo>
                      <a:pt x="83" y="95"/>
                    </a:lnTo>
                    <a:lnTo>
                      <a:pt x="91" y="95"/>
                    </a:lnTo>
                    <a:lnTo>
                      <a:pt x="92" y="97"/>
                    </a:lnTo>
                    <a:lnTo>
                      <a:pt x="95" y="97"/>
                    </a:lnTo>
                    <a:lnTo>
                      <a:pt x="95" y="100"/>
                    </a:lnTo>
                    <a:lnTo>
                      <a:pt x="94" y="101"/>
                    </a:lnTo>
                    <a:lnTo>
                      <a:pt x="94" y="101"/>
                    </a:lnTo>
                    <a:lnTo>
                      <a:pt x="91" y="110"/>
                    </a:lnTo>
                    <a:lnTo>
                      <a:pt x="90" y="118"/>
                    </a:lnTo>
                    <a:lnTo>
                      <a:pt x="88" y="125"/>
                    </a:lnTo>
                    <a:lnTo>
                      <a:pt x="90" y="128"/>
                    </a:lnTo>
                    <a:lnTo>
                      <a:pt x="91" y="131"/>
                    </a:lnTo>
                    <a:lnTo>
                      <a:pt x="91" y="131"/>
                    </a:lnTo>
                    <a:lnTo>
                      <a:pt x="97" y="138"/>
                    </a:lnTo>
                    <a:lnTo>
                      <a:pt x="98" y="141"/>
                    </a:lnTo>
                    <a:lnTo>
                      <a:pt x="97" y="144"/>
                    </a:lnTo>
                    <a:lnTo>
                      <a:pt x="97" y="144"/>
                    </a:lnTo>
                    <a:lnTo>
                      <a:pt x="95" y="147"/>
                    </a:lnTo>
                    <a:lnTo>
                      <a:pt x="94" y="149"/>
                    </a:lnTo>
                    <a:lnTo>
                      <a:pt x="94" y="152"/>
                    </a:lnTo>
                    <a:lnTo>
                      <a:pt x="97" y="155"/>
                    </a:lnTo>
                    <a:lnTo>
                      <a:pt x="97" y="155"/>
                    </a:lnTo>
                    <a:lnTo>
                      <a:pt x="98" y="158"/>
                    </a:lnTo>
                    <a:lnTo>
                      <a:pt x="100" y="161"/>
                    </a:lnTo>
                    <a:lnTo>
                      <a:pt x="100" y="164"/>
                    </a:lnTo>
                    <a:lnTo>
                      <a:pt x="100" y="164"/>
                    </a:lnTo>
                    <a:lnTo>
                      <a:pt x="97" y="165"/>
                    </a:lnTo>
                    <a:lnTo>
                      <a:pt x="97" y="165"/>
                    </a:lnTo>
                    <a:lnTo>
                      <a:pt x="101" y="169"/>
                    </a:lnTo>
                    <a:lnTo>
                      <a:pt x="104" y="174"/>
                    </a:lnTo>
                    <a:lnTo>
                      <a:pt x="107" y="178"/>
                    </a:lnTo>
                    <a:lnTo>
                      <a:pt x="110" y="181"/>
                    </a:lnTo>
                    <a:lnTo>
                      <a:pt x="110" y="181"/>
                    </a:lnTo>
                    <a:lnTo>
                      <a:pt x="115" y="185"/>
                    </a:lnTo>
                    <a:lnTo>
                      <a:pt x="117" y="185"/>
                    </a:lnTo>
                    <a:lnTo>
                      <a:pt x="119" y="185"/>
                    </a:lnTo>
                    <a:lnTo>
                      <a:pt x="119" y="185"/>
                    </a:lnTo>
                    <a:lnTo>
                      <a:pt x="124" y="182"/>
                    </a:lnTo>
                    <a:lnTo>
                      <a:pt x="125" y="182"/>
                    </a:lnTo>
                    <a:lnTo>
                      <a:pt x="128" y="184"/>
                    </a:lnTo>
                    <a:lnTo>
                      <a:pt x="128" y="184"/>
                    </a:lnTo>
                    <a:lnTo>
                      <a:pt x="129" y="184"/>
                    </a:lnTo>
                    <a:lnTo>
                      <a:pt x="132" y="182"/>
                    </a:lnTo>
                    <a:lnTo>
                      <a:pt x="138" y="178"/>
                    </a:lnTo>
                    <a:lnTo>
                      <a:pt x="138" y="178"/>
                    </a:lnTo>
                    <a:lnTo>
                      <a:pt x="142" y="176"/>
                    </a:lnTo>
                    <a:lnTo>
                      <a:pt x="145" y="175"/>
                    </a:lnTo>
                    <a:lnTo>
                      <a:pt x="148" y="175"/>
                    </a:lnTo>
                    <a:lnTo>
                      <a:pt x="149" y="172"/>
                    </a:lnTo>
                    <a:lnTo>
                      <a:pt x="149" y="172"/>
                    </a:lnTo>
                    <a:lnTo>
                      <a:pt x="151" y="169"/>
                    </a:lnTo>
                    <a:lnTo>
                      <a:pt x="152" y="167"/>
                    </a:lnTo>
                    <a:lnTo>
                      <a:pt x="155" y="165"/>
                    </a:lnTo>
                    <a:lnTo>
                      <a:pt x="158" y="164"/>
                    </a:lnTo>
                    <a:lnTo>
                      <a:pt x="158" y="164"/>
                    </a:lnTo>
                    <a:lnTo>
                      <a:pt x="161" y="162"/>
                    </a:lnTo>
                    <a:lnTo>
                      <a:pt x="162" y="159"/>
                    </a:lnTo>
                    <a:lnTo>
                      <a:pt x="162" y="158"/>
                    </a:lnTo>
                    <a:lnTo>
                      <a:pt x="161" y="157"/>
                    </a:lnTo>
                    <a:lnTo>
                      <a:pt x="161" y="157"/>
                    </a:lnTo>
                    <a:lnTo>
                      <a:pt x="155" y="158"/>
                    </a:lnTo>
                    <a:lnTo>
                      <a:pt x="152" y="158"/>
                    </a:lnTo>
                    <a:lnTo>
                      <a:pt x="152" y="155"/>
                    </a:lnTo>
                    <a:lnTo>
                      <a:pt x="152" y="155"/>
                    </a:lnTo>
                    <a:lnTo>
                      <a:pt x="151" y="152"/>
                    </a:lnTo>
                    <a:lnTo>
                      <a:pt x="149" y="149"/>
                    </a:lnTo>
                    <a:lnTo>
                      <a:pt x="148" y="148"/>
                    </a:lnTo>
                    <a:lnTo>
                      <a:pt x="148" y="145"/>
                    </a:lnTo>
                    <a:lnTo>
                      <a:pt x="148" y="145"/>
                    </a:lnTo>
                    <a:lnTo>
                      <a:pt x="147" y="138"/>
                    </a:lnTo>
                    <a:lnTo>
                      <a:pt x="145" y="135"/>
                    </a:lnTo>
                    <a:lnTo>
                      <a:pt x="141" y="132"/>
                    </a:lnTo>
                    <a:lnTo>
                      <a:pt x="141" y="132"/>
                    </a:lnTo>
                    <a:lnTo>
                      <a:pt x="141" y="132"/>
                    </a:lnTo>
                    <a:lnTo>
                      <a:pt x="141" y="131"/>
                    </a:lnTo>
                    <a:lnTo>
                      <a:pt x="144" y="130"/>
                    </a:lnTo>
                    <a:lnTo>
                      <a:pt x="148" y="130"/>
                    </a:lnTo>
                    <a:lnTo>
                      <a:pt x="152" y="131"/>
                    </a:lnTo>
                    <a:lnTo>
                      <a:pt x="152" y="131"/>
                    </a:lnTo>
                    <a:lnTo>
                      <a:pt x="155" y="132"/>
                    </a:lnTo>
                    <a:lnTo>
                      <a:pt x="159" y="132"/>
                    </a:lnTo>
                    <a:lnTo>
                      <a:pt x="164" y="134"/>
                    </a:lnTo>
                    <a:lnTo>
                      <a:pt x="165" y="135"/>
                    </a:lnTo>
                    <a:lnTo>
                      <a:pt x="166" y="135"/>
                    </a:lnTo>
                    <a:lnTo>
                      <a:pt x="166" y="135"/>
                    </a:lnTo>
                    <a:lnTo>
                      <a:pt x="168" y="138"/>
                    </a:lnTo>
                    <a:lnTo>
                      <a:pt x="169" y="139"/>
                    </a:lnTo>
                    <a:lnTo>
                      <a:pt x="172" y="139"/>
                    </a:lnTo>
                    <a:lnTo>
                      <a:pt x="172" y="137"/>
                    </a:lnTo>
                    <a:lnTo>
                      <a:pt x="172" y="137"/>
                    </a:lnTo>
                    <a:lnTo>
                      <a:pt x="174" y="132"/>
                    </a:lnTo>
                    <a:lnTo>
                      <a:pt x="176" y="131"/>
                    </a:lnTo>
                    <a:lnTo>
                      <a:pt x="179" y="130"/>
                    </a:lnTo>
                    <a:lnTo>
                      <a:pt x="184" y="130"/>
                    </a:lnTo>
                    <a:lnTo>
                      <a:pt x="184" y="130"/>
                    </a:lnTo>
                    <a:lnTo>
                      <a:pt x="188" y="130"/>
                    </a:lnTo>
                    <a:lnTo>
                      <a:pt x="193" y="127"/>
                    </a:lnTo>
                    <a:lnTo>
                      <a:pt x="203" y="122"/>
                    </a:lnTo>
                    <a:lnTo>
                      <a:pt x="203" y="122"/>
                    </a:lnTo>
                    <a:lnTo>
                      <a:pt x="206" y="120"/>
                    </a:lnTo>
                    <a:lnTo>
                      <a:pt x="208" y="117"/>
                    </a:lnTo>
                    <a:lnTo>
                      <a:pt x="208" y="117"/>
                    </a:lnTo>
                    <a:lnTo>
                      <a:pt x="202" y="110"/>
                    </a:lnTo>
                    <a:lnTo>
                      <a:pt x="196" y="104"/>
                    </a:lnTo>
                    <a:lnTo>
                      <a:pt x="196" y="104"/>
                    </a:lnTo>
                    <a:lnTo>
                      <a:pt x="196" y="101"/>
                    </a:lnTo>
                    <a:lnTo>
                      <a:pt x="196" y="100"/>
                    </a:lnTo>
                    <a:lnTo>
                      <a:pt x="198" y="98"/>
                    </a:lnTo>
                    <a:lnTo>
                      <a:pt x="199" y="95"/>
                    </a:lnTo>
                    <a:lnTo>
                      <a:pt x="199" y="95"/>
                    </a:lnTo>
                    <a:lnTo>
                      <a:pt x="199" y="93"/>
                    </a:lnTo>
                    <a:lnTo>
                      <a:pt x="199" y="90"/>
                    </a:lnTo>
                    <a:lnTo>
                      <a:pt x="202" y="88"/>
                    </a:lnTo>
                    <a:lnTo>
                      <a:pt x="206" y="88"/>
                    </a:lnTo>
                    <a:lnTo>
                      <a:pt x="206" y="88"/>
                    </a:lnTo>
                    <a:lnTo>
                      <a:pt x="211" y="87"/>
                    </a:lnTo>
                    <a:lnTo>
                      <a:pt x="212" y="84"/>
                    </a:lnTo>
                    <a:lnTo>
                      <a:pt x="211" y="81"/>
                    </a:lnTo>
                    <a:lnTo>
                      <a:pt x="209" y="78"/>
                    </a:lnTo>
                    <a:lnTo>
                      <a:pt x="209" y="78"/>
                    </a:lnTo>
                    <a:lnTo>
                      <a:pt x="208" y="78"/>
                    </a:lnTo>
                    <a:lnTo>
                      <a:pt x="208" y="77"/>
                    </a:lnTo>
                    <a:lnTo>
                      <a:pt x="208" y="74"/>
                    </a:lnTo>
                    <a:lnTo>
                      <a:pt x="211" y="70"/>
                    </a:lnTo>
                    <a:lnTo>
                      <a:pt x="215" y="68"/>
                    </a:lnTo>
                    <a:lnTo>
                      <a:pt x="215" y="68"/>
                    </a:lnTo>
                    <a:lnTo>
                      <a:pt x="218" y="66"/>
                    </a:lnTo>
                    <a:lnTo>
                      <a:pt x="220" y="60"/>
                    </a:lnTo>
                    <a:lnTo>
                      <a:pt x="220" y="60"/>
                    </a:lnTo>
                    <a:lnTo>
                      <a:pt x="213" y="58"/>
                    </a:lnTo>
                    <a:lnTo>
                      <a:pt x="208" y="58"/>
                    </a:lnTo>
                    <a:lnTo>
                      <a:pt x="196" y="58"/>
                    </a:lnTo>
                    <a:lnTo>
                      <a:pt x="196" y="58"/>
                    </a:lnTo>
                    <a:lnTo>
                      <a:pt x="195" y="58"/>
                    </a:lnTo>
                    <a:lnTo>
                      <a:pt x="195" y="57"/>
                    </a:lnTo>
                    <a:lnTo>
                      <a:pt x="196" y="54"/>
                    </a:lnTo>
                    <a:lnTo>
                      <a:pt x="199" y="50"/>
                    </a:lnTo>
                    <a:lnTo>
                      <a:pt x="201" y="44"/>
                    </a:lnTo>
                    <a:lnTo>
                      <a:pt x="201" y="44"/>
                    </a:lnTo>
                    <a:lnTo>
                      <a:pt x="201" y="43"/>
                    </a:lnTo>
                    <a:lnTo>
                      <a:pt x="199" y="41"/>
                    </a:lnTo>
                    <a:lnTo>
                      <a:pt x="192" y="38"/>
                    </a:lnTo>
                    <a:lnTo>
                      <a:pt x="178" y="36"/>
                    </a:lnTo>
                    <a:lnTo>
                      <a:pt x="178" y="36"/>
                    </a:lnTo>
                    <a:lnTo>
                      <a:pt x="174" y="34"/>
                    </a:lnTo>
                    <a:lnTo>
                      <a:pt x="174" y="31"/>
                    </a:lnTo>
                    <a:lnTo>
                      <a:pt x="175" y="29"/>
                    </a:lnTo>
                    <a:lnTo>
                      <a:pt x="179" y="27"/>
                    </a:lnTo>
                    <a:lnTo>
                      <a:pt x="179" y="27"/>
                    </a:lnTo>
                    <a:lnTo>
                      <a:pt x="181" y="27"/>
                    </a:lnTo>
                    <a:lnTo>
                      <a:pt x="182" y="26"/>
                    </a:lnTo>
                    <a:lnTo>
                      <a:pt x="179" y="24"/>
                    </a:lnTo>
                    <a:lnTo>
                      <a:pt x="174" y="23"/>
                    </a:lnTo>
                    <a:lnTo>
                      <a:pt x="166" y="23"/>
                    </a:lnTo>
                    <a:lnTo>
                      <a:pt x="166" y="23"/>
                    </a:lnTo>
                    <a:lnTo>
                      <a:pt x="158" y="24"/>
                    </a:lnTo>
                    <a:lnTo>
                      <a:pt x="149" y="27"/>
                    </a:lnTo>
                    <a:lnTo>
                      <a:pt x="135" y="34"/>
                    </a:lnTo>
                    <a:lnTo>
                      <a:pt x="135" y="34"/>
                    </a:lnTo>
                    <a:lnTo>
                      <a:pt x="132" y="34"/>
                    </a:lnTo>
                    <a:lnTo>
                      <a:pt x="128" y="34"/>
                    </a:lnTo>
                    <a:lnTo>
                      <a:pt x="121" y="30"/>
                    </a:lnTo>
                    <a:lnTo>
                      <a:pt x="112" y="26"/>
                    </a:lnTo>
                    <a:lnTo>
                      <a:pt x="108" y="24"/>
                    </a:lnTo>
                    <a:lnTo>
                      <a:pt x="105" y="26"/>
                    </a:lnTo>
                    <a:lnTo>
                      <a:pt x="105" y="26"/>
                    </a:lnTo>
                    <a:lnTo>
                      <a:pt x="98" y="27"/>
                    </a:lnTo>
                    <a:lnTo>
                      <a:pt x="91" y="27"/>
                    </a:lnTo>
                    <a:lnTo>
                      <a:pt x="85" y="26"/>
                    </a:lnTo>
                    <a:lnTo>
                      <a:pt x="84" y="24"/>
                    </a:lnTo>
                    <a:lnTo>
                      <a:pt x="84" y="21"/>
                    </a:lnTo>
                    <a:lnTo>
                      <a:pt x="84" y="21"/>
                    </a:lnTo>
                    <a:lnTo>
                      <a:pt x="83" y="17"/>
                    </a:lnTo>
                    <a:lnTo>
                      <a:pt x="81" y="13"/>
                    </a:lnTo>
                    <a:lnTo>
                      <a:pt x="77" y="10"/>
                    </a:lnTo>
                    <a:lnTo>
                      <a:pt x="71" y="9"/>
                    </a:lnTo>
                    <a:lnTo>
                      <a:pt x="71" y="9"/>
                    </a:lnTo>
                    <a:lnTo>
                      <a:pt x="68" y="9"/>
                    </a:lnTo>
                    <a:lnTo>
                      <a:pt x="67" y="9"/>
                    </a:lnTo>
                    <a:lnTo>
                      <a:pt x="64" y="4"/>
                    </a:lnTo>
                    <a:lnTo>
                      <a:pt x="61" y="1"/>
                    </a:lnTo>
                    <a:lnTo>
                      <a:pt x="60" y="0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5" y="0"/>
                    </a:lnTo>
                    <a:lnTo>
                      <a:pt x="55" y="1"/>
                    </a:lnTo>
                    <a:lnTo>
                      <a:pt x="54" y="4"/>
                    </a:lnTo>
                    <a:lnTo>
                      <a:pt x="55" y="9"/>
                    </a:lnTo>
                    <a:lnTo>
                      <a:pt x="54" y="10"/>
                    </a:lnTo>
                    <a:lnTo>
                      <a:pt x="53" y="10"/>
                    </a:lnTo>
                    <a:lnTo>
                      <a:pt x="53" y="10"/>
                    </a:lnTo>
                    <a:lnTo>
                      <a:pt x="41" y="16"/>
                    </a:lnTo>
                    <a:lnTo>
                      <a:pt x="34" y="19"/>
                    </a:lnTo>
                    <a:lnTo>
                      <a:pt x="33" y="21"/>
                    </a:lnTo>
                    <a:lnTo>
                      <a:pt x="31" y="23"/>
                    </a:lnTo>
                    <a:lnTo>
                      <a:pt x="31" y="23"/>
                    </a:lnTo>
                    <a:lnTo>
                      <a:pt x="33" y="29"/>
                    </a:lnTo>
                    <a:lnTo>
                      <a:pt x="36" y="34"/>
                    </a:lnTo>
                    <a:lnTo>
                      <a:pt x="37" y="41"/>
                    </a:lnTo>
                    <a:lnTo>
                      <a:pt x="37" y="44"/>
                    </a:lnTo>
                    <a:lnTo>
                      <a:pt x="37" y="47"/>
                    </a:lnTo>
                    <a:lnTo>
                      <a:pt x="37" y="47"/>
                    </a:lnTo>
                    <a:lnTo>
                      <a:pt x="36" y="48"/>
                    </a:lnTo>
                    <a:lnTo>
                      <a:pt x="33" y="50"/>
                    </a:lnTo>
                    <a:lnTo>
                      <a:pt x="28" y="48"/>
                    </a:lnTo>
                    <a:lnTo>
                      <a:pt x="23" y="46"/>
                    </a:lnTo>
                    <a:lnTo>
                      <a:pt x="20" y="41"/>
                    </a:lnTo>
                    <a:lnTo>
                      <a:pt x="20" y="41"/>
                    </a:lnTo>
                    <a:lnTo>
                      <a:pt x="18" y="38"/>
                    </a:lnTo>
                    <a:lnTo>
                      <a:pt x="20" y="36"/>
                    </a:lnTo>
                    <a:lnTo>
                      <a:pt x="23" y="30"/>
                    </a:lnTo>
                    <a:lnTo>
                      <a:pt x="26" y="24"/>
                    </a:lnTo>
                    <a:lnTo>
                      <a:pt x="27" y="21"/>
                    </a:lnTo>
                    <a:lnTo>
                      <a:pt x="27" y="20"/>
                    </a:lnTo>
                    <a:lnTo>
                      <a:pt x="27" y="20"/>
                    </a:lnTo>
                    <a:lnTo>
                      <a:pt x="24" y="14"/>
                    </a:lnTo>
                    <a:lnTo>
                      <a:pt x="24" y="11"/>
                    </a:lnTo>
                    <a:lnTo>
                      <a:pt x="24" y="9"/>
                    </a:lnTo>
                    <a:lnTo>
                      <a:pt x="24" y="9"/>
                    </a:lnTo>
                    <a:lnTo>
                      <a:pt x="21" y="10"/>
                    </a:lnTo>
                    <a:lnTo>
                      <a:pt x="20" y="11"/>
                    </a:lnTo>
                    <a:lnTo>
                      <a:pt x="20" y="11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63" name="Argentina">
                <a:extLst>
                  <a:ext uri="{FF2B5EF4-FFF2-40B4-BE49-F238E27FC236}">
                    <a16:creationId xmlns:a16="http://schemas.microsoft.com/office/drawing/2014/main" id="{19F2E47D-9A27-8944-ED96-A74C3A7F55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60975" y="4846902"/>
                <a:ext cx="475011" cy="941142"/>
              </a:xfrm>
              <a:custGeom>
                <a:avLst/>
                <a:gdLst/>
                <a:ahLst/>
                <a:cxnLst>
                  <a:cxn ang="0">
                    <a:pos x="87" y="597"/>
                  </a:cxn>
                  <a:cxn ang="0">
                    <a:pos x="84" y="587"/>
                  </a:cxn>
                  <a:cxn ang="0">
                    <a:pos x="78" y="633"/>
                  </a:cxn>
                  <a:cxn ang="0">
                    <a:pos x="116" y="633"/>
                  </a:cxn>
                  <a:cxn ang="0">
                    <a:pos x="318" y="62"/>
                  </a:cxn>
                  <a:cxn ang="0">
                    <a:pos x="303" y="84"/>
                  </a:cxn>
                  <a:cxn ang="0">
                    <a:pos x="284" y="94"/>
                  </a:cxn>
                  <a:cxn ang="0">
                    <a:pos x="257" y="95"/>
                  </a:cxn>
                  <a:cxn ang="0">
                    <a:pos x="249" y="81"/>
                  </a:cxn>
                  <a:cxn ang="0">
                    <a:pos x="256" y="55"/>
                  </a:cxn>
                  <a:cxn ang="0">
                    <a:pos x="213" y="35"/>
                  </a:cxn>
                  <a:cxn ang="0">
                    <a:pos x="173" y="1"/>
                  </a:cxn>
                  <a:cxn ang="0">
                    <a:pos x="148" y="11"/>
                  </a:cxn>
                  <a:cxn ang="0">
                    <a:pos x="115" y="4"/>
                  </a:cxn>
                  <a:cxn ang="0">
                    <a:pos x="89" y="40"/>
                  </a:cxn>
                  <a:cxn ang="0">
                    <a:pos x="81" y="61"/>
                  </a:cxn>
                  <a:cxn ang="0">
                    <a:pos x="84" y="84"/>
                  </a:cxn>
                  <a:cxn ang="0">
                    <a:pos x="71" y="105"/>
                  </a:cxn>
                  <a:cxn ang="0">
                    <a:pos x="58" y="125"/>
                  </a:cxn>
                  <a:cxn ang="0">
                    <a:pos x="55" y="148"/>
                  </a:cxn>
                  <a:cxn ang="0">
                    <a:pos x="50" y="176"/>
                  </a:cxn>
                  <a:cxn ang="0">
                    <a:pos x="59" y="206"/>
                  </a:cxn>
                  <a:cxn ang="0">
                    <a:pos x="50" y="232"/>
                  </a:cxn>
                  <a:cxn ang="0">
                    <a:pos x="42" y="256"/>
                  </a:cxn>
                  <a:cxn ang="0">
                    <a:pos x="41" y="294"/>
                  </a:cxn>
                  <a:cxn ang="0">
                    <a:pos x="34" y="311"/>
                  </a:cxn>
                  <a:cxn ang="0">
                    <a:pos x="25" y="333"/>
                  </a:cxn>
                  <a:cxn ang="0">
                    <a:pos x="27" y="358"/>
                  </a:cxn>
                  <a:cxn ang="0">
                    <a:pos x="22" y="382"/>
                  </a:cxn>
                  <a:cxn ang="0">
                    <a:pos x="27" y="401"/>
                  </a:cxn>
                  <a:cxn ang="0">
                    <a:pos x="37" y="415"/>
                  </a:cxn>
                  <a:cxn ang="0">
                    <a:pos x="34" y="425"/>
                  </a:cxn>
                  <a:cxn ang="0">
                    <a:pos x="28" y="448"/>
                  </a:cxn>
                  <a:cxn ang="0">
                    <a:pos x="25" y="466"/>
                  </a:cxn>
                  <a:cxn ang="0">
                    <a:pos x="15" y="481"/>
                  </a:cxn>
                  <a:cxn ang="0">
                    <a:pos x="11" y="500"/>
                  </a:cxn>
                  <a:cxn ang="0">
                    <a:pos x="1" y="526"/>
                  </a:cxn>
                  <a:cxn ang="0">
                    <a:pos x="18" y="539"/>
                  </a:cxn>
                  <a:cxn ang="0">
                    <a:pos x="22" y="562"/>
                  </a:cxn>
                  <a:cxn ang="0">
                    <a:pos x="61" y="569"/>
                  </a:cxn>
                  <a:cxn ang="0">
                    <a:pos x="79" y="570"/>
                  </a:cxn>
                  <a:cxn ang="0">
                    <a:pos x="71" y="535"/>
                  </a:cxn>
                  <a:cxn ang="0">
                    <a:pos x="91" y="519"/>
                  </a:cxn>
                  <a:cxn ang="0">
                    <a:pos x="122" y="482"/>
                  </a:cxn>
                  <a:cxn ang="0">
                    <a:pos x="118" y="462"/>
                  </a:cxn>
                  <a:cxn ang="0">
                    <a:pos x="98" y="435"/>
                  </a:cxn>
                  <a:cxn ang="0">
                    <a:pos x="126" y="414"/>
                  </a:cxn>
                  <a:cxn ang="0">
                    <a:pos x="136" y="385"/>
                  </a:cxn>
                  <a:cxn ang="0">
                    <a:pos x="139" y="377"/>
                  </a:cxn>
                  <a:cxn ang="0">
                    <a:pos x="156" y="377"/>
                  </a:cxn>
                  <a:cxn ang="0">
                    <a:pos x="148" y="368"/>
                  </a:cxn>
                  <a:cxn ang="0">
                    <a:pos x="136" y="355"/>
                  </a:cxn>
                  <a:cxn ang="0">
                    <a:pos x="146" y="340"/>
                  </a:cxn>
                  <a:cxn ang="0">
                    <a:pos x="178" y="327"/>
                  </a:cxn>
                  <a:cxn ang="0">
                    <a:pos x="180" y="308"/>
                  </a:cxn>
                  <a:cxn ang="0">
                    <a:pos x="227" y="300"/>
                  </a:cxn>
                  <a:cxn ang="0">
                    <a:pos x="273" y="263"/>
                  </a:cxn>
                  <a:cxn ang="0">
                    <a:pos x="263" y="239"/>
                  </a:cxn>
                  <a:cxn ang="0">
                    <a:pos x="242" y="222"/>
                  </a:cxn>
                  <a:cxn ang="0">
                    <a:pos x="250" y="210"/>
                  </a:cxn>
                  <a:cxn ang="0">
                    <a:pos x="249" y="180"/>
                  </a:cxn>
                  <a:cxn ang="0">
                    <a:pos x="269" y="135"/>
                  </a:cxn>
                  <a:cxn ang="0">
                    <a:pos x="318" y="89"/>
                  </a:cxn>
                </a:cxnLst>
                <a:rect l="0" t="0" r="r" b="b"/>
                <a:pathLst>
                  <a:path w="321" h="636">
                    <a:moveTo>
                      <a:pt x="121" y="624"/>
                    </a:moveTo>
                    <a:lnTo>
                      <a:pt x="121" y="624"/>
                    </a:lnTo>
                    <a:lnTo>
                      <a:pt x="118" y="623"/>
                    </a:lnTo>
                    <a:lnTo>
                      <a:pt x="114" y="621"/>
                    </a:lnTo>
                    <a:lnTo>
                      <a:pt x="104" y="614"/>
                    </a:lnTo>
                    <a:lnTo>
                      <a:pt x="89" y="603"/>
                    </a:lnTo>
                    <a:lnTo>
                      <a:pt x="89" y="603"/>
                    </a:lnTo>
                    <a:lnTo>
                      <a:pt x="87" y="600"/>
                    </a:lnTo>
                    <a:lnTo>
                      <a:pt x="87" y="597"/>
                    </a:lnTo>
                    <a:lnTo>
                      <a:pt x="85" y="596"/>
                    </a:lnTo>
                    <a:lnTo>
                      <a:pt x="82" y="596"/>
                    </a:lnTo>
                    <a:lnTo>
                      <a:pt x="82" y="596"/>
                    </a:lnTo>
                    <a:lnTo>
                      <a:pt x="79" y="594"/>
                    </a:lnTo>
                    <a:lnTo>
                      <a:pt x="78" y="593"/>
                    </a:lnTo>
                    <a:lnTo>
                      <a:pt x="81" y="590"/>
                    </a:lnTo>
                    <a:lnTo>
                      <a:pt x="84" y="589"/>
                    </a:lnTo>
                    <a:lnTo>
                      <a:pt x="84" y="589"/>
                    </a:lnTo>
                    <a:lnTo>
                      <a:pt x="84" y="587"/>
                    </a:lnTo>
                    <a:lnTo>
                      <a:pt x="84" y="584"/>
                    </a:lnTo>
                    <a:lnTo>
                      <a:pt x="81" y="582"/>
                    </a:lnTo>
                    <a:lnTo>
                      <a:pt x="78" y="580"/>
                    </a:lnTo>
                    <a:lnTo>
                      <a:pt x="78" y="580"/>
                    </a:lnTo>
                    <a:lnTo>
                      <a:pt x="77" y="610"/>
                    </a:lnTo>
                    <a:lnTo>
                      <a:pt x="77" y="626"/>
                    </a:lnTo>
                    <a:lnTo>
                      <a:pt x="77" y="631"/>
                    </a:lnTo>
                    <a:lnTo>
                      <a:pt x="78" y="633"/>
                    </a:lnTo>
                    <a:lnTo>
                      <a:pt x="78" y="633"/>
                    </a:lnTo>
                    <a:lnTo>
                      <a:pt x="89" y="633"/>
                    </a:lnTo>
                    <a:lnTo>
                      <a:pt x="98" y="633"/>
                    </a:lnTo>
                    <a:lnTo>
                      <a:pt x="105" y="634"/>
                    </a:lnTo>
                    <a:lnTo>
                      <a:pt x="105" y="634"/>
                    </a:lnTo>
                    <a:lnTo>
                      <a:pt x="108" y="636"/>
                    </a:lnTo>
                    <a:lnTo>
                      <a:pt x="111" y="636"/>
                    </a:lnTo>
                    <a:lnTo>
                      <a:pt x="112" y="634"/>
                    </a:lnTo>
                    <a:lnTo>
                      <a:pt x="112" y="634"/>
                    </a:lnTo>
                    <a:lnTo>
                      <a:pt x="116" y="633"/>
                    </a:lnTo>
                    <a:lnTo>
                      <a:pt x="121" y="631"/>
                    </a:lnTo>
                    <a:lnTo>
                      <a:pt x="126" y="630"/>
                    </a:lnTo>
                    <a:lnTo>
                      <a:pt x="132" y="629"/>
                    </a:lnTo>
                    <a:lnTo>
                      <a:pt x="132" y="629"/>
                    </a:lnTo>
                    <a:lnTo>
                      <a:pt x="133" y="627"/>
                    </a:lnTo>
                    <a:lnTo>
                      <a:pt x="132" y="626"/>
                    </a:lnTo>
                    <a:lnTo>
                      <a:pt x="121" y="624"/>
                    </a:lnTo>
                    <a:lnTo>
                      <a:pt x="121" y="624"/>
                    </a:lnTo>
                    <a:close/>
                    <a:moveTo>
                      <a:pt x="318" y="62"/>
                    </a:moveTo>
                    <a:lnTo>
                      <a:pt x="318" y="62"/>
                    </a:lnTo>
                    <a:lnTo>
                      <a:pt x="314" y="61"/>
                    </a:lnTo>
                    <a:lnTo>
                      <a:pt x="307" y="61"/>
                    </a:lnTo>
                    <a:lnTo>
                      <a:pt x="307" y="61"/>
                    </a:lnTo>
                    <a:lnTo>
                      <a:pt x="307" y="64"/>
                    </a:lnTo>
                    <a:lnTo>
                      <a:pt x="307" y="64"/>
                    </a:lnTo>
                    <a:lnTo>
                      <a:pt x="307" y="69"/>
                    </a:lnTo>
                    <a:lnTo>
                      <a:pt x="306" y="78"/>
                    </a:lnTo>
                    <a:lnTo>
                      <a:pt x="303" y="84"/>
                    </a:lnTo>
                    <a:lnTo>
                      <a:pt x="301" y="87"/>
                    </a:lnTo>
                    <a:lnTo>
                      <a:pt x="300" y="87"/>
                    </a:lnTo>
                    <a:lnTo>
                      <a:pt x="300" y="87"/>
                    </a:lnTo>
                    <a:lnTo>
                      <a:pt x="296" y="88"/>
                    </a:lnTo>
                    <a:lnTo>
                      <a:pt x="293" y="89"/>
                    </a:lnTo>
                    <a:lnTo>
                      <a:pt x="290" y="92"/>
                    </a:lnTo>
                    <a:lnTo>
                      <a:pt x="287" y="94"/>
                    </a:lnTo>
                    <a:lnTo>
                      <a:pt x="287" y="94"/>
                    </a:lnTo>
                    <a:lnTo>
                      <a:pt x="284" y="94"/>
                    </a:lnTo>
                    <a:lnTo>
                      <a:pt x="280" y="95"/>
                    </a:lnTo>
                    <a:lnTo>
                      <a:pt x="277" y="96"/>
                    </a:lnTo>
                    <a:lnTo>
                      <a:pt x="273" y="96"/>
                    </a:lnTo>
                    <a:lnTo>
                      <a:pt x="273" y="96"/>
                    </a:lnTo>
                    <a:lnTo>
                      <a:pt x="269" y="95"/>
                    </a:lnTo>
                    <a:lnTo>
                      <a:pt x="264" y="95"/>
                    </a:lnTo>
                    <a:lnTo>
                      <a:pt x="261" y="95"/>
                    </a:lnTo>
                    <a:lnTo>
                      <a:pt x="257" y="95"/>
                    </a:lnTo>
                    <a:lnTo>
                      <a:pt x="257" y="95"/>
                    </a:lnTo>
                    <a:lnTo>
                      <a:pt x="254" y="94"/>
                    </a:lnTo>
                    <a:lnTo>
                      <a:pt x="249" y="94"/>
                    </a:lnTo>
                    <a:lnTo>
                      <a:pt x="244" y="92"/>
                    </a:lnTo>
                    <a:lnTo>
                      <a:pt x="243" y="91"/>
                    </a:lnTo>
                    <a:lnTo>
                      <a:pt x="243" y="91"/>
                    </a:lnTo>
                    <a:lnTo>
                      <a:pt x="243" y="89"/>
                    </a:lnTo>
                    <a:lnTo>
                      <a:pt x="246" y="88"/>
                    </a:lnTo>
                    <a:lnTo>
                      <a:pt x="247" y="85"/>
                    </a:lnTo>
                    <a:lnTo>
                      <a:pt x="249" y="81"/>
                    </a:lnTo>
                    <a:lnTo>
                      <a:pt x="249" y="81"/>
                    </a:lnTo>
                    <a:lnTo>
                      <a:pt x="249" y="77"/>
                    </a:lnTo>
                    <a:lnTo>
                      <a:pt x="250" y="74"/>
                    </a:lnTo>
                    <a:lnTo>
                      <a:pt x="254" y="68"/>
                    </a:lnTo>
                    <a:lnTo>
                      <a:pt x="260" y="62"/>
                    </a:lnTo>
                    <a:lnTo>
                      <a:pt x="260" y="61"/>
                    </a:lnTo>
                    <a:lnTo>
                      <a:pt x="260" y="59"/>
                    </a:lnTo>
                    <a:lnTo>
                      <a:pt x="260" y="59"/>
                    </a:lnTo>
                    <a:lnTo>
                      <a:pt x="256" y="55"/>
                    </a:lnTo>
                    <a:lnTo>
                      <a:pt x="246" y="52"/>
                    </a:lnTo>
                    <a:lnTo>
                      <a:pt x="236" y="48"/>
                    </a:lnTo>
                    <a:lnTo>
                      <a:pt x="230" y="44"/>
                    </a:lnTo>
                    <a:lnTo>
                      <a:pt x="230" y="44"/>
                    </a:lnTo>
                    <a:lnTo>
                      <a:pt x="227" y="41"/>
                    </a:lnTo>
                    <a:lnTo>
                      <a:pt x="224" y="38"/>
                    </a:lnTo>
                    <a:lnTo>
                      <a:pt x="219" y="35"/>
                    </a:lnTo>
                    <a:lnTo>
                      <a:pt x="213" y="35"/>
                    </a:lnTo>
                    <a:lnTo>
                      <a:pt x="213" y="35"/>
                    </a:lnTo>
                    <a:lnTo>
                      <a:pt x="207" y="34"/>
                    </a:lnTo>
                    <a:lnTo>
                      <a:pt x="203" y="31"/>
                    </a:lnTo>
                    <a:lnTo>
                      <a:pt x="200" y="28"/>
                    </a:lnTo>
                    <a:lnTo>
                      <a:pt x="195" y="24"/>
                    </a:lnTo>
                    <a:lnTo>
                      <a:pt x="195" y="24"/>
                    </a:lnTo>
                    <a:lnTo>
                      <a:pt x="189" y="20"/>
                    </a:lnTo>
                    <a:lnTo>
                      <a:pt x="183" y="13"/>
                    </a:lnTo>
                    <a:lnTo>
                      <a:pt x="178" y="7"/>
                    </a:lnTo>
                    <a:lnTo>
                      <a:pt x="173" y="1"/>
                    </a:lnTo>
                    <a:lnTo>
                      <a:pt x="173" y="1"/>
                    </a:lnTo>
                    <a:lnTo>
                      <a:pt x="163" y="0"/>
                    </a:lnTo>
                    <a:lnTo>
                      <a:pt x="159" y="0"/>
                    </a:lnTo>
                    <a:lnTo>
                      <a:pt x="158" y="1"/>
                    </a:lnTo>
                    <a:lnTo>
                      <a:pt x="158" y="1"/>
                    </a:lnTo>
                    <a:lnTo>
                      <a:pt x="152" y="10"/>
                    </a:lnTo>
                    <a:lnTo>
                      <a:pt x="151" y="13"/>
                    </a:lnTo>
                    <a:lnTo>
                      <a:pt x="149" y="13"/>
                    </a:lnTo>
                    <a:lnTo>
                      <a:pt x="148" y="11"/>
                    </a:lnTo>
                    <a:lnTo>
                      <a:pt x="148" y="11"/>
                    </a:lnTo>
                    <a:lnTo>
                      <a:pt x="145" y="7"/>
                    </a:lnTo>
                    <a:lnTo>
                      <a:pt x="139" y="4"/>
                    </a:lnTo>
                    <a:lnTo>
                      <a:pt x="129" y="3"/>
                    </a:lnTo>
                    <a:lnTo>
                      <a:pt x="129" y="3"/>
                    </a:lnTo>
                    <a:lnTo>
                      <a:pt x="125" y="1"/>
                    </a:lnTo>
                    <a:lnTo>
                      <a:pt x="122" y="0"/>
                    </a:lnTo>
                    <a:lnTo>
                      <a:pt x="119" y="0"/>
                    </a:lnTo>
                    <a:lnTo>
                      <a:pt x="115" y="4"/>
                    </a:lnTo>
                    <a:lnTo>
                      <a:pt x="115" y="4"/>
                    </a:lnTo>
                    <a:lnTo>
                      <a:pt x="109" y="8"/>
                    </a:lnTo>
                    <a:lnTo>
                      <a:pt x="104" y="13"/>
                    </a:lnTo>
                    <a:lnTo>
                      <a:pt x="104" y="13"/>
                    </a:lnTo>
                    <a:lnTo>
                      <a:pt x="102" y="24"/>
                    </a:lnTo>
                    <a:lnTo>
                      <a:pt x="99" y="32"/>
                    </a:lnTo>
                    <a:lnTo>
                      <a:pt x="99" y="32"/>
                    </a:lnTo>
                    <a:lnTo>
                      <a:pt x="96" y="35"/>
                    </a:lnTo>
                    <a:lnTo>
                      <a:pt x="89" y="40"/>
                    </a:lnTo>
                    <a:lnTo>
                      <a:pt x="84" y="42"/>
                    </a:lnTo>
                    <a:lnTo>
                      <a:pt x="81" y="47"/>
                    </a:lnTo>
                    <a:lnTo>
                      <a:pt x="81" y="47"/>
                    </a:lnTo>
                    <a:lnTo>
                      <a:pt x="82" y="52"/>
                    </a:lnTo>
                    <a:lnTo>
                      <a:pt x="82" y="55"/>
                    </a:lnTo>
                    <a:lnTo>
                      <a:pt x="81" y="58"/>
                    </a:lnTo>
                    <a:lnTo>
                      <a:pt x="81" y="58"/>
                    </a:lnTo>
                    <a:lnTo>
                      <a:pt x="79" y="59"/>
                    </a:lnTo>
                    <a:lnTo>
                      <a:pt x="81" y="61"/>
                    </a:lnTo>
                    <a:lnTo>
                      <a:pt x="82" y="67"/>
                    </a:lnTo>
                    <a:lnTo>
                      <a:pt x="84" y="72"/>
                    </a:lnTo>
                    <a:lnTo>
                      <a:pt x="84" y="74"/>
                    </a:lnTo>
                    <a:lnTo>
                      <a:pt x="82" y="75"/>
                    </a:lnTo>
                    <a:lnTo>
                      <a:pt x="82" y="75"/>
                    </a:lnTo>
                    <a:lnTo>
                      <a:pt x="81" y="77"/>
                    </a:lnTo>
                    <a:lnTo>
                      <a:pt x="81" y="78"/>
                    </a:lnTo>
                    <a:lnTo>
                      <a:pt x="81" y="81"/>
                    </a:lnTo>
                    <a:lnTo>
                      <a:pt x="84" y="84"/>
                    </a:lnTo>
                    <a:lnTo>
                      <a:pt x="84" y="85"/>
                    </a:lnTo>
                    <a:lnTo>
                      <a:pt x="82" y="85"/>
                    </a:lnTo>
                    <a:lnTo>
                      <a:pt x="82" y="85"/>
                    </a:lnTo>
                    <a:lnTo>
                      <a:pt x="77" y="89"/>
                    </a:lnTo>
                    <a:lnTo>
                      <a:pt x="74" y="91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101"/>
                    </a:lnTo>
                    <a:lnTo>
                      <a:pt x="71" y="105"/>
                    </a:lnTo>
                    <a:lnTo>
                      <a:pt x="68" y="106"/>
                    </a:lnTo>
                    <a:lnTo>
                      <a:pt x="68" y="106"/>
                    </a:lnTo>
                    <a:lnTo>
                      <a:pt x="65" y="109"/>
                    </a:lnTo>
                    <a:lnTo>
                      <a:pt x="62" y="114"/>
                    </a:lnTo>
                    <a:lnTo>
                      <a:pt x="61" y="118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59" y="123"/>
                    </a:lnTo>
                    <a:lnTo>
                      <a:pt x="58" y="125"/>
                    </a:lnTo>
                    <a:lnTo>
                      <a:pt x="57" y="126"/>
                    </a:lnTo>
                    <a:lnTo>
                      <a:pt x="57" y="131"/>
                    </a:lnTo>
                    <a:lnTo>
                      <a:pt x="57" y="131"/>
                    </a:lnTo>
                    <a:lnTo>
                      <a:pt x="59" y="141"/>
                    </a:lnTo>
                    <a:lnTo>
                      <a:pt x="59" y="145"/>
                    </a:lnTo>
                    <a:lnTo>
                      <a:pt x="58" y="146"/>
                    </a:lnTo>
                    <a:lnTo>
                      <a:pt x="57" y="146"/>
                    </a:lnTo>
                    <a:lnTo>
                      <a:pt x="57" y="146"/>
                    </a:lnTo>
                    <a:lnTo>
                      <a:pt x="55" y="148"/>
                    </a:lnTo>
                    <a:lnTo>
                      <a:pt x="54" y="149"/>
                    </a:lnTo>
                    <a:lnTo>
                      <a:pt x="52" y="153"/>
                    </a:lnTo>
                    <a:lnTo>
                      <a:pt x="51" y="158"/>
                    </a:lnTo>
                    <a:lnTo>
                      <a:pt x="50" y="159"/>
                    </a:lnTo>
                    <a:lnTo>
                      <a:pt x="50" y="159"/>
                    </a:lnTo>
                    <a:lnTo>
                      <a:pt x="48" y="160"/>
                    </a:lnTo>
                    <a:lnTo>
                      <a:pt x="47" y="166"/>
                    </a:lnTo>
                    <a:lnTo>
                      <a:pt x="48" y="172"/>
                    </a:lnTo>
                    <a:lnTo>
                      <a:pt x="50" y="176"/>
                    </a:lnTo>
                    <a:lnTo>
                      <a:pt x="50" y="176"/>
                    </a:lnTo>
                    <a:lnTo>
                      <a:pt x="52" y="180"/>
                    </a:lnTo>
                    <a:lnTo>
                      <a:pt x="54" y="185"/>
                    </a:lnTo>
                    <a:lnTo>
                      <a:pt x="55" y="192"/>
                    </a:lnTo>
                    <a:lnTo>
                      <a:pt x="55" y="192"/>
                    </a:lnTo>
                    <a:lnTo>
                      <a:pt x="55" y="196"/>
                    </a:lnTo>
                    <a:lnTo>
                      <a:pt x="58" y="199"/>
                    </a:lnTo>
                    <a:lnTo>
                      <a:pt x="59" y="202"/>
                    </a:lnTo>
                    <a:lnTo>
                      <a:pt x="59" y="206"/>
                    </a:lnTo>
                    <a:lnTo>
                      <a:pt x="59" y="206"/>
                    </a:lnTo>
                    <a:lnTo>
                      <a:pt x="57" y="215"/>
                    </a:lnTo>
                    <a:lnTo>
                      <a:pt x="57" y="217"/>
                    </a:lnTo>
                    <a:lnTo>
                      <a:pt x="54" y="220"/>
                    </a:lnTo>
                    <a:lnTo>
                      <a:pt x="54" y="220"/>
                    </a:lnTo>
                    <a:lnTo>
                      <a:pt x="52" y="222"/>
                    </a:lnTo>
                    <a:lnTo>
                      <a:pt x="52" y="226"/>
                    </a:lnTo>
                    <a:lnTo>
                      <a:pt x="52" y="229"/>
                    </a:lnTo>
                    <a:lnTo>
                      <a:pt x="50" y="232"/>
                    </a:lnTo>
                    <a:lnTo>
                      <a:pt x="50" y="232"/>
                    </a:lnTo>
                    <a:lnTo>
                      <a:pt x="48" y="233"/>
                    </a:lnTo>
                    <a:lnTo>
                      <a:pt x="48" y="234"/>
                    </a:lnTo>
                    <a:lnTo>
                      <a:pt x="50" y="242"/>
                    </a:lnTo>
                    <a:lnTo>
                      <a:pt x="51" y="247"/>
                    </a:lnTo>
                    <a:lnTo>
                      <a:pt x="51" y="250"/>
                    </a:lnTo>
                    <a:lnTo>
                      <a:pt x="50" y="252"/>
                    </a:lnTo>
                    <a:lnTo>
                      <a:pt x="50" y="252"/>
                    </a:lnTo>
                    <a:lnTo>
                      <a:pt x="42" y="256"/>
                    </a:lnTo>
                    <a:lnTo>
                      <a:pt x="40" y="260"/>
                    </a:lnTo>
                    <a:lnTo>
                      <a:pt x="38" y="267"/>
                    </a:lnTo>
                    <a:lnTo>
                      <a:pt x="38" y="267"/>
                    </a:lnTo>
                    <a:lnTo>
                      <a:pt x="38" y="280"/>
                    </a:lnTo>
                    <a:lnTo>
                      <a:pt x="38" y="289"/>
                    </a:lnTo>
                    <a:lnTo>
                      <a:pt x="38" y="289"/>
                    </a:lnTo>
                    <a:lnTo>
                      <a:pt x="38" y="291"/>
                    </a:lnTo>
                    <a:lnTo>
                      <a:pt x="40" y="293"/>
                    </a:lnTo>
                    <a:lnTo>
                      <a:pt x="41" y="294"/>
                    </a:lnTo>
                    <a:lnTo>
                      <a:pt x="42" y="297"/>
                    </a:lnTo>
                    <a:lnTo>
                      <a:pt x="42" y="297"/>
                    </a:lnTo>
                    <a:lnTo>
                      <a:pt x="41" y="300"/>
                    </a:lnTo>
                    <a:lnTo>
                      <a:pt x="40" y="301"/>
                    </a:lnTo>
                    <a:lnTo>
                      <a:pt x="37" y="301"/>
                    </a:lnTo>
                    <a:lnTo>
                      <a:pt x="34" y="303"/>
                    </a:lnTo>
                    <a:lnTo>
                      <a:pt x="32" y="304"/>
                    </a:lnTo>
                    <a:lnTo>
                      <a:pt x="32" y="304"/>
                    </a:lnTo>
                    <a:lnTo>
                      <a:pt x="34" y="311"/>
                    </a:lnTo>
                    <a:lnTo>
                      <a:pt x="32" y="314"/>
                    </a:lnTo>
                    <a:lnTo>
                      <a:pt x="32" y="316"/>
                    </a:lnTo>
                    <a:lnTo>
                      <a:pt x="32" y="316"/>
                    </a:lnTo>
                    <a:lnTo>
                      <a:pt x="30" y="317"/>
                    </a:lnTo>
                    <a:lnTo>
                      <a:pt x="28" y="318"/>
                    </a:lnTo>
                    <a:lnTo>
                      <a:pt x="28" y="325"/>
                    </a:lnTo>
                    <a:lnTo>
                      <a:pt x="28" y="325"/>
                    </a:lnTo>
                    <a:lnTo>
                      <a:pt x="27" y="330"/>
                    </a:lnTo>
                    <a:lnTo>
                      <a:pt x="25" y="333"/>
                    </a:lnTo>
                    <a:lnTo>
                      <a:pt x="24" y="335"/>
                    </a:lnTo>
                    <a:lnTo>
                      <a:pt x="22" y="337"/>
                    </a:lnTo>
                    <a:lnTo>
                      <a:pt x="22" y="337"/>
                    </a:lnTo>
                    <a:lnTo>
                      <a:pt x="24" y="340"/>
                    </a:lnTo>
                    <a:lnTo>
                      <a:pt x="25" y="343"/>
                    </a:lnTo>
                    <a:lnTo>
                      <a:pt x="25" y="345"/>
                    </a:lnTo>
                    <a:lnTo>
                      <a:pt x="27" y="348"/>
                    </a:lnTo>
                    <a:lnTo>
                      <a:pt x="27" y="348"/>
                    </a:lnTo>
                    <a:lnTo>
                      <a:pt x="27" y="358"/>
                    </a:lnTo>
                    <a:lnTo>
                      <a:pt x="27" y="362"/>
                    </a:lnTo>
                    <a:lnTo>
                      <a:pt x="27" y="365"/>
                    </a:lnTo>
                    <a:lnTo>
                      <a:pt x="25" y="365"/>
                    </a:lnTo>
                    <a:lnTo>
                      <a:pt x="25" y="365"/>
                    </a:lnTo>
                    <a:lnTo>
                      <a:pt x="24" y="368"/>
                    </a:lnTo>
                    <a:lnTo>
                      <a:pt x="22" y="374"/>
                    </a:lnTo>
                    <a:lnTo>
                      <a:pt x="22" y="380"/>
                    </a:lnTo>
                    <a:lnTo>
                      <a:pt x="22" y="382"/>
                    </a:lnTo>
                    <a:lnTo>
                      <a:pt x="22" y="382"/>
                    </a:lnTo>
                    <a:lnTo>
                      <a:pt x="25" y="384"/>
                    </a:lnTo>
                    <a:lnTo>
                      <a:pt x="25" y="387"/>
                    </a:lnTo>
                    <a:lnTo>
                      <a:pt x="24" y="391"/>
                    </a:lnTo>
                    <a:lnTo>
                      <a:pt x="24" y="391"/>
                    </a:lnTo>
                    <a:lnTo>
                      <a:pt x="25" y="394"/>
                    </a:lnTo>
                    <a:lnTo>
                      <a:pt x="27" y="395"/>
                    </a:lnTo>
                    <a:lnTo>
                      <a:pt x="28" y="398"/>
                    </a:lnTo>
                    <a:lnTo>
                      <a:pt x="28" y="399"/>
                    </a:lnTo>
                    <a:lnTo>
                      <a:pt x="27" y="401"/>
                    </a:lnTo>
                    <a:lnTo>
                      <a:pt x="27" y="401"/>
                    </a:lnTo>
                    <a:lnTo>
                      <a:pt x="25" y="405"/>
                    </a:lnTo>
                    <a:lnTo>
                      <a:pt x="25" y="408"/>
                    </a:lnTo>
                    <a:lnTo>
                      <a:pt x="28" y="409"/>
                    </a:lnTo>
                    <a:lnTo>
                      <a:pt x="32" y="409"/>
                    </a:lnTo>
                    <a:lnTo>
                      <a:pt x="32" y="409"/>
                    </a:lnTo>
                    <a:lnTo>
                      <a:pt x="35" y="409"/>
                    </a:lnTo>
                    <a:lnTo>
                      <a:pt x="37" y="412"/>
                    </a:lnTo>
                    <a:lnTo>
                      <a:pt x="37" y="415"/>
                    </a:lnTo>
                    <a:lnTo>
                      <a:pt x="35" y="417"/>
                    </a:lnTo>
                    <a:lnTo>
                      <a:pt x="34" y="417"/>
                    </a:lnTo>
                    <a:lnTo>
                      <a:pt x="34" y="417"/>
                    </a:lnTo>
                    <a:lnTo>
                      <a:pt x="28" y="417"/>
                    </a:lnTo>
                    <a:lnTo>
                      <a:pt x="27" y="418"/>
                    </a:lnTo>
                    <a:lnTo>
                      <a:pt x="28" y="419"/>
                    </a:lnTo>
                    <a:lnTo>
                      <a:pt x="28" y="419"/>
                    </a:lnTo>
                    <a:lnTo>
                      <a:pt x="31" y="422"/>
                    </a:lnTo>
                    <a:lnTo>
                      <a:pt x="34" y="425"/>
                    </a:lnTo>
                    <a:lnTo>
                      <a:pt x="34" y="428"/>
                    </a:lnTo>
                    <a:lnTo>
                      <a:pt x="31" y="431"/>
                    </a:lnTo>
                    <a:lnTo>
                      <a:pt x="31" y="431"/>
                    </a:lnTo>
                    <a:lnTo>
                      <a:pt x="28" y="432"/>
                    </a:lnTo>
                    <a:lnTo>
                      <a:pt x="27" y="435"/>
                    </a:lnTo>
                    <a:lnTo>
                      <a:pt x="28" y="439"/>
                    </a:lnTo>
                    <a:lnTo>
                      <a:pt x="28" y="444"/>
                    </a:lnTo>
                    <a:lnTo>
                      <a:pt x="28" y="444"/>
                    </a:lnTo>
                    <a:lnTo>
                      <a:pt x="28" y="448"/>
                    </a:lnTo>
                    <a:lnTo>
                      <a:pt x="30" y="451"/>
                    </a:lnTo>
                    <a:lnTo>
                      <a:pt x="30" y="454"/>
                    </a:lnTo>
                    <a:lnTo>
                      <a:pt x="28" y="455"/>
                    </a:lnTo>
                    <a:lnTo>
                      <a:pt x="28" y="455"/>
                    </a:lnTo>
                    <a:lnTo>
                      <a:pt x="27" y="456"/>
                    </a:lnTo>
                    <a:lnTo>
                      <a:pt x="25" y="458"/>
                    </a:lnTo>
                    <a:lnTo>
                      <a:pt x="25" y="461"/>
                    </a:lnTo>
                    <a:lnTo>
                      <a:pt x="25" y="465"/>
                    </a:lnTo>
                    <a:lnTo>
                      <a:pt x="25" y="466"/>
                    </a:lnTo>
                    <a:lnTo>
                      <a:pt x="22" y="466"/>
                    </a:lnTo>
                    <a:lnTo>
                      <a:pt x="22" y="466"/>
                    </a:lnTo>
                    <a:lnTo>
                      <a:pt x="20" y="468"/>
                    </a:lnTo>
                    <a:lnTo>
                      <a:pt x="18" y="471"/>
                    </a:lnTo>
                    <a:lnTo>
                      <a:pt x="18" y="475"/>
                    </a:lnTo>
                    <a:lnTo>
                      <a:pt x="15" y="478"/>
                    </a:lnTo>
                    <a:lnTo>
                      <a:pt x="15" y="478"/>
                    </a:lnTo>
                    <a:lnTo>
                      <a:pt x="15" y="479"/>
                    </a:lnTo>
                    <a:lnTo>
                      <a:pt x="15" y="481"/>
                    </a:lnTo>
                    <a:lnTo>
                      <a:pt x="17" y="483"/>
                    </a:lnTo>
                    <a:lnTo>
                      <a:pt x="18" y="486"/>
                    </a:lnTo>
                    <a:lnTo>
                      <a:pt x="18" y="488"/>
                    </a:lnTo>
                    <a:lnTo>
                      <a:pt x="17" y="489"/>
                    </a:lnTo>
                    <a:lnTo>
                      <a:pt x="17" y="489"/>
                    </a:lnTo>
                    <a:lnTo>
                      <a:pt x="14" y="493"/>
                    </a:lnTo>
                    <a:lnTo>
                      <a:pt x="13" y="496"/>
                    </a:lnTo>
                    <a:lnTo>
                      <a:pt x="13" y="499"/>
                    </a:lnTo>
                    <a:lnTo>
                      <a:pt x="11" y="500"/>
                    </a:lnTo>
                    <a:lnTo>
                      <a:pt x="10" y="500"/>
                    </a:lnTo>
                    <a:lnTo>
                      <a:pt x="10" y="500"/>
                    </a:lnTo>
                    <a:lnTo>
                      <a:pt x="7" y="502"/>
                    </a:lnTo>
                    <a:lnTo>
                      <a:pt x="4" y="505"/>
                    </a:lnTo>
                    <a:lnTo>
                      <a:pt x="1" y="512"/>
                    </a:lnTo>
                    <a:lnTo>
                      <a:pt x="1" y="512"/>
                    </a:lnTo>
                    <a:lnTo>
                      <a:pt x="0" y="519"/>
                    </a:lnTo>
                    <a:lnTo>
                      <a:pt x="0" y="522"/>
                    </a:lnTo>
                    <a:lnTo>
                      <a:pt x="1" y="526"/>
                    </a:lnTo>
                    <a:lnTo>
                      <a:pt x="1" y="526"/>
                    </a:lnTo>
                    <a:lnTo>
                      <a:pt x="3" y="530"/>
                    </a:lnTo>
                    <a:lnTo>
                      <a:pt x="3" y="533"/>
                    </a:lnTo>
                    <a:lnTo>
                      <a:pt x="3" y="535"/>
                    </a:lnTo>
                    <a:lnTo>
                      <a:pt x="4" y="537"/>
                    </a:lnTo>
                    <a:lnTo>
                      <a:pt x="4" y="537"/>
                    </a:lnTo>
                    <a:lnTo>
                      <a:pt x="8" y="537"/>
                    </a:lnTo>
                    <a:lnTo>
                      <a:pt x="14" y="537"/>
                    </a:lnTo>
                    <a:lnTo>
                      <a:pt x="18" y="539"/>
                    </a:lnTo>
                    <a:lnTo>
                      <a:pt x="20" y="540"/>
                    </a:lnTo>
                    <a:lnTo>
                      <a:pt x="20" y="542"/>
                    </a:lnTo>
                    <a:lnTo>
                      <a:pt x="20" y="542"/>
                    </a:lnTo>
                    <a:lnTo>
                      <a:pt x="18" y="547"/>
                    </a:lnTo>
                    <a:lnTo>
                      <a:pt x="18" y="553"/>
                    </a:lnTo>
                    <a:lnTo>
                      <a:pt x="18" y="557"/>
                    </a:lnTo>
                    <a:lnTo>
                      <a:pt x="20" y="560"/>
                    </a:lnTo>
                    <a:lnTo>
                      <a:pt x="20" y="560"/>
                    </a:lnTo>
                    <a:lnTo>
                      <a:pt x="22" y="562"/>
                    </a:lnTo>
                    <a:lnTo>
                      <a:pt x="24" y="563"/>
                    </a:lnTo>
                    <a:lnTo>
                      <a:pt x="25" y="566"/>
                    </a:lnTo>
                    <a:lnTo>
                      <a:pt x="28" y="567"/>
                    </a:lnTo>
                    <a:lnTo>
                      <a:pt x="28" y="567"/>
                    </a:lnTo>
                    <a:lnTo>
                      <a:pt x="41" y="566"/>
                    </a:lnTo>
                    <a:lnTo>
                      <a:pt x="50" y="566"/>
                    </a:lnTo>
                    <a:lnTo>
                      <a:pt x="57" y="566"/>
                    </a:lnTo>
                    <a:lnTo>
                      <a:pt x="57" y="566"/>
                    </a:lnTo>
                    <a:lnTo>
                      <a:pt x="61" y="569"/>
                    </a:lnTo>
                    <a:lnTo>
                      <a:pt x="65" y="572"/>
                    </a:lnTo>
                    <a:lnTo>
                      <a:pt x="65" y="572"/>
                    </a:lnTo>
                    <a:lnTo>
                      <a:pt x="69" y="572"/>
                    </a:lnTo>
                    <a:lnTo>
                      <a:pt x="74" y="573"/>
                    </a:lnTo>
                    <a:lnTo>
                      <a:pt x="78" y="573"/>
                    </a:lnTo>
                    <a:lnTo>
                      <a:pt x="81" y="573"/>
                    </a:lnTo>
                    <a:lnTo>
                      <a:pt x="81" y="573"/>
                    </a:lnTo>
                    <a:lnTo>
                      <a:pt x="81" y="572"/>
                    </a:lnTo>
                    <a:lnTo>
                      <a:pt x="79" y="570"/>
                    </a:lnTo>
                    <a:lnTo>
                      <a:pt x="77" y="566"/>
                    </a:lnTo>
                    <a:lnTo>
                      <a:pt x="74" y="562"/>
                    </a:lnTo>
                    <a:lnTo>
                      <a:pt x="72" y="559"/>
                    </a:lnTo>
                    <a:lnTo>
                      <a:pt x="72" y="559"/>
                    </a:lnTo>
                    <a:lnTo>
                      <a:pt x="71" y="553"/>
                    </a:lnTo>
                    <a:lnTo>
                      <a:pt x="69" y="546"/>
                    </a:lnTo>
                    <a:lnTo>
                      <a:pt x="69" y="546"/>
                    </a:lnTo>
                    <a:lnTo>
                      <a:pt x="69" y="539"/>
                    </a:lnTo>
                    <a:lnTo>
                      <a:pt x="71" y="535"/>
                    </a:lnTo>
                    <a:lnTo>
                      <a:pt x="74" y="532"/>
                    </a:lnTo>
                    <a:lnTo>
                      <a:pt x="74" y="532"/>
                    </a:lnTo>
                    <a:lnTo>
                      <a:pt x="78" y="526"/>
                    </a:lnTo>
                    <a:lnTo>
                      <a:pt x="79" y="525"/>
                    </a:lnTo>
                    <a:lnTo>
                      <a:pt x="82" y="525"/>
                    </a:lnTo>
                    <a:lnTo>
                      <a:pt x="82" y="525"/>
                    </a:lnTo>
                    <a:lnTo>
                      <a:pt x="85" y="525"/>
                    </a:lnTo>
                    <a:lnTo>
                      <a:pt x="88" y="523"/>
                    </a:lnTo>
                    <a:lnTo>
                      <a:pt x="91" y="519"/>
                    </a:lnTo>
                    <a:lnTo>
                      <a:pt x="92" y="513"/>
                    </a:lnTo>
                    <a:lnTo>
                      <a:pt x="92" y="513"/>
                    </a:lnTo>
                    <a:lnTo>
                      <a:pt x="92" y="508"/>
                    </a:lnTo>
                    <a:lnTo>
                      <a:pt x="95" y="503"/>
                    </a:lnTo>
                    <a:lnTo>
                      <a:pt x="104" y="496"/>
                    </a:lnTo>
                    <a:lnTo>
                      <a:pt x="104" y="496"/>
                    </a:lnTo>
                    <a:lnTo>
                      <a:pt x="116" y="486"/>
                    </a:lnTo>
                    <a:lnTo>
                      <a:pt x="121" y="483"/>
                    </a:lnTo>
                    <a:lnTo>
                      <a:pt x="122" y="482"/>
                    </a:lnTo>
                    <a:lnTo>
                      <a:pt x="122" y="481"/>
                    </a:lnTo>
                    <a:lnTo>
                      <a:pt x="122" y="481"/>
                    </a:lnTo>
                    <a:lnTo>
                      <a:pt x="122" y="476"/>
                    </a:lnTo>
                    <a:lnTo>
                      <a:pt x="122" y="472"/>
                    </a:lnTo>
                    <a:lnTo>
                      <a:pt x="125" y="465"/>
                    </a:lnTo>
                    <a:lnTo>
                      <a:pt x="125" y="465"/>
                    </a:lnTo>
                    <a:lnTo>
                      <a:pt x="123" y="463"/>
                    </a:lnTo>
                    <a:lnTo>
                      <a:pt x="122" y="462"/>
                    </a:lnTo>
                    <a:lnTo>
                      <a:pt x="118" y="462"/>
                    </a:lnTo>
                    <a:lnTo>
                      <a:pt x="109" y="461"/>
                    </a:lnTo>
                    <a:lnTo>
                      <a:pt x="109" y="461"/>
                    </a:lnTo>
                    <a:lnTo>
                      <a:pt x="105" y="458"/>
                    </a:lnTo>
                    <a:lnTo>
                      <a:pt x="99" y="452"/>
                    </a:lnTo>
                    <a:lnTo>
                      <a:pt x="96" y="449"/>
                    </a:lnTo>
                    <a:lnTo>
                      <a:pt x="96" y="445"/>
                    </a:lnTo>
                    <a:lnTo>
                      <a:pt x="96" y="441"/>
                    </a:lnTo>
                    <a:lnTo>
                      <a:pt x="98" y="435"/>
                    </a:lnTo>
                    <a:lnTo>
                      <a:pt x="98" y="435"/>
                    </a:lnTo>
                    <a:lnTo>
                      <a:pt x="101" y="431"/>
                    </a:lnTo>
                    <a:lnTo>
                      <a:pt x="104" y="428"/>
                    </a:lnTo>
                    <a:lnTo>
                      <a:pt x="112" y="424"/>
                    </a:lnTo>
                    <a:lnTo>
                      <a:pt x="119" y="421"/>
                    </a:lnTo>
                    <a:lnTo>
                      <a:pt x="123" y="421"/>
                    </a:lnTo>
                    <a:lnTo>
                      <a:pt x="123" y="421"/>
                    </a:lnTo>
                    <a:lnTo>
                      <a:pt x="126" y="419"/>
                    </a:lnTo>
                    <a:lnTo>
                      <a:pt x="126" y="417"/>
                    </a:lnTo>
                    <a:lnTo>
                      <a:pt x="126" y="414"/>
                    </a:lnTo>
                    <a:lnTo>
                      <a:pt x="128" y="412"/>
                    </a:lnTo>
                    <a:lnTo>
                      <a:pt x="128" y="412"/>
                    </a:lnTo>
                    <a:lnTo>
                      <a:pt x="131" y="411"/>
                    </a:lnTo>
                    <a:lnTo>
                      <a:pt x="132" y="408"/>
                    </a:lnTo>
                    <a:lnTo>
                      <a:pt x="132" y="401"/>
                    </a:lnTo>
                    <a:lnTo>
                      <a:pt x="132" y="401"/>
                    </a:lnTo>
                    <a:lnTo>
                      <a:pt x="133" y="391"/>
                    </a:lnTo>
                    <a:lnTo>
                      <a:pt x="135" y="387"/>
                    </a:lnTo>
                    <a:lnTo>
                      <a:pt x="136" y="385"/>
                    </a:lnTo>
                    <a:lnTo>
                      <a:pt x="139" y="385"/>
                    </a:lnTo>
                    <a:lnTo>
                      <a:pt x="139" y="385"/>
                    </a:lnTo>
                    <a:lnTo>
                      <a:pt x="142" y="384"/>
                    </a:lnTo>
                    <a:lnTo>
                      <a:pt x="145" y="382"/>
                    </a:lnTo>
                    <a:lnTo>
                      <a:pt x="145" y="381"/>
                    </a:lnTo>
                    <a:lnTo>
                      <a:pt x="143" y="380"/>
                    </a:lnTo>
                    <a:lnTo>
                      <a:pt x="143" y="380"/>
                    </a:lnTo>
                    <a:lnTo>
                      <a:pt x="141" y="378"/>
                    </a:lnTo>
                    <a:lnTo>
                      <a:pt x="139" y="377"/>
                    </a:lnTo>
                    <a:lnTo>
                      <a:pt x="141" y="374"/>
                    </a:lnTo>
                    <a:lnTo>
                      <a:pt x="143" y="372"/>
                    </a:lnTo>
                    <a:lnTo>
                      <a:pt x="143" y="372"/>
                    </a:lnTo>
                    <a:lnTo>
                      <a:pt x="148" y="374"/>
                    </a:lnTo>
                    <a:lnTo>
                      <a:pt x="149" y="375"/>
                    </a:lnTo>
                    <a:lnTo>
                      <a:pt x="151" y="378"/>
                    </a:lnTo>
                    <a:lnTo>
                      <a:pt x="152" y="378"/>
                    </a:lnTo>
                    <a:lnTo>
                      <a:pt x="152" y="378"/>
                    </a:lnTo>
                    <a:lnTo>
                      <a:pt x="156" y="377"/>
                    </a:lnTo>
                    <a:lnTo>
                      <a:pt x="159" y="374"/>
                    </a:lnTo>
                    <a:lnTo>
                      <a:pt x="160" y="370"/>
                    </a:lnTo>
                    <a:lnTo>
                      <a:pt x="160" y="368"/>
                    </a:lnTo>
                    <a:lnTo>
                      <a:pt x="159" y="365"/>
                    </a:lnTo>
                    <a:lnTo>
                      <a:pt x="159" y="365"/>
                    </a:lnTo>
                    <a:lnTo>
                      <a:pt x="155" y="364"/>
                    </a:lnTo>
                    <a:lnTo>
                      <a:pt x="152" y="365"/>
                    </a:lnTo>
                    <a:lnTo>
                      <a:pt x="151" y="367"/>
                    </a:lnTo>
                    <a:lnTo>
                      <a:pt x="148" y="368"/>
                    </a:lnTo>
                    <a:lnTo>
                      <a:pt x="148" y="368"/>
                    </a:lnTo>
                    <a:lnTo>
                      <a:pt x="145" y="368"/>
                    </a:lnTo>
                    <a:lnTo>
                      <a:pt x="143" y="367"/>
                    </a:lnTo>
                    <a:lnTo>
                      <a:pt x="141" y="365"/>
                    </a:lnTo>
                    <a:lnTo>
                      <a:pt x="139" y="364"/>
                    </a:lnTo>
                    <a:lnTo>
                      <a:pt x="139" y="364"/>
                    </a:lnTo>
                    <a:lnTo>
                      <a:pt x="138" y="362"/>
                    </a:lnTo>
                    <a:lnTo>
                      <a:pt x="138" y="360"/>
                    </a:lnTo>
                    <a:lnTo>
                      <a:pt x="136" y="355"/>
                    </a:lnTo>
                    <a:lnTo>
                      <a:pt x="136" y="353"/>
                    </a:lnTo>
                    <a:lnTo>
                      <a:pt x="136" y="353"/>
                    </a:lnTo>
                    <a:lnTo>
                      <a:pt x="135" y="345"/>
                    </a:lnTo>
                    <a:lnTo>
                      <a:pt x="135" y="341"/>
                    </a:lnTo>
                    <a:lnTo>
                      <a:pt x="136" y="337"/>
                    </a:lnTo>
                    <a:lnTo>
                      <a:pt x="136" y="337"/>
                    </a:lnTo>
                    <a:lnTo>
                      <a:pt x="138" y="337"/>
                    </a:lnTo>
                    <a:lnTo>
                      <a:pt x="139" y="337"/>
                    </a:lnTo>
                    <a:lnTo>
                      <a:pt x="146" y="340"/>
                    </a:lnTo>
                    <a:lnTo>
                      <a:pt x="153" y="343"/>
                    </a:lnTo>
                    <a:lnTo>
                      <a:pt x="162" y="344"/>
                    </a:lnTo>
                    <a:lnTo>
                      <a:pt x="162" y="344"/>
                    </a:lnTo>
                    <a:lnTo>
                      <a:pt x="169" y="344"/>
                    </a:lnTo>
                    <a:lnTo>
                      <a:pt x="175" y="341"/>
                    </a:lnTo>
                    <a:lnTo>
                      <a:pt x="179" y="338"/>
                    </a:lnTo>
                    <a:lnTo>
                      <a:pt x="180" y="335"/>
                    </a:lnTo>
                    <a:lnTo>
                      <a:pt x="180" y="335"/>
                    </a:lnTo>
                    <a:lnTo>
                      <a:pt x="178" y="327"/>
                    </a:lnTo>
                    <a:lnTo>
                      <a:pt x="179" y="323"/>
                    </a:lnTo>
                    <a:lnTo>
                      <a:pt x="179" y="321"/>
                    </a:lnTo>
                    <a:lnTo>
                      <a:pt x="182" y="320"/>
                    </a:lnTo>
                    <a:lnTo>
                      <a:pt x="182" y="320"/>
                    </a:lnTo>
                    <a:lnTo>
                      <a:pt x="185" y="317"/>
                    </a:lnTo>
                    <a:lnTo>
                      <a:pt x="185" y="314"/>
                    </a:lnTo>
                    <a:lnTo>
                      <a:pt x="182" y="311"/>
                    </a:lnTo>
                    <a:lnTo>
                      <a:pt x="180" y="308"/>
                    </a:lnTo>
                    <a:lnTo>
                      <a:pt x="180" y="308"/>
                    </a:lnTo>
                    <a:lnTo>
                      <a:pt x="180" y="304"/>
                    </a:lnTo>
                    <a:lnTo>
                      <a:pt x="182" y="301"/>
                    </a:lnTo>
                    <a:lnTo>
                      <a:pt x="183" y="301"/>
                    </a:lnTo>
                    <a:lnTo>
                      <a:pt x="186" y="301"/>
                    </a:lnTo>
                    <a:lnTo>
                      <a:pt x="186" y="301"/>
                    </a:lnTo>
                    <a:lnTo>
                      <a:pt x="192" y="303"/>
                    </a:lnTo>
                    <a:lnTo>
                      <a:pt x="202" y="303"/>
                    </a:lnTo>
                    <a:lnTo>
                      <a:pt x="227" y="300"/>
                    </a:lnTo>
                    <a:lnTo>
                      <a:pt x="227" y="300"/>
                    </a:lnTo>
                    <a:lnTo>
                      <a:pt x="240" y="296"/>
                    </a:lnTo>
                    <a:lnTo>
                      <a:pt x="249" y="293"/>
                    </a:lnTo>
                    <a:lnTo>
                      <a:pt x="256" y="289"/>
                    </a:lnTo>
                    <a:lnTo>
                      <a:pt x="259" y="284"/>
                    </a:lnTo>
                    <a:lnTo>
                      <a:pt x="259" y="284"/>
                    </a:lnTo>
                    <a:lnTo>
                      <a:pt x="260" y="280"/>
                    </a:lnTo>
                    <a:lnTo>
                      <a:pt x="264" y="274"/>
                    </a:lnTo>
                    <a:lnTo>
                      <a:pt x="273" y="263"/>
                    </a:lnTo>
                    <a:lnTo>
                      <a:pt x="273" y="263"/>
                    </a:lnTo>
                    <a:lnTo>
                      <a:pt x="274" y="260"/>
                    </a:lnTo>
                    <a:lnTo>
                      <a:pt x="273" y="257"/>
                    </a:lnTo>
                    <a:lnTo>
                      <a:pt x="270" y="254"/>
                    </a:lnTo>
                    <a:lnTo>
                      <a:pt x="266" y="253"/>
                    </a:lnTo>
                    <a:lnTo>
                      <a:pt x="266" y="253"/>
                    </a:lnTo>
                    <a:lnTo>
                      <a:pt x="261" y="252"/>
                    </a:lnTo>
                    <a:lnTo>
                      <a:pt x="260" y="247"/>
                    </a:lnTo>
                    <a:lnTo>
                      <a:pt x="261" y="243"/>
                    </a:lnTo>
                    <a:lnTo>
                      <a:pt x="263" y="239"/>
                    </a:lnTo>
                    <a:lnTo>
                      <a:pt x="263" y="239"/>
                    </a:lnTo>
                    <a:lnTo>
                      <a:pt x="264" y="236"/>
                    </a:lnTo>
                    <a:lnTo>
                      <a:pt x="263" y="233"/>
                    </a:lnTo>
                    <a:lnTo>
                      <a:pt x="259" y="230"/>
                    </a:lnTo>
                    <a:lnTo>
                      <a:pt x="254" y="229"/>
                    </a:lnTo>
                    <a:lnTo>
                      <a:pt x="254" y="229"/>
                    </a:lnTo>
                    <a:lnTo>
                      <a:pt x="249" y="229"/>
                    </a:lnTo>
                    <a:lnTo>
                      <a:pt x="243" y="226"/>
                    </a:lnTo>
                    <a:lnTo>
                      <a:pt x="242" y="222"/>
                    </a:lnTo>
                    <a:lnTo>
                      <a:pt x="242" y="220"/>
                    </a:lnTo>
                    <a:lnTo>
                      <a:pt x="243" y="219"/>
                    </a:lnTo>
                    <a:lnTo>
                      <a:pt x="243" y="219"/>
                    </a:lnTo>
                    <a:lnTo>
                      <a:pt x="246" y="216"/>
                    </a:lnTo>
                    <a:lnTo>
                      <a:pt x="249" y="217"/>
                    </a:lnTo>
                    <a:lnTo>
                      <a:pt x="249" y="217"/>
                    </a:lnTo>
                    <a:lnTo>
                      <a:pt x="250" y="213"/>
                    </a:lnTo>
                    <a:lnTo>
                      <a:pt x="250" y="210"/>
                    </a:lnTo>
                    <a:lnTo>
                      <a:pt x="250" y="210"/>
                    </a:lnTo>
                    <a:lnTo>
                      <a:pt x="247" y="209"/>
                    </a:lnTo>
                    <a:lnTo>
                      <a:pt x="246" y="206"/>
                    </a:lnTo>
                    <a:lnTo>
                      <a:pt x="244" y="200"/>
                    </a:lnTo>
                    <a:lnTo>
                      <a:pt x="244" y="200"/>
                    </a:lnTo>
                    <a:lnTo>
                      <a:pt x="246" y="195"/>
                    </a:lnTo>
                    <a:lnTo>
                      <a:pt x="247" y="192"/>
                    </a:lnTo>
                    <a:lnTo>
                      <a:pt x="249" y="188"/>
                    </a:lnTo>
                    <a:lnTo>
                      <a:pt x="249" y="180"/>
                    </a:lnTo>
                    <a:lnTo>
                      <a:pt x="249" y="180"/>
                    </a:lnTo>
                    <a:lnTo>
                      <a:pt x="250" y="172"/>
                    </a:lnTo>
                    <a:lnTo>
                      <a:pt x="252" y="165"/>
                    </a:lnTo>
                    <a:lnTo>
                      <a:pt x="254" y="158"/>
                    </a:lnTo>
                    <a:lnTo>
                      <a:pt x="254" y="152"/>
                    </a:lnTo>
                    <a:lnTo>
                      <a:pt x="254" y="152"/>
                    </a:lnTo>
                    <a:lnTo>
                      <a:pt x="256" y="151"/>
                    </a:lnTo>
                    <a:lnTo>
                      <a:pt x="257" y="148"/>
                    </a:lnTo>
                    <a:lnTo>
                      <a:pt x="261" y="142"/>
                    </a:lnTo>
                    <a:lnTo>
                      <a:pt x="269" y="135"/>
                    </a:lnTo>
                    <a:lnTo>
                      <a:pt x="274" y="126"/>
                    </a:lnTo>
                    <a:lnTo>
                      <a:pt x="274" y="126"/>
                    </a:lnTo>
                    <a:lnTo>
                      <a:pt x="280" y="118"/>
                    </a:lnTo>
                    <a:lnTo>
                      <a:pt x="289" y="109"/>
                    </a:lnTo>
                    <a:lnTo>
                      <a:pt x="296" y="102"/>
                    </a:lnTo>
                    <a:lnTo>
                      <a:pt x="301" y="98"/>
                    </a:lnTo>
                    <a:lnTo>
                      <a:pt x="301" y="98"/>
                    </a:lnTo>
                    <a:lnTo>
                      <a:pt x="313" y="92"/>
                    </a:lnTo>
                    <a:lnTo>
                      <a:pt x="318" y="89"/>
                    </a:lnTo>
                    <a:lnTo>
                      <a:pt x="321" y="87"/>
                    </a:lnTo>
                    <a:lnTo>
                      <a:pt x="321" y="87"/>
                    </a:lnTo>
                    <a:lnTo>
                      <a:pt x="321" y="82"/>
                    </a:lnTo>
                    <a:lnTo>
                      <a:pt x="321" y="74"/>
                    </a:lnTo>
                    <a:lnTo>
                      <a:pt x="320" y="67"/>
                    </a:lnTo>
                    <a:lnTo>
                      <a:pt x="318" y="62"/>
                    </a:lnTo>
                    <a:lnTo>
                      <a:pt x="318" y="62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64" name="Brazil">
                <a:extLst>
                  <a:ext uri="{FF2B5EF4-FFF2-40B4-BE49-F238E27FC236}">
                    <a16:creationId xmlns:a16="http://schemas.microsoft.com/office/drawing/2014/main" id="{A9FB0E07-4441-EC86-669F-21E2FC129C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3575" y="4189877"/>
                <a:ext cx="938183" cy="963340"/>
              </a:xfrm>
              <a:custGeom>
                <a:avLst/>
                <a:gdLst/>
                <a:ahLst/>
                <a:cxnLst>
                  <a:cxn ang="0">
                    <a:pos x="358" y="604"/>
                  </a:cxn>
                  <a:cxn ang="0">
                    <a:pos x="373" y="587"/>
                  </a:cxn>
                  <a:cxn ang="0">
                    <a:pos x="389" y="576"/>
                  </a:cxn>
                  <a:cxn ang="0">
                    <a:pos x="409" y="536"/>
                  </a:cxn>
                  <a:cxn ang="0">
                    <a:pos x="423" y="496"/>
                  </a:cxn>
                  <a:cxn ang="0">
                    <a:pos x="464" y="471"/>
                  </a:cxn>
                  <a:cxn ang="0">
                    <a:pos x="517" y="461"/>
                  </a:cxn>
                  <a:cxn ang="0">
                    <a:pos x="534" y="439"/>
                  </a:cxn>
                  <a:cxn ang="0">
                    <a:pos x="548" y="407"/>
                  </a:cxn>
                  <a:cxn ang="0">
                    <a:pos x="564" y="373"/>
                  </a:cxn>
                  <a:cxn ang="0">
                    <a:pos x="565" y="307"/>
                  </a:cxn>
                  <a:cxn ang="0">
                    <a:pos x="571" y="287"/>
                  </a:cxn>
                  <a:cxn ang="0">
                    <a:pos x="601" y="256"/>
                  </a:cxn>
                  <a:cxn ang="0">
                    <a:pos x="631" y="185"/>
                  </a:cxn>
                  <a:cxn ang="0">
                    <a:pos x="575" y="145"/>
                  </a:cxn>
                  <a:cxn ang="0">
                    <a:pos x="520" y="131"/>
                  </a:cxn>
                  <a:cxn ang="0">
                    <a:pos x="474" y="134"/>
                  </a:cxn>
                  <a:cxn ang="0">
                    <a:pos x="441" y="95"/>
                  </a:cxn>
                  <a:cxn ang="0">
                    <a:pos x="410" y="107"/>
                  </a:cxn>
                  <a:cxn ang="0">
                    <a:pos x="399" y="111"/>
                  </a:cxn>
                  <a:cxn ang="0">
                    <a:pos x="380" y="84"/>
                  </a:cxn>
                  <a:cxn ang="0">
                    <a:pos x="367" y="88"/>
                  </a:cxn>
                  <a:cxn ang="0">
                    <a:pos x="387" y="54"/>
                  </a:cxn>
                  <a:cxn ang="0">
                    <a:pos x="355" y="28"/>
                  </a:cxn>
                  <a:cxn ang="0">
                    <a:pos x="316" y="47"/>
                  </a:cxn>
                  <a:cxn ang="0">
                    <a:pos x="289" y="53"/>
                  </a:cxn>
                  <a:cxn ang="0">
                    <a:pos x="262" y="57"/>
                  </a:cxn>
                  <a:cxn ang="0">
                    <a:pos x="234" y="54"/>
                  </a:cxn>
                  <a:cxn ang="0">
                    <a:pos x="229" y="13"/>
                  </a:cxn>
                  <a:cxn ang="0">
                    <a:pos x="214" y="6"/>
                  </a:cxn>
                  <a:cxn ang="0">
                    <a:pos x="181" y="23"/>
                  </a:cxn>
                  <a:cxn ang="0">
                    <a:pos x="161" y="17"/>
                  </a:cxn>
                  <a:cxn ang="0">
                    <a:pos x="157" y="34"/>
                  </a:cxn>
                  <a:cxn ang="0">
                    <a:pos x="170" y="48"/>
                  </a:cxn>
                  <a:cxn ang="0">
                    <a:pos x="147" y="64"/>
                  </a:cxn>
                  <a:cxn ang="0">
                    <a:pos x="124" y="71"/>
                  </a:cxn>
                  <a:cxn ang="0">
                    <a:pos x="76" y="55"/>
                  </a:cxn>
                  <a:cxn ang="0">
                    <a:pos x="76" y="70"/>
                  </a:cxn>
                  <a:cxn ang="0">
                    <a:pos x="72" y="101"/>
                  </a:cxn>
                  <a:cxn ang="0">
                    <a:pos x="63" y="151"/>
                  </a:cxn>
                  <a:cxn ang="0">
                    <a:pos x="25" y="162"/>
                  </a:cxn>
                  <a:cxn ang="0">
                    <a:pos x="9" y="189"/>
                  </a:cxn>
                  <a:cxn ang="0">
                    <a:pos x="6" y="216"/>
                  </a:cxn>
                  <a:cxn ang="0">
                    <a:pos x="22" y="236"/>
                  </a:cxn>
                  <a:cxn ang="0">
                    <a:pos x="47" y="240"/>
                  </a:cxn>
                  <a:cxn ang="0">
                    <a:pos x="67" y="262"/>
                  </a:cxn>
                  <a:cxn ang="0">
                    <a:pos x="106" y="253"/>
                  </a:cxn>
                  <a:cxn ang="0">
                    <a:pos x="138" y="259"/>
                  </a:cxn>
                  <a:cxn ang="0">
                    <a:pos x="170" y="289"/>
                  </a:cxn>
                  <a:cxn ang="0">
                    <a:pos x="195" y="301"/>
                  </a:cxn>
                  <a:cxn ang="0">
                    <a:pos x="218" y="317"/>
                  </a:cxn>
                  <a:cxn ang="0">
                    <a:pos x="222" y="343"/>
                  </a:cxn>
                  <a:cxn ang="0">
                    <a:pos x="255" y="363"/>
                  </a:cxn>
                  <a:cxn ang="0">
                    <a:pos x="259" y="401"/>
                  </a:cxn>
                  <a:cxn ang="0">
                    <a:pos x="261" y="430"/>
                  </a:cxn>
                  <a:cxn ang="0">
                    <a:pos x="282" y="448"/>
                  </a:cxn>
                  <a:cxn ang="0">
                    <a:pos x="301" y="479"/>
                  </a:cxn>
                  <a:cxn ang="0">
                    <a:pos x="319" y="505"/>
                  </a:cxn>
                  <a:cxn ang="0">
                    <a:pos x="306" y="542"/>
                  </a:cxn>
                  <a:cxn ang="0">
                    <a:pos x="272" y="586"/>
                  </a:cxn>
                  <a:cxn ang="0">
                    <a:pos x="294" y="600"/>
                  </a:cxn>
                  <a:cxn ang="0">
                    <a:pos x="328" y="627"/>
                  </a:cxn>
                </a:cxnLst>
                <a:rect l="0" t="0" r="r" b="b"/>
                <a:pathLst>
                  <a:path w="634" h="651">
                    <a:moveTo>
                      <a:pt x="338" y="644"/>
                    </a:moveTo>
                    <a:lnTo>
                      <a:pt x="338" y="644"/>
                    </a:lnTo>
                    <a:lnTo>
                      <a:pt x="343" y="639"/>
                    </a:lnTo>
                    <a:lnTo>
                      <a:pt x="346" y="634"/>
                    </a:lnTo>
                    <a:lnTo>
                      <a:pt x="348" y="630"/>
                    </a:lnTo>
                    <a:lnTo>
                      <a:pt x="349" y="624"/>
                    </a:lnTo>
                    <a:lnTo>
                      <a:pt x="349" y="624"/>
                    </a:lnTo>
                    <a:lnTo>
                      <a:pt x="352" y="619"/>
                    </a:lnTo>
                    <a:lnTo>
                      <a:pt x="353" y="614"/>
                    </a:lnTo>
                    <a:lnTo>
                      <a:pt x="355" y="610"/>
                    </a:lnTo>
                    <a:lnTo>
                      <a:pt x="358" y="604"/>
                    </a:lnTo>
                    <a:lnTo>
                      <a:pt x="358" y="604"/>
                    </a:lnTo>
                    <a:lnTo>
                      <a:pt x="360" y="602"/>
                    </a:lnTo>
                    <a:lnTo>
                      <a:pt x="362" y="600"/>
                    </a:lnTo>
                    <a:lnTo>
                      <a:pt x="362" y="595"/>
                    </a:lnTo>
                    <a:lnTo>
                      <a:pt x="362" y="592"/>
                    </a:lnTo>
                    <a:lnTo>
                      <a:pt x="363" y="589"/>
                    </a:lnTo>
                    <a:lnTo>
                      <a:pt x="366" y="587"/>
                    </a:lnTo>
                    <a:lnTo>
                      <a:pt x="366" y="587"/>
                    </a:lnTo>
                    <a:lnTo>
                      <a:pt x="370" y="586"/>
                    </a:lnTo>
                    <a:lnTo>
                      <a:pt x="372" y="586"/>
                    </a:lnTo>
                    <a:lnTo>
                      <a:pt x="373" y="587"/>
                    </a:lnTo>
                    <a:lnTo>
                      <a:pt x="373" y="589"/>
                    </a:lnTo>
                    <a:lnTo>
                      <a:pt x="372" y="595"/>
                    </a:lnTo>
                    <a:lnTo>
                      <a:pt x="367" y="602"/>
                    </a:lnTo>
                    <a:lnTo>
                      <a:pt x="367" y="602"/>
                    </a:lnTo>
                    <a:lnTo>
                      <a:pt x="360" y="612"/>
                    </a:lnTo>
                    <a:lnTo>
                      <a:pt x="362" y="612"/>
                    </a:lnTo>
                    <a:lnTo>
                      <a:pt x="367" y="607"/>
                    </a:lnTo>
                    <a:lnTo>
                      <a:pt x="367" y="607"/>
                    </a:lnTo>
                    <a:lnTo>
                      <a:pt x="375" y="602"/>
                    </a:lnTo>
                    <a:lnTo>
                      <a:pt x="380" y="593"/>
                    </a:lnTo>
                    <a:lnTo>
                      <a:pt x="389" y="576"/>
                    </a:lnTo>
                    <a:lnTo>
                      <a:pt x="389" y="576"/>
                    </a:lnTo>
                    <a:lnTo>
                      <a:pt x="393" y="569"/>
                    </a:lnTo>
                    <a:lnTo>
                      <a:pt x="397" y="563"/>
                    </a:lnTo>
                    <a:lnTo>
                      <a:pt x="400" y="560"/>
                    </a:lnTo>
                    <a:lnTo>
                      <a:pt x="404" y="559"/>
                    </a:lnTo>
                    <a:lnTo>
                      <a:pt x="404" y="559"/>
                    </a:lnTo>
                    <a:lnTo>
                      <a:pt x="406" y="559"/>
                    </a:lnTo>
                    <a:lnTo>
                      <a:pt x="407" y="556"/>
                    </a:lnTo>
                    <a:lnTo>
                      <a:pt x="409" y="550"/>
                    </a:lnTo>
                    <a:lnTo>
                      <a:pt x="409" y="536"/>
                    </a:lnTo>
                    <a:lnTo>
                      <a:pt x="409" y="536"/>
                    </a:lnTo>
                    <a:lnTo>
                      <a:pt x="407" y="523"/>
                    </a:lnTo>
                    <a:lnTo>
                      <a:pt x="407" y="518"/>
                    </a:lnTo>
                    <a:lnTo>
                      <a:pt x="410" y="512"/>
                    </a:lnTo>
                    <a:lnTo>
                      <a:pt x="410" y="512"/>
                    </a:lnTo>
                    <a:lnTo>
                      <a:pt x="412" y="508"/>
                    </a:lnTo>
                    <a:lnTo>
                      <a:pt x="412" y="503"/>
                    </a:lnTo>
                    <a:lnTo>
                      <a:pt x="412" y="502"/>
                    </a:lnTo>
                    <a:lnTo>
                      <a:pt x="414" y="501"/>
                    </a:lnTo>
                    <a:lnTo>
                      <a:pt x="414" y="501"/>
                    </a:lnTo>
                    <a:lnTo>
                      <a:pt x="419" y="499"/>
                    </a:lnTo>
                    <a:lnTo>
                      <a:pt x="423" y="496"/>
                    </a:lnTo>
                    <a:lnTo>
                      <a:pt x="434" y="485"/>
                    </a:lnTo>
                    <a:lnTo>
                      <a:pt x="434" y="485"/>
                    </a:lnTo>
                    <a:lnTo>
                      <a:pt x="440" y="481"/>
                    </a:lnTo>
                    <a:lnTo>
                      <a:pt x="446" y="478"/>
                    </a:lnTo>
                    <a:lnTo>
                      <a:pt x="450" y="476"/>
                    </a:lnTo>
                    <a:lnTo>
                      <a:pt x="456" y="476"/>
                    </a:lnTo>
                    <a:lnTo>
                      <a:pt x="456" y="476"/>
                    </a:lnTo>
                    <a:lnTo>
                      <a:pt x="460" y="475"/>
                    </a:lnTo>
                    <a:lnTo>
                      <a:pt x="461" y="474"/>
                    </a:lnTo>
                    <a:lnTo>
                      <a:pt x="463" y="472"/>
                    </a:lnTo>
                    <a:lnTo>
                      <a:pt x="464" y="471"/>
                    </a:lnTo>
                    <a:lnTo>
                      <a:pt x="464" y="471"/>
                    </a:lnTo>
                    <a:lnTo>
                      <a:pt x="468" y="469"/>
                    </a:lnTo>
                    <a:lnTo>
                      <a:pt x="471" y="466"/>
                    </a:lnTo>
                    <a:lnTo>
                      <a:pt x="477" y="461"/>
                    </a:lnTo>
                    <a:lnTo>
                      <a:pt x="477" y="461"/>
                    </a:lnTo>
                    <a:lnTo>
                      <a:pt x="481" y="461"/>
                    </a:lnTo>
                    <a:lnTo>
                      <a:pt x="488" y="461"/>
                    </a:lnTo>
                    <a:lnTo>
                      <a:pt x="504" y="462"/>
                    </a:lnTo>
                    <a:lnTo>
                      <a:pt x="504" y="462"/>
                    </a:lnTo>
                    <a:lnTo>
                      <a:pt x="514" y="461"/>
                    </a:lnTo>
                    <a:lnTo>
                      <a:pt x="517" y="461"/>
                    </a:lnTo>
                    <a:lnTo>
                      <a:pt x="518" y="457"/>
                    </a:lnTo>
                    <a:lnTo>
                      <a:pt x="518" y="457"/>
                    </a:lnTo>
                    <a:lnTo>
                      <a:pt x="518" y="454"/>
                    </a:lnTo>
                    <a:lnTo>
                      <a:pt x="521" y="451"/>
                    </a:lnTo>
                    <a:lnTo>
                      <a:pt x="524" y="448"/>
                    </a:lnTo>
                    <a:lnTo>
                      <a:pt x="527" y="448"/>
                    </a:lnTo>
                    <a:lnTo>
                      <a:pt x="527" y="448"/>
                    </a:lnTo>
                    <a:lnTo>
                      <a:pt x="530" y="447"/>
                    </a:lnTo>
                    <a:lnTo>
                      <a:pt x="533" y="447"/>
                    </a:lnTo>
                    <a:lnTo>
                      <a:pt x="534" y="444"/>
                    </a:lnTo>
                    <a:lnTo>
                      <a:pt x="534" y="439"/>
                    </a:lnTo>
                    <a:lnTo>
                      <a:pt x="534" y="439"/>
                    </a:lnTo>
                    <a:lnTo>
                      <a:pt x="534" y="434"/>
                    </a:lnTo>
                    <a:lnTo>
                      <a:pt x="535" y="431"/>
                    </a:lnTo>
                    <a:lnTo>
                      <a:pt x="538" y="427"/>
                    </a:lnTo>
                    <a:lnTo>
                      <a:pt x="541" y="424"/>
                    </a:lnTo>
                    <a:lnTo>
                      <a:pt x="541" y="424"/>
                    </a:lnTo>
                    <a:lnTo>
                      <a:pt x="542" y="421"/>
                    </a:lnTo>
                    <a:lnTo>
                      <a:pt x="545" y="418"/>
                    </a:lnTo>
                    <a:lnTo>
                      <a:pt x="547" y="410"/>
                    </a:lnTo>
                    <a:lnTo>
                      <a:pt x="547" y="410"/>
                    </a:lnTo>
                    <a:lnTo>
                      <a:pt x="548" y="407"/>
                    </a:lnTo>
                    <a:lnTo>
                      <a:pt x="551" y="405"/>
                    </a:lnTo>
                    <a:lnTo>
                      <a:pt x="552" y="404"/>
                    </a:lnTo>
                    <a:lnTo>
                      <a:pt x="552" y="401"/>
                    </a:lnTo>
                    <a:lnTo>
                      <a:pt x="552" y="401"/>
                    </a:lnTo>
                    <a:lnTo>
                      <a:pt x="554" y="391"/>
                    </a:lnTo>
                    <a:lnTo>
                      <a:pt x="555" y="381"/>
                    </a:lnTo>
                    <a:lnTo>
                      <a:pt x="555" y="381"/>
                    </a:lnTo>
                    <a:lnTo>
                      <a:pt x="557" y="378"/>
                    </a:lnTo>
                    <a:lnTo>
                      <a:pt x="558" y="377"/>
                    </a:lnTo>
                    <a:lnTo>
                      <a:pt x="561" y="375"/>
                    </a:lnTo>
                    <a:lnTo>
                      <a:pt x="564" y="373"/>
                    </a:lnTo>
                    <a:lnTo>
                      <a:pt x="564" y="373"/>
                    </a:lnTo>
                    <a:lnTo>
                      <a:pt x="564" y="370"/>
                    </a:lnTo>
                    <a:lnTo>
                      <a:pt x="564" y="365"/>
                    </a:lnTo>
                    <a:lnTo>
                      <a:pt x="564" y="360"/>
                    </a:lnTo>
                    <a:lnTo>
                      <a:pt x="565" y="353"/>
                    </a:lnTo>
                    <a:lnTo>
                      <a:pt x="565" y="353"/>
                    </a:lnTo>
                    <a:lnTo>
                      <a:pt x="567" y="344"/>
                    </a:lnTo>
                    <a:lnTo>
                      <a:pt x="567" y="337"/>
                    </a:lnTo>
                    <a:lnTo>
                      <a:pt x="565" y="321"/>
                    </a:lnTo>
                    <a:lnTo>
                      <a:pt x="565" y="321"/>
                    </a:lnTo>
                    <a:lnTo>
                      <a:pt x="565" y="307"/>
                    </a:lnTo>
                    <a:lnTo>
                      <a:pt x="567" y="301"/>
                    </a:lnTo>
                    <a:lnTo>
                      <a:pt x="569" y="299"/>
                    </a:lnTo>
                    <a:lnTo>
                      <a:pt x="569" y="299"/>
                    </a:lnTo>
                    <a:lnTo>
                      <a:pt x="571" y="296"/>
                    </a:lnTo>
                    <a:lnTo>
                      <a:pt x="571" y="294"/>
                    </a:lnTo>
                    <a:lnTo>
                      <a:pt x="568" y="292"/>
                    </a:lnTo>
                    <a:lnTo>
                      <a:pt x="568" y="292"/>
                    </a:lnTo>
                    <a:lnTo>
                      <a:pt x="567" y="290"/>
                    </a:lnTo>
                    <a:lnTo>
                      <a:pt x="567" y="289"/>
                    </a:lnTo>
                    <a:lnTo>
                      <a:pt x="569" y="287"/>
                    </a:lnTo>
                    <a:lnTo>
                      <a:pt x="571" y="287"/>
                    </a:lnTo>
                    <a:lnTo>
                      <a:pt x="571" y="287"/>
                    </a:lnTo>
                    <a:lnTo>
                      <a:pt x="575" y="290"/>
                    </a:lnTo>
                    <a:lnTo>
                      <a:pt x="578" y="292"/>
                    </a:lnTo>
                    <a:lnTo>
                      <a:pt x="581" y="290"/>
                    </a:lnTo>
                    <a:lnTo>
                      <a:pt x="581" y="290"/>
                    </a:lnTo>
                    <a:lnTo>
                      <a:pt x="584" y="287"/>
                    </a:lnTo>
                    <a:lnTo>
                      <a:pt x="588" y="280"/>
                    </a:lnTo>
                    <a:lnTo>
                      <a:pt x="594" y="266"/>
                    </a:lnTo>
                    <a:lnTo>
                      <a:pt x="594" y="266"/>
                    </a:lnTo>
                    <a:lnTo>
                      <a:pt x="597" y="260"/>
                    </a:lnTo>
                    <a:lnTo>
                      <a:pt x="601" y="256"/>
                    </a:lnTo>
                    <a:lnTo>
                      <a:pt x="609" y="253"/>
                    </a:lnTo>
                    <a:lnTo>
                      <a:pt x="609" y="253"/>
                    </a:lnTo>
                    <a:lnTo>
                      <a:pt x="614" y="250"/>
                    </a:lnTo>
                    <a:lnTo>
                      <a:pt x="619" y="243"/>
                    </a:lnTo>
                    <a:lnTo>
                      <a:pt x="625" y="235"/>
                    </a:lnTo>
                    <a:lnTo>
                      <a:pt x="631" y="222"/>
                    </a:lnTo>
                    <a:lnTo>
                      <a:pt x="631" y="222"/>
                    </a:lnTo>
                    <a:lnTo>
                      <a:pt x="634" y="216"/>
                    </a:lnTo>
                    <a:lnTo>
                      <a:pt x="634" y="209"/>
                    </a:lnTo>
                    <a:lnTo>
                      <a:pt x="634" y="196"/>
                    </a:lnTo>
                    <a:lnTo>
                      <a:pt x="631" y="185"/>
                    </a:lnTo>
                    <a:lnTo>
                      <a:pt x="628" y="175"/>
                    </a:lnTo>
                    <a:lnTo>
                      <a:pt x="628" y="175"/>
                    </a:lnTo>
                    <a:lnTo>
                      <a:pt x="625" y="169"/>
                    </a:lnTo>
                    <a:lnTo>
                      <a:pt x="622" y="166"/>
                    </a:lnTo>
                    <a:lnTo>
                      <a:pt x="619" y="166"/>
                    </a:lnTo>
                    <a:lnTo>
                      <a:pt x="614" y="166"/>
                    </a:lnTo>
                    <a:lnTo>
                      <a:pt x="614" y="166"/>
                    </a:lnTo>
                    <a:lnTo>
                      <a:pt x="608" y="166"/>
                    </a:lnTo>
                    <a:lnTo>
                      <a:pt x="599" y="163"/>
                    </a:lnTo>
                    <a:lnTo>
                      <a:pt x="588" y="156"/>
                    </a:lnTo>
                    <a:lnTo>
                      <a:pt x="575" y="145"/>
                    </a:lnTo>
                    <a:lnTo>
                      <a:pt x="575" y="145"/>
                    </a:lnTo>
                    <a:lnTo>
                      <a:pt x="569" y="139"/>
                    </a:lnTo>
                    <a:lnTo>
                      <a:pt x="562" y="135"/>
                    </a:lnTo>
                    <a:lnTo>
                      <a:pt x="557" y="132"/>
                    </a:lnTo>
                    <a:lnTo>
                      <a:pt x="550" y="129"/>
                    </a:lnTo>
                    <a:lnTo>
                      <a:pt x="544" y="129"/>
                    </a:lnTo>
                    <a:lnTo>
                      <a:pt x="538" y="129"/>
                    </a:lnTo>
                    <a:lnTo>
                      <a:pt x="528" y="131"/>
                    </a:lnTo>
                    <a:lnTo>
                      <a:pt x="528" y="131"/>
                    </a:lnTo>
                    <a:lnTo>
                      <a:pt x="524" y="132"/>
                    </a:lnTo>
                    <a:lnTo>
                      <a:pt x="520" y="131"/>
                    </a:lnTo>
                    <a:lnTo>
                      <a:pt x="511" y="129"/>
                    </a:lnTo>
                    <a:lnTo>
                      <a:pt x="504" y="126"/>
                    </a:lnTo>
                    <a:lnTo>
                      <a:pt x="497" y="124"/>
                    </a:lnTo>
                    <a:lnTo>
                      <a:pt x="497" y="124"/>
                    </a:lnTo>
                    <a:lnTo>
                      <a:pt x="494" y="124"/>
                    </a:lnTo>
                    <a:lnTo>
                      <a:pt x="491" y="124"/>
                    </a:lnTo>
                    <a:lnTo>
                      <a:pt x="486" y="128"/>
                    </a:lnTo>
                    <a:lnTo>
                      <a:pt x="481" y="131"/>
                    </a:lnTo>
                    <a:lnTo>
                      <a:pt x="476" y="134"/>
                    </a:lnTo>
                    <a:lnTo>
                      <a:pt x="476" y="134"/>
                    </a:lnTo>
                    <a:lnTo>
                      <a:pt x="474" y="134"/>
                    </a:lnTo>
                    <a:lnTo>
                      <a:pt x="474" y="134"/>
                    </a:lnTo>
                    <a:lnTo>
                      <a:pt x="476" y="129"/>
                    </a:lnTo>
                    <a:lnTo>
                      <a:pt x="478" y="124"/>
                    </a:lnTo>
                    <a:lnTo>
                      <a:pt x="480" y="118"/>
                    </a:lnTo>
                    <a:lnTo>
                      <a:pt x="480" y="118"/>
                    </a:lnTo>
                    <a:lnTo>
                      <a:pt x="478" y="117"/>
                    </a:lnTo>
                    <a:lnTo>
                      <a:pt x="476" y="114"/>
                    </a:lnTo>
                    <a:lnTo>
                      <a:pt x="467" y="107"/>
                    </a:lnTo>
                    <a:lnTo>
                      <a:pt x="454" y="101"/>
                    </a:lnTo>
                    <a:lnTo>
                      <a:pt x="441" y="95"/>
                    </a:lnTo>
                    <a:lnTo>
                      <a:pt x="441" y="95"/>
                    </a:lnTo>
                    <a:lnTo>
                      <a:pt x="432" y="92"/>
                    </a:lnTo>
                    <a:lnTo>
                      <a:pt x="427" y="92"/>
                    </a:lnTo>
                    <a:lnTo>
                      <a:pt x="424" y="94"/>
                    </a:lnTo>
                    <a:lnTo>
                      <a:pt x="422" y="94"/>
                    </a:lnTo>
                    <a:lnTo>
                      <a:pt x="420" y="97"/>
                    </a:lnTo>
                    <a:lnTo>
                      <a:pt x="419" y="102"/>
                    </a:lnTo>
                    <a:lnTo>
                      <a:pt x="419" y="102"/>
                    </a:lnTo>
                    <a:lnTo>
                      <a:pt x="417" y="105"/>
                    </a:lnTo>
                    <a:lnTo>
                      <a:pt x="417" y="107"/>
                    </a:lnTo>
                    <a:lnTo>
                      <a:pt x="414" y="107"/>
                    </a:lnTo>
                    <a:lnTo>
                      <a:pt x="410" y="107"/>
                    </a:lnTo>
                    <a:lnTo>
                      <a:pt x="409" y="108"/>
                    </a:lnTo>
                    <a:lnTo>
                      <a:pt x="407" y="111"/>
                    </a:lnTo>
                    <a:lnTo>
                      <a:pt x="407" y="111"/>
                    </a:lnTo>
                    <a:lnTo>
                      <a:pt x="404" y="114"/>
                    </a:lnTo>
                    <a:lnTo>
                      <a:pt x="403" y="117"/>
                    </a:lnTo>
                    <a:lnTo>
                      <a:pt x="400" y="117"/>
                    </a:lnTo>
                    <a:lnTo>
                      <a:pt x="399" y="117"/>
                    </a:lnTo>
                    <a:lnTo>
                      <a:pt x="396" y="114"/>
                    </a:lnTo>
                    <a:lnTo>
                      <a:pt x="397" y="112"/>
                    </a:lnTo>
                    <a:lnTo>
                      <a:pt x="399" y="111"/>
                    </a:lnTo>
                    <a:lnTo>
                      <a:pt x="399" y="111"/>
                    </a:lnTo>
                    <a:lnTo>
                      <a:pt x="403" y="108"/>
                    </a:lnTo>
                    <a:lnTo>
                      <a:pt x="407" y="104"/>
                    </a:lnTo>
                    <a:lnTo>
                      <a:pt x="410" y="98"/>
                    </a:lnTo>
                    <a:lnTo>
                      <a:pt x="413" y="92"/>
                    </a:lnTo>
                    <a:lnTo>
                      <a:pt x="413" y="92"/>
                    </a:lnTo>
                    <a:lnTo>
                      <a:pt x="412" y="90"/>
                    </a:lnTo>
                    <a:lnTo>
                      <a:pt x="410" y="88"/>
                    </a:lnTo>
                    <a:lnTo>
                      <a:pt x="400" y="84"/>
                    </a:lnTo>
                    <a:lnTo>
                      <a:pt x="389" y="82"/>
                    </a:lnTo>
                    <a:lnTo>
                      <a:pt x="385" y="84"/>
                    </a:lnTo>
                    <a:lnTo>
                      <a:pt x="380" y="84"/>
                    </a:lnTo>
                    <a:lnTo>
                      <a:pt x="380" y="84"/>
                    </a:lnTo>
                    <a:lnTo>
                      <a:pt x="377" y="85"/>
                    </a:lnTo>
                    <a:lnTo>
                      <a:pt x="376" y="88"/>
                    </a:lnTo>
                    <a:lnTo>
                      <a:pt x="375" y="94"/>
                    </a:lnTo>
                    <a:lnTo>
                      <a:pt x="373" y="97"/>
                    </a:lnTo>
                    <a:lnTo>
                      <a:pt x="372" y="97"/>
                    </a:lnTo>
                    <a:lnTo>
                      <a:pt x="370" y="97"/>
                    </a:lnTo>
                    <a:lnTo>
                      <a:pt x="370" y="97"/>
                    </a:lnTo>
                    <a:lnTo>
                      <a:pt x="367" y="95"/>
                    </a:lnTo>
                    <a:lnTo>
                      <a:pt x="366" y="92"/>
                    </a:lnTo>
                    <a:lnTo>
                      <a:pt x="367" y="88"/>
                    </a:lnTo>
                    <a:lnTo>
                      <a:pt x="370" y="85"/>
                    </a:lnTo>
                    <a:lnTo>
                      <a:pt x="375" y="84"/>
                    </a:lnTo>
                    <a:lnTo>
                      <a:pt x="375" y="84"/>
                    </a:lnTo>
                    <a:lnTo>
                      <a:pt x="376" y="82"/>
                    </a:lnTo>
                    <a:lnTo>
                      <a:pt x="379" y="81"/>
                    </a:lnTo>
                    <a:lnTo>
                      <a:pt x="383" y="77"/>
                    </a:lnTo>
                    <a:lnTo>
                      <a:pt x="390" y="64"/>
                    </a:lnTo>
                    <a:lnTo>
                      <a:pt x="390" y="64"/>
                    </a:lnTo>
                    <a:lnTo>
                      <a:pt x="390" y="61"/>
                    </a:lnTo>
                    <a:lnTo>
                      <a:pt x="390" y="58"/>
                    </a:lnTo>
                    <a:lnTo>
                      <a:pt x="387" y="54"/>
                    </a:lnTo>
                    <a:lnTo>
                      <a:pt x="382" y="51"/>
                    </a:lnTo>
                    <a:lnTo>
                      <a:pt x="377" y="47"/>
                    </a:lnTo>
                    <a:lnTo>
                      <a:pt x="377" y="47"/>
                    </a:lnTo>
                    <a:lnTo>
                      <a:pt x="375" y="43"/>
                    </a:lnTo>
                    <a:lnTo>
                      <a:pt x="373" y="40"/>
                    </a:lnTo>
                    <a:lnTo>
                      <a:pt x="372" y="30"/>
                    </a:lnTo>
                    <a:lnTo>
                      <a:pt x="369" y="21"/>
                    </a:lnTo>
                    <a:lnTo>
                      <a:pt x="367" y="17"/>
                    </a:lnTo>
                    <a:lnTo>
                      <a:pt x="366" y="16"/>
                    </a:lnTo>
                    <a:lnTo>
                      <a:pt x="366" y="16"/>
                    </a:lnTo>
                    <a:lnTo>
                      <a:pt x="355" y="28"/>
                    </a:lnTo>
                    <a:lnTo>
                      <a:pt x="349" y="35"/>
                    </a:lnTo>
                    <a:lnTo>
                      <a:pt x="346" y="41"/>
                    </a:lnTo>
                    <a:lnTo>
                      <a:pt x="346" y="41"/>
                    </a:lnTo>
                    <a:lnTo>
                      <a:pt x="343" y="45"/>
                    </a:lnTo>
                    <a:lnTo>
                      <a:pt x="340" y="47"/>
                    </a:lnTo>
                    <a:lnTo>
                      <a:pt x="336" y="47"/>
                    </a:lnTo>
                    <a:lnTo>
                      <a:pt x="329" y="48"/>
                    </a:lnTo>
                    <a:lnTo>
                      <a:pt x="329" y="48"/>
                    </a:lnTo>
                    <a:lnTo>
                      <a:pt x="323" y="50"/>
                    </a:lnTo>
                    <a:lnTo>
                      <a:pt x="319" y="48"/>
                    </a:lnTo>
                    <a:lnTo>
                      <a:pt x="316" y="47"/>
                    </a:lnTo>
                    <a:lnTo>
                      <a:pt x="313" y="44"/>
                    </a:lnTo>
                    <a:lnTo>
                      <a:pt x="313" y="44"/>
                    </a:lnTo>
                    <a:lnTo>
                      <a:pt x="311" y="43"/>
                    </a:lnTo>
                    <a:lnTo>
                      <a:pt x="306" y="43"/>
                    </a:lnTo>
                    <a:lnTo>
                      <a:pt x="296" y="43"/>
                    </a:lnTo>
                    <a:lnTo>
                      <a:pt x="296" y="43"/>
                    </a:lnTo>
                    <a:lnTo>
                      <a:pt x="294" y="43"/>
                    </a:lnTo>
                    <a:lnTo>
                      <a:pt x="292" y="44"/>
                    </a:lnTo>
                    <a:lnTo>
                      <a:pt x="292" y="47"/>
                    </a:lnTo>
                    <a:lnTo>
                      <a:pt x="291" y="51"/>
                    </a:lnTo>
                    <a:lnTo>
                      <a:pt x="289" y="53"/>
                    </a:lnTo>
                    <a:lnTo>
                      <a:pt x="289" y="53"/>
                    </a:lnTo>
                    <a:lnTo>
                      <a:pt x="285" y="54"/>
                    </a:lnTo>
                    <a:lnTo>
                      <a:pt x="279" y="53"/>
                    </a:lnTo>
                    <a:lnTo>
                      <a:pt x="274" y="51"/>
                    </a:lnTo>
                    <a:lnTo>
                      <a:pt x="272" y="51"/>
                    </a:lnTo>
                    <a:lnTo>
                      <a:pt x="269" y="53"/>
                    </a:lnTo>
                    <a:lnTo>
                      <a:pt x="269" y="53"/>
                    </a:lnTo>
                    <a:lnTo>
                      <a:pt x="268" y="54"/>
                    </a:lnTo>
                    <a:lnTo>
                      <a:pt x="265" y="55"/>
                    </a:lnTo>
                    <a:lnTo>
                      <a:pt x="264" y="55"/>
                    </a:lnTo>
                    <a:lnTo>
                      <a:pt x="262" y="57"/>
                    </a:lnTo>
                    <a:lnTo>
                      <a:pt x="262" y="57"/>
                    </a:lnTo>
                    <a:lnTo>
                      <a:pt x="259" y="58"/>
                    </a:lnTo>
                    <a:lnTo>
                      <a:pt x="257" y="60"/>
                    </a:lnTo>
                    <a:lnTo>
                      <a:pt x="254" y="60"/>
                    </a:lnTo>
                    <a:lnTo>
                      <a:pt x="251" y="61"/>
                    </a:lnTo>
                    <a:lnTo>
                      <a:pt x="251" y="61"/>
                    </a:lnTo>
                    <a:lnTo>
                      <a:pt x="249" y="62"/>
                    </a:lnTo>
                    <a:lnTo>
                      <a:pt x="245" y="62"/>
                    </a:lnTo>
                    <a:lnTo>
                      <a:pt x="239" y="60"/>
                    </a:lnTo>
                    <a:lnTo>
                      <a:pt x="234" y="54"/>
                    </a:lnTo>
                    <a:lnTo>
                      <a:pt x="234" y="54"/>
                    </a:lnTo>
                    <a:lnTo>
                      <a:pt x="231" y="51"/>
                    </a:lnTo>
                    <a:lnTo>
                      <a:pt x="229" y="47"/>
                    </a:lnTo>
                    <a:lnTo>
                      <a:pt x="228" y="38"/>
                    </a:lnTo>
                    <a:lnTo>
                      <a:pt x="228" y="31"/>
                    </a:lnTo>
                    <a:lnTo>
                      <a:pt x="231" y="25"/>
                    </a:lnTo>
                    <a:lnTo>
                      <a:pt x="231" y="25"/>
                    </a:lnTo>
                    <a:lnTo>
                      <a:pt x="232" y="23"/>
                    </a:lnTo>
                    <a:lnTo>
                      <a:pt x="234" y="20"/>
                    </a:lnTo>
                    <a:lnTo>
                      <a:pt x="232" y="16"/>
                    </a:lnTo>
                    <a:lnTo>
                      <a:pt x="229" y="13"/>
                    </a:lnTo>
                    <a:lnTo>
                      <a:pt x="229" y="13"/>
                    </a:lnTo>
                    <a:lnTo>
                      <a:pt x="228" y="11"/>
                    </a:lnTo>
                    <a:lnTo>
                      <a:pt x="227" y="10"/>
                    </a:lnTo>
                    <a:lnTo>
                      <a:pt x="227" y="6"/>
                    </a:lnTo>
                    <a:lnTo>
                      <a:pt x="225" y="1"/>
                    </a:lnTo>
                    <a:lnTo>
                      <a:pt x="224" y="0"/>
                    </a:lnTo>
                    <a:lnTo>
                      <a:pt x="222" y="0"/>
                    </a:lnTo>
                    <a:lnTo>
                      <a:pt x="222" y="0"/>
                    </a:lnTo>
                    <a:lnTo>
                      <a:pt x="220" y="0"/>
                    </a:lnTo>
                    <a:lnTo>
                      <a:pt x="218" y="0"/>
                    </a:lnTo>
                    <a:lnTo>
                      <a:pt x="217" y="3"/>
                    </a:lnTo>
                    <a:lnTo>
                      <a:pt x="214" y="6"/>
                    </a:lnTo>
                    <a:lnTo>
                      <a:pt x="212" y="8"/>
                    </a:lnTo>
                    <a:lnTo>
                      <a:pt x="212" y="8"/>
                    </a:lnTo>
                    <a:lnTo>
                      <a:pt x="202" y="13"/>
                    </a:lnTo>
                    <a:lnTo>
                      <a:pt x="197" y="16"/>
                    </a:lnTo>
                    <a:lnTo>
                      <a:pt x="193" y="16"/>
                    </a:lnTo>
                    <a:lnTo>
                      <a:pt x="193" y="16"/>
                    </a:lnTo>
                    <a:lnTo>
                      <a:pt x="188" y="16"/>
                    </a:lnTo>
                    <a:lnTo>
                      <a:pt x="185" y="17"/>
                    </a:lnTo>
                    <a:lnTo>
                      <a:pt x="183" y="18"/>
                    </a:lnTo>
                    <a:lnTo>
                      <a:pt x="181" y="23"/>
                    </a:lnTo>
                    <a:lnTo>
                      <a:pt x="181" y="23"/>
                    </a:lnTo>
                    <a:lnTo>
                      <a:pt x="181" y="25"/>
                    </a:lnTo>
                    <a:lnTo>
                      <a:pt x="178" y="25"/>
                    </a:lnTo>
                    <a:lnTo>
                      <a:pt x="177" y="24"/>
                    </a:lnTo>
                    <a:lnTo>
                      <a:pt x="175" y="21"/>
                    </a:lnTo>
                    <a:lnTo>
                      <a:pt x="175" y="21"/>
                    </a:lnTo>
                    <a:lnTo>
                      <a:pt x="174" y="21"/>
                    </a:lnTo>
                    <a:lnTo>
                      <a:pt x="173" y="20"/>
                    </a:lnTo>
                    <a:lnTo>
                      <a:pt x="168" y="18"/>
                    </a:lnTo>
                    <a:lnTo>
                      <a:pt x="164" y="18"/>
                    </a:lnTo>
                    <a:lnTo>
                      <a:pt x="161" y="17"/>
                    </a:lnTo>
                    <a:lnTo>
                      <a:pt x="161" y="17"/>
                    </a:lnTo>
                    <a:lnTo>
                      <a:pt x="157" y="16"/>
                    </a:lnTo>
                    <a:lnTo>
                      <a:pt x="153" y="16"/>
                    </a:lnTo>
                    <a:lnTo>
                      <a:pt x="150" y="17"/>
                    </a:lnTo>
                    <a:lnTo>
                      <a:pt x="150" y="18"/>
                    </a:lnTo>
                    <a:lnTo>
                      <a:pt x="150" y="18"/>
                    </a:lnTo>
                    <a:lnTo>
                      <a:pt x="150" y="18"/>
                    </a:lnTo>
                    <a:lnTo>
                      <a:pt x="154" y="21"/>
                    </a:lnTo>
                    <a:lnTo>
                      <a:pt x="156" y="24"/>
                    </a:lnTo>
                    <a:lnTo>
                      <a:pt x="157" y="31"/>
                    </a:lnTo>
                    <a:lnTo>
                      <a:pt x="157" y="31"/>
                    </a:lnTo>
                    <a:lnTo>
                      <a:pt x="157" y="34"/>
                    </a:lnTo>
                    <a:lnTo>
                      <a:pt x="158" y="35"/>
                    </a:lnTo>
                    <a:lnTo>
                      <a:pt x="160" y="38"/>
                    </a:lnTo>
                    <a:lnTo>
                      <a:pt x="161" y="41"/>
                    </a:lnTo>
                    <a:lnTo>
                      <a:pt x="161" y="41"/>
                    </a:lnTo>
                    <a:lnTo>
                      <a:pt x="161" y="44"/>
                    </a:lnTo>
                    <a:lnTo>
                      <a:pt x="164" y="44"/>
                    </a:lnTo>
                    <a:lnTo>
                      <a:pt x="170" y="43"/>
                    </a:lnTo>
                    <a:lnTo>
                      <a:pt x="170" y="43"/>
                    </a:lnTo>
                    <a:lnTo>
                      <a:pt x="171" y="44"/>
                    </a:lnTo>
                    <a:lnTo>
                      <a:pt x="171" y="45"/>
                    </a:lnTo>
                    <a:lnTo>
                      <a:pt x="170" y="48"/>
                    </a:lnTo>
                    <a:lnTo>
                      <a:pt x="167" y="50"/>
                    </a:lnTo>
                    <a:lnTo>
                      <a:pt x="167" y="50"/>
                    </a:lnTo>
                    <a:lnTo>
                      <a:pt x="164" y="51"/>
                    </a:lnTo>
                    <a:lnTo>
                      <a:pt x="161" y="53"/>
                    </a:lnTo>
                    <a:lnTo>
                      <a:pt x="160" y="55"/>
                    </a:lnTo>
                    <a:lnTo>
                      <a:pt x="158" y="58"/>
                    </a:lnTo>
                    <a:lnTo>
                      <a:pt x="158" y="58"/>
                    </a:lnTo>
                    <a:lnTo>
                      <a:pt x="157" y="61"/>
                    </a:lnTo>
                    <a:lnTo>
                      <a:pt x="154" y="61"/>
                    </a:lnTo>
                    <a:lnTo>
                      <a:pt x="151" y="62"/>
                    </a:lnTo>
                    <a:lnTo>
                      <a:pt x="147" y="64"/>
                    </a:lnTo>
                    <a:lnTo>
                      <a:pt x="147" y="64"/>
                    </a:lnTo>
                    <a:lnTo>
                      <a:pt x="141" y="68"/>
                    </a:lnTo>
                    <a:lnTo>
                      <a:pt x="138" y="70"/>
                    </a:lnTo>
                    <a:lnTo>
                      <a:pt x="137" y="70"/>
                    </a:lnTo>
                    <a:lnTo>
                      <a:pt x="137" y="70"/>
                    </a:lnTo>
                    <a:lnTo>
                      <a:pt x="134" y="68"/>
                    </a:lnTo>
                    <a:lnTo>
                      <a:pt x="133" y="68"/>
                    </a:lnTo>
                    <a:lnTo>
                      <a:pt x="128" y="71"/>
                    </a:lnTo>
                    <a:lnTo>
                      <a:pt x="128" y="71"/>
                    </a:lnTo>
                    <a:lnTo>
                      <a:pt x="126" y="71"/>
                    </a:lnTo>
                    <a:lnTo>
                      <a:pt x="124" y="71"/>
                    </a:lnTo>
                    <a:lnTo>
                      <a:pt x="119" y="67"/>
                    </a:lnTo>
                    <a:lnTo>
                      <a:pt x="119" y="67"/>
                    </a:lnTo>
                    <a:lnTo>
                      <a:pt x="116" y="64"/>
                    </a:lnTo>
                    <a:lnTo>
                      <a:pt x="113" y="60"/>
                    </a:lnTo>
                    <a:lnTo>
                      <a:pt x="110" y="55"/>
                    </a:lnTo>
                    <a:lnTo>
                      <a:pt x="106" y="51"/>
                    </a:lnTo>
                    <a:lnTo>
                      <a:pt x="106" y="51"/>
                    </a:lnTo>
                    <a:lnTo>
                      <a:pt x="99" y="54"/>
                    </a:lnTo>
                    <a:lnTo>
                      <a:pt x="90" y="55"/>
                    </a:lnTo>
                    <a:lnTo>
                      <a:pt x="90" y="55"/>
                    </a:lnTo>
                    <a:lnTo>
                      <a:pt x="76" y="55"/>
                    </a:lnTo>
                    <a:lnTo>
                      <a:pt x="69" y="55"/>
                    </a:lnTo>
                    <a:lnTo>
                      <a:pt x="67" y="57"/>
                    </a:lnTo>
                    <a:lnTo>
                      <a:pt x="66" y="57"/>
                    </a:lnTo>
                    <a:lnTo>
                      <a:pt x="66" y="57"/>
                    </a:lnTo>
                    <a:lnTo>
                      <a:pt x="66" y="60"/>
                    </a:lnTo>
                    <a:lnTo>
                      <a:pt x="67" y="62"/>
                    </a:lnTo>
                    <a:lnTo>
                      <a:pt x="69" y="65"/>
                    </a:lnTo>
                    <a:lnTo>
                      <a:pt x="70" y="67"/>
                    </a:lnTo>
                    <a:lnTo>
                      <a:pt x="70" y="67"/>
                    </a:lnTo>
                    <a:lnTo>
                      <a:pt x="74" y="68"/>
                    </a:lnTo>
                    <a:lnTo>
                      <a:pt x="76" y="70"/>
                    </a:lnTo>
                    <a:lnTo>
                      <a:pt x="73" y="72"/>
                    </a:lnTo>
                    <a:lnTo>
                      <a:pt x="73" y="72"/>
                    </a:lnTo>
                    <a:lnTo>
                      <a:pt x="69" y="74"/>
                    </a:lnTo>
                    <a:lnTo>
                      <a:pt x="66" y="75"/>
                    </a:lnTo>
                    <a:lnTo>
                      <a:pt x="63" y="77"/>
                    </a:lnTo>
                    <a:lnTo>
                      <a:pt x="63" y="81"/>
                    </a:lnTo>
                    <a:lnTo>
                      <a:pt x="63" y="81"/>
                    </a:lnTo>
                    <a:lnTo>
                      <a:pt x="63" y="85"/>
                    </a:lnTo>
                    <a:lnTo>
                      <a:pt x="64" y="88"/>
                    </a:lnTo>
                    <a:lnTo>
                      <a:pt x="69" y="95"/>
                    </a:lnTo>
                    <a:lnTo>
                      <a:pt x="72" y="101"/>
                    </a:lnTo>
                    <a:lnTo>
                      <a:pt x="73" y="104"/>
                    </a:lnTo>
                    <a:lnTo>
                      <a:pt x="73" y="108"/>
                    </a:lnTo>
                    <a:lnTo>
                      <a:pt x="73" y="108"/>
                    </a:lnTo>
                    <a:lnTo>
                      <a:pt x="70" y="118"/>
                    </a:lnTo>
                    <a:lnTo>
                      <a:pt x="70" y="129"/>
                    </a:lnTo>
                    <a:lnTo>
                      <a:pt x="70" y="129"/>
                    </a:lnTo>
                    <a:lnTo>
                      <a:pt x="67" y="142"/>
                    </a:lnTo>
                    <a:lnTo>
                      <a:pt x="66" y="148"/>
                    </a:lnTo>
                    <a:lnTo>
                      <a:pt x="64" y="151"/>
                    </a:lnTo>
                    <a:lnTo>
                      <a:pt x="63" y="151"/>
                    </a:lnTo>
                    <a:lnTo>
                      <a:pt x="63" y="151"/>
                    </a:lnTo>
                    <a:lnTo>
                      <a:pt x="60" y="151"/>
                    </a:lnTo>
                    <a:lnTo>
                      <a:pt x="57" y="151"/>
                    </a:lnTo>
                    <a:lnTo>
                      <a:pt x="53" y="151"/>
                    </a:lnTo>
                    <a:lnTo>
                      <a:pt x="50" y="152"/>
                    </a:lnTo>
                    <a:lnTo>
                      <a:pt x="50" y="152"/>
                    </a:lnTo>
                    <a:lnTo>
                      <a:pt x="45" y="155"/>
                    </a:lnTo>
                    <a:lnTo>
                      <a:pt x="40" y="155"/>
                    </a:lnTo>
                    <a:lnTo>
                      <a:pt x="35" y="156"/>
                    </a:lnTo>
                    <a:lnTo>
                      <a:pt x="30" y="159"/>
                    </a:lnTo>
                    <a:lnTo>
                      <a:pt x="30" y="159"/>
                    </a:lnTo>
                    <a:lnTo>
                      <a:pt x="25" y="162"/>
                    </a:lnTo>
                    <a:lnTo>
                      <a:pt x="20" y="163"/>
                    </a:lnTo>
                    <a:lnTo>
                      <a:pt x="18" y="165"/>
                    </a:lnTo>
                    <a:lnTo>
                      <a:pt x="16" y="169"/>
                    </a:lnTo>
                    <a:lnTo>
                      <a:pt x="16" y="169"/>
                    </a:lnTo>
                    <a:lnTo>
                      <a:pt x="15" y="173"/>
                    </a:lnTo>
                    <a:lnTo>
                      <a:pt x="13" y="176"/>
                    </a:lnTo>
                    <a:lnTo>
                      <a:pt x="10" y="181"/>
                    </a:lnTo>
                    <a:lnTo>
                      <a:pt x="10" y="183"/>
                    </a:lnTo>
                    <a:lnTo>
                      <a:pt x="10" y="183"/>
                    </a:lnTo>
                    <a:lnTo>
                      <a:pt x="10" y="186"/>
                    </a:lnTo>
                    <a:lnTo>
                      <a:pt x="9" y="189"/>
                    </a:lnTo>
                    <a:lnTo>
                      <a:pt x="6" y="191"/>
                    </a:lnTo>
                    <a:lnTo>
                      <a:pt x="3" y="192"/>
                    </a:lnTo>
                    <a:lnTo>
                      <a:pt x="3" y="192"/>
                    </a:lnTo>
                    <a:lnTo>
                      <a:pt x="2" y="195"/>
                    </a:lnTo>
                    <a:lnTo>
                      <a:pt x="2" y="198"/>
                    </a:lnTo>
                    <a:lnTo>
                      <a:pt x="2" y="200"/>
                    </a:lnTo>
                    <a:lnTo>
                      <a:pt x="2" y="203"/>
                    </a:lnTo>
                    <a:lnTo>
                      <a:pt x="2" y="203"/>
                    </a:lnTo>
                    <a:lnTo>
                      <a:pt x="0" y="206"/>
                    </a:lnTo>
                    <a:lnTo>
                      <a:pt x="0" y="209"/>
                    </a:lnTo>
                    <a:lnTo>
                      <a:pt x="6" y="216"/>
                    </a:lnTo>
                    <a:lnTo>
                      <a:pt x="6" y="216"/>
                    </a:lnTo>
                    <a:lnTo>
                      <a:pt x="10" y="223"/>
                    </a:lnTo>
                    <a:lnTo>
                      <a:pt x="12" y="227"/>
                    </a:lnTo>
                    <a:lnTo>
                      <a:pt x="12" y="230"/>
                    </a:lnTo>
                    <a:lnTo>
                      <a:pt x="12" y="230"/>
                    </a:lnTo>
                    <a:lnTo>
                      <a:pt x="12" y="233"/>
                    </a:lnTo>
                    <a:lnTo>
                      <a:pt x="15" y="235"/>
                    </a:lnTo>
                    <a:lnTo>
                      <a:pt x="18" y="236"/>
                    </a:lnTo>
                    <a:lnTo>
                      <a:pt x="20" y="236"/>
                    </a:lnTo>
                    <a:lnTo>
                      <a:pt x="20" y="236"/>
                    </a:lnTo>
                    <a:lnTo>
                      <a:pt x="22" y="236"/>
                    </a:lnTo>
                    <a:lnTo>
                      <a:pt x="22" y="237"/>
                    </a:lnTo>
                    <a:lnTo>
                      <a:pt x="23" y="240"/>
                    </a:lnTo>
                    <a:lnTo>
                      <a:pt x="25" y="245"/>
                    </a:lnTo>
                    <a:lnTo>
                      <a:pt x="26" y="245"/>
                    </a:lnTo>
                    <a:lnTo>
                      <a:pt x="29" y="246"/>
                    </a:lnTo>
                    <a:lnTo>
                      <a:pt x="29" y="246"/>
                    </a:lnTo>
                    <a:lnTo>
                      <a:pt x="39" y="246"/>
                    </a:lnTo>
                    <a:lnTo>
                      <a:pt x="43" y="245"/>
                    </a:lnTo>
                    <a:lnTo>
                      <a:pt x="46" y="243"/>
                    </a:lnTo>
                    <a:lnTo>
                      <a:pt x="46" y="243"/>
                    </a:lnTo>
                    <a:lnTo>
                      <a:pt x="47" y="240"/>
                    </a:lnTo>
                    <a:lnTo>
                      <a:pt x="50" y="239"/>
                    </a:lnTo>
                    <a:lnTo>
                      <a:pt x="52" y="239"/>
                    </a:lnTo>
                    <a:lnTo>
                      <a:pt x="53" y="242"/>
                    </a:lnTo>
                    <a:lnTo>
                      <a:pt x="53" y="242"/>
                    </a:lnTo>
                    <a:lnTo>
                      <a:pt x="53" y="255"/>
                    </a:lnTo>
                    <a:lnTo>
                      <a:pt x="55" y="260"/>
                    </a:lnTo>
                    <a:lnTo>
                      <a:pt x="55" y="263"/>
                    </a:lnTo>
                    <a:lnTo>
                      <a:pt x="57" y="263"/>
                    </a:lnTo>
                    <a:lnTo>
                      <a:pt x="57" y="263"/>
                    </a:lnTo>
                    <a:lnTo>
                      <a:pt x="62" y="262"/>
                    </a:lnTo>
                    <a:lnTo>
                      <a:pt x="67" y="262"/>
                    </a:lnTo>
                    <a:lnTo>
                      <a:pt x="77" y="263"/>
                    </a:lnTo>
                    <a:lnTo>
                      <a:pt x="77" y="263"/>
                    </a:lnTo>
                    <a:lnTo>
                      <a:pt x="82" y="263"/>
                    </a:lnTo>
                    <a:lnTo>
                      <a:pt x="86" y="263"/>
                    </a:lnTo>
                    <a:lnTo>
                      <a:pt x="89" y="262"/>
                    </a:lnTo>
                    <a:lnTo>
                      <a:pt x="92" y="260"/>
                    </a:lnTo>
                    <a:lnTo>
                      <a:pt x="92" y="260"/>
                    </a:lnTo>
                    <a:lnTo>
                      <a:pt x="94" y="257"/>
                    </a:lnTo>
                    <a:lnTo>
                      <a:pt x="97" y="256"/>
                    </a:lnTo>
                    <a:lnTo>
                      <a:pt x="106" y="253"/>
                    </a:lnTo>
                    <a:lnTo>
                      <a:pt x="106" y="253"/>
                    </a:lnTo>
                    <a:lnTo>
                      <a:pt x="114" y="247"/>
                    </a:lnTo>
                    <a:lnTo>
                      <a:pt x="120" y="245"/>
                    </a:lnTo>
                    <a:lnTo>
                      <a:pt x="124" y="245"/>
                    </a:lnTo>
                    <a:lnTo>
                      <a:pt x="124" y="245"/>
                    </a:lnTo>
                    <a:lnTo>
                      <a:pt x="134" y="243"/>
                    </a:lnTo>
                    <a:lnTo>
                      <a:pt x="138" y="243"/>
                    </a:lnTo>
                    <a:lnTo>
                      <a:pt x="140" y="243"/>
                    </a:lnTo>
                    <a:lnTo>
                      <a:pt x="140" y="245"/>
                    </a:lnTo>
                    <a:lnTo>
                      <a:pt x="140" y="245"/>
                    </a:lnTo>
                    <a:lnTo>
                      <a:pt x="138" y="250"/>
                    </a:lnTo>
                    <a:lnTo>
                      <a:pt x="138" y="259"/>
                    </a:lnTo>
                    <a:lnTo>
                      <a:pt x="140" y="269"/>
                    </a:lnTo>
                    <a:lnTo>
                      <a:pt x="141" y="273"/>
                    </a:lnTo>
                    <a:lnTo>
                      <a:pt x="144" y="276"/>
                    </a:lnTo>
                    <a:lnTo>
                      <a:pt x="144" y="276"/>
                    </a:lnTo>
                    <a:lnTo>
                      <a:pt x="150" y="282"/>
                    </a:lnTo>
                    <a:lnTo>
                      <a:pt x="154" y="286"/>
                    </a:lnTo>
                    <a:lnTo>
                      <a:pt x="158" y="287"/>
                    </a:lnTo>
                    <a:lnTo>
                      <a:pt x="164" y="287"/>
                    </a:lnTo>
                    <a:lnTo>
                      <a:pt x="164" y="287"/>
                    </a:lnTo>
                    <a:lnTo>
                      <a:pt x="167" y="287"/>
                    </a:lnTo>
                    <a:lnTo>
                      <a:pt x="170" y="289"/>
                    </a:lnTo>
                    <a:lnTo>
                      <a:pt x="171" y="290"/>
                    </a:lnTo>
                    <a:lnTo>
                      <a:pt x="175" y="290"/>
                    </a:lnTo>
                    <a:lnTo>
                      <a:pt x="175" y="290"/>
                    </a:lnTo>
                    <a:lnTo>
                      <a:pt x="177" y="290"/>
                    </a:lnTo>
                    <a:lnTo>
                      <a:pt x="178" y="293"/>
                    </a:lnTo>
                    <a:lnTo>
                      <a:pt x="180" y="294"/>
                    </a:lnTo>
                    <a:lnTo>
                      <a:pt x="181" y="296"/>
                    </a:lnTo>
                    <a:lnTo>
                      <a:pt x="181" y="296"/>
                    </a:lnTo>
                    <a:lnTo>
                      <a:pt x="190" y="297"/>
                    </a:lnTo>
                    <a:lnTo>
                      <a:pt x="194" y="299"/>
                    </a:lnTo>
                    <a:lnTo>
                      <a:pt x="195" y="301"/>
                    </a:lnTo>
                    <a:lnTo>
                      <a:pt x="195" y="301"/>
                    </a:lnTo>
                    <a:lnTo>
                      <a:pt x="195" y="303"/>
                    </a:lnTo>
                    <a:lnTo>
                      <a:pt x="197" y="304"/>
                    </a:lnTo>
                    <a:lnTo>
                      <a:pt x="202" y="304"/>
                    </a:lnTo>
                    <a:lnTo>
                      <a:pt x="208" y="304"/>
                    </a:lnTo>
                    <a:lnTo>
                      <a:pt x="212" y="306"/>
                    </a:lnTo>
                    <a:lnTo>
                      <a:pt x="212" y="306"/>
                    </a:lnTo>
                    <a:lnTo>
                      <a:pt x="217" y="310"/>
                    </a:lnTo>
                    <a:lnTo>
                      <a:pt x="218" y="313"/>
                    </a:lnTo>
                    <a:lnTo>
                      <a:pt x="218" y="317"/>
                    </a:lnTo>
                    <a:lnTo>
                      <a:pt x="218" y="317"/>
                    </a:lnTo>
                    <a:lnTo>
                      <a:pt x="220" y="320"/>
                    </a:lnTo>
                    <a:lnTo>
                      <a:pt x="221" y="324"/>
                    </a:lnTo>
                    <a:lnTo>
                      <a:pt x="222" y="327"/>
                    </a:lnTo>
                    <a:lnTo>
                      <a:pt x="222" y="328"/>
                    </a:lnTo>
                    <a:lnTo>
                      <a:pt x="221" y="328"/>
                    </a:lnTo>
                    <a:lnTo>
                      <a:pt x="221" y="328"/>
                    </a:lnTo>
                    <a:lnTo>
                      <a:pt x="220" y="331"/>
                    </a:lnTo>
                    <a:lnTo>
                      <a:pt x="220" y="334"/>
                    </a:lnTo>
                    <a:lnTo>
                      <a:pt x="221" y="338"/>
                    </a:lnTo>
                    <a:lnTo>
                      <a:pt x="222" y="343"/>
                    </a:lnTo>
                    <a:lnTo>
                      <a:pt x="222" y="343"/>
                    </a:lnTo>
                    <a:lnTo>
                      <a:pt x="224" y="346"/>
                    </a:lnTo>
                    <a:lnTo>
                      <a:pt x="228" y="348"/>
                    </a:lnTo>
                    <a:lnTo>
                      <a:pt x="234" y="350"/>
                    </a:lnTo>
                    <a:lnTo>
                      <a:pt x="241" y="350"/>
                    </a:lnTo>
                    <a:lnTo>
                      <a:pt x="241" y="350"/>
                    </a:lnTo>
                    <a:lnTo>
                      <a:pt x="247" y="350"/>
                    </a:lnTo>
                    <a:lnTo>
                      <a:pt x="251" y="351"/>
                    </a:lnTo>
                    <a:lnTo>
                      <a:pt x="252" y="354"/>
                    </a:lnTo>
                    <a:lnTo>
                      <a:pt x="254" y="358"/>
                    </a:lnTo>
                    <a:lnTo>
                      <a:pt x="254" y="358"/>
                    </a:lnTo>
                    <a:lnTo>
                      <a:pt x="255" y="363"/>
                    </a:lnTo>
                    <a:lnTo>
                      <a:pt x="258" y="367"/>
                    </a:lnTo>
                    <a:lnTo>
                      <a:pt x="261" y="370"/>
                    </a:lnTo>
                    <a:lnTo>
                      <a:pt x="264" y="374"/>
                    </a:lnTo>
                    <a:lnTo>
                      <a:pt x="264" y="374"/>
                    </a:lnTo>
                    <a:lnTo>
                      <a:pt x="264" y="380"/>
                    </a:lnTo>
                    <a:lnTo>
                      <a:pt x="262" y="385"/>
                    </a:lnTo>
                    <a:lnTo>
                      <a:pt x="261" y="390"/>
                    </a:lnTo>
                    <a:lnTo>
                      <a:pt x="261" y="395"/>
                    </a:lnTo>
                    <a:lnTo>
                      <a:pt x="261" y="395"/>
                    </a:lnTo>
                    <a:lnTo>
                      <a:pt x="261" y="398"/>
                    </a:lnTo>
                    <a:lnTo>
                      <a:pt x="259" y="401"/>
                    </a:lnTo>
                    <a:lnTo>
                      <a:pt x="257" y="405"/>
                    </a:lnTo>
                    <a:lnTo>
                      <a:pt x="257" y="405"/>
                    </a:lnTo>
                    <a:lnTo>
                      <a:pt x="259" y="411"/>
                    </a:lnTo>
                    <a:lnTo>
                      <a:pt x="258" y="412"/>
                    </a:lnTo>
                    <a:lnTo>
                      <a:pt x="257" y="414"/>
                    </a:lnTo>
                    <a:lnTo>
                      <a:pt x="257" y="414"/>
                    </a:lnTo>
                    <a:lnTo>
                      <a:pt x="257" y="415"/>
                    </a:lnTo>
                    <a:lnTo>
                      <a:pt x="257" y="417"/>
                    </a:lnTo>
                    <a:lnTo>
                      <a:pt x="258" y="421"/>
                    </a:lnTo>
                    <a:lnTo>
                      <a:pt x="259" y="427"/>
                    </a:lnTo>
                    <a:lnTo>
                      <a:pt x="261" y="430"/>
                    </a:lnTo>
                    <a:lnTo>
                      <a:pt x="259" y="434"/>
                    </a:lnTo>
                    <a:lnTo>
                      <a:pt x="259" y="434"/>
                    </a:lnTo>
                    <a:lnTo>
                      <a:pt x="258" y="441"/>
                    </a:lnTo>
                    <a:lnTo>
                      <a:pt x="259" y="444"/>
                    </a:lnTo>
                    <a:lnTo>
                      <a:pt x="262" y="447"/>
                    </a:lnTo>
                    <a:lnTo>
                      <a:pt x="268" y="447"/>
                    </a:lnTo>
                    <a:lnTo>
                      <a:pt x="268" y="447"/>
                    </a:lnTo>
                    <a:lnTo>
                      <a:pt x="274" y="448"/>
                    </a:lnTo>
                    <a:lnTo>
                      <a:pt x="278" y="449"/>
                    </a:lnTo>
                    <a:lnTo>
                      <a:pt x="279" y="449"/>
                    </a:lnTo>
                    <a:lnTo>
                      <a:pt x="282" y="448"/>
                    </a:lnTo>
                    <a:lnTo>
                      <a:pt x="282" y="448"/>
                    </a:lnTo>
                    <a:lnTo>
                      <a:pt x="284" y="448"/>
                    </a:lnTo>
                    <a:lnTo>
                      <a:pt x="285" y="449"/>
                    </a:lnTo>
                    <a:lnTo>
                      <a:pt x="288" y="452"/>
                    </a:lnTo>
                    <a:lnTo>
                      <a:pt x="291" y="457"/>
                    </a:lnTo>
                    <a:lnTo>
                      <a:pt x="294" y="462"/>
                    </a:lnTo>
                    <a:lnTo>
                      <a:pt x="294" y="462"/>
                    </a:lnTo>
                    <a:lnTo>
                      <a:pt x="296" y="472"/>
                    </a:lnTo>
                    <a:lnTo>
                      <a:pt x="299" y="478"/>
                    </a:lnTo>
                    <a:lnTo>
                      <a:pt x="301" y="479"/>
                    </a:lnTo>
                    <a:lnTo>
                      <a:pt x="301" y="479"/>
                    </a:lnTo>
                    <a:lnTo>
                      <a:pt x="306" y="478"/>
                    </a:lnTo>
                    <a:lnTo>
                      <a:pt x="311" y="476"/>
                    </a:lnTo>
                    <a:lnTo>
                      <a:pt x="315" y="476"/>
                    </a:lnTo>
                    <a:lnTo>
                      <a:pt x="315" y="476"/>
                    </a:lnTo>
                    <a:lnTo>
                      <a:pt x="316" y="478"/>
                    </a:lnTo>
                    <a:lnTo>
                      <a:pt x="316" y="481"/>
                    </a:lnTo>
                    <a:lnTo>
                      <a:pt x="315" y="489"/>
                    </a:lnTo>
                    <a:lnTo>
                      <a:pt x="313" y="498"/>
                    </a:lnTo>
                    <a:lnTo>
                      <a:pt x="312" y="505"/>
                    </a:lnTo>
                    <a:lnTo>
                      <a:pt x="312" y="505"/>
                    </a:lnTo>
                    <a:lnTo>
                      <a:pt x="319" y="505"/>
                    </a:lnTo>
                    <a:lnTo>
                      <a:pt x="323" y="506"/>
                    </a:lnTo>
                    <a:lnTo>
                      <a:pt x="323" y="506"/>
                    </a:lnTo>
                    <a:lnTo>
                      <a:pt x="325" y="511"/>
                    </a:lnTo>
                    <a:lnTo>
                      <a:pt x="326" y="518"/>
                    </a:lnTo>
                    <a:lnTo>
                      <a:pt x="326" y="526"/>
                    </a:lnTo>
                    <a:lnTo>
                      <a:pt x="326" y="531"/>
                    </a:lnTo>
                    <a:lnTo>
                      <a:pt x="326" y="531"/>
                    </a:lnTo>
                    <a:lnTo>
                      <a:pt x="323" y="533"/>
                    </a:lnTo>
                    <a:lnTo>
                      <a:pt x="318" y="536"/>
                    </a:lnTo>
                    <a:lnTo>
                      <a:pt x="306" y="542"/>
                    </a:lnTo>
                    <a:lnTo>
                      <a:pt x="306" y="542"/>
                    </a:lnTo>
                    <a:lnTo>
                      <a:pt x="301" y="546"/>
                    </a:lnTo>
                    <a:lnTo>
                      <a:pt x="294" y="553"/>
                    </a:lnTo>
                    <a:lnTo>
                      <a:pt x="285" y="562"/>
                    </a:lnTo>
                    <a:lnTo>
                      <a:pt x="279" y="570"/>
                    </a:lnTo>
                    <a:lnTo>
                      <a:pt x="279" y="570"/>
                    </a:lnTo>
                    <a:lnTo>
                      <a:pt x="272" y="580"/>
                    </a:lnTo>
                    <a:lnTo>
                      <a:pt x="265" y="587"/>
                    </a:lnTo>
                    <a:lnTo>
                      <a:pt x="265" y="587"/>
                    </a:lnTo>
                    <a:lnTo>
                      <a:pt x="269" y="587"/>
                    </a:lnTo>
                    <a:lnTo>
                      <a:pt x="269" y="587"/>
                    </a:lnTo>
                    <a:lnTo>
                      <a:pt x="272" y="586"/>
                    </a:lnTo>
                    <a:lnTo>
                      <a:pt x="275" y="587"/>
                    </a:lnTo>
                    <a:lnTo>
                      <a:pt x="279" y="589"/>
                    </a:lnTo>
                    <a:lnTo>
                      <a:pt x="284" y="592"/>
                    </a:lnTo>
                    <a:lnTo>
                      <a:pt x="284" y="592"/>
                    </a:lnTo>
                    <a:lnTo>
                      <a:pt x="286" y="597"/>
                    </a:lnTo>
                    <a:lnTo>
                      <a:pt x="288" y="600"/>
                    </a:lnTo>
                    <a:lnTo>
                      <a:pt x="289" y="603"/>
                    </a:lnTo>
                    <a:lnTo>
                      <a:pt x="291" y="603"/>
                    </a:lnTo>
                    <a:lnTo>
                      <a:pt x="291" y="603"/>
                    </a:lnTo>
                    <a:lnTo>
                      <a:pt x="292" y="602"/>
                    </a:lnTo>
                    <a:lnTo>
                      <a:pt x="294" y="600"/>
                    </a:lnTo>
                    <a:lnTo>
                      <a:pt x="296" y="599"/>
                    </a:lnTo>
                    <a:lnTo>
                      <a:pt x="299" y="602"/>
                    </a:lnTo>
                    <a:lnTo>
                      <a:pt x="299" y="602"/>
                    </a:lnTo>
                    <a:lnTo>
                      <a:pt x="303" y="606"/>
                    </a:lnTo>
                    <a:lnTo>
                      <a:pt x="309" y="609"/>
                    </a:lnTo>
                    <a:lnTo>
                      <a:pt x="318" y="614"/>
                    </a:lnTo>
                    <a:lnTo>
                      <a:pt x="318" y="614"/>
                    </a:lnTo>
                    <a:lnTo>
                      <a:pt x="323" y="619"/>
                    </a:lnTo>
                    <a:lnTo>
                      <a:pt x="326" y="623"/>
                    </a:lnTo>
                    <a:lnTo>
                      <a:pt x="328" y="627"/>
                    </a:lnTo>
                    <a:lnTo>
                      <a:pt x="328" y="627"/>
                    </a:lnTo>
                    <a:lnTo>
                      <a:pt x="328" y="639"/>
                    </a:lnTo>
                    <a:lnTo>
                      <a:pt x="328" y="644"/>
                    </a:lnTo>
                    <a:lnTo>
                      <a:pt x="331" y="651"/>
                    </a:lnTo>
                    <a:lnTo>
                      <a:pt x="331" y="651"/>
                    </a:lnTo>
                    <a:lnTo>
                      <a:pt x="333" y="647"/>
                    </a:lnTo>
                    <a:lnTo>
                      <a:pt x="338" y="644"/>
                    </a:lnTo>
                    <a:lnTo>
                      <a:pt x="338" y="64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65" name="Chile">
                <a:extLst>
                  <a:ext uri="{FF2B5EF4-FFF2-40B4-BE49-F238E27FC236}">
                    <a16:creationId xmlns:a16="http://schemas.microsoft.com/office/drawing/2014/main" id="{5EDCC9EB-3A17-298D-47E6-4B68E33B8E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0662" y="4737397"/>
                <a:ext cx="205691" cy="1066925"/>
              </a:xfrm>
              <a:custGeom>
                <a:avLst/>
                <a:gdLst/>
                <a:ahLst/>
                <a:cxnLst>
                  <a:cxn ang="0">
                    <a:pos x="52" y="613"/>
                  </a:cxn>
                  <a:cxn ang="0">
                    <a:pos x="38" y="579"/>
                  </a:cxn>
                  <a:cxn ang="0">
                    <a:pos x="49" y="553"/>
                  </a:cxn>
                  <a:cxn ang="0">
                    <a:pos x="62" y="529"/>
                  </a:cxn>
                  <a:cxn ang="0">
                    <a:pos x="62" y="493"/>
                  </a:cxn>
                  <a:cxn ang="0">
                    <a:pos x="59" y="479"/>
                  </a:cxn>
                  <a:cxn ang="0">
                    <a:pos x="56" y="448"/>
                  </a:cxn>
                  <a:cxn ang="0">
                    <a:pos x="58" y="409"/>
                  </a:cxn>
                  <a:cxn ang="0">
                    <a:pos x="71" y="375"/>
                  </a:cxn>
                  <a:cxn ang="0">
                    <a:pos x="76" y="330"/>
                  </a:cxn>
                  <a:cxn ang="0">
                    <a:pos x="88" y="294"/>
                  </a:cxn>
                  <a:cxn ang="0">
                    <a:pos x="82" y="246"/>
                  </a:cxn>
                  <a:cxn ang="0">
                    <a:pos x="91" y="205"/>
                  </a:cxn>
                  <a:cxn ang="0">
                    <a:pos x="106" y="168"/>
                  </a:cxn>
                  <a:cxn ang="0">
                    <a:pos x="118" y="146"/>
                  </a:cxn>
                  <a:cxn ang="0">
                    <a:pos x="133" y="106"/>
                  </a:cxn>
                  <a:cxn ang="0">
                    <a:pos x="119" y="61"/>
                  </a:cxn>
                  <a:cxn ang="0">
                    <a:pos x="116" y="31"/>
                  </a:cxn>
                  <a:cxn ang="0">
                    <a:pos x="98" y="0"/>
                  </a:cxn>
                  <a:cxn ang="0">
                    <a:pos x="89" y="48"/>
                  </a:cxn>
                  <a:cxn ang="0">
                    <a:pos x="82" y="126"/>
                  </a:cxn>
                  <a:cxn ang="0">
                    <a:pos x="64" y="195"/>
                  </a:cxn>
                  <a:cxn ang="0">
                    <a:pos x="64" y="264"/>
                  </a:cxn>
                  <a:cxn ang="0">
                    <a:pos x="42" y="330"/>
                  </a:cxn>
                  <a:cxn ang="0">
                    <a:pos x="35" y="375"/>
                  </a:cxn>
                  <a:cxn ang="0">
                    <a:pos x="29" y="428"/>
                  </a:cxn>
                  <a:cxn ang="0">
                    <a:pos x="31" y="459"/>
                  </a:cxn>
                  <a:cxn ang="0">
                    <a:pos x="44" y="431"/>
                  </a:cxn>
                  <a:cxn ang="0">
                    <a:pos x="41" y="459"/>
                  </a:cxn>
                  <a:cxn ang="0">
                    <a:pos x="38" y="486"/>
                  </a:cxn>
                  <a:cxn ang="0">
                    <a:pos x="29" y="508"/>
                  </a:cxn>
                  <a:cxn ang="0">
                    <a:pos x="29" y="496"/>
                  </a:cxn>
                  <a:cxn ang="0">
                    <a:pos x="22" y="503"/>
                  </a:cxn>
                  <a:cxn ang="0">
                    <a:pos x="10" y="520"/>
                  </a:cxn>
                  <a:cxn ang="0">
                    <a:pos x="11" y="530"/>
                  </a:cxn>
                  <a:cxn ang="0">
                    <a:pos x="17" y="550"/>
                  </a:cxn>
                  <a:cxn ang="0">
                    <a:pos x="24" y="553"/>
                  </a:cxn>
                  <a:cxn ang="0">
                    <a:pos x="4" y="570"/>
                  </a:cxn>
                  <a:cxn ang="0">
                    <a:pos x="15" y="573"/>
                  </a:cxn>
                  <a:cxn ang="0">
                    <a:pos x="12" y="596"/>
                  </a:cxn>
                  <a:cxn ang="0">
                    <a:pos x="24" y="587"/>
                  </a:cxn>
                  <a:cxn ang="0">
                    <a:pos x="11" y="614"/>
                  </a:cxn>
                  <a:cxn ang="0">
                    <a:pos x="21" y="624"/>
                  </a:cxn>
                  <a:cxn ang="0">
                    <a:pos x="29" y="636"/>
                  </a:cxn>
                  <a:cxn ang="0">
                    <a:pos x="47" y="640"/>
                  </a:cxn>
                  <a:cxn ang="0">
                    <a:pos x="39" y="650"/>
                  </a:cxn>
                  <a:cxn ang="0">
                    <a:pos x="49" y="657"/>
                  </a:cxn>
                  <a:cxn ang="0">
                    <a:pos x="38" y="668"/>
                  </a:cxn>
                  <a:cxn ang="0">
                    <a:pos x="68" y="663"/>
                  </a:cxn>
                  <a:cxn ang="0">
                    <a:pos x="31" y="671"/>
                  </a:cxn>
                  <a:cxn ang="0">
                    <a:pos x="56" y="690"/>
                  </a:cxn>
                  <a:cxn ang="0">
                    <a:pos x="74" y="668"/>
                  </a:cxn>
                  <a:cxn ang="0">
                    <a:pos x="79" y="664"/>
                  </a:cxn>
                  <a:cxn ang="0">
                    <a:pos x="91" y="675"/>
                  </a:cxn>
                  <a:cxn ang="0">
                    <a:pos x="82" y="675"/>
                  </a:cxn>
                  <a:cxn ang="0">
                    <a:pos x="66" y="690"/>
                  </a:cxn>
                  <a:cxn ang="0">
                    <a:pos x="72" y="700"/>
                  </a:cxn>
                  <a:cxn ang="0">
                    <a:pos x="86" y="701"/>
                  </a:cxn>
                  <a:cxn ang="0">
                    <a:pos x="105" y="710"/>
                  </a:cxn>
                  <a:cxn ang="0">
                    <a:pos x="125" y="711"/>
                  </a:cxn>
                  <a:cxn ang="0">
                    <a:pos x="111" y="684"/>
                  </a:cxn>
                  <a:cxn ang="0">
                    <a:pos x="91" y="640"/>
                  </a:cxn>
                </a:cxnLst>
                <a:rect l="0" t="0" r="r" b="b"/>
                <a:pathLst>
                  <a:path w="139" h="721">
                    <a:moveTo>
                      <a:pt x="62" y="641"/>
                    </a:moveTo>
                    <a:lnTo>
                      <a:pt x="62" y="641"/>
                    </a:lnTo>
                    <a:lnTo>
                      <a:pt x="59" y="640"/>
                    </a:lnTo>
                    <a:lnTo>
                      <a:pt x="58" y="637"/>
                    </a:lnTo>
                    <a:lnTo>
                      <a:pt x="56" y="636"/>
                    </a:lnTo>
                    <a:lnTo>
                      <a:pt x="54" y="634"/>
                    </a:lnTo>
                    <a:lnTo>
                      <a:pt x="54" y="634"/>
                    </a:lnTo>
                    <a:lnTo>
                      <a:pt x="52" y="631"/>
                    </a:lnTo>
                    <a:lnTo>
                      <a:pt x="52" y="627"/>
                    </a:lnTo>
                    <a:lnTo>
                      <a:pt x="52" y="621"/>
                    </a:lnTo>
                    <a:lnTo>
                      <a:pt x="54" y="616"/>
                    </a:lnTo>
                    <a:lnTo>
                      <a:pt x="54" y="616"/>
                    </a:lnTo>
                    <a:lnTo>
                      <a:pt x="54" y="614"/>
                    </a:lnTo>
                    <a:lnTo>
                      <a:pt x="52" y="613"/>
                    </a:lnTo>
                    <a:lnTo>
                      <a:pt x="48" y="611"/>
                    </a:lnTo>
                    <a:lnTo>
                      <a:pt x="42" y="611"/>
                    </a:lnTo>
                    <a:lnTo>
                      <a:pt x="38" y="611"/>
                    </a:lnTo>
                    <a:lnTo>
                      <a:pt x="38" y="611"/>
                    </a:lnTo>
                    <a:lnTo>
                      <a:pt x="37" y="609"/>
                    </a:lnTo>
                    <a:lnTo>
                      <a:pt x="37" y="607"/>
                    </a:lnTo>
                    <a:lnTo>
                      <a:pt x="37" y="604"/>
                    </a:lnTo>
                    <a:lnTo>
                      <a:pt x="35" y="600"/>
                    </a:lnTo>
                    <a:lnTo>
                      <a:pt x="35" y="600"/>
                    </a:lnTo>
                    <a:lnTo>
                      <a:pt x="34" y="596"/>
                    </a:lnTo>
                    <a:lnTo>
                      <a:pt x="34" y="593"/>
                    </a:lnTo>
                    <a:lnTo>
                      <a:pt x="35" y="586"/>
                    </a:lnTo>
                    <a:lnTo>
                      <a:pt x="35" y="586"/>
                    </a:lnTo>
                    <a:lnTo>
                      <a:pt x="38" y="579"/>
                    </a:lnTo>
                    <a:lnTo>
                      <a:pt x="41" y="576"/>
                    </a:lnTo>
                    <a:lnTo>
                      <a:pt x="44" y="574"/>
                    </a:lnTo>
                    <a:lnTo>
                      <a:pt x="44" y="574"/>
                    </a:lnTo>
                    <a:lnTo>
                      <a:pt x="45" y="574"/>
                    </a:lnTo>
                    <a:lnTo>
                      <a:pt x="47" y="573"/>
                    </a:lnTo>
                    <a:lnTo>
                      <a:pt x="47" y="570"/>
                    </a:lnTo>
                    <a:lnTo>
                      <a:pt x="48" y="567"/>
                    </a:lnTo>
                    <a:lnTo>
                      <a:pt x="51" y="563"/>
                    </a:lnTo>
                    <a:lnTo>
                      <a:pt x="51" y="563"/>
                    </a:lnTo>
                    <a:lnTo>
                      <a:pt x="52" y="562"/>
                    </a:lnTo>
                    <a:lnTo>
                      <a:pt x="52" y="560"/>
                    </a:lnTo>
                    <a:lnTo>
                      <a:pt x="51" y="557"/>
                    </a:lnTo>
                    <a:lnTo>
                      <a:pt x="49" y="555"/>
                    </a:lnTo>
                    <a:lnTo>
                      <a:pt x="49" y="553"/>
                    </a:lnTo>
                    <a:lnTo>
                      <a:pt x="49" y="552"/>
                    </a:lnTo>
                    <a:lnTo>
                      <a:pt x="49" y="552"/>
                    </a:lnTo>
                    <a:lnTo>
                      <a:pt x="52" y="549"/>
                    </a:lnTo>
                    <a:lnTo>
                      <a:pt x="52" y="545"/>
                    </a:lnTo>
                    <a:lnTo>
                      <a:pt x="54" y="542"/>
                    </a:lnTo>
                    <a:lnTo>
                      <a:pt x="56" y="540"/>
                    </a:lnTo>
                    <a:lnTo>
                      <a:pt x="56" y="540"/>
                    </a:lnTo>
                    <a:lnTo>
                      <a:pt x="59" y="540"/>
                    </a:lnTo>
                    <a:lnTo>
                      <a:pt x="59" y="539"/>
                    </a:lnTo>
                    <a:lnTo>
                      <a:pt x="59" y="535"/>
                    </a:lnTo>
                    <a:lnTo>
                      <a:pt x="59" y="532"/>
                    </a:lnTo>
                    <a:lnTo>
                      <a:pt x="61" y="530"/>
                    </a:lnTo>
                    <a:lnTo>
                      <a:pt x="62" y="529"/>
                    </a:lnTo>
                    <a:lnTo>
                      <a:pt x="62" y="529"/>
                    </a:lnTo>
                    <a:lnTo>
                      <a:pt x="64" y="528"/>
                    </a:lnTo>
                    <a:lnTo>
                      <a:pt x="64" y="525"/>
                    </a:lnTo>
                    <a:lnTo>
                      <a:pt x="62" y="522"/>
                    </a:lnTo>
                    <a:lnTo>
                      <a:pt x="62" y="518"/>
                    </a:lnTo>
                    <a:lnTo>
                      <a:pt x="62" y="518"/>
                    </a:lnTo>
                    <a:lnTo>
                      <a:pt x="62" y="513"/>
                    </a:lnTo>
                    <a:lnTo>
                      <a:pt x="61" y="509"/>
                    </a:lnTo>
                    <a:lnTo>
                      <a:pt x="62" y="506"/>
                    </a:lnTo>
                    <a:lnTo>
                      <a:pt x="65" y="505"/>
                    </a:lnTo>
                    <a:lnTo>
                      <a:pt x="65" y="505"/>
                    </a:lnTo>
                    <a:lnTo>
                      <a:pt x="68" y="502"/>
                    </a:lnTo>
                    <a:lnTo>
                      <a:pt x="68" y="499"/>
                    </a:lnTo>
                    <a:lnTo>
                      <a:pt x="65" y="496"/>
                    </a:lnTo>
                    <a:lnTo>
                      <a:pt x="62" y="493"/>
                    </a:lnTo>
                    <a:lnTo>
                      <a:pt x="62" y="493"/>
                    </a:lnTo>
                    <a:lnTo>
                      <a:pt x="61" y="492"/>
                    </a:lnTo>
                    <a:lnTo>
                      <a:pt x="62" y="491"/>
                    </a:lnTo>
                    <a:lnTo>
                      <a:pt x="68" y="491"/>
                    </a:lnTo>
                    <a:lnTo>
                      <a:pt x="68" y="491"/>
                    </a:lnTo>
                    <a:lnTo>
                      <a:pt x="69" y="491"/>
                    </a:lnTo>
                    <a:lnTo>
                      <a:pt x="71" y="489"/>
                    </a:lnTo>
                    <a:lnTo>
                      <a:pt x="71" y="486"/>
                    </a:lnTo>
                    <a:lnTo>
                      <a:pt x="69" y="483"/>
                    </a:lnTo>
                    <a:lnTo>
                      <a:pt x="66" y="483"/>
                    </a:lnTo>
                    <a:lnTo>
                      <a:pt x="66" y="483"/>
                    </a:lnTo>
                    <a:lnTo>
                      <a:pt x="62" y="483"/>
                    </a:lnTo>
                    <a:lnTo>
                      <a:pt x="59" y="482"/>
                    </a:lnTo>
                    <a:lnTo>
                      <a:pt x="59" y="479"/>
                    </a:lnTo>
                    <a:lnTo>
                      <a:pt x="61" y="475"/>
                    </a:lnTo>
                    <a:lnTo>
                      <a:pt x="61" y="475"/>
                    </a:lnTo>
                    <a:lnTo>
                      <a:pt x="62" y="473"/>
                    </a:lnTo>
                    <a:lnTo>
                      <a:pt x="62" y="472"/>
                    </a:lnTo>
                    <a:lnTo>
                      <a:pt x="61" y="469"/>
                    </a:lnTo>
                    <a:lnTo>
                      <a:pt x="59" y="468"/>
                    </a:lnTo>
                    <a:lnTo>
                      <a:pt x="58" y="465"/>
                    </a:lnTo>
                    <a:lnTo>
                      <a:pt x="58" y="465"/>
                    </a:lnTo>
                    <a:lnTo>
                      <a:pt x="59" y="461"/>
                    </a:lnTo>
                    <a:lnTo>
                      <a:pt x="59" y="458"/>
                    </a:lnTo>
                    <a:lnTo>
                      <a:pt x="56" y="456"/>
                    </a:lnTo>
                    <a:lnTo>
                      <a:pt x="56" y="456"/>
                    </a:lnTo>
                    <a:lnTo>
                      <a:pt x="56" y="454"/>
                    </a:lnTo>
                    <a:lnTo>
                      <a:pt x="56" y="448"/>
                    </a:lnTo>
                    <a:lnTo>
                      <a:pt x="58" y="442"/>
                    </a:lnTo>
                    <a:lnTo>
                      <a:pt x="59" y="439"/>
                    </a:lnTo>
                    <a:lnTo>
                      <a:pt x="59" y="439"/>
                    </a:lnTo>
                    <a:lnTo>
                      <a:pt x="61" y="439"/>
                    </a:lnTo>
                    <a:lnTo>
                      <a:pt x="61" y="436"/>
                    </a:lnTo>
                    <a:lnTo>
                      <a:pt x="61" y="432"/>
                    </a:lnTo>
                    <a:lnTo>
                      <a:pt x="61" y="422"/>
                    </a:lnTo>
                    <a:lnTo>
                      <a:pt x="61" y="422"/>
                    </a:lnTo>
                    <a:lnTo>
                      <a:pt x="59" y="419"/>
                    </a:lnTo>
                    <a:lnTo>
                      <a:pt x="59" y="417"/>
                    </a:lnTo>
                    <a:lnTo>
                      <a:pt x="58" y="414"/>
                    </a:lnTo>
                    <a:lnTo>
                      <a:pt x="56" y="411"/>
                    </a:lnTo>
                    <a:lnTo>
                      <a:pt x="56" y="411"/>
                    </a:lnTo>
                    <a:lnTo>
                      <a:pt x="58" y="409"/>
                    </a:lnTo>
                    <a:lnTo>
                      <a:pt x="59" y="407"/>
                    </a:lnTo>
                    <a:lnTo>
                      <a:pt x="61" y="404"/>
                    </a:lnTo>
                    <a:lnTo>
                      <a:pt x="62" y="399"/>
                    </a:lnTo>
                    <a:lnTo>
                      <a:pt x="62" y="399"/>
                    </a:lnTo>
                    <a:lnTo>
                      <a:pt x="62" y="392"/>
                    </a:lnTo>
                    <a:lnTo>
                      <a:pt x="64" y="391"/>
                    </a:lnTo>
                    <a:lnTo>
                      <a:pt x="66" y="390"/>
                    </a:lnTo>
                    <a:lnTo>
                      <a:pt x="66" y="390"/>
                    </a:lnTo>
                    <a:lnTo>
                      <a:pt x="66" y="388"/>
                    </a:lnTo>
                    <a:lnTo>
                      <a:pt x="68" y="385"/>
                    </a:lnTo>
                    <a:lnTo>
                      <a:pt x="66" y="378"/>
                    </a:lnTo>
                    <a:lnTo>
                      <a:pt x="66" y="378"/>
                    </a:lnTo>
                    <a:lnTo>
                      <a:pt x="68" y="377"/>
                    </a:lnTo>
                    <a:lnTo>
                      <a:pt x="71" y="375"/>
                    </a:lnTo>
                    <a:lnTo>
                      <a:pt x="74" y="375"/>
                    </a:lnTo>
                    <a:lnTo>
                      <a:pt x="75" y="374"/>
                    </a:lnTo>
                    <a:lnTo>
                      <a:pt x="76" y="371"/>
                    </a:lnTo>
                    <a:lnTo>
                      <a:pt x="76" y="371"/>
                    </a:lnTo>
                    <a:lnTo>
                      <a:pt x="75" y="368"/>
                    </a:lnTo>
                    <a:lnTo>
                      <a:pt x="74" y="367"/>
                    </a:lnTo>
                    <a:lnTo>
                      <a:pt x="72" y="365"/>
                    </a:lnTo>
                    <a:lnTo>
                      <a:pt x="72" y="363"/>
                    </a:lnTo>
                    <a:lnTo>
                      <a:pt x="72" y="363"/>
                    </a:lnTo>
                    <a:lnTo>
                      <a:pt x="72" y="354"/>
                    </a:lnTo>
                    <a:lnTo>
                      <a:pt x="72" y="341"/>
                    </a:lnTo>
                    <a:lnTo>
                      <a:pt x="72" y="341"/>
                    </a:lnTo>
                    <a:lnTo>
                      <a:pt x="74" y="334"/>
                    </a:lnTo>
                    <a:lnTo>
                      <a:pt x="76" y="330"/>
                    </a:lnTo>
                    <a:lnTo>
                      <a:pt x="84" y="326"/>
                    </a:lnTo>
                    <a:lnTo>
                      <a:pt x="84" y="326"/>
                    </a:lnTo>
                    <a:lnTo>
                      <a:pt x="85" y="324"/>
                    </a:lnTo>
                    <a:lnTo>
                      <a:pt x="85" y="321"/>
                    </a:lnTo>
                    <a:lnTo>
                      <a:pt x="84" y="316"/>
                    </a:lnTo>
                    <a:lnTo>
                      <a:pt x="82" y="308"/>
                    </a:lnTo>
                    <a:lnTo>
                      <a:pt x="82" y="307"/>
                    </a:lnTo>
                    <a:lnTo>
                      <a:pt x="84" y="306"/>
                    </a:lnTo>
                    <a:lnTo>
                      <a:pt x="84" y="306"/>
                    </a:lnTo>
                    <a:lnTo>
                      <a:pt x="86" y="303"/>
                    </a:lnTo>
                    <a:lnTo>
                      <a:pt x="86" y="300"/>
                    </a:lnTo>
                    <a:lnTo>
                      <a:pt x="86" y="296"/>
                    </a:lnTo>
                    <a:lnTo>
                      <a:pt x="88" y="294"/>
                    </a:lnTo>
                    <a:lnTo>
                      <a:pt x="88" y="294"/>
                    </a:lnTo>
                    <a:lnTo>
                      <a:pt x="91" y="291"/>
                    </a:lnTo>
                    <a:lnTo>
                      <a:pt x="91" y="289"/>
                    </a:lnTo>
                    <a:lnTo>
                      <a:pt x="93" y="280"/>
                    </a:lnTo>
                    <a:lnTo>
                      <a:pt x="93" y="280"/>
                    </a:lnTo>
                    <a:lnTo>
                      <a:pt x="93" y="276"/>
                    </a:lnTo>
                    <a:lnTo>
                      <a:pt x="92" y="273"/>
                    </a:lnTo>
                    <a:lnTo>
                      <a:pt x="89" y="270"/>
                    </a:lnTo>
                    <a:lnTo>
                      <a:pt x="89" y="266"/>
                    </a:lnTo>
                    <a:lnTo>
                      <a:pt x="89" y="266"/>
                    </a:lnTo>
                    <a:lnTo>
                      <a:pt x="88" y="259"/>
                    </a:lnTo>
                    <a:lnTo>
                      <a:pt x="86" y="254"/>
                    </a:lnTo>
                    <a:lnTo>
                      <a:pt x="84" y="250"/>
                    </a:lnTo>
                    <a:lnTo>
                      <a:pt x="84" y="250"/>
                    </a:lnTo>
                    <a:lnTo>
                      <a:pt x="82" y="246"/>
                    </a:lnTo>
                    <a:lnTo>
                      <a:pt x="81" y="240"/>
                    </a:lnTo>
                    <a:lnTo>
                      <a:pt x="82" y="234"/>
                    </a:lnTo>
                    <a:lnTo>
                      <a:pt x="84" y="233"/>
                    </a:lnTo>
                    <a:lnTo>
                      <a:pt x="84" y="233"/>
                    </a:lnTo>
                    <a:lnTo>
                      <a:pt x="85" y="232"/>
                    </a:lnTo>
                    <a:lnTo>
                      <a:pt x="86" y="227"/>
                    </a:lnTo>
                    <a:lnTo>
                      <a:pt x="88" y="223"/>
                    </a:lnTo>
                    <a:lnTo>
                      <a:pt x="89" y="222"/>
                    </a:lnTo>
                    <a:lnTo>
                      <a:pt x="91" y="220"/>
                    </a:lnTo>
                    <a:lnTo>
                      <a:pt x="91" y="220"/>
                    </a:lnTo>
                    <a:lnTo>
                      <a:pt x="92" y="220"/>
                    </a:lnTo>
                    <a:lnTo>
                      <a:pt x="93" y="219"/>
                    </a:lnTo>
                    <a:lnTo>
                      <a:pt x="93" y="215"/>
                    </a:lnTo>
                    <a:lnTo>
                      <a:pt x="91" y="205"/>
                    </a:lnTo>
                    <a:lnTo>
                      <a:pt x="91" y="205"/>
                    </a:lnTo>
                    <a:lnTo>
                      <a:pt x="91" y="200"/>
                    </a:lnTo>
                    <a:lnTo>
                      <a:pt x="92" y="199"/>
                    </a:lnTo>
                    <a:lnTo>
                      <a:pt x="93" y="197"/>
                    </a:lnTo>
                    <a:lnTo>
                      <a:pt x="95" y="196"/>
                    </a:lnTo>
                    <a:lnTo>
                      <a:pt x="95" y="196"/>
                    </a:lnTo>
                    <a:lnTo>
                      <a:pt x="95" y="192"/>
                    </a:lnTo>
                    <a:lnTo>
                      <a:pt x="96" y="188"/>
                    </a:lnTo>
                    <a:lnTo>
                      <a:pt x="99" y="183"/>
                    </a:lnTo>
                    <a:lnTo>
                      <a:pt x="102" y="180"/>
                    </a:lnTo>
                    <a:lnTo>
                      <a:pt x="102" y="180"/>
                    </a:lnTo>
                    <a:lnTo>
                      <a:pt x="105" y="179"/>
                    </a:lnTo>
                    <a:lnTo>
                      <a:pt x="106" y="175"/>
                    </a:lnTo>
                    <a:lnTo>
                      <a:pt x="106" y="168"/>
                    </a:lnTo>
                    <a:lnTo>
                      <a:pt x="106" y="168"/>
                    </a:lnTo>
                    <a:lnTo>
                      <a:pt x="108" y="165"/>
                    </a:lnTo>
                    <a:lnTo>
                      <a:pt x="111" y="163"/>
                    </a:lnTo>
                    <a:lnTo>
                      <a:pt x="116" y="159"/>
                    </a:lnTo>
                    <a:lnTo>
                      <a:pt x="116" y="159"/>
                    </a:lnTo>
                    <a:lnTo>
                      <a:pt x="118" y="159"/>
                    </a:lnTo>
                    <a:lnTo>
                      <a:pt x="118" y="158"/>
                    </a:lnTo>
                    <a:lnTo>
                      <a:pt x="115" y="155"/>
                    </a:lnTo>
                    <a:lnTo>
                      <a:pt x="115" y="152"/>
                    </a:lnTo>
                    <a:lnTo>
                      <a:pt x="115" y="151"/>
                    </a:lnTo>
                    <a:lnTo>
                      <a:pt x="116" y="149"/>
                    </a:lnTo>
                    <a:lnTo>
                      <a:pt x="116" y="149"/>
                    </a:lnTo>
                    <a:lnTo>
                      <a:pt x="118" y="148"/>
                    </a:lnTo>
                    <a:lnTo>
                      <a:pt x="118" y="146"/>
                    </a:lnTo>
                    <a:lnTo>
                      <a:pt x="116" y="141"/>
                    </a:lnTo>
                    <a:lnTo>
                      <a:pt x="115" y="135"/>
                    </a:lnTo>
                    <a:lnTo>
                      <a:pt x="113" y="133"/>
                    </a:lnTo>
                    <a:lnTo>
                      <a:pt x="115" y="132"/>
                    </a:lnTo>
                    <a:lnTo>
                      <a:pt x="115" y="132"/>
                    </a:lnTo>
                    <a:lnTo>
                      <a:pt x="116" y="129"/>
                    </a:lnTo>
                    <a:lnTo>
                      <a:pt x="116" y="126"/>
                    </a:lnTo>
                    <a:lnTo>
                      <a:pt x="115" y="121"/>
                    </a:lnTo>
                    <a:lnTo>
                      <a:pt x="115" y="121"/>
                    </a:lnTo>
                    <a:lnTo>
                      <a:pt x="118" y="116"/>
                    </a:lnTo>
                    <a:lnTo>
                      <a:pt x="123" y="114"/>
                    </a:lnTo>
                    <a:lnTo>
                      <a:pt x="130" y="109"/>
                    </a:lnTo>
                    <a:lnTo>
                      <a:pt x="133" y="106"/>
                    </a:lnTo>
                    <a:lnTo>
                      <a:pt x="133" y="106"/>
                    </a:lnTo>
                    <a:lnTo>
                      <a:pt x="136" y="98"/>
                    </a:lnTo>
                    <a:lnTo>
                      <a:pt x="138" y="87"/>
                    </a:lnTo>
                    <a:lnTo>
                      <a:pt x="138" y="87"/>
                    </a:lnTo>
                    <a:lnTo>
                      <a:pt x="130" y="91"/>
                    </a:lnTo>
                    <a:lnTo>
                      <a:pt x="128" y="91"/>
                    </a:lnTo>
                    <a:lnTo>
                      <a:pt x="128" y="91"/>
                    </a:lnTo>
                    <a:lnTo>
                      <a:pt x="128" y="91"/>
                    </a:lnTo>
                    <a:lnTo>
                      <a:pt x="126" y="82"/>
                    </a:lnTo>
                    <a:lnTo>
                      <a:pt x="125" y="77"/>
                    </a:lnTo>
                    <a:lnTo>
                      <a:pt x="123" y="72"/>
                    </a:lnTo>
                    <a:lnTo>
                      <a:pt x="123" y="72"/>
                    </a:lnTo>
                    <a:lnTo>
                      <a:pt x="121" y="69"/>
                    </a:lnTo>
                    <a:lnTo>
                      <a:pt x="121" y="64"/>
                    </a:lnTo>
                    <a:lnTo>
                      <a:pt x="119" y="61"/>
                    </a:lnTo>
                    <a:lnTo>
                      <a:pt x="118" y="58"/>
                    </a:lnTo>
                    <a:lnTo>
                      <a:pt x="118" y="58"/>
                    </a:lnTo>
                    <a:lnTo>
                      <a:pt x="115" y="55"/>
                    </a:lnTo>
                    <a:lnTo>
                      <a:pt x="112" y="52"/>
                    </a:lnTo>
                    <a:lnTo>
                      <a:pt x="111" y="48"/>
                    </a:lnTo>
                    <a:lnTo>
                      <a:pt x="111" y="47"/>
                    </a:lnTo>
                    <a:lnTo>
                      <a:pt x="112" y="45"/>
                    </a:lnTo>
                    <a:lnTo>
                      <a:pt x="112" y="45"/>
                    </a:lnTo>
                    <a:lnTo>
                      <a:pt x="113" y="42"/>
                    </a:lnTo>
                    <a:lnTo>
                      <a:pt x="113" y="40"/>
                    </a:lnTo>
                    <a:lnTo>
                      <a:pt x="113" y="35"/>
                    </a:lnTo>
                    <a:lnTo>
                      <a:pt x="115" y="34"/>
                    </a:lnTo>
                    <a:lnTo>
                      <a:pt x="115" y="34"/>
                    </a:lnTo>
                    <a:lnTo>
                      <a:pt x="116" y="31"/>
                    </a:lnTo>
                    <a:lnTo>
                      <a:pt x="115" y="30"/>
                    </a:lnTo>
                    <a:lnTo>
                      <a:pt x="112" y="28"/>
                    </a:lnTo>
                    <a:lnTo>
                      <a:pt x="109" y="24"/>
                    </a:lnTo>
                    <a:lnTo>
                      <a:pt x="109" y="24"/>
                    </a:lnTo>
                    <a:lnTo>
                      <a:pt x="108" y="23"/>
                    </a:lnTo>
                    <a:lnTo>
                      <a:pt x="106" y="20"/>
                    </a:lnTo>
                    <a:lnTo>
                      <a:pt x="106" y="15"/>
                    </a:lnTo>
                    <a:lnTo>
                      <a:pt x="106" y="11"/>
                    </a:lnTo>
                    <a:lnTo>
                      <a:pt x="106" y="8"/>
                    </a:lnTo>
                    <a:lnTo>
                      <a:pt x="105" y="7"/>
                    </a:lnTo>
                    <a:lnTo>
                      <a:pt x="105" y="7"/>
                    </a:lnTo>
                    <a:lnTo>
                      <a:pt x="102" y="4"/>
                    </a:lnTo>
                    <a:lnTo>
                      <a:pt x="99" y="1"/>
                    </a:lnTo>
                    <a:lnTo>
                      <a:pt x="98" y="0"/>
                    </a:lnTo>
                    <a:lnTo>
                      <a:pt x="98" y="0"/>
                    </a:lnTo>
                    <a:lnTo>
                      <a:pt x="98" y="0"/>
                    </a:lnTo>
                    <a:lnTo>
                      <a:pt x="95" y="7"/>
                    </a:lnTo>
                    <a:lnTo>
                      <a:pt x="93" y="10"/>
                    </a:lnTo>
                    <a:lnTo>
                      <a:pt x="91" y="13"/>
                    </a:lnTo>
                    <a:lnTo>
                      <a:pt x="91" y="13"/>
                    </a:lnTo>
                    <a:lnTo>
                      <a:pt x="88" y="15"/>
                    </a:lnTo>
                    <a:lnTo>
                      <a:pt x="88" y="15"/>
                    </a:lnTo>
                    <a:lnTo>
                      <a:pt x="86" y="23"/>
                    </a:lnTo>
                    <a:lnTo>
                      <a:pt x="86" y="27"/>
                    </a:lnTo>
                    <a:lnTo>
                      <a:pt x="88" y="30"/>
                    </a:lnTo>
                    <a:lnTo>
                      <a:pt x="88" y="30"/>
                    </a:lnTo>
                    <a:lnTo>
                      <a:pt x="89" y="37"/>
                    </a:lnTo>
                    <a:lnTo>
                      <a:pt x="89" y="48"/>
                    </a:lnTo>
                    <a:lnTo>
                      <a:pt x="89" y="61"/>
                    </a:lnTo>
                    <a:lnTo>
                      <a:pt x="89" y="71"/>
                    </a:lnTo>
                    <a:lnTo>
                      <a:pt x="89" y="71"/>
                    </a:lnTo>
                    <a:lnTo>
                      <a:pt x="82" y="95"/>
                    </a:lnTo>
                    <a:lnTo>
                      <a:pt x="82" y="95"/>
                    </a:lnTo>
                    <a:lnTo>
                      <a:pt x="82" y="99"/>
                    </a:lnTo>
                    <a:lnTo>
                      <a:pt x="84" y="101"/>
                    </a:lnTo>
                    <a:lnTo>
                      <a:pt x="85" y="102"/>
                    </a:lnTo>
                    <a:lnTo>
                      <a:pt x="85" y="105"/>
                    </a:lnTo>
                    <a:lnTo>
                      <a:pt x="85" y="105"/>
                    </a:lnTo>
                    <a:lnTo>
                      <a:pt x="84" y="108"/>
                    </a:lnTo>
                    <a:lnTo>
                      <a:pt x="82" y="112"/>
                    </a:lnTo>
                    <a:lnTo>
                      <a:pt x="82" y="126"/>
                    </a:lnTo>
                    <a:lnTo>
                      <a:pt x="82" y="126"/>
                    </a:lnTo>
                    <a:lnTo>
                      <a:pt x="82" y="135"/>
                    </a:lnTo>
                    <a:lnTo>
                      <a:pt x="79" y="146"/>
                    </a:lnTo>
                    <a:lnTo>
                      <a:pt x="75" y="162"/>
                    </a:lnTo>
                    <a:lnTo>
                      <a:pt x="75" y="162"/>
                    </a:lnTo>
                    <a:lnTo>
                      <a:pt x="75" y="166"/>
                    </a:lnTo>
                    <a:lnTo>
                      <a:pt x="74" y="170"/>
                    </a:lnTo>
                    <a:lnTo>
                      <a:pt x="72" y="175"/>
                    </a:lnTo>
                    <a:lnTo>
                      <a:pt x="71" y="179"/>
                    </a:lnTo>
                    <a:lnTo>
                      <a:pt x="71" y="179"/>
                    </a:lnTo>
                    <a:lnTo>
                      <a:pt x="71" y="183"/>
                    </a:lnTo>
                    <a:lnTo>
                      <a:pt x="69" y="188"/>
                    </a:lnTo>
                    <a:lnTo>
                      <a:pt x="64" y="193"/>
                    </a:lnTo>
                    <a:lnTo>
                      <a:pt x="64" y="193"/>
                    </a:lnTo>
                    <a:lnTo>
                      <a:pt x="64" y="195"/>
                    </a:lnTo>
                    <a:lnTo>
                      <a:pt x="64" y="196"/>
                    </a:lnTo>
                    <a:lnTo>
                      <a:pt x="66" y="202"/>
                    </a:lnTo>
                    <a:lnTo>
                      <a:pt x="69" y="207"/>
                    </a:lnTo>
                    <a:lnTo>
                      <a:pt x="71" y="212"/>
                    </a:lnTo>
                    <a:lnTo>
                      <a:pt x="71" y="212"/>
                    </a:lnTo>
                    <a:lnTo>
                      <a:pt x="69" y="216"/>
                    </a:lnTo>
                    <a:lnTo>
                      <a:pt x="66" y="220"/>
                    </a:lnTo>
                    <a:lnTo>
                      <a:pt x="64" y="225"/>
                    </a:lnTo>
                    <a:lnTo>
                      <a:pt x="64" y="230"/>
                    </a:lnTo>
                    <a:lnTo>
                      <a:pt x="64" y="230"/>
                    </a:lnTo>
                    <a:lnTo>
                      <a:pt x="65" y="240"/>
                    </a:lnTo>
                    <a:lnTo>
                      <a:pt x="65" y="250"/>
                    </a:lnTo>
                    <a:lnTo>
                      <a:pt x="64" y="264"/>
                    </a:lnTo>
                    <a:lnTo>
                      <a:pt x="64" y="264"/>
                    </a:lnTo>
                    <a:lnTo>
                      <a:pt x="64" y="267"/>
                    </a:lnTo>
                    <a:lnTo>
                      <a:pt x="62" y="269"/>
                    </a:lnTo>
                    <a:lnTo>
                      <a:pt x="61" y="271"/>
                    </a:lnTo>
                    <a:lnTo>
                      <a:pt x="61" y="276"/>
                    </a:lnTo>
                    <a:lnTo>
                      <a:pt x="61" y="276"/>
                    </a:lnTo>
                    <a:lnTo>
                      <a:pt x="61" y="281"/>
                    </a:lnTo>
                    <a:lnTo>
                      <a:pt x="58" y="284"/>
                    </a:lnTo>
                    <a:lnTo>
                      <a:pt x="56" y="290"/>
                    </a:lnTo>
                    <a:lnTo>
                      <a:pt x="55" y="296"/>
                    </a:lnTo>
                    <a:lnTo>
                      <a:pt x="55" y="296"/>
                    </a:lnTo>
                    <a:lnTo>
                      <a:pt x="52" y="304"/>
                    </a:lnTo>
                    <a:lnTo>
                      <a:pt x="49" y="314"/>
                    </a:lnTo>
                    <a:lnTo>
                      <a:pt x="42" y="330"/>
                    </a:lnTo>
                    <a:lnTo>
                      <a:pt x="42" y="330"/>
                    </a:lnTo>
                    <a:lnTo>
                      <a:pt x="39" y="340"/>
                    </a:lnTo>
                    <a:lnTo>
                      <a:pt x="38" y="343"/>
                    </a:lnTo>
                    <a:lnTo>
                      <a:pt x="35" y="343"/>
                    </a:lnTo>
                    <a:lnTo>
                      <a:pt x="35" y="343"/>
                    </a:lnTo>
                    <a:lnTo>
                      <a:pt x="32" y="344"/>
                    </a:lnTo>
                    <a:lnTo>
                      <a:pt x="31" y="345"/>
                    </a:lnTo>
                    <a:lnTo>
                      <a:pt x="31" y="350"/>
                    </a:lnTo>
                    <a:lnTo>
                      <a:pt x="32" y="354"/>
                    </a:lnTo>
                    <a:lnTo>
                      <a:pt x="32" y="354"/>
                    </a:lnTo>
                    <a:lnTo>
                      <a:pt x="34" y="360"/>
                    </a:lnTo>
                    <a:lnTo>
                      <a:pt x="34" y="365"/>
                    </a:lnTo>
                    <a:lnTo>
                      <a:pt x="34" y="370"/>
                    </a:lnTo>
                    <a:lnTo>
                      <a:pt x="35" y="375"/>
                    </a:lnTo>
                    <a:lnTo>
                      <a:pt x="35" y="375"/>
                    </a:lnTo>
                    <a:lnTo>
                      <a:pt x="37" y="380"/>
                    </a:lnTo>
                    <a:lnTo>
                      <a:pt x="38" y="384"/>
                    </a:lnTo>
                    <a:lnTo>
                      <a:pt x="35" y="391"/>
                    </a:lnTo>
                    <a:lnTo>
                      <a:pt x="35" y="391"/>
                    </a:lnTo>
                    <a:lnTo>
                      <a:pt x="32" y="398"/>
                    </a:lnTo>
                    <a:lnTo>
                      <a:pt x="31" y="401"/>
                    </a:lnTo>
                    <a:lnTo>
                      <a:pt x="31" y="405"/>
                    </a:lnTo>
                    <a:lnTo>
                      <a:pt x="31" y="405"/>
                    </a:lnTo>
                    <a:lnTo>
                      <a:pt x="29" y="409"/>
                    </a:lnTo>
                    <a:lnTo>
                      <a:pt x="28" y="414"/>
                    </a:lnTo>
                    <a:lnTo>
                      <a:pt x="28" y="418"/>
                    </a:lnTo>
                    <a:lnTo>
                      <a:pt x="28" y="424"/>
                    </a:lnTo>
                    <a:lnTo>
                      <a:pt x="28" y="424"/>
                    </a:lnTo>
                    <a:lnTo>
                      <a:pt x="29" y="428"/>
                    </a:lnTo>
                    <a:lnTo>
                      <a:pt x="31" y="431"/>
                    </a:lnTo>
                    <a:lnTo>
                      <a:pt x="29" y="432"/>
                    </a:lnTo>
                    <a:lnTo>
                      <a:pt x="27" y="434"/>
                    </a:lnTo>
                    <a:lnTo>
                      <a:pt x="27" y="434"/>
                    </a:lnTo>
                    <a:lnTo>
                      <a:pt x="25" y="434"/>
                    </a:lnTo>
                    <a:lnTo>
                      <a:pt x="22" y="438"/>
                    </a:lnTo>
                    <a:lnTo>
                      <a:pt x="21" y="451"/>
                    </a:lnTo>
                    <a:lnTo>
                      <a:pt x="21" y="451"/>
                    </a:lnTo>
                    <a:lnTo>
                      <a:pt x="20" y="458"/>
                    </a:lnTo>
                    <a:lnTo>
                      <a:pt x="21" y="461"/>
                    </a:lnTo>
                    <a:lnTo>
                      <a:pt x="22" y="462"/>
                    </a:lnTo>
                    <a:lnTo>
                      <a:pt x="28" y="461"/>
                    </a:lnTo>
                    <a:lnTo>
                      <a:pt x="28" y="461"/>
                    </a:lnTo>
                    <a:lnTo>
                      <a:pt x="31" y="459"/>
                    </a:lnTo>
                    <a:lnTo>
                      <a:pt x="32" y="456"/>
                    </a:lnTo>
                    <a:lnTo>
                      <a:pt x="32" y="446"/>
                    </a:lnTo>
                    <a:lnTo>
                      <a:pt x="32" y="436"/>
                    </a:lnTo>
                    <a:lnTo>
                      <a:pt x="34" y="434"/>
                    </a:lnTo>
                    <a:lnTo>
                      <a:pt x="35" y="432"/>
                    </a:lnTo>
                    <a:lnTo>
                      <a:pt x="35" y="432"/>
                    </a:lnTo>
                    <a:lnTo>
                      <a:pt x="38" y="432"/>
                    </a:lnTo>
                    <a:lnTo>
                      <a:pt x="38" y="429"/>
                    </a:lnTo>
                    <a:lnTo>
                      <a:pt x="38" y="428"/>
                    </a:lnTo>
                    <a:lnTo>
                      <a:pt x="41" y="427"/>
                    </a:lnTo>
                    <a:lnTo>
                      <a:pt x="41" y="427"/>
                    </a:lnTo>
                    <a:lnTo>
                      <a:pt x="44" y="427"/>
                    </a:lnTo>
                    <a:lnTo>
                      <a:pt x="44" y="428"/>
                    </a:lnTo>
                    <a:lnTo>
                      <a:pt x="44" y="431"/>
                    </a:lnTo>
                    <a:lnTo>
                      <a:pt x="45" y="432"/>
                    </a:lnTo>
                    <a:lnTo>
                      <a:pt x="45" y="432"/>
                    </a:lnTo>
                    <a:lnTo>
                      <a:pt x="48" y="434"/>
                    </a:lnTo>
                    <a:lnTo>
                      <a:pt x="49" y="435"/>
                    </a:lnTo>
                    <a:lnTo>
                      <a:pt x="49" y="438"/>
                    </a:lnTo>
                    <a:lnTo>
                      <a:pt x="47" y="439"/>
                    </a:lnTo>
                    <a:lnTo>
                      <a:pt x="47" y="439"/>
                    </a:lnTo>
                    <a:lnTo>
                      <a:pt x="45" y="441"/>
                    </a:lnTo>
                    <a:lnTo>
                      <a:pt x="44" y="442"/>
                    </a:lnTo>
                    <a:lnTo>
                      <a:pt x="45" y="446"/>
                    </a:lnTo>
                    <a:lnTo>
                      <a:pt x="45" y="449"/>
                    </a:lnTo>
                    <a:lnTo>
                      <a:pt x="45" y="454"/>
                    </a:lnTo>
                    <a:lnTo>
                      <a:pt x="45" y="454"/>
                    </a:lnTo>
                    <a:lnTo>
                      <a:pt x="41" y="459"/>
                    </a:lnTo>
                    <a:lnTo>
                      <a:pt x="41" y="462"/>
                    </a:lnTo>
                    <a:lnTo>
                      <a:pt x="41" y="466"/>
                    </a:lnTo>
                    <a:lnTo>
                      <a:pt x="41" y="466"/>
                    </a:lnTo>
                    <a:lnTo>
                      <a:pt x="41" y="469"/>
                    </a:lnTo>
                    <a:lnTo>
                      <a:pt x="41" y="471"/>
                    </a:lnTo>
                    <a:lnTo>
                      <a:pt x="39" y="472"/>
                    </a:lnTo>
                    <a:lnTo>
                      <a:pt x="38" y="476"/>
                    </a:lnTo>
                    <a:lnTo>
                      <a:pt x="38" y="476"/>
                    </a:lnTo>
                    <a:lnTo>
                      <a:pt x="38" y="479"/>
                    </a:lnTo>
                    <a:lnTo>
                      <a:pt x="39" y="482"/>
                    </a:lnTo>
                    <a:lnTo>
                      <a:pt x="39" y="483"/>
                    </a:lnTo>
                    <a:lnTo>
                      <a:pt x="39" y="483"/>
                    </a:lnTo>
                    <a:lnTo>
                      <a:pt x="39" y="483"/>
                    </a:lnTo>
                    <a:lnTo>
                      <a:pt x="38" y="486"/>
                    </a:lnTo>
                    <a:lnTo>
                      <a:pt x="39" y="488"/>
                    </a:lnTo>
                    <a:lnTo>
                      <a:pt x="39" y="489"/>
                    </a:lnTo>
                    <a:lnTo>
                      <a:pt x="38" y="491"/>
                    </a:lnTo>
                    <a:lnTo>
                      <a:pt x="38" y="491"/>
                    </a:lnTo>
                    <a:lnTo>
                      <a:pt x="37" y="492"/>
                    </a:lnTo>
                    <a:lnTo>
                      <a:pt x="37" y="495"/>
                    </a:lnTo>
                    <a:lnTo>
                      <a:pt x="39" y="501"/>
                    </a:lnTo>
                    <a:lnTo>
                      <a:pt x="39" y="501"/>
                    </a:lnTo>
                    <a:lnTo>
                      <a:pt x="39" y="502"/>
                    </a:lnTo>
                    <a:lnTo>
                      <a:pt x="37" y="503"/>
                    </a:lnTo>
                    <a:lnTo>
                      <a:pt x="34" y="503"/>
                    </a:lnTo>
                    <a:lnTo>
                      <a:pt x="31" y="505"/>
                    </a:lnTo>
                    <a:lnTo>
                      <a:pt x="31" y="505"/>
                    </a:lnTo>
                    <a:lnTo>
                      <a:pt x="29" y="508"/>
                    </a:lnTo>
                    <a:lnTo>
                      <a:pt x="31" y="510"/>
                    </a:lnTo>
                    <a:lnTo>
                      <a:pt x="32" y="513"/>
                    </a:lnTo>
                    <a:lnTo>
                      <a:pt x="32" y="516"/>
                    </a:lnTo>
                    <a:lnTo>
                      <a:pt x="32" y="516"/>
                    </a:lnTo>
                    <a:lnTo>
                      <a:pt x="31" y="518"/>
                    </a:lnTo>
                    <a:lnTo>
                      <a:pt x="28" y="516"/>
                    </a:lnTo>
                    <a:lnTo>
                      <a:pt x="22" y="512"/>
                    </a:lnTo>
                    <a:lnTo>
                      <a:pt x="22" y="512"/>
                    </a:lnTo>
                    <a:lnTo>
                      <a:pt x="22" y="509"/>
                    </a:lnTo>
                    <a:lnTo>
                      <a:pt x="24" y="506"/>
                    </a:lnTo>
                    <a:lnTo>
                      <a:pt x="29" y="501"/>
                    </a:lnTo>
                    <a:lnTo>
                      <a:pt x="29" y="501"/>
                    </a:lnTo>
                    <a:lnTo>
                      <a:pt x="29" y="499"/>
                    </a:lnTo>
                    <a:lnTo>
                      <a:pt x="29" y="496"/>
                    </a:lnTo>
                    <a:lnTo>
                      <a:pt x="28" y="492"/>
                    </a:lnTo>
                    <a:lnTo>
                      <a:pt x="25" y="489"/>
                    </a:lnTo>
                    <a:lnTo>
                      <a:pt x="22" y="489"/>
                    </a:lnTo>
                    <a:lnTo>
                      <a:pt x="21" y="489"/>
                    </a:lnTo>
                    <a:lnTo>
                      <a:pt x="21" y="489"/>
                    </a:lnTo>
                    <a:lnTo>
                      <a:pt x="20" y="491"/>
                    </a:lnTo>
                    <a:lnTo>
                      <a:pt x="20" y="492"/>
                    </a:lnTo>
                    <a:lnTo>
                      <a:pt x="21" y="495"/>
                    </a:lnTo>
                    <a:lnTo>
                      <a:pt x="24" y="498"/>
                    </a:lnTo>
                    <a:lnTo>
                      <a:pt x="27" y="502"/>
                    </a:lnTo>
                    <a:lnTo>
                      <a:pt x="27" y="502"/>
                    </a:lnTo>
                    <a:lnTo>
                      <a:pt x="25" y="503"/>
                    </a:lnTo>
                    <a:lnTo>
                      <a:pt x="25" y="503"/>
                    </a:lnTo>
                    <a:lnTo>
                      <a:pt x="22" y="503"/>
                    </a:lnTo>
                    <a:lnTo>
                      <a:pt x="18" y="503"/>
                    </a:lnTo>
                    <a:lnTo>
                      <a:pt x="18" y="505"/>
                    </a:lnTo>
                    <a:lnTo>
                      <a:pt x="18" y="506"/>
                    </a:lnTo>
                    <a:lnTo>
                      <a:pt x="18" y="506"/>
                    </a:lnTo>
                    <a:lnTo>
                      <a:pt x="17" y="509"/>
                    </a:lnTo>
                    <a:lnTo>
                      <a:pt x="14" y="509"/>
                    </a:lnTo>
                    <a:lnTo>
                      <a:pt x="11" y="510"/>
                    </a:lnTo>
                    <a:lnTo>
                      <a:pt x="8" y="512"/>
                    </a:lnTo>
                    <a:lnTo>
                      <a:pt x="8" y="512"/>
                    </a:lnTo>
                    <a:lnTo>
                      <a:pt x="8" y="515"/>
                    </a:lnTo>
                    <a:lnTo>
                      <a:pt x="8" y="518"/>
                    </a:lnTo>
                    <a:lnTo>
                      <a:pt x="10" y="519"/>
                    </a:lnTo>
                    <a:lnTo>
                      <a:pt x="10" y="520"/>
                    </a:lnTo>
                    <a:lnTo>
                      <a:pt x="10" y="520"/>
                    </a:lnTo>
                    <a:lnTo>
                      <a:pt x="2" y="525"/>
                    </a:lnTo>
                    <a:lnTo>
                      <a:pt x="0" y="528"/>
                    </a:lnTo>
                    <a:lnTo>
                      <a:pt x="0" y="530"/>
                    </a:lnTo>
                    <a:lnTo>
                      <a:pt x="0" y="530"/>
                    </a:lnTo>
                    <a:lnTo>
                      <a:pt x="0" y="532"/>
                    </a:lnTo>
                    <a:lnTo>
                      <a:pt x="1" y="533"/>
                    </a:lnTo>
                    <a:lnTo>
                      <a:pt x="2" y="532"/>
                    </a:lnTo>
                    <a:lnTo>
                      <a:pt x="2" y="530"/>
                    </a:lnTo>
                    <a:lnTo>
                      <a:pt x="2" y="530"/>
                    </a:lnTo>
                    <a:lnTo>
                      <a:pt x="4" y="529"/>
                    </a:lnTo>
                    <a:lnTo>
                      <a:pt x="7" y="528"/>
                    </a:lnTo>
                    <a:lnTo>
                      <a:pt x="8" y="528"/>
                    </a:lnTo>
                    <a:lnTo>
                      <a:pt x="11" y="530"/>
                    </a:lnTo>
                    <a:lnTo>
                      <a:pt x="11" y="530"/>
                    </a:lnTo>
                    <a:lnTo>
                      <a:pt x="12" y="533"/>
                    </a:lnTo>
                    <a:lnTo>
                      <a:pt x="14" y="532"/>
                    </a:lnTo>
                    <a:lnTo>
                      <a:pt x="17" y="532"/>
                    </a:lnTo>
                    <a:lnTo>
                      <a:pt x="20" y="532"/>
                    </a:lnTo>
                    <a:lnTo>
                      <a:pt x="20" y="532"/>
                    </a:lnTo>
                    <a:lnTo>
                      <a:pt x="22" y="533"/>
                    </a:lnTo>
                    <a:lnTo>
                      <a:pt x="24" y="536"/>
                    </a:lnTo>
                    <a:lnTo>
                      <a:pt x="22" y="539"/>
                    </a:lnTo>
                    <a:lnTo>
                      <a:pt x="21" y="540"/>
                    </a:lnTo>
                    <a:lnTo>
                      <a:pt x="21" y="540"/>
                    </a:lnTo>
                    <a:lnTo>
                      <a:pt x="20" y="540"/>
                    </a:lnTo>
                    <a:lnTo>
                      <a:pt x="17" y="543"/>
                    </a:lnTo>
                    <a:lnTo>
                      <a:pt x="17" y="546"/>
                    </a:lnTo>
                    <a:lnTo>
                      <a:pt x="17" y="550"/>
                    </a:lnTo>
                    <a:lnTo>
                      <a:pt x="17" y="550"/>
                    </a:lnTo>
                    <a:lnTo>
                      <a:pt x="17" y="552"/>
                    </a:lnTo>
                    <a:lnTo>
                      <a:pt x="18" y="552"/>
                    </a:lnTo>
                    <a:lnTo>
                      <a:pt x="22" y="552"/>
                    </a:lnTo>
                    <a:lnTo>
                      <a:pt x="27" y="552"/>
                    </a:lnTo>
                    <a:lnTo>
                      <a:pt x="31" y="552"/>
                    </a:lnTo>
                    <a:lnTo>
                      <a:pt x="31" y="552"/>
                    </a:lnTo>
                    <a:lnTo>
                      <a:pt x="34" y="553"/>
                    </a:lnTo>
                    <a:lnTo>
                      <a:pt x="34" y="556"/>
                    </a:lnTo>
                    <a:lnTo>
                      <a:pt x="32" y="557"/>
                    </a:lnTo>
                    <a:lnTo>
                      <a:pt x="31" y="557"/>
                    </a:lnTo>
                    <a:lnTo>
                      <a:pt x="31" y="557"/>
                    </a:lnTo>
                    <a:lnTo>
                      <a:pt x="27" y="555"/>
                    </a:lnTo>
                    <a:lnTo>
                      <a:pt x="24" y="553"/>
                    </a:lnTo>
                    <a:lnTo>
                      <a:pt x="21" y="555"/>
                    </a:lnTo>
                    <a:lnTo>
                      <a:pt x="21" y="555"/>
                    </a:lnTo>
                    <a:lnTo>
                      <a:pt x="18" y="557"/>
                    </a:lnTo>
                    <a:lnTo>
                      <a:pt x="17" y="557"/>
                    </a:lnTo>
                    <a:lnTo>
                      <a:pt x="11" y="556"/>
                    </a:lnTo>
                    <a:lnTo>
                      <a:pt x="11" y="556"/>
                    </a:lnTo>
                    <a:lnTo>
                      <a:pt x="8" y="556"/>
                    </a:lnTo>
                    <a:lnTo>
                      <a:pt x="2" y="559"/>
                    </a:lnTo>
                    <a:lnTo>
                      <a:pt x="0" y="562"/>
                    </a:lnTo>
                    <a:lnTo>
                      <a:pt x="0" y="563"/>
                    </a:lnTo>
                    <a:lnTo>
                      <a:pt x="1" y="565"/>
                    </a:lnTo>
                    <a:lnTo>
                      <a:pt x="1" y="565"/>
                    </a:lnTo>
                    <a:lnTo>
                      <a:pt x="2" y="567"/>
                    </a:lnTo>
                    <a:lnTo>
                      <a:pt x="4" y="570"/>
                    </a:lnTo>
                    <a:lnTo>
                      <a:pt x="5" y="572"/>
                    </a:lnTo>
                    <a:lnTo>
                      <a:pt x="7" y="572"/>
                    </a:lnTo>
                    <a:lnTo>
                      <a:pt x="7" y="572"/>
                    </a:lnTo>
                    <a:lnTo>
                      <a:pt x="11" y="570"/>
                    </a:lnTo>
                    <a:lnTo>
                      <a:pt x="14" y="567"/>
                    </a:lnTo>
                    <a:lnTo>
                      <a:pt x="14" y="567"/>
                    </a:lnTo>
                    <a:lnTo>
                      <a:pt x="15" y="565"/>
                    </a:lnTo>
                    <a:lnTo>
                      <a:pt x="18" y="563"/>
                    </a:lnTo>
                    <a:lnTo>
                      <a:pt x="20" y="565"/>
                    </a:lnTo>
                    <a:lnTo>
                      <a:pt x="21" y="567"/>
                    </a:lnTo>
                    <a:lnTo>
                      <a:pt x="21" y="567"/>
                    </a:lnTo>
                    <a:lnTo>
                      <a:pt x="20" y="570"/>
                    </a:lnTo>
                    <a:lnTo>
                      <a:pt x="18" y="572"/>
                    </a:lnTo>
                    <a:lnTo>
                      <a:pt x="15" y="573"/>
                    </a:lnTo>
                    <a:lnTo>
                      <a:pt x="12" y="574"/>
                    </a:lnTo>
                    <a:lnTo>
                      <a:pt x="12" y="574"/>
                    </a:lnTo>
                    <a:lnTo>
                      <a:pt x="10" y="579"/>
                    </a:lnTo>
                    <a:lnTo>
                      <a:pt x="4" y="584"/>
                    </a:lnTo>
                    <a:lnTo>
                      <a:pt x="4" y="584"/>
                    </a:lnTo>
                    <a:lnTo>
                      <a:pt x="2" y="587"/>
                    </a:lnTo>
                    <a:lnTo>
                      <a:pt x="4" y="589"/>
                    </a:lnTo>
                    <a:lnTo>
                      <a:pt x="5" y="592"/>
                    </a:lnTo>
                    <a:lnTo>
                      <a:pt x="8" y="590"/>
                    </a:lnTo>
                    <a:lnTo>
                      <a:pt x="8" y="590"/>
                    </a:lnTo>
                    <a:lnTo>
                      <a:pt x="10" y="590"/>
                    </a:lnTo>
                    <a:lnTo>
                      <a:pt x="10" y="593"/>
                    </a:lnTo>
                    <a:lnTo>
                      <a:pt x="10" y="594"/>
                    </a:lnTo>
                    <a:lnTo>
                      <a:pt x="12" y="596"/>
                    </a:lnTo>
                    <a:lnTo>
                      <a:pt x="12" y="596"/>
                    </a:lnTo>
                    <a:lnTo>
                      <a:pt x="15" y="596"/>
                    </a:lnTo>
                    <a:lnTo>
                      <a:pt x="17" y="594"/>
                    </a:lnTo>
                    <a:lnTo>
                      <a:pt x="17" y="592"/>
                    </a:lnTo>
                    <a:lnTo>
                      <a:pt x="17" y="589"/>
                    </a:lnTo>
                    <a:lnTo>
                      <a:pt x="17" y="589"/>
                    </a:lnTo>
                    <a:lnTo>
                      <a:pt x="17" y="586"/>
                    </a:lnTo>
                    <a:lnTo>
                      <a:pt x="18" y="583"/>
                    </a:lnTo>
                    <a:lnTo>
                      <a:pt x="21" y="580"/>
                    </a:lnTo>
                    <a:lnTo>
                      <a:pt x="22" y="582"/>
                    </a:lnTo>
                    <a:lnTo>
                      <a:pt x="24" y="582"/>
                    </a:lnTo>
                    <a:lnTo>
                      <a:pt x="24" y="582"/>
                    </a:lnTo>
                    <a:lnTo>
                      <a:pt x="25" y="584"/>
                    </a:lnTo>
                    <a:lnTo>
                      <a:pt x="24" y="587"/>
                    </a:lnTo>
                    <a:lnTo>
                      <a:pt x="22" y="590"/>
                    </a:lnTo>
                    <a:lnTo>
                      <a:pt x="21" y="593"/>
                    </a:lnTo>
                    <a:lnTo>
                      <a:pt x="21" y="593"/>
                    </a:lnTo>
                    <a:lnTo>
                      <a:pt x="20" y="599"/>
                    </a:lnTo>
                    <a:lnTo>
                      <a:pt x="20" y="606"/>
                    </a:lnTo>
                    <a:lnTo>
                      <a:pt x="20" y="606"/>
                    </a:lnTo>
                    <a:lnTo>
                      <a:pt x="18" y="607"/>
                    </a:lnTo>
                    <a:lnTo>
                      <a:pt x="17" y="609"/>
                    </a:lnTo>
                    <a:lnTo>
                      <a:pt x="15" y="609"/>
                    </a:lnTo>
                    <a:lnTo>
                      <a:pt x="15" y="611"/>
                    </a:lnTo>
                    <a:lnTo>
                      <a:pt x="15" y="611"/>
                    </a:lnTo>
                    <a:lnTo>
                      <a:pt x="14" y="613"/>
                    </a:lnTo>
                    <a:lnTo>
                      <a:pt x="14" y="613"/>
                    </a:lnTo>
                    <a:lnTo>
                      <a:pt x="11" y="614"/>
                    </a:lnTo>
                    <a:lnTo>
                      <a:pt x="8" y="614"/>
                    </a:lnTo>
                    <a:lnTo>
                      <a:pt x="10" y="616"/>
                    </a:lnTo>
                    <a:lnTo>
                      <a:pt x="10" y="616"/>
                    </a:lnTo>
                    <a:lnTo>
                      <a:pt x="11" y="619"/>
                    </a:lnTo>
                    <a:lnTo>
                      <a:pt x="10" y="620"/>
                    </a:lnTo>
                    <a:lnTo>
                      <a:pt x="8" y="623"/>
                    </a:lnTo>
                    <a:lnTo>
                      <a:pt x="10" y="626"/>
                    </a:lnTo>
                    <a:lnTo>
                      <a:pt x="10" y="626"/>
                    </a:lnTo>
                    <a:lnTo>
                      <a:pt x="11" y="626"/>
                    </a:lnTo>
                    <a:lnTo>
                      <a:pt x="12" y="624"/>
                    </a:lnTo>
                    <a:lnTo>
                      <a:pt x="15" y="623"/>
                    </a:lnTo>
                    <a:lnTo>
                      <a:pt x="18" y="623"/>
                    </a:lnTo>
                    <a:lnTo>
                      <a:pt x="18" y="623"/>
                    </a:lnTo>
                    <a:lnTo>
                      <a:pt x="21" y="624"/>
                    </a:lnTo>
                    <a:lnTo>
                      <a:pt x="25" y="623"/>
                    </a:lnTo>
                    <a:lnTo>
                      <a:pt x="25" y="623"/>
                    </a:lnTo>
                    <a:lnTo>
                      <a:pt x="29" y="623"/>
                    </a:lnTo>
                    <a:lnTo>
                      <a:pt x="31" y="624"/>
                    </a:lnTo>
                    <a:lnTo>
                      <a:pt x="31" y="627"/>
                    </a:lnTo>
                    <a:lnTo>
                      <a:pt x="29" y="629"/>
                    </a:lnTo>
                    <a:lnTo>
                      <a:pt x="29" y="629"/>
                    </a:lnTo>
                    <a:lnTo>
                      <a:pt x="25" y="630"/>
                    </a:lnTo>
                    <a:lnTo>
                      <a:pt x="22" y="633"/>
                    </a:lnTo>
                    <a:lnTo>
                      <a:pt x="21" y="634"/>
                    </a:lnTo>
                    <a:lnTo>
                      <a:pt x="21" y="636"/>
                    </a:lnTo>
                    <a:lnTo>
                      <a:pt x="21" y="636"/>
                    </a:lnTo>
                    <a:lnTo>
                      <a:pt x="27" y="636"/>
                    </a:lnTo>
                    <a:lnTo>
                      <a:pt x="29" y="636"/>
                    </a:lnTo>
                    <a:lnTo>
                      <a:pt x="31" y="637"/>
                    </a:lnTo>
                    <a:lnTo>
                      <a:pt x="31" y="637"/>
                    </a:lnTo>
                    <a:lnTo>
                      <a:pt x="32" y="640"/>
                    </a:lnTo>
                    <a:lnTo>
                      <a:pt x="34" y="640"/>
                    </a:lnTo>
                    <a:lnTo>
                      <a:pt x="35" y="638"/>
                    </a:lnTo>
                    <a:lnTo>
                      <a:pt x="37" y="636"/>
                    </a:lnTo>
                    <a:lnTo>
                      <a:pt x="37" y="636"/>
                    </a:lnTo>
                    <a:lnTo>
                      <a:pt x="37" y="634"/>
                    </a:lnTo>
                    <a:lnTo>
                      <a:pt x="38" y="633"/>
                    </a:lnTo>
                    <a:lnTo>
                      <a:pt x="41" y="633"/>
                    </a:lnTo>
                    <a:lnTo>
                      <a:pt x="45" y="636"/>
                    </a:lnTo>
                    <a:lnTo>
                      <a:pt x="47" y="638"/>
                    </a:lnTo>
                    <a:lnTo>
                      <a:pt x="47" y="638"/>
                    </a:lnTo>
                    <a:lnTo>
                      <a:pt x="47" y="640"/>
                    </a:lnTo>
                    <a:lnTo>
                      <a:pt x="45" y="641"/>
                    </a:lnTo>
                    <a:lnTo>
                      <a:pt x="42" y="644"/>
                    </a:lnTo>
                    <a:lnTo>
                      <a:pt x="37" y="644"/>
                    </a:lnTo>
                    <a:lnTo>
                      <a:pt x="32" y="644"/>
                    </a:lnTo>
                    <a:lnTo>
                      <a:pt x="32" y="644"/>
                    </a:lnTo>
                    <a:lnTo>
                      <a:pt x="29" y="644"/>
                    </a:lnTo>
                    <a:lnTo>
                      <a:pt x="27" y="647"/>
                    </a:lnTo>
                    <a:lnTo>
                      <a:pt x="27" y="650"/>
                    </a:lnTo>
                    <a:lnTo>
                      <a:pt x="28" y="654"/>
                    </a:lnTo>
                    <a:lnTo>
                      <a:pt x="28" y="654"/>
                    </a:lnTo>
                    <a:lnTo>
                      <a:pt x="31" y="656"/>
                    </a:lnTo>
                    <a:lnTo>
                      <a:pt x="34" y="656"/>
                    </a:lnTo>
                    <a:lnTo>
                      <a:pt x="39" y="650"/>
                    </a:lnTo>
                    <a:lnTo>
                      <a:pt x="39" y="650"/>
                    </a:lnTo>
                    <a:lnTo>
                      <a:pt x="45" y="648"/>
                    </a:lnTo>
                    <a:lnTo>
                      <a:pt x="52" y="648"/>
                    </a:lnTo>
                    <a:lnTo>
                      <a:pt x="61" y="648"/>
                    </a:lnTo>
                    <a:lnTo>
                      <a:pt x="62" y="650"/>
                    </a:lnTo>
                    <a:lnTo>
                      <a:pt x="64" y="651"/>
                    </a:lnTo>
                    <a:lnTo>
                      <a:pt x="64" y="651"/>
                    </a:lnTo>
                    <a:lnTo>
                      <a:pt x="64" y="653"/>
                    </a:lnTo>
                    <a:lnTo>
                      <a:pt x="64" y="654"/>
                    </a:lnTo>
                    <a:lnTo>
                      <a:pt x="61" y="654"/>
                    </a:lnTo>
                    <a:lnTo>
                      <a:pt x="56" y="654"/>
                    </a:lnTo>
                    <a:lnTo>
                      <a:pt x="54" y="654"/>
                    </a:lnTo>
                    <a:lnTo>
                      <a:pt x="54" y="654"/>
                    </a:lnTo>
                    <a:lnTo>
                      <a:pt x="52" y="657"/>
                    </a:lnTo>
                    <a:lnTo>
                      <a:pt x="49" y="657"/>
                    </a:lnTo>
                    <a:lnTo>
                      <a:pt x="47" y="658"/>
                    </a:lnTo>
                    <a:lnTo>
                      <a:pt x="44" y="657"/>
                    </a:lnTo>
                    <a:lnTo>
                      <a:pt x="44" y="657"/>
                    </a:lnTo>
                    <a:lnTo>
                      <a:pt x="42" y="656"/>
                    </a:lnTo>
                    <a:lnTo>
                      <a:pt x="39" y="657"/>
                    </a:lnTo>
                    <a:lnTo>
                      <a:pt x="37" y="658"/>
                    </a:lnTo>
                    <a:lnTo>
                      <a:pt x="35" y="663"/>
                    </a:lnTo>
                    <a:lnTo>
                      <a:pt x="35" y="663"/>
                    </a:lnTo>
                    <a:lnTo>
                      <a:pt x="34" y="666"/>
                    </a:lnTo>
                    <a:lnTo>
                      <a:pt x="32" y="667"/>
                    </a:lnTo>
                    <a:lnTo>
                      <a:pt x="32" y="667"/>
                    </a:lnTo>
                    <a:lnTo>
                      <a:pt x="35" y="668"/>
                    </a:lnTo>
                    <a:lnTo>
                      <a:pt x="35" y="668"/>
                    </a:lnTo>
                    <a:lnTo>
                      <a:pt x="38" y="668"/>
                    </a:lnTo>
                    <a:lnTo>
                      <a:pt x="39" y="668"/>
                    </a:lnTo>
                    <a:lnTo>
                      <a:pt x="42" y="666"/>
                    </a:lnTo>
                    <a:lnTo>
                      <a:pt x="45" y="664"/>
                    </a:lnTo>
                    <a:lnTo>
                      <a:pt x="47" y="663"/>
                    </a:lnTo>
                    <a:lnTo>
                      <a:pt x="51" y="663"/>
                    </a:lnTo>
                    <a:lnTo>
                      <a:pt x="51" y="663"/>
                    </a:lnTo>
                    <a:lnTo>
                      <a:pt x="56" y="661"/>
                    </a:lnTo>
                    <a:lnTo>
                      <a:pt x="62" y="658"/>
                    </a:lnTo>
                    <a:lnTo>
                      <a:pt x="65" y="657"/>
                    </a:lnTo>
                    <a:lnTo>
                      <a:pt x="68" y="657"/>
                    </a:lnTo>
                    <a:lnTo>
                      <a:pt x="68" y="658"/>
                    </a:lnTo>
                    <a:lnTo>
                      <a:pt x="68" y="658"/>
                    </a:lnTo>
                    <a:lnTo>
                      <a:pt x="69" y="661"/>
                    </a:lnTo>
                    <a:lnTo>
                      <a:pt x="68" y="663"/>
                    </a:lnTo>
                    <a:lnTo>
                      <a:pt x="65" y="666"/>
                    </a:lnTo>
                    <a:lnTo>
                      <a:pt x="61" y="667"/>
                    </a:lnTo>
                    <a:lnTo>
                      <a:pt x="56" y="666"/>
                    </a:lnTo>
                    <a:lnTo>
                      <a:pt x="56" y="666"/>
                    </a:lnTo>
                    <a:lnTo>
                      <a:pt x="54" y="664"/>
                    </a:lnTo>
                    <a:lnTo>
                      <a:pt x="51" y="667"/>
                    </a:lnTo>
                    <a:lnTo>
                      <a:pt x="49" y="670"/>
                    </a:lnTo>
                    <a:lnTo>
                      <a:pt x="48" y="674"/>
                    </a:lnTo>
                    <a:lnTo>
                      <a:pt x="48" y="674"/>
                    </a:lnTo>
                    <a:lnTo>
                      <a:pt x="48" y="675"/>
                    </a:lnTo>
                    <a:lnTo>
                      <a:pt x="47" y="675"/>
                    </a:lnTo>
                    <a:lnTo>
                      <a:pt x="42" y="675"/>
                    </a:lnTo>
                    <a:lnTo>
                      <a:pt x="31" y="671"/>
                    </a:lnTo>
                    <a:lnTo>
                      <a:pt x="31" y="671"/>
                    </a:lnTo>
                    <a:lnTo>
                      <a:pt x="28" y="673"/>
                    </a:lnTo>
                    <a:lnTo>
                      <a:pt x="28" y="674"/>
                    </a:lnTo>
                    <a:lnTo>
                      <a:pt x="29" y="678"/>
                    </a:lnTo>
                    <a:lnTo>
                      <a:pt x="32" y="683"/>
                    </a:lnTo>
                    <a:lnTo>
                      <a:pt x="32" y="683"/>
                    </a:lnTo>
                    <a:lnTo>
                      <a:pt x="37" y="684"/>
                    </a:lnTo>
                    <a:lnTo>
                      <a:pt x="39" y="684"/>
                    </a:lnTo>
                    <a:lnTo>
                      <a:pt x="42" y="684"/>
                    </a:lnTo>
                    <a:lnTo>
                      <a:pt x="47" y="685"/>
                    </a:lnTo>
                    <a:lnTo>
                      <a:pt x="47" y="685"/>
                    </a:lnTo>
                    <a:lnTo>
                      <a:pt x="52" y="690"/>
                    </a:lnTo>
                    <a:lnTo>
                      <a:pt x="55" y="691"/>
                    </a:lnTo>
                    <a:lnTo>
                      <a:pt x="56" y="690"/>
                    </a:lnTo>
                    <a:lnTo>
                      <a:pt x="56" y="690"/>
                    </a:lnTo>
                    <a:lnTo>
                      <a:pt x="59" y="687"/>
                    </a:lnTo>
                    <a:lnTo>
                      <a:pt x="58" y="685"/>
                    </a:lnTo>
                    <a:lnTo>
                      <a:pt x="54" y="684"/>
                    </a:lnTo>
                    <a:lnTo>
                      <a:pt x="54" y="684"/>
                    </a:lnTo>
                    <a:lnTo>
                      <a:pt x="54" y="683"/>
                    </a:lnTo>
                    <a:lnTo>
                      <a:pt x="54" y="680"/>
                    </a:lnTo>
                    <a:lnTo>
                      <a:pt x="56" y="678"/>
                    </a:lnTo>
                    <a:lnTo>
                      <a:pt x="61" y="680"/>
                    </a:lnTo>
                    <a:lnTo>
                      <a:pt x="61" y="680"/>
                    </a:lnTo>
                    <a:lnTo>
                      <a:pt x="65" y="680"/>
                    </a:lnTo>
                    <a:lnTo>
                      <a:pt x="71" y="678"/>
                    </a:lnTo>
                    <a:lnTo>
                      <a:pt x="74" y="674"/>
                    </a:lnTo>
                    <a:lnTo>
                      <a:pt x="74" y="668"/>
                    </a:lnTo>
                    <a:lnTo>
                      <a:pt x="74" y="668"/>
                    </a:lnTo>
                    <a:lnTo>
                      <a:pt x="72" y="666"/>
                    </a:lnTo>
                    <a:lnTo>
                      <a:pt x="74" y="663"/>
                    </a:lnTo>
                    <a:lnTo>
                      <a:pt x="76" y="658"/>
                    </a:lnTo>
                    <a:lnTo>
                      <a:pt x="81" y="656"/>
                    </a:lnTo>
                    <a:lnTo>
                      <a:pt x="88" y="653"/>
                    </a:lnTo>
                    <a:lnTo>
                      <a:pt x="88" y="653"/>
                    </a:lnTo>
                    <a:lnTo>
                      <a:pt x="91" y="653"/>
                    </a:lnTo>
                    <a:lnTo>
                      <a:pt x="92" y="654"/>
                    </a:lnTo>
                    <a:lnTo>
                      <a:pt x="92" y="656"/>
                    </a:lnTo>
                    <a:lnTo>
                      <a:pt x="89" y="658"/>
                    </a:lnTo>
                    <a:lnTo>
                      <a:pt x="85" y="661"/>
                    </a:lnTo>
                    <a:lnTo>
                      <a:pt x="85" y="661"/>
                    </a:lnTo>
                    <a:lnTo>
                      <a:pt x="82" y="663"/>
                    </a:lnTo>
                    <a:lnTo>
                      <a:pt x="79" y="664"/>
                    </a:lnTo>
                    <a:lnTo>
                      <a:pt x="81" y="667"/>
                    </a:lnTo>
                    <a:lnTo>
                      <a:pt x="82" y="670"/>
                    </a:lnTo>
                    <a:lnTo>
                      <a:pt x="82" y="670"/>
                    </a:lnTo>
                    <a:lnTo>
                      <a:pt x="85" y="671"/>
                    </a:lnTo>
                    <a:lnTo>
                      <a:pt x="86" y="671"/>
                    </a:lnTo>
                    <a:lnTo>
                      <a:pt x="91" y="671"/>
                    </a:lnTo>
                    <a:lnTo>
                      <a:pt x="93" y="670"/>
                    </a:lnTo>
                    <a:lnTo>
                      <a:pt x="96" y="670"/>
                    </a:lnTo>
                    <a:lnTo>
                      <a:pt x="98" y="671"/>
                    </a:lnTo>
                    <a:lnTo>
                      <a:pt x="98" y="671"/>
                    </a:lnTo>
                    <a:lnTo>
                      <a:pt x="98" y="673"/>
                    </a:lnTo>
                    <a:lnTo>
                      <a:pt x="98" y="673"/>
                    </a:lnTo>
                    <a:lnTo>
                      <a:pt x="95" y="674"/>
                    </a:lnTo>
                    <a:lnTo>
                      <a:pt x="91" y="675"/>
                    </a:lnTo>
                    <a:lnTo>
                      <a:pt x="88" y="678"/>
                    </a:lnTo>
                    <a:lnTo>
                      <a:pt x="88" y="678"/>
                    </a:lnTo>
                    <a:lnTo>
                      <a:pt x="88" y="681"/>
                    </a:lnTo>
                    <a:lnTo>
                      <a:pt x="91" y="684"/>
                    </a:lnTo>
                    <a:lnTo>
                      <a:pt x="91" y="687"/>
                    </a:lnTo>
                    <a:lnTo>
                      <a:pt x="91" y="688"/>
                    </a:lnTo>
                    <a:lnTo>
                      <a:pt x="89" y="690"/>
                    </a:lnTo>
                    <a:lnTo>
                      <a:pt x="89" y="690"/>
                    </a:lnTo>
                    <a:lnTo>
                      <a:pt x="88" y="690"/>
                    </a:lnTo>
                    <a:lnTo>
                      <a:pt x="86" y="688"/>
                    </a:lnTo>
                    <a:lnTo>
                      <a:pt x="85" y="684"/>
                    </a:lnTo>
                    <a:lnTo>
                      <a:pt x="84" y="680"/>
                    </a:lnTo>
                    <a:lnTo>
                      <a:pt x="84" y="677"/>
                    </a:lnTo>
                    <a:lnTo>
                      <a:pt x="82" y="675"/>
                    </a:lnTo>
                    <a:lnTo>
                      <a:pt x="82" y="675"/>
                    </a:lnTo>
                    <a:lnTo>
                      <a:pt x="79" y="675"/>
                    </a:lnTo>
                    <a:lnTo>
                      <a:pt x="78" y="677"/>
                    </a:lnTo>
                    <a:lnTo>
                      <a:pt x="78" y="681"/>
                    </a:lnTo>
                    <a:lnTo>
                      <a:pt x="79" y="685"/>
                    </a:lnTo>
                    <a:lnTo>
                      <a:pt x="79" y="685"/>
                    </a:lnTo>
                    <a:lnTo>
                      <a:pt x="79" y="690"/>
                    </a:lnTo>
                    <a:lnTo>
                      <a:pt x="78" y="690"/>
                    </a:lnTo>
                    <a:lnTo>
                      <a:pt x="71" y="683"/>
                    </a:lnTo>
                    <a:lnTo>
                      <a:pt x="71" y="683"/>
                    </a:lnTo>
                    <a:lnTo>
                      <a:pt x="68" y="683"/>
                    </a:lnTo>
                    <a:lnTo>
                      <a:pt x="66" y="683"/>
                    </a:lnTo>
                    <a:lnTo>
                      <a:pt x="65" y="685"/>
                    </a:lnTo>
                    <a:lnTo>
                      <a:pt x="66" y="690"/>
                    </a:lnTo>
                    <a:lnTo>
                      <a:pt x="66" y="690"/>
                    </a:lnTo>
                    <a:lnTo>
                      <a:pt x="68" y="691"/>
                    </a:lnTo>
                    <a:lnTo>
                      <a:pt x="68" y="691"/>
                    </a:lnTo>
                    <a:lnTo>
                      <a:pt x="65" y="691"/>
                    </a:lnTo>
                    <a:lnTo>
                      <a:pt x="61" y="693"/>
                    </a:lnTo>
                    <a:lnTo>
                      <a:pt x="59" y="694"/>
                    </a:lnTo>
                    <a:lnTo>
                      <a:pt x="59" y="695"/>
                    </a:lnTo>
                    <a:lnTo>
                      <a:pt x="59" y="695"/>
                    </a:lnTo>
                    <a:lnTo>
                      <a:pt x="59" y="698"/>
                    </a:lnTo>
                    <a:lnTo>
                      <a:pt x="62" y="698"/>
                    </a:lnTo>
                    <a:lnTo>
                      <a:pt x="66" y="698"/>
                    </a:lnTo>
                    <a:lnTo>
                      <a:pt x="71" y="698"/>
                    </a:lnTo>
                    <a:lnTo>
                      <a:pt x="71" y="698"/>
                    </a:lnTo>
                    <a:lnTo>
                      <a:pt x="72" y="700"/>
                    </a:lnTo>
                    <a:lnTo>
                      <a:pt x="74" y="701"/>
                    </a:lnTo>
                    <a:lnTo>
                      <a:pt x="75" y="704"/>
                    </a:lnTo>
                    <a:lnTo>
                      <a:pt x="76" y="708"/>
                    </a:lnTo>
                    <a:lnTo>
                      <a:pt x="79" y="712"/>
                    </a:lnTo>
                    <a:lnTo>
                      <a:pt x="79" y="712"/>
                    </a:lnTo>
                    <a:lnTo>
                      <a:pt x="81" y="712"/>
                    </a:lnTo>
                    <a:lnTo>
                      <a:pt x="81" y="712"/>
                    </a:lnTo>
                    <a:lnTo>
                      <a:pt x="82" y="708"/>
                    </a:lnTo>
                    <a:lnTo>
                      <a:pt x="82" y="703"/>
                    </a:lnTo>
                    <a:lnTo>
                      <a:pt x="84" y="701"/>
                    </a:lnTo>
                    <a:lnTo>
                      <a:pt x="85" y="700"/>
                    </a:lnTo>
                    <a:lnTo>
                      <a:pt x="85" y="700"/>
                    </a:lnTo>
                    <a:lnTo>
                      <a:pt x="86" y="700"/>
                    </a:lnTo>
                    <a:lnTo>
                      <a:pt x="86" y="701"/>
                    </a:lnTo>
                    <a:lnTo>
                      <a:pt x="88" y="705"/>
                    </a:lnTo>
                    <a:lnTo>
                      <a:pt x="91" y="711"/>
                    </a:lnTo>
                    <a:lnTo>
                      <a:pt x="92" y="712"/>
                    </a:lnTo>
                    <a:lnTo>
                      <a:pt x="96" y="715"/>
                    </a:lnTo>
                    <a:lnTo>
                      <a:pt x="96" y="715"/>
                    </a:lnTo>
                    <a:lnTo>
                      <a:pt x="101" y="715"/>
                    </a:lnTo>
                    <a:lnTo>
                      <a:pt x="101" y="715"/>
                    </a:lnTo>
                    <a:lnTo>
                      <a:pt x="101" y="715"/>
                    </a:lnTo>
                    <a:lnTo>
                      <a:pt x="101" y="712"/>
                    </a:lnTo>
                    <a:lnTo>
                      <a:pt x="101" y="711"/>
                    </a:lnTo>
                    <a:lnTo>
                      <a:pt x="102" y="710"/>
                    </a:lnTo>
                    <a:lnTo>
                      <a:pt x="102" y="710"/>
                    </a:lnTo>
                    <a:lnTo>
                      <a:pt x="103" y="708"/>
                    </a:lnTo>
                    <a:lnTo>
                      <a:pt x="105" y="710"/>
                    </a:lnTo>
                    <a:lnTo>
                      <a:pt x="109" y="714"/>
                    </a:lnTo>
                    <a:lnTo>
                      <a:pt x="113" y="718"/>
                    </a:lnTo>
                    <a:lnTo>
                      <a:pt x="118" y="721"/>
                    </a:lnTo>
                    <a:lnTo>
                      <a:pt x="118" y="721"/>
                    </a:lnTo>
                    <a:lnTo>
                      <a:pt x="119" y="721"/>
                    </a:lnTo>
                    <a:lnTo>
                      <a:pt x="121" y="721"/>
                    </a:lnTo>
                    <a:lnTo>
                      <a:pt x="121" y="718"/>
                    </a:lnTo>
                    <a:lnTo>
                      <a:pt x="119" y="714"/>
                    </a:lnTo>
                    <a:lnTo>
                      <a:pt x="116" y="711"/>
                    </a:lnTo>
                    <a:lnTo>
                      <a:pt x="116" y="711"/>
                    </a:lnTo>
                    <a:lnTo>
                      <a:pt x="115" y="708"/>
                    </a:lnTo>
                    <a:lnTo>
                      <a:pt x="118" y="708"/>
                    </a:lnTo>
                    <a:lnTo>
                      <a:pt x="125" y="711"/>
                    </a:lnTo>
                    <a:lnTo>
                      <a:pt x="125" y="711"/>
                    </a:lnTo>
                    <a:lnTo>
                      <a:pt x="132" y="712"/>
                    </a:lnTo>
                    <a:lnTo>
                      <a:pt x="135" y="711"/>
                    </a:lnTo>
                    <a:lnTo>
                      <a:pt x="136" y="710"/>
                    </a:lnTo>
                    <a:lnTo>
                      <a:pt x="136" y="710"/>
                    </a:lnTo>
                    <a:lnTo>
                      <a:pt x="138" y="708"/>
                    </a:lnTo>
                    <a:lnTo>
                      <a:pt x="139" y="708"/>
                    </a:lnTo>
                    <a:lnTo>
                      <a:pt x="139" y="708"/>
                    </a:lnTo>
                    <a:lnTo>
                      <a:pt x="132" y="707"/>
                    </a:lnTo>
                    <a:lnTo>
                      <a:pt x="123" y="707"/>
                    </a:lnTo>
                    <a:lnTo>
                      <a:pt x="112" y="707"/>
                    </a:lnTo>
                    <a:lnTo>
                      <a:pt x="112" y="707"/>
                    </a:lnTo>
                    <a:lnTo>
                      <a:pt x="111" y="705"/>
                    </a:lnTo>
                    <a:lnTo>
                      <a:pt x="111" y="700"/>
                    </a:lnTo>
                    <a:lnTo>
                      <a:pt x="111" y="684"/>
                    </a:lnTo>
                    <a:lnTo>
                      <a:pt x="112" y="654"/>
                    </a:lnTo>
                    <a:lnTo>
                      <a:pt x="112" y="654"/>
                    </a:lnTo>
                    <a:lnTo>
                      <a:pt x="111" y="654"/>
                    </a:lnTo>
                    <a:lnTo>
                      <a:pt x="111" y="654"/>
                    </a:lnTo>
                    <a:lnTo>
                      <a:pt x="102" y="653"/>
                    </a:lnTo>
                    <a:lnTo>
                      <a:pt x="98" y="651"/>
                    </a:lnTo>
                    <a:lnTo>
                      <a:pt x="98" y="650"/>
                    </a:lnTo>
                    <a:lnTo>
                      <a:pt x="98" y="647"/>
                    </a:lnTo>
                    <a:lnTo>
                      <a:pt x="98" y="647"/>
                    </a:lnTo>
                    <a:lnTo>
                      <a:pt x="99" y="646"/>
                    </a:lnTo>
                    <a:lnTo>
                      <a:pt x="99" y="646"/>
                    </a:lnTo>
                    <a:lnTo>
                      <a:pt x="95" y="643"/>
                    </a:lnTo>
                    <a:lnTo>
                      <a:pt x="91" y="640"/>
                    </a:lnTo>
                    <a:lnTo>
                      <a:pt x="91" y="640"/>
                    </a:lnTo>
                    <a:lnTo>
                      <a:pt x="84" y="640"/>
                    </a:lnTo>
                    <a:lnTo>
                      <a:pt x="75" y="640"/>
                    </a:lnTo>
                    <a:lnTo>
                      <a:pt x="62" y="641"/>
                    </a:lnTo>
                    <a:lnTo>
                      <a:pt x="62" y="641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</p:grpSp>
        <p:grpSp>
          <p:nvGrpSpPr>
            <p:cNvPr id="195" name="Oceana">
              <a:extLst>
                <a:ext uri="{FF2B5EF4-FFF2-40B4-BE49-F238E27FC236}">
                  <a16:creationId xmlns:a16="http://schemas.microsoft.com/office/drawing/2014/main" id="{97328282-CC1C-59E5-916D-8A0DD1E338A8}"/>
                </a:ext>
              </a:extLst>
            </p:cNvPr>
            <p:cNvGrpSpPr/>
            <p:nvPr/>
          </p:nvGrpSpPr>
          <p:grpSpPr>
            <a:xfrm>
              <a:off x="8499168" y="5039842"/>
              <a:ext cx="1568572" cy="951500"/>
              <a:chOff x="6975168" y="4574621"/>
              <a:chExt cx="1568572" cy="951500"/>
            </a:xfrm>
            <a:solidFill>
              <a:schemeClr val="bg1">
                <a:lumMod val="75000"/>
              </a:schemeClr>
            </a:solidFill>
          </p:grpSpPr>
          <p:sp>
            <p:nvSpPr>
              <p:cNvPr id="250" name="New Zealand">
                <a:extLst>
                  <a:ext uri="{FF2B5EF4-FFF2-40B4-BE49-F238E27FC236}">
                    <a16:creationId xmlns:a16="http://schemas.microsoft.com/office/drawing/2014/main" id="{23D40BF1-924F-A138-9776-7FE4DB7DC2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55182" y="5187251"/>
                <a:ext cx="288558" cy="338870"/>
              </a:xfrm>
              <a:custGeom>
                <a:avLst/>
                <a:gdLst/>
                <a:ahLst/>
                <a:cxnLst>
                  <a:cxn ang="0">
                    <a:pos x="114" y="115"/>
                  </a:cxn>
                  <a:cxn ang="0">
                    <a:pos x="104" y="120"/>
                  </a:cxn>
                  <a:cxn ang="0">
                    <a:pos x="92" y="114"/>
                  </a:cxn>
                  <a:cxn ang="0">
                    <a:pos x="87" y="124"/>
                  </a:cxn>
                  <a:cxn ang="0">
                    <a:pos x="78" y="135"/>
                  </a:cxn>
                  <a:cxn ang="0">
                    <a:pos x="67" y="155"/>
                  </a:cxn>
                  <a:cxn ang="0">
                    <a:pos x="30" y="177"/>
                  </a:cxn>
                  <a:cxn ang="0">
                    <a:pos x="14" y="189"/>
                  </a:cxn>
                  <a:cxn ang="0">
                    <a:pos x="5" y="198"/>
                  </a:cxn>
                  <a:cxn ang="0">
                    <a:pos x="0" y="214"/>
                  </a:cxn>
                  <a:cxn ang="0">
                    <a:pos x="8" y="219"/>
                  </a:cxn>
                  <a:cxn ang="0">
                    <a:pos x="20" y="224"/>
                  </a:cxn>
                  <a:cxn ang="0">
                    <a:pos x="28" y="226"/>
                  </a:cxn>
                  <a:cxn ang="0">
                    <a:pos x="48" y="226"/>
                  </a:cxn>
                  <a:cxn ang="0">
                    <a:pos x="64" y="212"/>
                  </a:cxn>
                  <a:cxn ang="0">
                    <a:pos x="68" y="201"/>
                  </a:cxn>
                  <a:cxn ang="0">
                    <a:pos x="77" y="185"/>
                  </a:cxn>
                  <a:cxn ang="0">
                    <a:pos x="94" y="174"/>
                  </a:cxn>
                  <a:cxn ang="0">
                    <a:pos x="102" y="172"/>
                  </a:cxn>
                  <a:cxn ang="0">
                    <a:pos x="99" y="162"/>
                  </a:cxn>
                  <a:cxn ang="0">
                    <a:pos x="109" y="152"/>
                  </a:cxn>
                  <a:cxn ang="0">
                    <a:pos x="112" y="144"/>
                  </a:cxn>
                  <a:cxn ang="0">
                    <a:pos x="122" y="130"/>
                  </a:cxn>
                  <a:cxn ang="0">
                    <a:pos x="122" y="118"/>
                  </a:cxn>
                  <a:cxn ang="0">
                    <a:pos x="178" y="59"/>
                  </a:cxn>
                  <a:cxn ang="0">
                    <a:pos x="168" y="59"/>
                  </a:cxn>
                  <a:cxn ang="0">
                    <a:pos x="155" y="54"/>
                  </a:cxn>
                  <a:cxn ang="0">
                    <a:pos x="152" y="43"/>
                  </a:cxn>
                  <a:cxn ang="0">
                    <a:pos x="146" y="34"/>
                  </a:cxn>
                  <a:cxn ang="0">
                    <a:pos x="145" y="41"/>
                  </a:cxn>
                  <a:cxn ang="0">
                    <a:pos x="142" y="43"/>
                  </a:cxn>
                  <a:cxn ang="0">
                    <a:pos x="136" y="40"/>
                  </a:cxn>
                  <a:cxn ang="0">
                    <a:pos x="134" y="30"/>
                  </a:cxn>
                  <a:cxn ang="0">
                    <a:pos x="126" y="14"/>
                  </a:cxn>
                  <a:cxn ang="0">
                    <a:pos x="119" y="4"/>
                  </a:cxn>
                  <a:cxn ang="0">
                    <a:pos x="105" y="2"/>
                  </a:cxn>
                  <a:cxn ang="0">
                    <a:pos x="112" y="17"/>
                  </a:cxn>
                  <a:cxn ang="0">
                    <a:pos x="124" y="29"/>
                  </a:cxn>
                  <a:cxn ang="0">
                    <a:pos x="129" y="40"/>
                  </a:cxn>
                  <a:cxn ang="0">
                    <a:pos x="134" y="44"/>
                  </a:cxn>
                  <a:cxn ang="0">
                    <a:pos x="131" y="66"/>
                  </a:cxn>
                  <a:cxn ang="0">
                    <a:pos x="116" y="80"/>
                  </a:cxn>
                  <a:cxn ang="0">
                    <a:pos x="122" y="90"/>
                  </a:cxn>
                  <a:cxn ang="0">
                    <a:pos x="141" y="103"/>
                  </a:cxn>
                  <a:cxn ang="0">
                    <a:pos x="134" y="123"/>
                  </a:cxn>
                  <a:cxn ang="0">
                    <a:pos x="138" y="127"/>
                  </a:cxn>
                  <a:cxn ang="0">
                    <a:pos x="151" y="125"/>
                  </a:cxn>
                  <a:cxn ang="0">
                    <a:pos x="166" y="103"/>
                  </a:cxn>
                  <a:cxn ang="0">
                    <a:pos x="171" y="88"/>
                  </a:cxn>
                  <a:cxn ang="0">
                    <a:pos x="176" y="83"/>
                  </a:cxn>
                  <a:cxn ang="0">
                    <a:pos x="183" y="80"/>
                  </a:cxn>
                  <a:cxn ang="0">
                    <a:pos x="189" y="73"/>
                  </a:cxn>
                  <a:cxn ang="0">
                    <a:pos x="192" y="63"/>
                  </a:cxn>
                  <a:cxn ang="0">
                    <a:pos x="193" y="54"/>
                  </a:cxn>
                  <a:cxn ang="0">
                    <a:pos x="178" y="59"/>
                  </a:cxn>
                </a:cxnLst>
                <a:rect l="0" t="0" r="r" b="b"/>
                <a:pathLst>
                  <a:path w="195" h="229">
                    <a:moveTo>
                      <a:pt x="121" y="115"/>
                    </a:moveTo>
                    <a:lnTo>
                      <a:pt x="121" y="115"/>
                    </a:lnTo>
                    <a:lnTo>
                      <a:pt x="116" y="115"/>
                    </a:lnTo>
                    <a:lnTo>
                      <a:pt x="114" y="115"/>
                    </a:lnTo>
                    <a:lnTo>
                      <a:pt x="108" y="120"/>
                    </a:lnTo>
                    <a:lnTo>
                      <a:pt x="108" y="120"/>
                    </a:lnTo>
                    <a:lnTo>
                      <a:pt x="105" y="120"/>
                    </a:lnTo>
                    <a:lnTo>
                      <a:pt x="104" y="120"/>
                    </a:lnTo>
                    <a:lnTo>
                      <a:pt x="99" y="115"/>
                    </a:lnTo>
                    <a:lnTo>
                      <a:pt x="97" y="113"/>
                    </a:lnTo>
                    <a:lnTo>
                      <a:pt x="94" y="113"/>
                    </a:lnTo>
                    <a:lnTo>
                      <a:pt x="92" y="114"/>
                    </a:lnTo>
                    <a:lnTo>
                      <a:pt x="92" y="114"/>
                    </a:lnTo>
                    <a:lnTo>
                      <a:pt x="88" y="117"/>
                    </a:lnTo>
                    <a:lnTo>
                      <a:pt x="88" y="120"/>
                    </a:lnTo>
                    <a:lnTo>
                      <a:pt x="87" y="124"/>
                    </a:lnTo>
                    <a:lnTo>
                      <a:pt x="84" y="127"/>
                    </a:lnTo>
                    <a:lnTo>
                      <a:pt x="84" y="127"/>
                    </a:lnTo>
                    <a:lnTo>
                      <a:pt x="79" y="131"/>
                    </a:lnTo>
                    <a:lnTo>
                      <a:pt x="78" y="135"/>
                    </a:lnTo>
                    <a:lnTo>
                      <a:pt x="75" y="141"/>
                    </a:lnTo>
                    <a:lnTo>
                      <a:pt x="71" y="150"/>
                    </a:lnTo>
                    <a:lnTo>
                      <a:pt x="71" y="150"/>
                    </a:lnTo>
                    <a:lnTo>
                      <a:pt x="67" y="155"/>
                    </a:lnTo>
                    <a:lnTo>
                      <a:pt x="61" y="160"/>
                    </a:lnTo>
                    <a:lnTo>
                      <a:pt x="47" y="167"/>
                    </a:lnTo>
                    <a:lnTo>
                      <a:pt x="34" y="174"/>
                    </a:lnTo>
                    <a:lnTo>
                      <a:pt x="30" y="177"/>
                    </a:lnTo>
                    <a:lnTo>
                      <a:pt x="27" y="179"/>
                    </a:lnTo>
                    <a:lnTo>
                      <a:pt x="27" y="179"/>
                    </a:lnTo>
                    <a:lnTo>
                      <a:pt x="21" y="184"/>
                    </a:lnTo>
                    <a:lnTo>
                      <a:pt x="14" y="189"/>
                    </a:lnTo>
                    <a:lnTo>
                      <a:pt x="8" y="194"/>
                    </a:lnTo>
                    <a:lnTo>
                      <a:pt x="7" y="197"/>
                    </a:lnTo>
                    <a:lnTo>
                      <a:pt x="5" y="198"/>
                    </a:lnTo>
                    <a:lnTo>
                      <a:pt x="5" y="198"/>
                    </a:lnTo>
                    <a:lnTo>
                      <a:pt x="4" y="202"/>
                    </a:lnTo>
                    <a:lnTo>
                      <a:pt x="1" y="206"/>
                    </a:lnTo>
                    <a:lnTo>
                      <a:pt x="0" y="211"/>
                    </a:lnTo>
                    <a:lnTo>
                      <a:pt x="0" y="214"/>
                    </a:lnTo>
                    <a:lnTo>
                      <a:pt x="1" y="215"/>
                    </a:lnTo>
                    <a:lnTo>
                      <a:pt x="1" y="215"/>
                    </a:lnTo>
                    <a:lnTo>
                      <a:pt x="5" y="218"/>
                    </a:lnTo>
                    <a:lnTo>
                      <a:pt x="8" y="219"/>
                    </a:lnTo>
                    <a:lnTo>
                      <a:pt x="13" y="219"/>
                    </a:lnTo>
                    <a:lnTo>
                      <a:pt x="17" y="222"/>
                    </a:lnTo>
                    <a:lnTo>
                      <a:pt x="17" y="222"/>
                    </a:lnTo>
                    <a:lnTo>
                      <a:pt x="20" y="224"/>
                    </a:lnTo>
                    <a:lnTo>
                      <a:pt x="23" y="225"/>
                    </a:lnTo>
                    <a:lnTo>
                      <a:pt x="25" y="225"/>
                    </a:lnTo>
                    <a:lnTo>
                      <a:pt x="28" y="226"/>
                    </a:lnTo>
                    <a:lnTo>
                      <a:pt x="28" y="226"/>
                    </a:lnTo>
                    <a:lnTo>
                      <a:pt x="30" y="228"/>
                    </a:lnTo>
                    <a:lnTo>
                      <a:pt x="31" y="229"/>
                    </a:lnTo>
                    <a:lnTo>
                      <a:pt x="38" y="229"/>
                    </a:lnTo>
                    <a:lnTo>
                      <a:pt x="48" y="226"/>
                    </a:lnTo>
                    <a:lnTo>
                      <a:pt x="52" y="224"/>
                    </a:lnTo>
                    <a:lnTo>
                      <a:pt x="57" y="219"/>
                    </a:lnTo>
                    <a:lnTo>
                      <a:pt x="57" y="219"/>
                    </a:lnTo>
                    <a:lnTo>
                      <a:pt x="64" y="212"/>
                    </a:lnTo>
                    <a:lnTo>
                      <a:pt x="65" y="208"/>
                    </a:lnTo>
                    <a:lnTo>
                      <a:pt x="65" y="204"/>
                    </a:lnTo>
                    <a:lnTo>
                      <a:pt x="68" y="201"/>
                    </a:lnTo>
                    <a:lnTo>
                      <a:pt x="68" y="201"/>
                    </a:lnTo>
                    <a:lnTo>
                      <a:pt x="71" y="198"/>
                    </a:lnTo>
                    <a:lnTo>
                      <a:pt x="72" y="194"/>
                    </a:lnTo>
                    <a:lnTo>
                      <a:pt x="77" y="185"/>
                    </a:lnTo>
                    <a:lnTo>
                      <a:pt x="77" y="185"/>
                    </a:lnTo>
                    <a:lnTo>
                      <a:pt x="78" y="181"/>
                    </a:lnTo>
                    <a:lnTo>
                      <a:pt x="81" y="177"/>
                    </a:lnTo>
                    <a:lnTo>
                      <a:pt x="87" y="175"/>
                    </a:lnTo>
                    <a:lnTo>
                      <a:pt x="94" y="174"/>
                    </a:lnTo>
                    <a:lnTo>
                      <a:pt x="94" y="174"/>
                    </a:lnTo>
                    <a:lnTo>
                      <a:pt x="101" y="174"/>
                    </a:lnTo>
                    <a:lnTo>
                      <a:pt x="101" y="172"/>
                    </a:lnTo>
                    <a:lnTo>
                      <a:pt x="102" y="172"/>
                    </a:lnTo>
                    <a:lnTo>
                      <a:pt x="101" y="169"/>
                    </a:lnTo>
                    <a:lnTo>
                      <a:pt x="99" y="165"/>
                    </a:lnTo>
                    <a:lnTo>
                      <a:pt x="99" y="165"/>
                    </a:lnTo>
                    <a:lnTo>
                      <a:pt x="99" y="162"/>
                    </a:lnTo>
                    <a:lnTo>
                      <a:pt x="101" y="161"/>
                    </a:lnTo>
                    <a:lnTo>
                      <a:pt x="104" y="158"/>
                    </a:lnTo>
                    <a:lnTo>
                      <a:pt x="108" y="155"/>
                    </a:lnTo>
                    <a:lnTo>
                      <a:pt x="109" y="152"/>
                    </a:lnTo>
                    <a:lnTo>
                      <a:pt x="109" y="150"/>
                    </a:lnTo>
                    <a:lnTo>
                      <a:pt x="109" y="150"/>
                    </a:lnTo>
                    <a:lnTo>
                      <a:pt x="111" y="147"/>
                    </a:lnTo>
                    <a:lnTo>
                      <a:pt x="112" y="144"/>
                    </a:lnTo>
                    <a:lnTo>
                      <a:pt x="118" y="140"/>
                    </a:lnTo>
                    <a:lnTo>
                      <a:pt x="122" y="134"/>
                    </a:lnTo>
                    <a:lnTo>
                      <a:pt x="122" y="131"/>
                    </a:lnTo>
                    <a:lnTo>
                      <a:pt x="122" y="130"/>
                    </a:lnTo>
                    <a:lnTo>
                      <a:pt x="122" y="130"/>
                    </a:lnTo>
                    <a:lnTo>
                      <a:pt x="121" y="125"/>
                    </a:lnTo>
                    <a:lnTo>
                      <a:pt x="122" y="121"/>
                    </a:lnTo>
                    <a:lnTo>
                      <a:pt x="122" y="118"/>
                    </a:lnTo>
                    <a:lnTo>
                      <a:pt x="121" y="115"/>
                    </a:lnTo>
                    <a:lnTo>
                      <a:pt x="121" y="115"/>
                    </a:lnTo>
                    <a:close/>
                    <a:moveTo>
                      <a:pt x="178" y="59"/>
                    </a:moveTo>
                    <a:lnTo>
                      <a:pt x="178" y="59"/>
                    </a:lnTo>
                    <a:lnTo>
                      <a:pt x="176" y="60"/>
                    </a:lnTo>
                    <a:lnTo>
                      <a:pt x="175" y="61"/>
                    </a:lnTo>
                    <a:lnTo>
                      <a:pt x="172" y="60"/>
                    </a:lnTo>
                    <a:lnTo>
                      <a:pt x="168" y="59"/>
                    </a:lnTo>
                    <a:lnTo>
                      <a:pt x="162" y="57"/>
                    </a:lnTo>
                    <a:lnTo>
                      <a:pt x="162" y="57"/>
                    </a:lnTo>
                    <a:lnTo>
                      <a:pt x="158" y="57"/>
                    </a:lnTo>
                    <a:lnTo>
                      <a:pt x="155" y="54"/>
                    </a:lnTo>
                    <a:lnTo>
                      <a:pt x="153" y="51"/>
                    </a:lnTo>
                    <a:lnTo>
                      <a:pt x="153" y="47"/>
                    </a:lnTo>
                    <a:lnTo>
                      <a:pt x="153" y="47"/>
                    </a:lnTo>
                    <a:lnTo>
                      <a:pt x="152" y="43"/>
                    </a:lnTo>
                    <a:lnTo>
                      <a:pt x="152" y="39"/>
                    </a:lnTo>
                    <a:lnTo>
                      <a:pt x="149" y="36"/>
                    </a:lnTo>
                    <a:lnTo>
                      <a:pt x="146" y="34"/>
                    </a:lnTo>
                    <a:lnTo>
                      <a:pt x="146" y="34"/>
                    </a:lnTo>
                    <a:lnTo>
                      <a:pt x="143" y="36"/>
                    </a:lnTo>
                    <a:lnTo>
                      <a:pt x="143" y="36"/>
                    </a:lnTo>
                    <a:lnTo>
                      <a:pt x="145" y="39"/>
                    </a:lnTo>
                    <a:lnTo>
                      <a:pt x="145" y="41"/>
                    </a:lnTo>
                    <a:lnTo>
                      <a:pt x="145" y="44"/>
                    </a:lnTo>
                    <a:lnTo>
                      <a:pt x="145" y="44"/>
                    </a:lnTo>
                    <a:lnTo>
                      <a:pt x="143" y="44"/>
                    </a:lnTo>
                    <a:lnTo>
                      <a:pt x="142" y="43"/>
                    </a:lnTo>
                    <a:lnTo>
                      <a:pt x="141" y="41"/>
                    </a:lnTo>
                    <a:lnTo>
                      <a:pt x="139" y="40"/>
                    </a:lnTo>
                    <a:lnTo>
                      <a:pt x="139" y="40"/>
                    </a:lnTo>
                    <a:lnTo>
                      <a:pt x="136" y="40"/>
                    </a:lnTo>
                    <a:lnTo>
                      <a:pt x="135" y="37"/>
                    </a:lnTo>
                    <a:lnTo>
                      <a:pt x="134" y="34"/>
                    </a:lnTo>
                    <a:lnTo>
                      <a:pt x="134" y="30"/>
                    </a:lnTo>
                    <a:lnTo>
                      <a:pt x="134" y="30"/>
                    </a:lnTo>
                    <a:lnTo>
                      <a:pt x="132" y="26"/>
                    </a:lnTo>
                    <a:lnTo>
                      <a:pt x="129" y="23"/>
                    </a:lnTo>
                    <a:lnTo>
                      <a:pt x="128" y="20"/>
                    </a:lnTo>
                    <a:lnTo>
                      <a:pt x="126" y="14"/>
                    </a:lnTo>
                    <a:lnTo>
                      <a:pt x="126" y="14"/>
                    </a:lnTo>
                    <a:lnTo>
                      <a:pt x="126" y="12"/>
                    </a:lnTo>
                    <a:lnTo>
                      <a:pt x="125" y="9"/>
                    </a:lnTo>
                    <a:lnTo>
                      <a:pt x="119" y="4"/>
                    </a:lnTo>
                    <a:lnTo>
                      <a:pt x="114" y="2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105" y="2"/>
                    </a:lnTo>
                    <a:lnTo>
                      <a:pt x="104" y="3"/>
                    </a:lnTo>
                    <a:lnTo>
                      <a:pt x="105" y="7"/>
                    </a:lnTo>
                    <a:lnTo>
                      <a:pt x="109" y="13"/>
                    </a:lnTo>
                    <a:lnTo>
                      <a:pt x="112" y="17"/>
                    </a:lnTo>
                    <a:lnTo>
                      <a:pt x="112" y="17"/>
                    </a:lnTo>
                    <a:lnTo>
                      <a:pt x="119" y="23"/>
                    </a:lnTo>
                    <a:lnTo>
                      <a:pt x="122" y="26"/>
                    </a:lnTo>
                    <a:lnTo>
                      <a:pt x="124" y="29"/>
                    </a:lnTo>
                    <a:lnTo>
                      <a:pt x="124" y="29"/>
                    </a:lnTo>
                    <a:lnTo>
                      <a:pt x="124" y="31"/>
                    </a:lnTo>
                    <a:lnTo>
                      <a:pt x="126" y="36"/>
                    </a:lnTo>
                    <a:lnTo>
                      <a:pt x="129" y="40"/>
                    </a:lnTo>
                    <a:lnTo>
                      <a:pt x="132" y="41"/>
                    </a:lnTo>
                    <a:lnTo>
                      <a:pt x="132" y="41"/>
                    </a:lnTo>
                    <a:lnTo>
                      <a:pt x="134" y="43"/>
                    </a:lnTo>
                    <a:lnTo>
                      <a:pt x="134" y="44"/>
                    </a:lnTo>
                    <a:lnTo>
                      <a:pt x="134" y="50"/>
                    </a:lnTo>
                    <a:lnTo>
                      <a:pt x="131" y="57"/>
                    </a:lnTo>
                    <a:lnTo>
                      <a:pt x="131" y="66"/>
                    </a:lnTo>
                    <a:lnTo>
                      <a:pt x="131" y="66"/>
                    </a:lnTo>
                    <a:lnTo>
                      <a:pt x="129" y="71"/>
                    </a:lnTo>
                    <a:lnTo>
                      <a:pt x="125" y="74"/>
                    </a:lnTo>
                    <a:lnTo>
                      <a:pt x="121" y="77"/>
                    </a:lnTo>
                    <a:lnTo>
                      <a:pt x="116" y="80"/>
                    </a:lnTo>
                    <a:lnTo>
                      <a:pt x="116" y="80"/>
                    </a:lnTo>
                    <a:lnTo>
                      <a:pt x="116" y="83"/>
                    </a:lnTo>
                    <a:lnTo>
                      <a:pt x="116" y="86"/>
                    </a:lnTo>
                    <a:lnTo>
                      <a:pt x="122" y="90"/>
                    </a:lnTo>
                    <a:lnTo>
                      <a:pt x="131" y="94"/>
                    </a:lnTo>
                    <a:lnTo>
                      <a:pt x="138" y="100"/>
                    </a:lnTo>
                    <a:lnTo>
                      <a:pt x="138" y="100"/>
                    </a:lnTo>
                    <a:lnTo>
                      <a:pt x="141" y="103"/>
                    </a:lnTo>
                    <a:lnTo>
                      <a:pt x="141" y="105"/>
                    </a:lnTo>
                    <a:lnTo>
                      <a:pt x="138" y="113"/>
                    </a:lnTo>
                    <a:lnTo>
                      <a:pt x="135" y="120"/>
                    </a:lnTo>
                    <a:lnTo>
                      <a:pt x="134" y="123"/>
                    </a:lnTo>
                    <a:lnTo>
                      <a:pt x="134" y="125"/>
                    </a:lnTo>
                    <a:lnTo>
                      <a:pt x="134" y="125"/>
                    </a:lnTo>
                    <a:lnTo>
                      <a:pt x="135" y="127"/>
                    </a:lnTo>
                    <a:lnTo>
                      <a:pt x="138" y="127"/>
                    </a:lnTo>
                    <a:lnTo>
                      <a:pt x="142" y="128"/>
                    </a:lnTo>
                    <a:lnTo>
                      <a:pt x="148" y="127"/>
                    </a:lnTo>
                    <a:lnTo>
                      <a:pt x="148" y="127"/>
                    </a:lnTo>
                    <a:lnTo>
                      <a:pt x="151" y="125"/>
                    </a:lnTo>
                    <a:lnTo>
                      <a:pt x="153" y="123"/>
                    </a:lnTo>
                    <a:lnTo>
                      <a:pt x="158" y="115"/>
                    </a:lnTo>
                    <a:lnTo>
                      <a:pt x="162" y="108"/>
                    </a:lnTo>
                    <a:lnTo>
                      <a:pt x="166" y="103"/>
                    </a:lnTo>
                    <a:lnTo>
                      <a:pt x="166" y="103"/>
                    </a:lnTo>
                    <a:lnTo>
                      <a:pt x="169" y="98"/>
                    </a:lnTo>
                    <a:lnTo>
                      <a:pt x="169" y="94"/>
                    </a:lnTo>
                    <a:lnTo>
                      <a:pt x="171" y="88"/>
                    </a:lnTo>
                    <a:lnTo>
                      <a:pt x="171" y="86"/>
                    </a:lnTo>
                    <a:lnTo>
                      <a:pt x="171" y="86"/>
                    </a:lnTo>
                    <a:lnTo>
                      <a:pt x="173" y="83"/>
                    </a:lnTo>
                    <a:lnTo>
                      <a:pt x="176" y="83"/>
                    </a:lnTo>
                    <a:lnTo>
                      <a:pt x="182" y="81"/>
                    </a:lnTo>
                    <a:lnTo>
                      <a:pt x="182" y="81"/>
                    </a:lnTo>
                    <a:lnTo>
                      <a:pt x="183" y="81"/>
                    </a:lnTo>
                    <a:lnTo>
                      <a:pt x="183" y="80"/>
                    </a:lnTo>
                    <a:lnTo>
                      <a:pt x="185" y="77"/>
                    </a:lnTo>
                    <a:lnTo>
                      <a:pt x="186" y="74"/>
                    </a:lnTo>
                    <a:lnTo>
                      <a:pt x="186" y="73"/>
                    </a:lnTo>
                    <a:lnTo>
                      <a:pt x="189" y="73"/>
                    </a:lnTo>
                    <a:lnTo>
                      <a:pt x="189" y="73"/>
                    </a:lnTo>
                    <a:lnTo>
                      <a:pt x="190" y="71"/>
                    </a:lnTo>
                    <a:lnTo>
                      <a:pt x="192" y="68"/>
                    </a:lnTo>
                    <a:lnTo>
                      <a:pt x="192" y="63"/>
                    </a:lnTo>
                    <a:lnTo>
                      <a:pt x="193" y="59"/>
                    </a:lnTo>
                    <a:lnTo>
                      <a:pt x="193" y="59"/>
                    </a:lnTo>
                    <a:lnTo>
                      <a:pt x="195" y="56"/>
                    </a:lnTo>
                    <a:lnTo>
                      <a:pt x="193" y="54"/>
                    </a:lnTo>
                    <a:lnTo>
                      <a:pt x="188" y="54"/>
                    </a:lnTo>
                    <a:lnTo>
                      <a:pt x="182" y="56"/>
                    </a:lnTo>
                    <a:lnTo>
                      <a:pt x="178" y="59"/>
                    </a:lnTo>
                    <a:lnTo>
                      <a:pt x="178" y="59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51" name="Australia">
                <a:extLst>
                  <a:ext uri="{FF2B5EF4-FFF2-40B4-BE49-F238E27FC236}">
                    <a16:creationId xmlns:a16="http://schemas.microsoft.com/office/drawing/2014/main" id="{648C20CA-DB44-8775-C655-E0EC3784D2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75168" y="4574621"/>
                <a:ext cx="967778" cy="861234"/>
              </a:xfrm>
              <a:custGeom>
                <a:avLst/>
                <a:gdLst/>
                <a:ahLst/>
                <a:cxnLst>
                  <a:cxn ang="0">
                    <a:pos x="649" y="253"/>
                  </a:cxn>
                  <a:cxn ang="0">
                    <a:pos x="633" y="234"/>
                  </a:cxn>
                  <a:cxn ang="0">
                    <a:pos x="614" y="218"/>
                  </a:cxn>
                  <a:cxn ang="0">
                    <a:pos x="600" y="195"/>
                  </a:cxn>
                  <a:cxn ang="0">
                    <a:pos x="586" y="177"/>
                  </a:cxn>
                  <a:cxn ang="0">
                    <a:pos x="540" y="141"/>
                  </a:cxn>
                  <a:cxn ang="0">
                    <a:pos x="532" y="105"/>
                  </a:cxn>
                  <a:cxn ang="0">
                    <a:pos x="519" y="70"/>
                  </a:cxn>
                  <a:cxn ang="0">
                    <a:pos x="492" y="51"/>
                  </a:cxn>
                  <a:cxn ang="0">
                    <a:pos x="478" y="0"/>
                  </a:cxn>
                  <a:cxn ang="0">
                    <a:pos x="462" y="33"/>
                  </a:cxn>
                  <a:cxn ang="0">
                    <a:pos x="458" y="90"/>
                  </a:cxn>
                  <a:cxn ang="0">
                    <a:pos x="422" y="105"/>
                  </a:cxn>
                  <a:cxn ang="0">
                    <a:pos x="387" y="84"/>
                  </a:cxn>
                  <a:cxn ang="0">
                    <a:pos x="367" y="61"/>
                  </a:cxn>
                  <a:cxn ang="0">
                    <a:pos x="381" y="34"/>
                  </a:cxn>
                  <a:cxn ang="0">
                    <a:pos x="374" y="29"/>
                  </a:cxn>
                  <a:cxn ang="0">
                    <a:pos x="350" y="22"/>
                  </a:cxn>
                  <a:cxn ang="0">
                    <a:pos x="316" y="16"/>
                  </a:cxn>
                  <a:cxn ang="0">
                    <a:pos x="286" y="29"/>
                  </a:cxn>
                  <a:cxn ang="0">
                    <a:pos x="269" y="54"/>
                  </a:cxn>
                  <a:cxn ang="0">
                    <a:pos x="257" y="67"/>
                  </a:cxn>
                  <a:cxn ang="0">
                    <a:pos x="242" y="63"/>
                  </a:cxn>
                  <a:cxn ang="0">
                    <a:pos x="213" y="56"/>
                  </a:cxn>
                  <a:cxn ang="0">
                    <a:pos x="196" y="63"/>
                  </a:cxn>
                  <a:cxn ang="0">
                    <a:pos x="183" y="77"/>
                  </a:cxn>
                  <a:cxn ang="0">
                    <a:pos x="172" y="98"/>
                  </a:cxn>
                  <a:cxn ang="0">
                    <a:pos x="162" y="98"/>
                  </a:cxn>
                  <a:cxn ang="0">
                    <a:pos x="149" y="124"/>
                  </a:cxn>
                  <a:cxn ang="0">
                    <a:pos x="89" y="157"/>
                  </a:cxn>
                  <a:cxn ang="0">
                    <a:pos x="53" y="167"/>
                  </a:cxn>
                  <a:cxn ang="0">
                    <a:pos x="20" y="194"/>
                  </a:cxn>
                  <a:cxn ang="0">
                    <a:pos x="10" y="195"/>
                  </a:cxn>
                  <a:cxn ang="0">
                    <a:pos x="7" y="239"/>
                  </a:cxn>
                  <a:cxn ang="0">
                    <a:pos x="7" y="253"/>
                  </a:cxn>
                  <a:cxn ang="0">
                    <a:pos x="0" y="256"/>
                  </a:cxn>
                  <a:cxn ang="0">
                    <a:pos x="30" y="322"/>
                  </a:cxn>
                  <a:cxn ang="0">
                    <a:pos x="41" y="386"/>
                  </a:cxn>
                  <a:cxn ang="0">
                    <a:pos x="41" y="407"/>
                  </a:cxn>
                  <a:cxn ang="0">
                    <a:pos x="95" y="407"/>
                  </a:cxn>
                  <a:cxn ang="0">
                    <a:pos x="173" y="390"/>
                  </a:cxn>
                  <a:cxn ang="0">
                    <a:pos x="222" y="367"/>
                  </a:cxn>
                  <a:cxn ang="0">
                    <a:pos x="297" y="353"/>
                  </a:cxn>
                  <a:cxn ang="0">
                    <a:pos x="334" y="367"/>
                  </a:cxn>
                  <a:cxn ang="0">
                    <a:pos x="348" y="387"/>
                  </a:cxn>
                  <a:cxn ang="0">
                    <a:pos x="371" y="406"/>
                  </a:cxn>
                  <a:cxn ang="0">
                    <a:pos x="401" y="380"/>
                  </a:cxn>
                  <a:cxn ang="0">
                    <a:pos x="385" y="414"/>
                  </a:cxn>
                  <a:cxn ang="0">
                    <a:pos x="402" y="404"/>
                  </a:cxn>
                  <a:cxn ang="0">
                    <a:pos x="415" y="427"/>
                  </a:cxn>
                  <a:cxn ang="0">
                    <a:pos x="439" y="468"/>
                  </a:cxn>
                  <a:cxn ang="0">
                    <a:pos x="491" y="488"/>
                  </a:cxn>
                  <a:cxn ang="0">
                    <a:pos x="516" y="478"/>
                  </a:cxn>
                  <a:cxn ang="0">
                    <a:pos x="523" y="480"/>
                  </a:cxn>
                  <a:cxn ang="0">
                    <a:pos x="542" y="487"/>
                  </a:cxn>
                  <a:cxn ang="0">
                    <a:pos x="597" y="455"/>
                  </a:cxn>
                  <a:cxn ang="0">
                    <a:pos x="629" y="376"/>
                  </a:cxn>
                  <a:cxn ang="0">
                    <a:pos x="651" y="326"/>
                  </a:cxn>
                  <a:cxn ang="0">
                    <a:pos x="654" y="292"/>
                  </a:cxn>
                  <a:cxn ang="0">
                    <a:pos x="519" y="549"/>
                  </a:cxn>
                  <a:cxn ang="0">
                    <a:pos x="546" y="576"/>
                  </a:cxn>
                  <a:cxn ang="0">
                    <a:pos x="562" y="569"/>
                  </a:cxn>
                  <a:cxn ang="0">
                    <a:pos x="565" y="528"/>
                  </a:cxn>
                </a:cxnLst>
                <a:rect l="0" t="0" r="r" b="b"/>
                <a:pathLst>
                  <a:path w="654" h="582">
                    <a:moveTo>
                      <a:pt x="654" y="292"/>
                    </a:moveTo>
                    <a:lnTo>
                      <a:pt x="654" y="292"/>
                    </a:lnTo>
                    <a:lnTo>
                      <a:pt x="654" y="289"/>
                    </a:lnTo>
                    <a:lnTo>
                      <a:pt x="654" y="285"/>
                    </a:lnTo>
                    <a:lnTo>
                      <a:pt x="651" y="280"/>
                    </a:lnTo>
                    <a:lnTo>
                      <a:pt x="651" y="280"/>
                    </a:lnTo>
                    <a:lnTo>
                      <a:pt x="650" y="280"/>
                    </a:lnTo>
                    <a:lnTo>
                      <a:pt x="650" y="280"/>
                    </a:lnTo>
                    <a:lnTo>
                      <a:pt x="649" y="279"/>
                    </a:lnTo>
                    <a:lnTo>
                      <a:pt x="649" y="278"/>
                    </a:lnTo>
                    <a:lnTo>
                      <a:pt x="647" y="271"/>
                    </a:lnTo>
                    <a:lnTo>
                      <a:pt x="649" y="253"/>
                    </a:lnTo>
                    <a:lnTo>
                      <a:pt x="649" y="253"/>
                    </a:lnTo>
                    <a:lnTo>
                      <a:pt x="650" y="248"/>
                    </a:lnTo>
                    <a:lnTo>
                      <a:pt x="650" y="246"/>
                    </a:lnTo>
                    <a:lnTo>
                      <a:pt x="649" y="248"/>
                    </a:lnTo>
                    <a:lnTo>
                      <a:pt x="646" y="251"/>
                    </a:lnTo>
                    <a:lnTo>
                      <a:pt x="646" y="251"/>
                    </a:lnTo>
                    <a:lnTo>
                      <a:pt x="643" y="251"/>
                    </a:lnTo>
                    <a:lnTo>
                      <a:pt x="641" y="251"/>
                    </a:lnTo>
                    <a:lnTo>
                      <a:pt x="639" y="246"/>
                    </a:lnTo>
                    <a:lnTo>
                      <a:pt x="634" y="238"/>
                    </a:lnTo>
                    <a:lnTo>
                      <a:pt x="634" y="238"/>
                    </a:lnTo>
                    <a:lnTo>
                      <a:pt x="633" y="234"/>
                    </a:lnTo>
                    <a:lnTo>
                      <a:pt x="630" y="229"/>
                    </a:lnTo>
                    <a:lnTo>
                      <a:pt x="626" y="226"/>
                    </a:lnTo>
                    <a:lnTo>
                      <a:pt x="624" y="225"/>
                    </a:lnTo>
                    <a:lnTo>
                      <a:pt x="622" y="225"/>
                    </a:lnTo>
                    <a:lnTo>
                      <a:pt x="622" y="225"/>
                    </a:lnTo>
                    <a:lnTo>
                      <a:pt x="620" y="225"/>
                    </a:lnTo>
                    <a:lnTo>
                      <a:pt x="619" y="225"/>
                    </a:lnTo>
                    <a:lnTo>
                      <a:pt x="619" y="222"/>
                    </a:lnTo>
                    <a:lnTo>
                      <a:pt x="617" y="219"/>
                    </a:lnTo>
                    <a:lnTo>
                      <a:pt x="616" y="218"/>
                    </a:lnTo>
                    <a:lnTo>
                      <a:pt x="614" y="218"/>
                    </a:lnTo>
                    <a:lnTo>
                      <a:pt x="614" y="218"/>
                    </a:lnTo>
                    <a:lnTo>
                      <a:pt x="612" y="218"/>
                    </a:lnTo>
                    <a:lnTo>
                      <a:pt x="610" y="216"/>
                    </a:lnTo>
                    <a:lnTo>
                      <a:pt x="609" y="214"/>
                    </a:lnTo>
                    <a:lnTo>
                      <a:pt x="609" y="208"/>
                    </a:lnTo>
                    <a:lnTo>
                      <a:pt x="609" y="201"/>
                    </a:lnTo>
                    <a:lnTo>
                      <a:pt x="609" y="201"/>
                    </a:lnTo>
                    <a:lnTo>
                      <a:pt x="609" y="198"/>
                    </a:lnTo>
                    <a:lnTo>
                      <a:pt x="607" y="197"/>
                    </a:lnTo>
                    <a:lnTo>
                      <a:pt x="604" y="197"/>
                    </a:lnTo>
                    <a:lnTo>
                      <a:pt x="602" y="197"/>
                    </a:lnTo>
                    <a:lnTo>
                      <a:pt x="602" y="197"/>
                    </a:lnTo>
                    <a:lnTo>
                      <a:pt x="600" y="195"/>
                    </a:lnTo>
                    <a:lnTo>
                      <a:pt x="597" y="195"/>
                    </a:lnTo>
                    <a:lnTo>
                      <a:pt x="593" y="197"/>
                    </a:lnTo>
                    <a:lnTo>
                      <a:pt x="593" y="197"/>
                    </a:lnTo>
                    <a:lnTo>
                      <a:pt x="592" y="197"/>
                    </a:lnTo>
                    <a:lnTo>
                      <a:pt x="590" y="197"/>
                    </a:lnTo>
                    <a:lnTo>
                      <a:pt x="589" y="194"/>
                    </a:lnTo>
                    <a:lnTo>
                      <a:pt x="589" y="189"/>
                    </a:lnTo>
                    <a:lnTo>
                      <a:pt x="589" y="185"/>
                    </a:lnTo>
                    <a:lnTo>
                      <a:pt x="589" y="185"/>
                    </a:lnTo>
                    <a:lnTo>
                      <a:pt x="589" y="182"/>
                    </a:lnTo>
                    <a:lnTo>
                      <a:pt x="589" y="179"/>
                    </a:lnTo>
                    <a:lnTo>
                      <a:pt x="586" y="177"/>
                    </a:lnTo>
                    <a:lnTo>
                      <a:pt x="583" y="174"/>
                    </a:lnTo>
                    <a:lnTo>
                      <a:pt x="583" y="174"/>
                    </a:lnTo>
                    <a:lnTo>
                      <a:pt x="580" y="171"/>
                    </a:lnTo>
                    <a:lnTo>
                      <a:pt x="577" y="168"/>
                    </a:lnTo>
                    <a:lnTo>
                      <a:pt x="577" y="162"/>
                    </a:lnTo>
                    <a:lnTo>
                      <a:pt x="577" y="162"/>
                    </a:lnTo>
                    <a:lnTo>
                      <a:pt x="576" y="160"/>
                    </a:lnTo>
                    <a:lnTo>
                      <a:pt x="573" y="157"/>
                    </a:lnTo>
                    <a:lnTo>
                      <a:pt x="562" y="150"/>
                    </a:lnTo>
                    <a:lnTo>
                      <a:pt x="549" y="144"/>
                    </a:lnTo>
                    <a:lnTo>
                      <a:pt x="540" y="141"/>
                    </a:lnTo>
                    <a:lnTo>
                      <a:pt x="540" y="141"/>
                    </a:lnTo>
                    <a:lnTo>
                      <a:pt x="539" y="140"/>
                    </a:lnTo>
                    <a:lnTo>
                      <a:pt x="538" y="138"/>
                    </a:lnTo>
                    <a:lnTo>
                      <a:pt x="538" y="135"/>
                    </a:lnTo>
                    <a:lnTo>
                      <a:pt x="538" y="133"/>
                    </a:lnTo>
                    <a:lnTo>
                      <a:pt x="536" y="130"/>
                    </a:lnTo>
                    <a:lnTo>
                      <a:pt x="536" y="130"/>
                    </a:lnTo>
                    <a:lnTo>
                      <a:pt x="535" y="127"/>
                    </a:lnTo>
                    <a:lnTo>
                      <a:pt x="533" y="121"/>
                    </a:lnTo>
                    <a:lnTo>
                      <a:pt x="533" y="110"/>
                    </a:lnTo>
                    <a:lnTo>
                      <a:pt x="533" y="110"/>
                    </a:lnTo>
                    <a:lnTo>
                      <a:pt x="532" y="107"/>
                    </a:lnTo>
                    <a:lnTo>
                      <a:pt x="532" y="105"/>
                    </a:lnTo>
                    <a:lnTo>
                      <a:pt x="528" y="101"/>
                    </a:lnTo>
                    <a:lnTo>
                      <a:pt x="525" y="97"/>
                    </a:lnTo>
                    <a:lnTo>
                      <a:pt x="523" y="96"/>
                    </a:lnTo>
                    <a:lnTo>
                      <a:pt x="523" y="93"/>
                    </a:lnTo>
                    <a:lnTo>
                      <a:pt x="523" y="93"/>
                    </a:lnTo>
                    <a:lnTo>
                      <a:pt x="523" y="88"/>
                    </a:lnTo>
                    <a:lnTo>
                      <a:pt x="522" y="84"/>
                    </a:lnTo>
                    <a:lnTo>
                      <a:pt x="521" y="78"/>
                    </a:lnTo>
                    <a:lnTo>
                      <a:pt x="521" y="74"/>
                    </a:lnTo>
                    <a:lnTo>
                      <a:pt x="521" y="74"/>
                    </a:lnTo>
                    <a:lnTo>
                      <a:pt x="521" y="71"/>
                    </a:lnTo>
                    <a:lnTo>
                      <a:pt x="519" y="70"/>
                    </a:lnTo>
                    <a:lnTo>
                      <a:pt x="516" y="66"/>
                    </a:lnTo>
                    <a:lnTo>
                      <a:pt x="512" y="64"/>
                    </a:lnTo>
                    <a:lnTo>
                      <a:pt x="511" y="61"/>
                    </a:lnTo>
                    <a:lnTo>
                      <a:pt x="511" y="61"/>
                    </a:lnTo>
                    <a:lnTo>
                      <a:pt x="509" y="59"/>
                    </a:lnTo>
                    <a:lnTo>
                      <a:pt x="506" y="60"/>
                    </a:lnTo>
                    <a:lnTo>
                      <a:pt x="498" y="61"/>
                    </a:lnTo>
                    <a:lnTo>
                      <a:pt x="498" y="61"/>
                    </a:lnTo>
                    <a:lnTo>
                      <a:pt x="496" y="61"/>
                    </a:lnTo>
                    <a:lnTo>
                      <a:pt x="495" y="60"/>
                    </a:lnTo>
                    <a:lnTo>
                      <a:pt x="494" y="57"/>
                    </a:lnTo>
                    <a:lnTo>
                      <a:pt x="492" y="51"/>
                    </a:lnTo>
                    <a:lnTo>
                      <a:pt x="494" y="46"/>
                    </a:lnTo>
                    <a:lnTo>
                      <a:pt x="494" y="46"/>
                    </a:lnTo>
                    <a:lnTo>
                      <a:pt x="492" y="39"/>
                    </a:lnTo>
                    <a:lnTo>
                      <a:pt x="491" y="32"/>
                    </a:lnTo>
                    <a:lnTo>
                      <a:pt x="489" y="24"/>
                    </a:lnTo>
                    <a:lnTo>
                      <a:pt x="485" y="20"/>
                    </a:lnTo>
                    <a:lnTo>
                      <a:pt x="485" y="20"/>
                    </a:lnTo>
                    <a:lnTo>
                      <a:pt x="482" y="16"/>
                    </a:lnTo>
                    <a:lnTo>
                      <a:pt x="481" y="9"/>
                    </a:lnTo>
                    <a:lnTo>
                      <a:pt x="479" y="3"/>
                    </a:lnTo>
                    <a:lnTo>
                      <a:pt x="478" y="0"/>
                    </a:lnTo>
                    <a:lnTo>
                      <a:pt x="478" y="0"/>
                    </a:lnTo>
                    <a:lnTo>
                      <a:pt x="476" y="0"/>
                    </a:lnTo>
                    <a:lnTo>
                      <a:pt x="475" y="0"/>
                    </a:lnTo>
                    <a:lnTo>
                      <a:pt x="471" y="3"/>
                    </a:lnTo>
                    <a:lnTo>
                      <a:pt x="468" y="7"/>
                    </a:lnTo>
                    <a:lnTo>
                      <a:pt x="468" y="12"/>
                    </a:lnTo>
                    <a:lnTo>
                      <a:pt x="468" y="12"/>
                    </a:lnTo>
                    <a:lnTo>
                      <a:pt x="466" y="19"/>
                    </a:lnTo>
                    <a:lnTo>
                      <a:pt x="465" y="22"/>
                    </a:lnTo>
                    <a:lnTo>
                      <a:pt x="464" y="24"/>
                    </a:lnTo>
                    <a:lnTo>
                      <a:pt x="464" y="24"/>
                    </a:lnTo>
                    <a:lnTo>
                      <a:pt x="462" y="29"/>
                    </a:lnTo>
                    <a:lnTo>
                      <a:pt x="462" y="33"/>
                    </a:lnTo>
                    <a:lnTo>
                      <a:pt x="464" y="39"/>
                    </a:lnTo>
                    <a:lnTo>
                      <a:pt x="462" y="40"/>
                    </a:lnTo>
                    <a:lnTo>
                      <a:pt x="461" y="43"/>
                    </a:lnTo>
                    <a:lnTo>
                      <a:pt x="461" y="43"/>
                    </a:lnTo>
                    <a:lnTo>
                      <a:pt x="459" y="44"/>
                    </a:lnTo>
                    <a:lnTo>
                      <a:pt x="459" y="47"/>
                    </a:lnTo>
                    <a:lnTo>
                      <a:pt x="459" y="54"/>
                    </a:lnTo>
                    <a:lnTo>
                      <a:pt x="459" y="63"/>
                    </a:lnTo>
                    <a:lnTo>
                      <a:pt x="459" y="71"/>
                    </a:lnTo>
                    <a:lnTo>
                      <a:pt x="459" y="71"/>
                    </a:lnTo>
                    <a:lnTo>
                      <a:pt x="458" y="84"/>
                    </a:lnTo>
                    <a:lnTo>
                      <a:pt x="458" y="90"/>
                    </a:lnTo>
                    <a:lnTo>
                      <a:pt x="455" y="96"/>
                    </a:lnTo>
                    <a:lnTo>
                      <a:pt x="455" y="96"/>
                    </a:lnTo>
                    <a:lnTo>
                      <a:pt x="452" y="100"/>
                    </a:lnTo>
                    <a:lnTo>
                      <a:pt x="449" y="105"/>
                    </a:lnTo>
                    <a:lnTo>
                      <a:pt x="447" y="111"/>
                    </a:lnTo>
                    <a:lnTo>
                      <a:pt x="441" y="114"/>
                    </a:lnTo>
                    <a:lnTo>
                      <a:pt x="441" y="114"/>
                    </a:lnTo>
                    <a:lnTo>
                      <a:pt x="435" y="115"/>
                    </a:lnTo>
                    <a:lnTo>
                      <a:pt x="428" y="113"/>
                    </a:lnTo>
                    <a:lnTo>
                      <a:pt x="424" y="110"/>
                    </a:lnTo>
                    <a:lnTo>
                      <a:pt x="422" y="105"/>
                    </a:lnTo>
                    <a:lnTo>
                      <a:pt x="422" y="105"/>
                    </a:lnTo>
                    <a:lnTo>
                      <a:pt x="421" y="103"/>
                    </a:lnTo>
                    <a:lnTo>
                      <a:pt x="417" y="101"/>
                    </a:lnTo>
                    <a:lnTo>
                      <a:pt x="412" y="100"/>
                    </a:lnTo>
                    <a:lnTo>
                      <a:pt x="408" y="100"/>
                    </a:lnTo>
                    <a:lnTo>
                      <a:pt x="408" y="100"/>
                    </a:lnTo>
                    <a:lnTo>
                      <a:pt x="404" y="98"/>
                    </a:lnTo>
                    <a:lnTo>
                      <a:pt x="401" y="96"/>
                    </a:lnTo>
                    <a:lnTo>
                      <a:pt x="397" y="91"/>
                    </a:lnTo>
                    <a:lnTo>
                      <a:pt x="392" y="87"/>
                    </a:lnTo>
                    <a:lnTo>
                      <a:pt x="392" y="87"/>
                    </a:lnTo>
                    <a:lnTo>
                      <a:pt x="390" y="86"/>
                    </a:lnTo>
                    <a:lnTo>
                      <a:pt x="387" y="84"/>
                    </a:lnTo>
                    <a:lnTo>
                      <a:pt x="381" y="84"/>
                    </a:lnTo>
                    <a:lnTo>
                      <a:pt x="378" y="84"/>
                    </a:lnTo>
                    <a:lnTo>
                      <a:pt x="377" y="83"/>
                    </a:lnTo>
                    <a:lnTo>
                      <a:pt x="375" y="81"/>
                    </a:lnTo>
                    <a:lnTo>
                      <a:pt x="375" y="81"/>
                    </a:lnTo>
                    <a:lnTo>
                      <a:pt x="374" y="77"/>
                    </a:lnTo>
                    <a:lnTo>
                      <a:pt x="371" y="74"/>
                    </a:lnTo>
                    <a:lnTo>
                      <a:pt x="365" y="68"/>
                    </a:lnTo>
                    <a:lnTo>
                      <a:pt x="365" y="68"/>
                    </a:lnTo>
                    <a:lnTo>
                      <a:pt x="363" y="67"/>
                    </a:lnTo>
                    <a:lnTo>
                      <a:pt x="361" y="66"/>
                    </a:lnTo>
                    <a:lnTo>
                      <a:pt x="367" y="61"/>
                    </a:lnTo>
                    <a:lnTo>
                      <a:pt x="367" y="61"/>
                    </a:lnTo>
                    <a:lnTo>
                      <a:pt x="370" y="59"/>
                    </a:lnTo>
                    <a:lnTo>
                      <a:pt x="370" y="54"/>
                    </a:lnTo>
                    <a:lnTo>
                      <a:pt x="370" y="51"/>
                    </a:lnTo>
                    <a:lnTo>
                      <a:pt x="368" y="47"/>
                    </a:lnTo>
                    <a:lnTo>
                      <a:pt x="368" y="47"/>
                    </a:lnTo>
                    <a:lnTo>
                      <a:pt x="367" y="46"/>
                    </a:lnTo>
                    <a:lnTo>
                      <a:pt x="370" y="44"/>
                    </a:lnTo>
                    <a:lnTo>
                      <a:pt x="378" y="40"/>
                    </a:lnTo>
                    <a:lnTo>
                      <a:pt x="378" y="40"/>
                    </a:lnTo>
                    <a:lnTo>
                      <a:pt x="381" y="37"/>
                    </a:lnTo>
                    <a:lnTo>
                      <a:pt x="381" y="34"/>
                    </a:lnTo>
                    <a:lnTo>
                      <a:pt x="381" y="32"/>
                    </a:lnTo>
                    <a:lnTo>
                      <a:pt x="384" y="30"/>
                    </a:lnTo>
                    <a:lnTo>
                      <a:pt x="384" y="30"/>
                    </a:lnTo>
                    <a:lnTo>
                      <a:pt x="385" y="27"/>
                    </a:lnTo>
                    <a:lnTo>
                      <a:pt x="385" y="26"/>
                    </a:lnTo>
                    <a:lnTo>
                      <a:pt x="384" y="23"/>
                    </a:lnTo>
                    <a:lnTo>
                      <a:pt x="380" y="22"/>
                    </a:lnTo>
                    <a:lnTo>
                      <a:pt x="380" y="22"/>
                    </a:lnTo>
                    <a:lnTo>
                      <a:pt x="377" y="22"/>
                    </a:lnTo>
                    <a:lnTo>
                      <a:pt x="375" y="24"/>
                    </a:lnTo>
                    <a:lnTo>
                      <a:pt x="375" y="27"/>
                    </a:lnTo>
                    <a:lnTo>
                      <a:pt x="374" y="29"/>
                    </a:lnTo>
                    <a:lnTo>
                      <a:pt x="374" y="29"/>
                    </a:lnTo>
                    <a:lnTo>
                      <a:pt x="373" y="27"/>
                    </a:lnTo>
                    <a:lnTo>
                      <a:pt x="371" y="24"/>
                    </a:lnTo>
                    <a:lnTo>
                      <a:pt x="370" y="22"/>
                    </a:lnTo>
                    <a:lnTo>
                      <a:pt x="368" y="20"/>
                    </a:lnTo>
                    <a:lnTo>
                      <a:pt x="368" y="20"/>
                    </a:lnTo>
                    <a:lnTo>
                      <a:pt x="363" y="24"/>
                    </a:lnTo>
                    <a:lnTo>
                      <a:pt x="358" y="26"/>
                    </a:lnTo>
                    <a:lnTo>
                      <a:pt x="357" y="26"/>
                    </a:lnTo>
                    <a:lnTo>
                      <a:pt x="356" y="24"/>
                    </a:lnTo>
                    <a:lnTo>
                      <a:pt x="356" y="24"/>
                    </a:lnTo>
                    <a:lnTo>
                      <a:pt x="350" y="22"/>
                    </a:lnTo>
                    <a:lnTo>
                      <a:pt x="341" y="19"/>
                    </a:lnTo>
                    <a:lnTo>
                      <a:pt x="324" y="14"/>
                    </a:lnTo>
                    <a:lnTo>
                      <a:pt x="324" y="14"/>
                    </a:lnTo>
                    <a:lnTo>
                      <a:pt x="320" y="13"/>
                    </a:lnTo>
                    <a:lnTo>
                      <a:pt x="316" y="9"/>
                    </a:lnTo>
                    <a:lnTo>
                      <a:pt x="313" y="6"/>
                    </a:lnTo>
                    <a:lnTo>
                      <a:pt x="311" y="6"/>
                    </a:lnTo>
                    <a:lnTo>
                      <a:pt x="310" y="6"/>
                    </a:lnTo>
                    <a:lnTo>
                      <a:pt x="310" y="6"/>
                    </a:lnTo>
                    <a:lnTo>
                      <a:pt x="307" y="7"/>
                    </a:lnTo>
                    <a:lnTo>
                      <a:pt x="309" y="10"/>
                    </a:lnTo>
                    <a:lnTo>
                      <a:pt x="316" y="16"/>
                    </a:lnTo>
                    <a:lnTo>
                      <a:pt x="316" y="16"/>
                    </a:lnTo>
                    <a:lnTo>
                      <a:pt x="316" y="19"/>
                    </a:lnTo>
                    <a:lnTo>
                      <a:pt x="314" y="20"/>
                    </a:lnTo>
                    <a:lnTo>
                      <a:pt x="307" y="23"/>
                    </a:lnTo>
                    <a:lnTo>
                      <a:pt x="299" y="24"/>
                    </a:lnTo>
                    <a:lnTo>
                      <a:pt x="291" y="24"/>
                    </a:lnTo>
                    <a:lnTo>
                      <a:pt x="291" y="24"/>
                    </a:lnTo>
                    <a:lnTo>
                      <a:pt x="289" y="24"/>
                    </a:lnTo>
                    <a:lnTo>
                      <a:pt x="289" y="26"/>
                    </a:lnTo>
                    <a:lnTo>
                      <a:pt x="289" y="27"/>
                    </a:lnTo>
                    <a:lnTo>
                      <a:pt x="287" y="29"/>
                    </a:lnTo>
                    <a:lnTo>
                      <a:pt x="286" y="29"/>
                    </a:lnTo>
                    <a:lnTo>
                      <a:pt x="286" y="29"/>
                    </a:lnTo>
                    <a:lnTo>
                      <a:pt x="284" y="29"/>
                    </a:lnTo>
                    <a:lnTo>
                      <a:pt x="283" y="30"/>
                    </a:lnTo>
                    <a:lnTo>
                      <a:pt x="280" y="34"/>
                    </a:lnTo>
                    <a:lnTo>
                      <a:pt x="277" y="39"/>
                    </a:lnTo>
                    <a:lnTo>
                      <a:pt x="274" y="43"/>
                    </a:lnTo>
                    <a:lnTo>
                      <a:pt x="274" y="43"/>
                    </a:lnTo>
                    <a:lnTo>
                      <a:pt x="273" y="47"/>
                    </a:lnTo>
                    <a:lnTo>
                      <a:pt x="272" y="50"/>
                    </a:lnTo>
                    <a:lnTo>
                      <a:pt x="272" y="53"/>
                    </a:lnTo>
                    <a:lnTo>
                      <a:pt x="269" y="54"/>
                    </a:lnTo>
                    <a:lnTo>
                      <a:pt x="269" y="54"/>
                    </a:lnTo>
                    <a:lnTo>
                      <a:pt x="266" y="57"/>
                    </a:lnTo>
                    <a:lnTo>
                      <a:pt x="264" y="60"/>
                    </a:lnTo>
                    <a:lnTo>
                      <a:pt x="266" y="64"/>
                    </a:lnTo>
                    <a:lnTo>
                      <a:pt x="269" y="68"/>
                    </a:lnTo>
                    <a:lnTo>
                      <a:pt x="269" y="68"/>
                    </a:lnTo>
                    <a:lnTo>
                      <a:pt x="272" y="73"/>
                    </a:lnTo>
                    <a:lnTo>
                      <a:pt x="270" y="73"/>
                    </a:lnTo>
                    <a:lnTo>
                      <a:pt x="269" y="74"/>
                    </a:lnTo>
                    <a:lnTo>
                      <a:pt x="266" y="73"/>
                    </a:lnTo>
                    <a:lnTo>
                      <a:pt x="262" y="70"/>
                    </a:lnTo>
                    <a:lnTo>
                      <a:pt x="262" y="70"/>
                    </a:lnTo>
                    <a:lnTo>
                      <a:pt x="257" y="67"/>
                    </a:lnTo>
                    <a:lnTo>
                      <a:pt x="253" y="66"/>
                    </a:lnTo>
                    <a:lnTo>
                      <a:pt x="252" y="67"/>
                    </a:lnTo>
                    <a:lnTo>
                      <a:pt x="250" y="71"/>
                    </a:lnTo>
                    <a:lnTo>
                      <a:pt x="250" y="71"/>
                    </a:lnTo>
                    <a:lnTo>
                      <a:pt x="250" y="74"/>
                    </a:lnTo>
                    <a:lnTo>
                      <a:pt x="247" y="74"/>
                    </a:lnTo>
                    <a:lnTo>
                      <a:pt x="246" y="71"/>
                    </a:lnTo>
                    <a:lnTo>
                      <a:pt x="246" y="67"/>
                    </a:lnTo>
                    <a:lnTo>
                      <a:pt x="246" y="67"/>
                    </a:lnTo>
                    <a:lnTo>
                      <a:pt x="246" y="66"/>
                    </a:lnTo>
                    <a:lnTo>
                      <a:pt x="245" y="64"/>
                    </a:lnTo>
                    <a:lnTo>
                      <a:pt x="242" y="63"/>
                    </a:lnTo>
                    <a:lnTo>
                      <a:pt x="239" y="61"/>
                    </a:lnTo>
                    <a:lnTo>
                      <a:pt x="236" y="60"/>
                    </a:lnTo>
                    <a:lnTo>
                      <a:pt x="236" y="60"/>
                    </a:lnTo>
                    <a:lnTo>
                      <a:pt x="235" y="57"/>
                    </a:lnTo>
                    <a:lnTo>
                      <a:pt x="230" y="53"/>
                    </a:lnTo>
                    <a:lnTo>
                      <a:pt x="227" y="51"/>
                    </a:lnTo>
                    <a:lnTo>
                      <a:pt x="223" y="50"/>
                    </a:lnTo>
                    <a:lnTo>
                      <a:pt x="223" y="50"/>
                    </a:lnTo>
                    <a:lnTo>
                      <a:pt x="220" y="51"/>
                    </a:lnTo>
                    <a:lnTo>
                      <a:pt x="219" y="53"/>
                    </a:lnTo>
                    <a:lnTo>
                      <a:pt x="216" y="54"/>
                    </a:lnTo>
                    <a:lnTo>
                      <a:pt x="213" y="56"/>
                    </a:lnTo>
                    <a:lnTo>
                      <a:pt x="213" y="56"/>
                    </a:lnTo>
                    <a:lnTo>
                      <a:pt x="210" y="56"/>
                    </a:lnTo>
                    <a:lnTo>
                      <a:pt x="209" y="57"/>
                    </a:lnTo>
                    <a:lnTo>
                      <a:pt x="209" y="60"/>
                    </a:lnTo>
                    <a:lnTo>
                      <a:pt x="209" y="63"/>
                    </a:lnTo>
                    <a:lnTo>
                      <a:pt x="209" y="63"/>
                    </a:lnTo>
                    <a:lnTo>
                      <a:pt x="209" y="64"/>
                    </a:lnTo>
                    <a:lnTo>
                      <a:pt x="208" y="64"/>
                    </a:lnTo>
                    <a:lnTo>
                      <a:pt x="205" y="64"/>
                    </a:lnTo>
                    <a:lnTo>
                      <a:pt x="200" y="63"/>
                    </a:lnTo>
                    <a:lnTo>
                      <a:pt x="196" y="63"/>
                    </a:lnTo>
                    <a:lnTo>
                      <a:pt x="196" y="63"/>
                    </a:lnTo>
                    <a:lnTo>
                      <a:pt x="193" y="64"/>
                    </a:lnTo>
                    <a:lnTo>
                      <a:pt x="193" y="67"/>
                    </a:lnTo>
                    <a:lnTo>
                      <a:pt x="195" y="68"/>
                    </a:lnTo>
                    <a:lnTo>
                      <a:pt x="193" y="70"/>
                    </a:lnTo>
                    <a:lnTo>
                      <a:pt x="193" y="70"/>
                    </a:lnTo>
                    <a:lnTo>
                      <a:pt x="192" y="71"/>
                    </a:lnTo>
                    <a:lnTo>
                      <a:pt x="190" y="73"/>
                    </a:lnTo>
                    <a:lnTo>
                      <a:pt x="189" y="74"/>
                    </a:lnTo>
                    <a:lnTo>
                      <a:pt x="186" y="76"/>
                    </a:lnTo>
                    <a:lnTo>
                      <a:pt x="186" y="76"/>
                    </a:lnTo>
                    <a:lnTo>
                      <a:pt x="185" y="76"/>
                    </a:lnTo>
                    <a:lnTo>
                      <a:pt x="183" y="77"/>
                    </a:lnTo>
                    <a:lnTo>
                      <a:pt x="182" y="81"/>
                    </a:lnTo>
                    <a:lnTo>
                      <a:pt x="183" y="91"/>
                    </a:lnTo>
                    <a:lnTo>
                      <a:pt x="183" y="91"/>
                    </a:lnTo>
                    <a:lnTo>
                      <a:pt x="183" y="93"/>
                    </a:lnTo>
                    <a:lnTo>
                      <a:pt x="182" y="93"/>
                    </a:lnTo>
                    <a:lnTo>
                      <a:pt x="179" y="93"/>
                    </a:lnTo>
                    <a:lnTo>
                      <a:pt x="175" y="90"/>
                    </a:lnTo>
                    <a:lnTo>
                      <a:pt x="171" y="90"/>
                    </a:lnTo>
                    <a:lnTo>
                      <a:pt x="171" y="90"/>
                    </a:lnTo>
                    <a:lnTo>
                      <a:pt x="169" y="91"/>
                    </a:lnTo>
                    <a:lnTo>
                      <a:pt x="171" y="94"/>
                    </a:lnTo>
                    <a:lnTo>
                      <a:pt x="172" y="98"/>
                    </a:lnTo>
                    <a:lnTo>
                      <a:pt x="173" y="103"/>
                    </a:lnTo>
                    <a:lnTo>
                      <a:pt x="173" y="103"/>
                    </a:lnTo>
                    <a:lnTo>
                      <a:pt x="173" y="105"/>
                    </a:lnTo>
                    <a:lnTo>
                      <a:pt x="172" y="107"/>
                    </a:lnTo>
                    <a:lnTo>
                      <a:pt x="169" y="110"/>
                    </a:lnTo>
                    <a:lnTo>
                      <a:pt x="169" y="110"/>
                    </a:lnTo>
                    <a:lnTo>
                      <a:pt x="168" y="111"/>
                    </a:lnTo>
                    <a:lnTo>
                      <a:pt x="166" y="110"/>
                    </a:lnTo>
                    <a:lnTo>
                      <a:pt x="165" y="107"/>
                    </a:lnTo>
                    <a:lnTo>
                      <a:pt x="163" y="103"/>
                    </a:lnTo>
                    <a:lnTo>
                      <a:pt x="162" y="98"/>
                    </a:lnTo>
                    <a:lnTo>
                      <a:pt x="162" y="98"/>
                    </a:lnTo>
                    <a:lnTo>
                      <a:pt x="162" y="97"/>
                    </a:lnTo>
                    <a:lnTo>
                      <a:pt x="161" y="96"/>
                    </a:lnTo>
                    <a:lnTo>
                      <a:pt x="158" y="97"/>
                    </a:lnTo>
                    <a:lnTo>
                      <a:pt x="149" y="104"/>
                    </a:lnTo>
                    <a:lnTo>
                      <a:pt x="149" y="104"/>
                    </a:lnTo>
                    <a:lnTo>
                      <a:pt x="148" y="107"/>
                    </a:lnTo>
                    <a:lnTo>
                      <a:pt x="148" y="110"/>
                    </a:lnTo>
                    <a:lnTo>
                      <a:pt x="148" y="115"/>
                    </a:lnTo>
                    <a:lnTo>
                      <a:pt x="149" y="121"/>
                    </a:lnTo>
                    <a:lnTo>
                      <a:pt x="149" y="123"/>
                    </a:lnTo>
                    <a:lnTo>
                      <a:pt x="149" y="124"/>
                    </a:lnTo>
                    <a:lnTo>
                      <a:pt x="149" y="124"/>
                    </a:lnTo>
                    <a:lnTo>
                      <a:pt x="139" y="133"/>
                    </a:lnTo>
                    <a:lnTo>
                      <a:pt x="126" y="147"/>
                    </a:lnTo>
                    <a:lnTo>
                      <a:pt x="126" y="147"/>
                    </a:lnTo>
                    <a:lnTo>
                      <a:pt x="122" y="150"/>
                    </a:lnTo>
                    <a:lnTo>
                      <a:pt x="119" y="151"/>
                    </a:lnTo>
                    <a:lnTo>
                      <a:pt x="111" y="152"/>
                    </a:lnTo>
                    <a:lnTo>
                      <a:pt x="102" y="152"/>
                    </a:lnTo>
                    <a:lnTo>
                      <a:pt x="99" y="152"/>
                    </a:lnTo>
                    <a:lnTo>
                      <a:pt x="98" y="154"/>
                    </a:lnTo>
                    <a:lnTo>
                      <a:pt x="98" y="154"/>
                    </a:lnTo>
                    <a:lnTo>
                      <a:pt x="94" y="157"/>
                    </a:lnTo>
                    <a:lnTo>
                      <a:pt x="89" y="157"/>
                    </a:lnTo>
                    <a:lnTo>
                      <a:pt x="87" y="157"/>
                    </a:lnTo>
                    <a:lnTo>
                      <a:pt x="82" y="160"/>
                    </a:lnTo>
                    <a:lnTo>
                      <a:pt x="82" y="160"/>
                    </a:lnTo>
                    <a:lnTo>
                      <a:pt x="72" y="165"/>
                    </a:lnTo>
                    <a:lnTo>
                      <a:pt x="70" y="167"/>
                    </a:lnTo>
                    <a:lnTo>
                      <a:pt x="68" y="167"/>
                    </a:lnTo>
                    <a:lnTo>
                      <a:pt x="67" y="165"/>
                    </a:lnTo>
                    <a:lnTo>
                      <a:pt x="67" y="165"/>
                    </a:lnTo>
                    <a:lnTo>
                      <a:pt x="65" y="164"/>
                    </a:lnTo>
                    <a:lnTo>
                      <a:pt x="64" y="164"/>
                    </a:lnTo>
                    <a:lnTo>
                      <a:pt x="58" y="164"/>
                    </a:lnTo>
                    <a:lnTo>
                      <a:pt x="53" y="167"/>
                    </a:lnTo>
                    <a:lnTo>
                      <a:pt x="48" y="171"/>
                    </a:lnTo>
                    <a:lnTo>
                      <a:pt x="48" y="171"/>
                    </a:lnTo>
                    <a:lnTo>
                      <a:pt x="43" y="175"/>
                    </a:lnTo>
                    <a:lnTo>
                      <a:pt x="38" y="178"/>
                    </a:lnTo>
                    <a:lnTo>
                      <a:pt x="33" y="181"/>
                    </a:lnTo>
                    <a:lnTo>
                      <a:pt x="28" y="181"/>
                    </a:lnTo>
                    <a:lnTo>
                      <a:pt x="28" y="181"/>
                    </a:lnTo>
                    <a:lnTo>
                      <a:pt x="25" y="182"/>
                    </a:lnTo>
                    <a:lnTo>
                      <a:pt x="24" y="184"/>
                    </a:lnTo>
                    <a:lnTo>
                      <a:pt x="23" y="187"/>
                    </a:lnTo>
                    <a:lnTo>
                      <a:pt x="21" y="191"/>
                    </a:lnTo>
                    <a:lnTo>
                      <a:pt x="20" y="194"/>
                    </a:lnTo>
                    <a:lnTo>
                      <a:pt x="20" y="194"/>
                    </a:lnTo>
                    <a:lnTo>
                      <a:pt x="18" y="194"/>
                    </a:lnTo>
                    <a:lnTo>
                      <a:pt x="18" y="192"/>
                    </a:lnTo>
                    <a:lnTo>
                      <a:pt x="17" y="189"/>
                    </a:lnTo>
                    <a:lnTo>
                      <a:pt x="17" y="184"/>
                    </a:lnTo>
                    <a:lnTo>
                      <a:pt x="17" y="184"/>
                    </a:lnTo>
                    <a:lnTo>
                      <a:pt x="17" y="182"/>
                    </a:lnTo>
                    <a:lnTo>
                      <a:pt x="17" y="182"/>
                    </a:lnTo>
                    <a:lnTo>
                      <a:pt x="14" y="185"/>
                    </a:lnTo>
                    <a:lnTo>
                      <a:pt x="11" y="189"/>
                    </a:lnTo>
                    <a:lnTo>
                      <a:pt x="10" y="195"/>
                    </a:lnTo>
                    <a:lnTo>
                      <a:pt x="10" y="195"/>
                    </a:lnTo>
                    <a:lnTo>
                      <a:pt x="8" y="199"/>
                    </a:lnTo>
                    <a:lnTo>
                      <a:pt x="11" y="204"/>
                    </a:lnTo>
                    <a:lnTo>
                      <a:pt x="11" y="208"/>
                    </a:lnTo>
                    <a:lnTo>
                      <a:pt x="11" y="211"/>
                    </a:lnTo>
                    <a:lnTo>
                      <a:pt x="10" y="214"/>
                    </a:lnTo>
                    <a:lnTo>
                      <a:pt x="10" y="214"/>
                    </a:lnTo>
                    <a:lnTo>
                      <a:pt x="6" y="219"/>
                    </a:lnTo>
                    <a:lnTo>
                      <a:pt x="4" y="225"/>
                    </a:lnTo>
                    <a:lnTo>
                      <a:pt x="4" y="232"/>
                    </a:lnTo>
                    <a:lnTo>
                      <a:pt x="6" y="235"/>
                    </a:lnTo>
                    <a:lnTo>
                      <a:pt x="7" y="239"/>
                    </a:lnTo>
                    <a:lnTo>
                      <a:pt x="7" y="239"/>
                    </a:lnTo>
                    <a:lnTo>
                      <a:pt x="16" y="251"/>
                    </a:lnTo>
                    <a:lnTo>
                      <a:pt x="17" y="256"/>
                    </a:lnTo>
                    <a:lnTo>
                      <a:pt x="17" y="261"/>
                    </a:lnTo>
                    <a:lnTo>
                      <a:pt x="17" y="261"/>
                    </a:lnTo>
                    <a:lnTo>
                      <a:pt x="16" y="261"/>
                    </a:lnTo>
                    <a:lnTo>
                      <a:pt x="14" y="261"/>
                    </a:lnTo>
                    <a:lnTo>
                      <a:pt x="11" y="258"/>
                    </a:lnTo>
                    <a:lnTo>
                      <a:pt x="8" y="253"/>
                    </a:lnTo>
                    <a:lnTo>
                      <a:pt x="7" y="252"/>
                    </a:lnTo>
                    <a:lnTo>
                      <a:pt x="7" y="252"/>
                    </a:lnTo>
                    <a:lnTo>
                      <a:pt x="7" y="252"/>
                    </a:lnTo>
                    <a:lnTo>
                      <a:pt x="7" y="253"/>
                    </a:lnTo>
                    <a:lnTo>
                      <a:pt x="10" y="258"/>
                    </a:lnTo>
                    <a:lnTo>
                      <a:pt x="11" y="261"/>
                    </a:lnTo>
                    <a:lnTo>
                      <a:pt x="11" y="263"/>
                    </a:lnTo>
                    <a:lnTo>
                      <a:pt x="11" y="263"/>
                    </a:lnTo>
                    <a:lnTo>
                      <a:pt x="10" y="263"/>
                    </a:lnTo>
                    <a:lnTo>
                      <a:pt x="8" y="263"/>
                    </a:lnTo>
                    <a:lnTo>
                      <a:pt x="6" y="259"/>
                    </a:lnTo>
                    <a:lnTo>
                      <a:pt x="3" y="255"/>
                    </a:lnTo>
                    <a:lnTo>
                      <a:pt x="1" y="255"/>
                    </a:lnTo>
                    <a:lnTo>
                      <a:pt x="0" y="255"/>
                    </a:lnTo>
                    <a:lnTo>
                      <a:pt x="0" y="255"/>
                    </a:lnTo>
                    <a:lnTo>
                      <a:pt x="0" y="256"/>
                    </a:lnTo>
                    <a:lnTo>
                      <a:pt x="1" y="261"/>
                    </a:lnTo>
                    <a:lnTo>
                      <a:pt x="7" y="271"/>
                    </a:lnTo>
                    <a:lnTo>
                      <a:pt x="14" y="282"/>
                    </a:lnTo>
                    <a:lnTo>
                      <a:pt x="16" y="288"/>
                    </a:lnTo>
                    <a:lnTo>
                      <a:pt x="17" y="290"/>
                    </a:lnTo>
                    <a:lnTo>
                      <a:pt x="17" y="290"/>
                    </a:lnTo>
                    <a:lnTo>
                      <a:pt x="17" y="295"/>
                    </a:lnTo>
                    <a:lnTo>
                      <a:pt x="18" y="298"/>
                    </a:lnTo>
                    <a:lnTo>
                      <a:pt x="24" y="305"/>
                    </a:lnTo>
                    <a:lnTo>
                      <a:pt x="28" y="312"/>
                    </a:lnTo>
                    <a:lnTo>
                      <a:pt x="30" y="316"/>
                    </a:lnTo>
                    <a:lnTo>
                      <a:pt x="30" y="322"/>
                    </a:lnTo>
                    <a:lnTo>
                      <a:pt x="30" y="322"/>
                    </a:lnTo>
                    <a:lnTo>
                      <a:pt x="30" y="326"/>
                    </a:lnTo>
                    <a:lnTo>
                      <a:pt x="31" y="332"/>
                    </a:lnTo>
                    <a:lnTo>
                      <a:pt x="35" y="343"/>
                    </a:lnTo>
                    <a:lnTo>
                      <a:pt x="44" y="357"/>
                    </a:lnTo>
                    <a:lnTo>
                      <a:pt x="44" y="357"/>
                    </a:lnTo>
                    <a:lnTo>
                      <a:pt x="44" y="362"/>
                    </a:lnTo>
                    <a:lnTo>
                      <a:pt x="43" y="366"/>
                    </a:lnTo>
                    <a:lnTo>
                      <a:pt x="41" y="373"/>
                    </a:lnTo>
                    <a:lnTo>
                      <a:pt x="41" y="379"/>
                    </a:lnTo>
                    <a:lnTo>
                      <a:pt x="41" y="379"/>
                    </a:lnTo>
                    <a:lnTo>
                      <a:pt x="41" y="386"/>
                    </a:lnTo>
                    <a:lnTo>
                      <a:pt x="38" y="390"/>
                    </a:lnTo>
                    <a:lnTo>
                      <a:pt x="35" y="391"/>
                    </a:lnTo>
                    <a:lnTo>
                      <a:pt x="31" y="393"/>
                    </a:lnTo>
                    <a:lnTo>
                      <a:pt x="31" y="393"/>
                    </a:lnTo>
                    <a:lnTo>
                      <a:pt x="30" y="393"/>
                    </a:lnTo>
                    <a:lnTo>
                      <a:pt x="28" y="394"/>
                    </a:lnTo>
                    <a:lnTo>
                      <a:pt x="28" y="397"/>
                    </a:lnTo>
                    <a:lnTo>
                      <a:pt x="31" y="401"/>
                    </a:lnTo>
                    <a:lnTo>
                      <a:pt x="35" y="403"/>
                    </a:lnTo>
                    <a:lnTo>
                      <a:pt x="35" y="403"/>
                    </a:lnTo>
                    <a:lnTo>
                      <a:pt x="40" y="404"/>
                    </a:lnTo>
                    <a:lnTo>
                      <a:pt x="41" y="407"/>
                    </a:lnTo>
                    <a:lnTo>
                      <a:pt x="44" y="410"/>
                    </a:lnTo>
                    <a:lnTo>
                      <a:pt x="47" y="413"/>
                    </a:lnTo>
                    <a:lnTo>
                      <a:pt x="47" y="413"/>
                    </a:lnTo>
                    <a:lnTo>
                      <a:pt x="54" y="416"/>
                    </a:lnTo>
                    <a:lnTo>
                      <a:pt x="64" y="417"/>
                    </a:lnTo>
                    <a:lnTo>
                      <a:pt x="78" y="417"/>
                    </a:lnTo>
                    <a:lnTo>
                      <a:pt x="78" y="417"/>
                    </a:lnTo>
                    <a:lnTo>
                      <a:pt x="82" y="416"/>
                    </a:lnTo>
                    <a:lnTo>
                      <a:pt x="85" y="411"/>
                    </a:lnTo>
                    <a:lnTo>
                      <a:pt x="89" y="408"/>
                    </a:lnTo>
                    <a:lnTo>
                      <a:pt x="95" y="407"/>
                    </a:lnTo>
                    <a:lnTo>
                      <a:pt x="95" y="407"/>
                    </a:lnTo>
                    <a:lnTo>
                      <a:pt x="99" y="406"/>
                    </a:lnTo>
                    <a:lnTo>
                      <a:pt x="102" y="404"/>
                    </a:lnTo>
                    <a:lnTo>
                      <a:pt x="107" y="399"/>
                    </a:lnTo>
                    <a:lnTo>
                      <a:pt x="107" y="399"/>
                    </a:lnTo>
                    <a:lnTo>
                      <a:pt x="108" y="397"/>
                    </a:lnTo>
                    <a:lnTo>
                      <a:pt x="111" y="397"/>
                    </a:lnTo>
                    <a:lnTo>
                      <a:pt x="121" y="396"/>
                    </a:lnTo>
                    <a:lnTo>
                      <a:pt x="148" y="397"/>
                    </a:lnTo>
                    <a:lnTo>
                      <a:pt x="148" y="397"/>
                    </a:lnTo>
                    <a:lnTo>
                      <a:pt x="159" y="396"/>
                    </a:lnTo>
                    <a:lnTo>
                      <a:pt x="168" y="394"/>
                    </a:lnTo>
                    <a:lnTo>
                      <a:pt x="173" y="390"/>
                    </a:lnTo>
                    <a:lnTo>
                      <a:pt x="178" y="384"/>
                    </a:lnTo>
                    <a:lnTo>
                      <a:pt x="178" y="384"/>
                    </a:lnTo>
                    <a:lnTo>
                      <a:pt x="179" y="381"/>
                    </a:lnTo>
                    <a:lnTo>
                      <a:pt x="181" y="380"/>
                    </a:lnTo>
                    <a:lnTo>
                      <a:pt x="186" y="377"/>
                    </a:lnTo>
                    <a:lnTo>
                      <a:pt x="193" y="376"/>
                    </a:lnTo>
                    <a:lnTo>
                      <a:pt x="199" y="372"/>
                    </a:lnTo>
                    <a:lnTo>
                      <a:pt x="199" y="372"/>
                    </a:lnTo>
                    <a:lnTo>
                      <a:pt x="202" y="369"/>
                    </a:lnTo>
                    <a:lnTo>
                      <a:pt x="208" y="367"/>
                    </a:lnTo>
                    <a:lnTo>
                      <a:pt x="213" y="367"/>
                    </a:lnTo>
                    <a:lnTo>
                      <a:pt x="222" y="367"/>
                    </a:lnTo>
                    <a:lnTo>
                      <a:pt x="222" y="367"/>
                    </a:lnTo>
                    <a:lnTo>
                      <a:pt x="232" y="367"/>
                    </a:lnTo>
                    <a:lnTo>
                      <a:pt x="242" y="364"/>
                    </a:lnTo>
                    <a:lnTo>
                      <a:pt x="257" y="357"/>
                    </a:lnTo>
                    <a:lnTo>
                      <a:pt x="257" y="357"/>
                    </a:lnTo>
                    <a:lnTo>
                      <a:pt x="266" y="356"/>
                    </a:lnTo>
                    <a:lnTo>
                      <a:pt x="274" y="354"/>
                    </a:lnTo>
                    <a:lnTo>
                      <a:pt x="284" y="354"/>
                    </a:lnTo>
                    <a:lnTo>
                      <a:pt x="291" y="353"/>
                    </a:lnTo>
                    <a:lnTo>
                      <a:pt x="291" y="353"/>
                    </a:lnTo>
                    <a:lnTo>
                      <a:pt x="294" y="353"/>
                    </a:lnTo>
                    <a:lnTo>
                      <a:pt x="297" y="353"/>
                    </a:lnTo>
                    <a:lnTo>
                      <a:pt x="301" y="357"/>
                    </a:lnTo>
                    <a:lnTo>
                      <a:pt x="306" y="362"/>
                    </a:lnTo>
                    <a:lnTo>
                      <a:pt x="309" y="363"/>
                    </a:lnTo>
                    <a:lnTo>
                      <a:pt x="311" y="363"/>
                    </a:lnTo>
                    <a:lnTo>
                      <a:pt x="311" y="363"/>
                    </a:lnTo>
                    <a:lnTo>
                      <a:pt x="317" y="363"/>
                    </a:lnTo>
                    <a:lnTo>
                      <a:pt x="323" y="363"/>
                    </a:lnTo>
                    <a:lnTo>
                      <a:pt x="326" y="364"/>
                    </a:lnTo>
                    <a:lnTo>
                      <a:pt x="330" y="364"/>
                    </a:lnTo>
                    <a:lnTo>
                      <a:pt x="330" y="364"/>
                    </a:lnTo>
                    <a:lnTo>
                      <a:pt x="333" y="366"/>
                    </a:lnTo>
                    <a:lnTo>
                      <a:pt x="334" y="367"/>
                    </a:lnTo>
                    <a:lnTo>
                      <a:pt x="337" y="369"/>
                    </a:lnTo>
                    <a:lnTo>
                      <a:pt x="340" y="370"/>
                    </a:lnTo>
                    <a:lnTo>
                      <a:pt x="340" y="370"/>
                    </a:lnTo>
                    <a:lnTo>
                      <a:pt x="343" y="372"/>
                    </a:lnTo>
                    <a:lnTo>
                      <a:pt x="343" y="373"/>
                    </a:lnTo>
                    <a:lnTo>
                      <a:pt x="343" y="376"/>
                    </a:lnTo>
                    <a:lnTo>
                      <a:pt x="340" y="380"/>
                    </a:lnTo>
                    <a:lnTo>
                      <a:pt x="340" y="380"/>
                    </a:lnTo>
                    <a:lnTo>
                      <a:pt x="340" y="381"/>
                    </a:lnTo>
                    <a:lnTo>
                      <a:pt x="340" y="383"/>
                    </a:lnTo>
                    <a:lnTo>
                      <a:pt x="344" y="384"/>
                    </a:lnTo>
                    <a:lnTo>
                      <a:pt x="348" y="387"/>
                    </a:lnTo>
                    <a:lnTo>
                      <a:pt x="354" y="393"/>
                    </a:lnTo>
                    <a:lnTo>
                      <a:pt x="354" y="393"/>
                    </a:lnTo>
                    <a:lnTo>
                      <a:pt x="357" y="399"/>
                    </a:lnTo>
                    <a:lnTo>
                      <a:pt x="358" y="403"/>
                    </a:lnTo>
                    <a:lnTo>
                      <a:pt x="357" y="407"/>
                    </a:lnTo>
                    <a:lnTo>
                      <a:pt x="358" y="411"/>
                    </a:lnTo>
                    <a:lnTo>
                      <a:pt x="358" y="411"/>
                    </a:lnTo>
                    <a:lnTo>
                      <a:pt x="361" y="414"/>
                    </a:lnTo>
                    <a:lnTo>
                      <a:pt x="364" y="416"/>
                    </a:lnTo>
                    <a:lnTo>
                      <a:pt x="367" y="413"/>
                    </a:lnTo>
                    <a:lnTo>
                      <a:pt x="371" y="406"/>
                    </a:lnTo>
                    <a:lnTo>
                      <a:pt x="371" y="406"/>
                    </a:lnTo>
                    <a:lnTo>
                      <a:pt x="374" y="403"/>
                    </a:lnTo>
                    <a:lnTo>
                      <a:pt x="377" y="401"/>
                    </a:lnTo>
                    <a:lnTo>
                      <a:pt x="383" y="400"/>
                    </a:lnTo>
                    <a:lnTo>
                      <a:pt x="385" y="399"/>
                    </a:lnTo>
                    <a:lnTo>
                      <a:pt x="387" y="397"/>
                    </a:lnTo>
                    <a:lnTo>
                      <a:pt x="388" y="394"/>
                    </a:lnTo>
                    <a:lnTo>
                      <a:pt x="388" y="394"/>
                    </a:lnTo>
                    <a:lnTo>
                      <a:pt x="390" y="387"/>
                    </a:lnTo>
                    <a:lnTo>
                      <a:pt x="392" y="383"/>
                    </a:lnTo>
                    <a:lnTo>
                      <a:pt x="397" y="379"/>
                    </a:lnTo>
                    <a:lnTo>
                      <a:pt x="400" y="379"/>
                    </a:lnTo>
                    <a:lnTo>
                      <a:pt x="401" y="380"/>
                    </a:lnTo>
                    <a:lnTo>
                      <a:pt x="401" y="380"/>
                    </a:lnTo>
                    <a:lnTo>
                      <a:pt x="402" y="381"/>
                    </a:lnTo>
                    <a:lnTo>
                      <a:pt x="402" y="383"/>
                    </a:lnTo>
                    <a:lnTo>
                      <a:pt x="401" y="387"/>
                    </a:lnTo>
                    <a:lnTo>
                      <a:pt x="398" y="393"/>
                    </a:lnTo>
                    <a:lnTo>
                      <a:pt x="394" y="403"/>
                    </a:lnTo>
                    <a:lnTo>
                      <a:pt x="394" y="403"/>
                    </a:lnTo>
                    <a:lnTo>
                      <a:pt x="391" y="411"/>
                    </a:lnTo>
                    <a:lnTo>
                      <a:pt x="390" y="413"/>
                    </a:lnTo>
                    <a:lnTo>
                      <a:pt x="388" y="413"/>
                    </a:lnTo>
                    <a:lnTo>
                      <a:pt x="385" y="414"/>
                    </a:lnTo>
                    <a:lnTo>
                      <a:pt x="385" y="414"/>
                    </a:lnTo>
                    <a:lnTo>
                      <a:pt x="384" y="416"/>
                    </a:lnTo>
                    <a:lnTo>
                      <a:pt x="384" y="416"/>
                    </a:lnTo>
                    <a:lnTo>
                      <a:pt x="385" y="417"/>
                    </a:lnTo>
                    <a:lnTo>
                      <a:pt x="387" y="418"/>
                    </a:lnTo>
                    <a:lnTo>
                      <a:pt x="391" y="420"/>
                    </a:lnTo>
                    <a:lnTo>
                      <a:pt x="397" y="418"/>
                    </a:lnTo>
                    <a:lnTo>
                      <a:pt x="398" y="417"/>
                    </a:lnTo>
                    <a:lnTo>
                      <a:pt x="400" y="414"/>
                    </a:lnTo>
                    <a:lnTo>
                      <a:pt x="400" y="414"/>
                    </a:lnTo>
                    <a:lnTo>
                      <a:pt x="400" y="408"/>
                    </a:lnTo>
                    <a:lnTo>
                      <a:pt x="401" y="406"/>
                    </a:lnTo>
                    <a:lnTo>
                      <a:pt x="402" y="404"/>
                    </a:lnTo>
                    <a:lnTo>
                      <a:pt x="404" y="406"/>
                    </a:lnTo>
                    <a:lnTo>
                      <a:pt x="408" y="408"/>
                    </a:lnTo>
                    <a:lnTo>
                      <a:pt x="408" y="408"/>
                    </a:lnTo>
                    <a:lnTo>
                      <a:pt x="410" y="411"/>
                    </a:lnTo>
                    <a:lnTo>
                      <a:pt x="411" y="414"/>
                    </a:lnTo>
                    <a:lnTo>
                      <a:pt x="410" y="420"/>
                    </a:lnTo>
                    <a:lnTo>
                      <a:pt x="407" y="424"/>
                    </a:lnTo>
                    <a:lnTo>
                      <a:pt x="407" y="427"/>
                    </a:lnTo>
                    <a:lnTo>
                      <a:pt x="407" y="427"/>
                    </a:lnTo>
                    <a:lnTo>
                      <a:pt x="408" y="428"/>
                    </a:lnTo>
                    <a:lnTo>
                      <a:pt x="411" y="428"/>
                    </a:lnTo>
                    <a:lnTo>
                      <a:pt x="415" y="427"/>
                    </a:lnTo>
                    <a:lnTo>
                      <a:pt x="418" y="426"/>
                    </a:lnTo>
                    <a:lnTo>
                      <a:pt x="418" y="426"/>
                    </a:lnTo>
                    <a:lnTo>
                      <a:pt x="421" y="427"/>
                    </a:lnTo>
                    <a:lnTo>
                      <a:pt x="422" y="428"/>
                    </a:lnTo>
                    <a:lnTo>
                      <a:pt x="428" y="434"/>
                    </a:lnTo>
                    <a:lnTo>
                      <a:pt x="431" y="441"/>
                    </a:lnTo>
                    <a:lnTo>
                      <a:pt x="431" y="448"/>
                    </a:lnTo>
                    <a:lnTo>
                      <a:pt x="431" y="448"/>
                    </a:lnTo>
                    <a:lnTo>
                      <a:pt x="431" y="454"/>
                    </a:lnTo>
                    <a:lnTo>
                      <a:pt x="431" y="460"/>
                    </a:lnTo>
                    <a:lnTo>
                      <a:pt x="434" y="464"/>
                    </a:lnTo>
                    <a:lnTo>
                      <a:pt x="439" y="468"/>
                    </a:lnTo>
                    <a:lnTo>
                      <a:pt x="439" y="468"/>
                    </a:lnTo>
                    <a:lnTo>
                      <a:pt x="447" y="473"/>
                    </a:lnTo>
                    <a:lnTo>
                      <a:pt x="449" y="475"/>
                    </a:lnTo>
                    <a:lnTo>
                      <a:pt x="452" y="475"/>
                    </a:lnTo>
                    <a:lnTo>
                      <a:pt x="457" y="475"/>
                    </a:lnTo>
                    <a:lnTo>
                      <a:pt x="457" y="475"/>
                    </a:lnTo>
                    <a:lnTo>
                      <a:pt x="465" y="477"/>
                    </a:lnTo>
                    <a:lnTo>
                      <a:pt x="474" y="480"/>
                    </a:lnTo>
                    <a:lnTo>
                      <a:pt x="482" y="484"/>
                    </a:lnTo>
                    <a:lnTo>
                      <a:pt x="489" y="487"/>
                    </a:lnTo>
                    <a:lnTo>
                      <a:pt x="489" y="487"/>
                    </a:lnTo>
                    <a:lnTo>
                      <a:pt x="491" y="488"/>
                    </a:lnTo>
                    <a:lnTo>
                      <a:pt x="494" y="488"/>
                    </a:lnTo>
                    <a:lnTo>
                      <a:pt x="499" y="487"/>
                    </a:lnTo>
                    <a:lnTo>
                      <a:pt x="505" y="481"/>
                    </a:lnTo>
                    <a:lnTo>
                      <a:pt x="509" y="475"/>
                    </a:lnTo>
                    <a:lnTo>
                      <a:pt x="509" y="475"/>
                    </a:lnTo>
                    <a:lnTo>
                      <a:pt x="511" y="473"/>
                    </a:lnTo>
                    <a:lnTo>
                      <a:pt x="512" y="473"/>
                    </a:lnTo>
                    <a:lnTo>
                      <a:pt x="513" y="473"/>
                    </a:lnTo>
                    <a:lnTo>
                      <a:pt x="515" y="473"/>
                    </a:lnTo>
                    <a:lnTo>
                      <a:pt x="518" y="475"/>
                    </a:lnTo>
                    <a:lnTo>
                      <a:pt x="516" y="477"/>
                    </a:lnTo>
                    <a:lnTo>
                      <a:pt x="516" y="478"/>
                    </a:lnTo>
                    <a:lnTo>
                      <a:pt x="516" y="478"/>
                    </a:lnTo>
                    <a:lnTo>
                      <a:pt x="515" y="480"/>
                    </a:lnTo>
                    <a:lnTo>
                      <a:pt x="513" y="481"/>
                    </a:lnTo>
                    <a:lnTo>
                      <a:pt x="515" y="484"/>
                    </a:lnTo>
                    <a:lnTo>
                      <a:pt x="518" y="485"/>
                    </a:lnTo>
                    <a:lnTo>
                      <a:pt x="518" y="484"/>
                    </a:lnTo>
                    <a:lnTo>
                      <a:pt x="519" y="482"/>
                    </a:lnTo>
                    <a:lnTo>
                      <a:pt x="519" y="482"/>
                    </a:lnTo>
                    <a:lnTo>
                      <a:pt x="521" y="478"/>
                    </a:lnTo>
                    <a:lnTo>
                      <a:pt x="522" y="477"/>
                    </a:lnTo>
                    <a:lnTo>
                      <a:pt x="523" y="480"/>
                    </a:lnTo>
                    <a:lnTo>
                      <a:pt x="523" y="480"/>
                    </a:lnTo>
                    <a:lnTo>
                      <a:pt x="525" y="482"/>
                    </a:lnTo>
                    <a:lnTo>
                      <a:pt x="528" y="485"/>
                    </a:lnTo>
                    <a:lnTo>
                      <a:pt x="530" y="487"/>
                    </a:lnTo>
                    <a:lnTo>
                      <a:pt x="533" y="490"/>
                    </a:lnTo>
                    <a:lnTo>
                      <a:pt x="533" y="490"/>
                    </a:lnTo>
                    <a:lnTo>
                      <a:pt x="538" y="494"/>
                    </a:lnTo>
                    <a:lnTo>
                      <a:pt x="539" y="495"/>
                    </a:lnTo>
                    <a:lnTo>
                      <a:pt x="539" y="494"/>
                    </a:lnTo>
                    <a:lnTo>
                      <a:pt x="539" y="494"/>
                    </a:lnTo>
                    <a:lnTo>
                      <a:pt x="539" y="491"/>
                    </a:lnTo>
                    <a:lnTo>
                      <a:pt x="540" y="488"/>
                    </a:lnTo>
                    <a:lnTo>
                      <a:pt x="542" y="487"/>
                    </a:lnTo>
                    <a:lnTo>
                      <a:pt x="546" y="484"/>
                    </a:lnTo>
                    <a:lnTo>
                      <a:pt x="546" y="484"/>
                    </a:lnTo>
                    <a:lnTo>
                      <a:pt x="553" y="480"/>
                    </a:lnTo>
                    <a:lnTo>
                      <a:pt x="562" y="474"/>
                    </a:lnTo>
                    <a:lnTo>
                      <a:pt x="562" y="474"/>
                    </a:lnTo>
                    <a:lnTo>
                      <a:pt x="565" y="471"/>
                    </a:lnTo>
                    <a:lnTo>
                      <a:pt x="569" y="471"/>
                    </a:lnTo>
                    <a:lnTo>
                      <a:pt x="579" y="468"/>
                    </a:lnTo>
                    <a:lnTo>
                      <a:pt x="595" y="467"/>
                    </a:lnTo>
                    <a:lnTo>
                      <a:pt x="595" y="467"/>
                    </a:lnTo>
                    <a:lnTo>
                      <a:pt x="596" y="464"/>
                    </a:lnTo>
                    <a:lnTo>
                      <a:pt x="597" y="455"/>
                    </a:lnTo>
                    <a:lnTo>
                      <a:pt x="600" y="436"/>
                    </a:lnTo>
                    <a:lnTo>
                      <a:pt x="600" y="436"/>
                    </a:lnTo>
                    <a:lnTo>
                      <a:pt x="602" y="428"/>
                    </a:lnTo>
                    <a:lnTo>
                      <a:pt x="606" y="423"/>
                    </a:lnTo>
                    <a:lnTo>
                      <a:pt x="610" y="417"/>
                    </a:lnTo>
                    <a:lnTo>
                      <a:pt x="612" y="410"/>
                    </a:lnTo>
                    <a:lnTo>
                      <a:pt x="612" y="410"/>
                    </a:lnTo>
                    <a:lnTo>
                      <a:pt x="614" y="400"/>
                    </a:lnTo>
                    <a:lnTo>
                      <a:pt x="620" y="389"/>
                    </a:lnTo>
                    <a:lnTo>
                      <a:pt x="626" y="380"/>
                    </a:lnTo>
                    <a:lnTo>
                      <a:pt x="629" y="376"/>
                    </a:lnTo>
                    <a:lnTo>
                      <a:pt x="629" y="376"/>
                    </a:lnTo>
                    <a:lnTo>
                      <a:pt x="634" y="373"/>
                    </a:lnTo>
                    <a:lnTo>
                      <a:pt x="637" y="370"/>
                    </a:lnTo>
                    <a:lnTo>
                      <a:pt x="639" y="364"/>
                    </a:lnTo>
                    <a:lnTo>
                      <a:pt x="639" y="364"/>
                    </a:lnTo>
                    <a:lnTo>
                      <a:pt x="640" y="360"/>
                    </a:lnTo>
                    <a:lnTo>
                      <a:pt x="643" y="354"/>
                    </a:lnTo>
                    <a:lnTo>
                      <a:pt x="646" y="349"/>
                    </a:lnTo>
                    <a:lnTo>
                      <a:pt x="647" y="343"/>
                    </a:lnTo>
                    <a:lnTo>
                      <a:pt x="647" y="343"/>
                    </a:lnTo>
                    <a:lnTo>
                      <a:pt x="649" y="336"/>
                    </a:lnTo>
                    <a:lnTo>
                      <a:pt x="650" y="330"/>
                    </a:lnTo>
                    <a:lnTo>
                      <a:pt x="651" y="326"/>
                    </a:lnTo>
                    <a:lnTo>
                      <a:pt x="651" y="322"/>
                    </a:lnTo>
                    <a:lnTo>
                      <a:pt x="651" y="322"/>
                    </a:lnTo>
                    <a:lnTo>
                      <a:pt x="650" y="316"/>
                    </a:lnTo>
                    <a:lnTo>
                      <a:pt x="650" y="310"/>
                    </a:lnTo>
                    <a:lnTo>
                      <a:pt x="653" y="306"/>
                    </a:lnTo>
                    <a:lnTo>
                      <a:pt x="653" y="306"/>
                    </a:lnTo>
                    <a:lnTo>
                      <a:pt x="654" y="305"/>
                    </a:lnTo>
                    <a:lnTo>
                      <a:pt x="654" y="302"/>
                    </a:lnTo>
                    <a:lnTo>
                      <a:pt x="654" y="298"/>
                    </a:lnTo>
                    <a:lnTo>
                      <a:pt x="653" y="295"/>
                    </a:lnTo>
                    <a:lnTo>
                      <a:pt x="653" y="293"/>
                    </a:lnTo>
                    <a:lnTo>
                      <a:pt x="654" y="292"/>
                    </a:lnTo>
                    <a:lnTo>
                      <a:pt x="654" y="292"/>
                    </a:lnTo>
                    <a:close/>
                    <a:moveTo>
                      <a:pt x="538" y="534"/>
                    </a:moveTo>
                    <a:lnTo>
                      <a:pt x="538" y="534"/>
                    </a:lnTo>
                    <a:lnTo>
                      <a:pt x="530" y="532"/>
                    </a:lnTo>
                    <a:lnTo>
                      <a:pt x="522" y="529"/>
                    </a:lnTo>
                    <a:lnTo>
                      <a:pt x="515" y="527"/>
                    </a:lnTo>
                    <a:lnTo>
                      <a:pt x="511" y="525"/>
                    </a:lnTo>
                    <a:lnTo>
                      <a:pt x="511" y="525"/>
                    </a:lnTo>
                    <a:lnTo>
                      <a:pt x="511" y="527"/>
                    </a:lnTo>
                    <a:lnTo>
                      <a:pt x="511" y="529"/>
                    </a:lnTo>
                    <a:lnTo>
                      <a:pt x="515" y="539"/>
                    </a:lnTo>
                    <a:lnTo>
                      <a:pt x="519" y="549"/>
                    </a:lnTo>
                    <a:lnTo>
                      <a:pt x="519" y="554"/>
                    </a:lnTo>
                    <a:lnTo>
                      <a:pt x="518" y="558"/>
                    </a:lnTo>
                    <a:lnTo>
                      <a:pt x="518" y="558"/>
                    </a:lnTo>
                    <a:lnTo>
                      <a:pt x="518" y="561"/>
                    </a:lnTo>
                    <a:lnTo>
                      <a:pt x="519" y="564"/>
                    </a:lnTo>
                    <a:lnTo>
                      <a:pt x="525" y="572"/>
                    </a:lnTo>
                    <a:lnTo>
                      <a:pt x="533" y="579"/>
                    </a:lnTo>
                    <a:lnTo>
                      <a:pt x="539" y="582"/>
                    </a:lnTo>
                    <a:lnTo>
                      <a:pt x="539" y="582"/>
                    </a:lnTo>
                    <a:lnTo>
                      <a:pt x="543" y="582"/>
                    </a:lnTo>
                    <a:lnTo>
                      <a:pt x="545" y="579"/>
                    </a:lnTo>
                    <a:lnTo>
                      <a:pt x="546" y="576"/>
                    </a:lnTo>
                    <a:lnTo>
                      <a:pt x="549" y="576"/>
                    </a:lnTo>
                    <a:lnTo>
                      <a:pt x="549" y="576"/>
                    </a:lnTo>
                    <a:lnTo>
                      <a:pt x="550" y="575"/>
                    </a:lnTo>
                    <a:lnTo>
                      <a:pt x="552" y="574"/>
                    </a:lnTo>
                    <a:lnTo>
                      <a:pt x="552" y="568"/>
                    </a:lnTo>
                    <a:lnTo>
                      <a:pt x="552" y="568"/>
                    </a:lnTo>
                    <a:lnTo>
                      <a:pt x="552" y="566"/>
                    </a:lnTo>
                    <a:lnTo>
                      <a:pt x="553" y="566"/>
                    </a:lnTo>
                    <a:lnTo>
                      <a:pt x="556" y="568"/>
                    </a:lnTo>
                    <a:lnTo>
                      <a:pt x="558" y="569"/>
                    </a:lnTo>
                    <a:lnTo>
                      <a:pt x="562" y="569"/>
                    </a:lnTo>
                    <a:lnTo>
                      <a:pt x="562" y="569"/>
                    </a:lnTo>
                    <a:lnTo>
                      <a:pt x="562" y="568"/>
                    </a:lnTo>
                    <a:lnTo>
                      <a:pt x="563" y="566"/>
                    </a:lnTo>
                    <a:lnTo>
                      <a:pt x="563" y="559"/>
                    </a:lnTo>
                    <a:lnTo>
                      <a:pt x="563" y="555"/>
                    </a:lnTo>
                    <a:lnTo>
                      <a:pt x="565" y="552"/>
                    </a:lnTo>
                    <a:lnTo>
                      <a:pt x="566" y="552"/>
                    </a:lnTo>
                    <a:lnTo>
                      <a:pt x="566" y="552"/>
                    </a:lnTo>
                    <a:lnTo>
                      <a:pt x="567" y="551"/>
                    </a:lnTo>
                    <a:lnTo>
                      <a:pt x="569" y="549"/>
                    </a:lnTo>
                    <a:lnTo>
                      <a:pt x="569" y="542"/>
                    </a:lnTo>
                    <a:lnTo>
                      <a:pt x="565" y="528"/>
                    </a:lnTo>
                    <a:lnTo>
                      <a:pt x="565" y="528"/>
                    </a:lnTo>
                    <a:lnTo>
                      <a:pt x="563" y="527"/>
                    </a:lnTo>
                    <a:lnTo>
                      <a:pt x="562" y="525"/>
                    </a:lnTo>
                    <a:lnTo>
                      <a:pt x="555" y="528"/>
                    </a:lnTo>
                    <a:lnTo>
                      <a:pt x="546" y="531"/>
                    </a:lnTo>
                    <a:lnTo>
                      <a:pt x="538" y="534"/>
                    </a:lnTo>
                    <a:lnTo>
                      <a:pt x="538" y="53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</p:grpSp>
        <p:grpSp>
          <p:nvGrpSpPr>
            <p:cNvPr id="196" name="North American">
              <a:extLst>
                <a:ext uri="{FF2B5EF4-FFF2-40B4-BE49-F238E27FC236}">
                  <a16:creationId xmlns:a16="http://schemas.microsoft.com/office/drawing/2014/main" id="{176DAE88-0D83-2985-FA1E-1E523FE0BE0E}"/>
                </a:ext>
              </a:extLst>
            </p:cNvPr>
            <p:cNvGrpSpPr/>
            <p:nvPr/>
          </p:nvGrpSpPr>
          <p:grpSpPr>
            <a:xfrm>
              <a:off x="1834224" y="2080275"/>
              <a:ext cx="2750919" cy="2336578"/>
              <a:chOff x="310223" y="1615054"/>
              <a:chExt cx="2750919" cy="2336578"/>
            </a:xfrm>
            <a:solidFill>
              <a:schemeClr val="bg1">
                <a:lumMod val="75000"/>
              </a:schemeClr>
            </a:solidFill>
          </p:grpSpPr>
          <p:sp>
            <p:nvSpPr>
              <p:cNvPr id="247" name="Mexico">
                <a:extLst>
                  <a:ext uri="{FF2B5EF4-FFF2-40B4-BE49-F238E27FC236}">
                    <a16:creationId xmlns:a16="http://schemas.microsoft.com/office/drawing/2014/main" id="{C3D432EE-D8CA-3E68-ECA1-41484F4B4E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6605" y="3501778"/>
                <a:ext cx="720655" cy="449854"/>
              </a:xfrm>
              <a:custGeom>
                <a:avLst/>
                <a:gdLst/>
                <a:ahLst/>
                <a:cxnLst>
                  <a:cxn ang="0">
                    <a:pos x="427" y="284"/>
                  </a:cxn>
                  <a:cxn ang="0">
                    <a:pos x="417" y="266"/>
                  </a:cxn>
                  <a:cxn ang="0">
                    <a:pos x="450" y="256"/>
                  </a:cxn>
                  <a:cxn ang="0">
                    <a:pos x="468" y="251"/>
                  </a:cxn>
                  <a:cxn ang="0">
                    <a:pos x="478" y="212"/>
                  </a:cxn>
                  <a:cxn ang="0">
                    <a:pos x="485" y="195"/>
                  </a:cxn>
                  <a:cxn ang="0">
                    <a:pos x="448" y="196"/>
                  </a:cxn>
                  <a:cxn ang="0">
                    <a:pos x="427" y="219"/>
                  </a:cxn>
                  <a:cxn ang="0">
                    <a:pos x="417" y="237"/>
                  </a:cxn>
                  <a:cxn ang="0">
                    <a:pos x="407" y="244"/>
                  </a:cxn>
                  <a:cxn ang="0">
                    <a:pos x="359" y="249"/>
                  </a:cxn>
                  <a:cxn ang="0">
                    <a:pos x="337" y="236"/>
                  </a:cxn>
                  <a:cxn ang="0">
                    <a:pos x="317" y="203"/>
                  </a:cxn>
                  <a:cxn ang="0">
                    <a:pos x="313" y="141"/>
                  </a:cxn>
                  <a:cxn ang="0">
                    <a:pos x="312" y="118"/>
                  </a:cxn>
                  <a:cxn ang="0">
                    <a:pos x="285" y="101"/>
                  </a:cxn>
                  <a:cxn ang="0">
                    <a:pos x="273" y="81"/>
                  </a:cxn>
                  <a:cxn ang="0">
                    <a:pos x="244" y="52"/>
                  </a:cxn>
                  <a:cxn ang="0">
                    <a:pos x="225" y="65"/>
                  </a:cxn>
                  <a:cxn ang="0">
                    <a:pos x="202" y="51"/>
                  </a:cxn>
                  <a:cxn ang="0">
                    <a:pos x="179" y="24"/>
                  </a:cxn>
                  <a:cxn ang="0">
                    <a:pos x="54" y="10"/>
                  </a:cxn>
                  <a:cxn ang="0">
                    <a:pos x="3" y="11"/>
                  </a:cxn>
                  <a:cxn ang="0">
                    <a:pos x="22" y="49"/>
                  </a:cxn>
                  <a:cxn ang="0">
                    <a:pos x="49" y="77"/>
                  </a:cxn>
                  <a:cxn ang="0">
                    <a:pos x="39" y="86"/>
                  </a:cxn>
                  <a:cxn ang="0">
                    <a:pos x="57" y="102"/>
                  </a:cxn>
                  <a:cxn ang="0">
                    <a:pos x="81" y="125"/>
                  </a:cxn>
                  <a:cxn ang="0">
                    <a:pos x="97" y="149"/>
                  </a:cxn>
                  <a:cxn ang="0">
                    <a:pos x="115" y="172"/>
                  </a:cxn>
                  <a:cxn ang="0">
                    <a:pos x="120" y="156"/>
                  </a:cxn>
                  <a:cxn ang="0">
                    <a:pos x="106" y="146"/>
                  </a:cxn>
                  <a:cxn ang="0">
                    <a:pos x="98" y="128"/>
                  </a:cxn>
                  <a:cxn ang="0">
                    <a:pos x="73" y="85"/>
                  </a:cxn>
                  <a:cxn ang="0">
                    <a:pos x="63" y="62"/>
                  </a:cxn>
                  <a:cxn ang="0">
                    <a:pos x="46" y="52"/>
                  </a:cxn>
                  <a:cxn ang="0">
                    <a:pos x="36" y="18"/>
                  </a:cxn>
                  <a:cxn ang="0">
                    <a:pos x="44" y="20"/>
                  </a:cxn>
                  <a:cxn ang="0">
                    <a:pos x="56" y="22"/>
                  </a:cxn>
                  <a:cxn ang="0">
                    <a:pos x="66" y="27"/>
                  </a:cxn>
                  <a:cxn ang="0">
                    <a:pos x="74" y="57"/>
                  </a:cxn>
                  <a:cxn ang="0">
                    <a:pos x="77" y="69"/>
                  </a:cxn>
                  <a:cxn ang="0">
                    <a:pos x="94" y="81"/>
                  </a:cxn>
                  <a:cxn ang="0">
                    <a:pos x="108" y="95"/>
                  </a:cxn>
                  <a:cxn ang="0">
                    <a:pos x="123" y="105"/>
                  </a:cxn>
                  <a:cxn ang="0">
                    <a:pos x="125" y="121"/>
                  </a:cxn>
                  <a:cxn ang="0">
                    <a:pos x="148" y="139"/>
                  </a:cxn>
                  <a:cxn ang="0">
                    <a:pos x="191" y="195"/>
                  </a:cxn>
                  <a:cxn ang="0">
                    <a:pos x="188" y="210"/>
                  </a:cxn>
                  <a:cxn ang="0">
                    <a:pos x="195" y="232"/>
                  </a:cxn>
                  <a:cxn ang="0">
                    <a:pos x="226" y="251"/>
                  </a:cxn>
                  <a:cxn ang="0">
                    <a:pos x="269" y="269"/>
                  </a:cxn>
                  <a:cxn ang="0">
                    <a:pos x="329" y="291"/>
                  </a:cxn>
                  <a:cxn ang="0">
                    <a:pos x="370" y="287"/>
                  </a:cxn>
                  <a:cxn ang="0">
                    <a:pos x="406" y="286"/>
                  </a:cxn>
                </a:cxnLst>
                <a:rect l="0" t="0" r="r" b="b"/>
                <a:pathLst>
                  <a:path w="487" h="304">
                    <a:moveTo>
                      <a:pt x="406" y="286"/>
                    </a:moveTo>
                    <a:lnTo>
                      <a:pt x="406" y="286"/>
                    </a:lnTo>
                    <a:lnTo>
                      <a:pt x="417" y="287"/>
                    </a:lnTo>
                    <a:lnTo>
                      <a:pt x="424" y="286"/>
                    </a:lnTo>
                    <a:lnTo>
                      <a:pt x="426" y="286"/>
                    </a:lnTo>
                    <a:lnTo>
                      <a:pt x="427" y="284"/>
                    </a:lnTo>
                    <a:lnTo>
                      <a:pt x="427" y="284"/>
                    </a:lnTo>
                    <a:lnTo>
                      <a:pt x="427" y="281"/>
                    </a:lnTo>
                    <a:lnTo>
                      <a:pt x="426" y="280"/>
                    </a:lnTo>
                    <a:lnTo>
                      <a:pt x="421" y="274"/>
                    </a:lnTo>
                    <a:lnTo>
                      <a:pt x="417" y="270"/>
                    </a:lnTo>
                    <a:lnTo>
                      <a:pt x="416" y="269"/>
                    </a:lnTo>
                    <a:lnTo>
                      <a:pt x="416" y="269"/>
                    </a:lnTo>
                    <a:lnTo>
                      <a:pt x="417" y="266"/>
                    </a:lnTo>
                    <a:lnTo>
                      <a:pt x="418" y="261"/>
                    </a:lnTo>
                    <a:lnTo>
                      <a:pt x="420" y="259"/>
                    </a:lnTo>
                    <a:lnTo>
                      <a:pt x="421" y="256"/>
                    </a:lnTo>
                    <a:lnTo>
                      <a:pt x="421" y="256"/>
                    </a:lnTo>
                    <a:lnTo>
                      <a:pt x="436" y="257"/>
                    </a:lnTo>
                    <a:lnTo>
                      <a:pt x="450" y="256"/>
                    </a:lnTo>
                    <a:lnTo>
                      <a:pt x="450" y="256"/>
                    </a:lnTo>
                    <a:lnTo>
                      <a:pt x="454" y="251"/>
                    </a:lnTo>
                    <a:lnTo>
                      <a:pt x="457" y="249"/>
                    </a:lnTo>
                    <a:lnTo>
                      <a:pt x="461" y="246"/>
                    </a:lnTo>
                    <a:lnTo>
                      <a:pt x="461" y="246"/>
                    </a:lnTo>
                    <a:lnTo>
                      <a:pt x="464" y="247"/>
                    </a:lnTo>
                    <a:lnTo>
                      <a:pt x="468" y="251"/>
                    </a:lnTo>
                    <a:lnTo>
                      <a:pt x="468" y="251"/>
                    </a:lnTo>
                    <a:lnTo>
                      <a:pt x="471" y="247"/>
                    </a:lnTo>
                    <a:lnTo>
                      <a:pt x="473" y="242"/>
                    </a:lnTo>
                    <a:lnTo>
                      <a:pt x="475" y="229"/>
                    </a:lnTo>
                    <a:lnTo>
                      <a:pt x="475" y="229"/>
                    </a:lnTo>
                    <a:lnTo>
                      <a:pt x="475" y="219"/>
                    </a:lnTo>
                    <a:lnTo>
                      <a:pt x="475" y="215"/>
                    </a:lnTo>
                    <a:lnTo>
                      <a:pt x="478" y="212"/>
                    </a:lnTo>
                    <a:lnTo>
                      <a:pt x="478" y="212"/>
                    </a:lnTo>
                    <a:lnTo>
                      <a:pt x="485" y="206"/>
                    </a:lnTo>
                    <a:lnTo>
                      <a:pt x="487" y="203"/>
                    </a:lnTo>
                    <a:lnTo>
                      <a:pt x="487" y="197"/>
                    </a:lnTo>
                    <a:lnTo>
                      <a:pt x="487" y="197"/>
                    </a:lnTo>
                    <a:lnTo>
                      <a:pt x="487" y="196"/>
                    </a:lnTo>
                    <a:lnTo>
                      <a:pt x="485" y="195"/>
                    </a:lnTo>
                    <a:lnTo>
                      <a:pt x="481" y="195"/>
                    </a:lnTo>
                    <a:lnTo>
                      <a:pt x="477" y="196"/>
                    </a:lnTo>
                    <a:lnTo>
                      <a:pt x="473" y="195"/>
                    </a:lnTo>
                    <a:lnTo>
                      <a:pt x="473" y="195"/>
                    </a:lnTo>
                    <a:lnTo>
                      <a:pt x="468" y="193"/>
                    </a:lnTo>
                    <a:lnTo>
                      <a:pt x="464" y="193"/>
                    </a:lnTo>
                    <a:lnTo>
                      <a:pt x="448" y="196"/>
                    </a:lnTo>
                    <a:lnTo>
                      <a:pt x="448" y="196"/>
                    </a:lnTo>
                    <a:lnTo>
                      <a:pt x="438" y="197"/>
                    </a:lnTo>
                    <a:lnTo>
                      <a:pt x="431" y="202"/>
                    </a:lnTo>
                    <a:lnTo>
                      <a:pt x="428" y="207"/>
                    </a:lnTo>
                    <a:lnTo>
                      <a:pt x="427" y="215"/>
                    </a:lnTo>
                    <a:lnTo>
                      <a:pt x="427" y="215"/>
                    </a:lnTo>
                    <a:lnTo>
                      <a:pt x="427" y="219"/>
                    </a:lnTo>
                    <a:lnTo>
                      <a:pt x="426" y="222"/>
                    </a:lnTo>
                    <a:lnTo>
                      <a:pt x="423" y="224"/>
                    </a:lnTo>
                    <a:lnTo>
                      <a:pt x="423" y="229"/>
                    </a:lnTo>
                    <a:lnTo>
                      <a:pt x="423" y="229"/>
                    </a:lnTo>
                    <a:lnTo>
                      <a:pt x="423" y="232"/>
                    </a:lnTo>
                    <a:lnTo>
                      <a:pt x="421" y="234"/>
                    </a:lnTo>
                    <a:lnTo>
                      <a:pt x="417" y="237"/>
                    </a:lnTo>
                    <a:lnTo>
                      <a:pt x="413" y="240"/>
                    </a:lnTo>
                    <a:lnTo>
                      <a:pt x="413" y="242"/>
                    </a:lnTo>
                    <a:lnTo>
                      <a:pt x="411" y="243"/>
                    </a:lnTo>
                    <a:lnTo>
                      <a:pt x="411" y="243"/>
                    </a:lnTo>
                    <a:lnTo>
                      <a:pt x="411" y="244"/>
                    </a:lnTo>
                    <a:lnTo>
                      <a:pt x="411" y="246"/>
                    </a:lnTo>
                    <a:lnTo>
                      <a:pt x="407" y="244"/>
                    </a:lnTo>
                    <a:lnTo>
                      <a:pt x="400" y="242"/>
                    </a:lnTo>
                    <a:lnTo>
                      <a:pt x="400" y="242"/>
                    </a:lnTo>
                    <a:lnTo>
                      <a:pt x="393" y="242"/>
                    </a:lnTo>
                    <a:lnTo>
                      <a:pt x="381" y="244"/>
                    </a:lnTo>
                    <a:lnTo>
                      <a:pt x="362" y="250"/>
                    </a:lnTo>
                    <a:lnTo>
                      <a:pt x="362" y="250"/>
                    </a:lnTo>
                    <a:lnTo>
                      <a:pt x="359" y="249"/>
                    </a:lnTo>
                    <a:lnTo>
                      <a:pt x="353" y="246"/>
                    </a:lnTo>
                    <a:lnTo>
                      <a:pt x="349" y="243"/>
                    </a:lnTo>
                    <a:lnTo>
                      <a:pt x="345" y="242"/>
                    </a:lnTo>
                    <a:lnTo>
                      <a:pt x="345" y="242"/>
                    </a:lnTo>
                    <a:lnTo>
                      <a:pt x="342" y="240"/>
                    </a:lnTo>
                    <a:lnTo>
                      <a:pt x="340" y="240"/>
                    </a:lnTo>
                    <a:lnTo>
                      <a:pt x="337" y="236"/>
                    </a:lnTo>
                    <a:lnTo>
                      <a:pt x="336" y="230"/>
                    </a:lnTo>
                    <a:lnTo>
                      <a:pt x="335" y="224"/>
                    </a:lnTo>
                    <a:lnTo>
                      <a:pt x="335" y="224"/>
                    </a:lnTo>
                    <a:lnTo>
                      <a:pt x="333" y="219"/>
                    </a:lnTo>
                    <a:lnTo>
                      <a:pt x="327" y="215"/>
                    </a:lnTo>
                    <a:lnTo>
                      <a:pt x="322" y="209"/>
                    </a:lnTo>
                    <a:lnTo>
                      <a:pt x="317" y="203"/>
                    </a:lnTo>
                    <a:lnTo>
                      <a:pt x="317" y="203"/>
                    </a:lnTo>
                    <a:lnTo>
                      <a:pt x="315" y="197"/>
                    </a:lnTo>
                    <a:lnTo>
                      <a:pt x="313" y="189"/>
                    </a:lnTo>
                    <a:lnTo>
                      <a:pt x="312" y="172"/>
                    </a:lnTo>
                    <a:lnTo>
                      <a:pt x="312" y="172"/>
                    </a:lnTo>
                    <a:lnTo>
                      <a:pt x="312" y="153"/>
                    </a:lnTo>
                    <a:lnTo>
                      <a:pt x="313" y="141"/>
                    </a:lnTo>
                    <a:lnTo>
                      <a:pt x="317" y="128"/>
                    </a:lnTo>
                    <a:lnTo>
                      <a:pt x="317" y="128"/>
                    </a:lnTo>
                    <a:lnTo>
                      <a:pt x="319" y="121"/>
                    </a:lnTo>
                    <a:lnTo>
                      <a:pt x="319" y="121"/>
                    </a:lnTo>
                    <a:lnTo>
                      <a:pt x="315" y="119"/>
                    </a:lnTo>
                    <a:lnTo>
                      <a:pt x="312" y="118"/>
                    </a:lnTo>
                    <a:lnTo>
                      <a:pt x="312" y="118"/>
                    </a:lnTo>
                    <a:lnTo>
                      <a:pt x="306" y="118"/>
                    </a:lnTo>
                    <a:lnTo>
                      <a:pt x="299" y="115"/>
                    </a:lnTo>
                    <a:lnTo>
                      <a:pt x="289" y="111"/>
                    </a:lnTo>
                    <a:lnTo>
                      <a:pt x="289" y="111"/>
                    </a:lnTo>
                    <a:lnTo>
                      <a:pt x="288" y="109"/>
                    </a:lnTo>
                    <a:lnTo>
                      <a:pt x="286" y="106"/>
                    </a:lnTo>
                    <a:lnTo>
                      <a:pt x="285" y="101"/>
                    </a:lnTo>
                    <a:lnTo>
                      <a:pt x="285" y="101"/>
                    </a:lnTo>
                    <a:lnTo>
                      <a:pt x="283" y="98"/>
                    </a:lnTo>
                    <a:lnTo>
                      <a:pt x="283" y="94"/>
                    </a:lnTo>
                    <a:lnTo>
                      <a:pt x="282" y="91"/>
                    </a:lnTo>
                    <a:lnTo>
                      <a:pt x="280" y="88"/>
                    </a:lnTo>
                    <a:lnTo>
                      <a:pt x="280" y="88"/>
                    </a:lnTo>
                    <a:lnTo>
                      <a:pt x="273" y="81"/>
                    </a:lnTo>
                    <a:lnTo>
                      <a:pt x="269" y="74"/>
                    </a:lnTo>
                    <a:lnTo>
                      <a:pt x="266" y="67"/>
                    </a:lnTo>
                    <a:lnTo>
                      <a:pt x="266" y="67"/>
                    </a:lnTo>
                    <a:lnTo>
                      <a:pt x="263" y="64"/>
                    </a:lnTo>
                    <a:lnTo>
                      <a:pt x="261" y="59"/>
                    </a:lnTo>
                    <a:lnTo>
                      <a:pt x="253" y="55"/>
                    </a:lnTo>
                    <a:lnTo>
                      <a:pt x="244" y="52"/>
                    </a:lnTo>
                    <a:lnTo>
                      <a:pt x="238" y="51"/>
                    </a:lnTo>
                    <a:lnTo>
                      <a:pt x="238" y="51"/>
                    </a:lnTo>
                    <a:lnTo>
                      <a:pt x="235" y="51"/>
                    </a:lnTo>
                    <a:lnTo>
                      <a:pt x="232" y="52"/>
                    </a:lnTo>
                    <a:lnTo>
                      <a:pt x="229" y="58"/>
                    </a:lnTo>
                    <a:lnTo>
                      <a:pt x="226" y="62"/>
                    </a:lnTo>
                    <a:lnTo>
                      <a:pt x="225" y="65"/>
                    </a:lnTo>
                    <a:lnTo>
                      <a:pt x="225" y="65"/>
                    </a:lnTo>
                    <a:lnTo>
                      <a:pt x="222" y="64"/>
                    </a:lnTo>
                    <a:lnTo>
                      <a:pt x="216" y="61"/>
                    </a:lnTo>
                    <a:lnTo>
                      <a:pt x="207" y="55"/>
                    </a:lnTo>
                    <a:lnTo>
                      <a:pt x="207" y="55"/>
                    </a:lnTo>
                    <a:lnTo>
                      <a:pt x="204" y="54"/>
                    </a:lnTo>
                    <a:lnTo>
                      <a:pt x="202" y="51"/>
                    </a:lnTo>
                    <a:lnTo>
                      <a:pt x="201" y="45"/>
                    </a:lnTo>
                    <a:lnTo>
                      <a:pt x="201" y="45"/>
                    </a:lnTo>
                    <a:lnTo>
                      <a:pt x="199" y="42"/>
                    </a:lnTo>
                    <a:lnTo>
                      <a:pt x="197" y="38"/>
                    </a:lnTo>
                    <a:lnTo>
                      <a:pt x="189" y="32"/>
                    </a:lnTo>
                    <a:lnTo>
                      <a:pt x="189" y="32"/>
                    </a:lnTo>
                    <a:lnTo>
                      <a:pt x="179" y="24"/>
                    </a:lnTo>
                    <a:lnTo>
                      <a:pt x="172" y="17"/>
                    </a:lnTo>
                    <a:lnTo>
                      <a:pt x="147" y="17"/>
                    </a:lnTo>
                    <a:lnTo>
                      <a:pt x="141" y="24"/>
                    </a:lnTo>
                    <a:lnTo>
                      <a:pt x="96" y="24"/>
                    </a:lnTo>
                    <a:lnTo>
                      <a:pt x="96" y="24"/>
                    </a:lnTo>
                    <a:lnTo>
                      <a:pt x="77" y="17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49" y="7"/>
                    </a:lnTo>
                    <a:lnTo>
                      <a:pt x="43" y="4"/>
                    </a:lnTo>
                    <a:lnTo>
                      <a:pt x="37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3" y="11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13" y="27"/>
                    </a:lnTo>
                    <a:lnTo>
                      <a:pt x="17" y="35"/>
                    </a:lnTo>
                    <a:lnTo>
                      <a:pt x="20" y="44"/>
                    </a:lnTo>
                    <a:lnTo>
                      <a:pt x="22" y="49"/>
                    </a:lnTo>
                    <a:lnTo>
                      <a:pt x="22" y="49"/>
                    </a:lnTo>
                    <a:lnTo>
                      <a:pt x="24" y="54"/>
                    </a:lnTo>
                    <a:lnTo>
                      <a:pt x="29" y="58"/>
                    </a:lnTo>
                    <a:lnTo>
                      <a:pt x="42" y="65"/>
                    </a:lnTo>
                    <a:lnTo>
                      <a:pt x="42" y="65"/>
                    </a:lnTo>
                    <a:lnTo>
                      <a:pt x="44" y="68"/>
                    </a:lnTo>
                    <a:lnTo>
                      <a:pt x="47" y="71"/>
                    </a:lnTo>
                    <a:lnTo>
                      <a:pt x="49" y="77"/>
                    </a:lnTo>
                    <a:lnTo>
                      <a:pt x="50" y="82"/>
                    </a:lnTo>
                    <a:lnTo>
                      <a:pt x="50" y="86"/>
                    </a:lnTo>
                    <a:lnTo>
                      <a:pt x="50" y="86"/>
                    </a:lnTo>
                    <a:lnTo>
                      <a:pt x="49" y="88"/>
                    </a:lnTo>
                    <a:lnTo>
                      <a:pt x="47" y="88"/>
                    </a:lnTo>
                    <a:lnTo>
                      <a:pt x="43" y="88"/>
                    </a:lnTo>
                    <a:lnTo>
                      <a:pt x="39" y="86"/>
                    </a:lnTo>
                    <a:lnTo>
                      <a:pt x="37" y="86"/>
                    </a:lnTo>
                    <a:lnTo>
                      <a:pt x="37" y="88"/>
                    </a:lnTo>
                    <a:lnTo>
                      <a:pt x="37" y="88"/>
                    </a:lnTo>
                    <a:lnTo>
                      <a:pt x="39" y="92"/>
                    </a:lnTo>
                    <a:lnTo>
                      <a:pt x="44" y="96"/>
                    </a:lnTo>
                    <a:lnTo>
                      <a:pt x="51" y="101"/>
                    </a:lnTo>
                    <a:lnTo>
                      <a:pt x="57" y="102"/>
                    </a:lnTo>
                    <a:lnTo>
                      <a:pt x="57" y="102"/>
                    </a:lnTo>
                    <a:lnTo>
                      <a:pt x="60" y="104"/>
                    </a:lnTo>
                    <a:lnTo>
                      <a:pt x="64" y="105"/>
                    </a:lnTo>
                    <a:lnTo>
                      <a:pt x="74" y="114"/>
                    </a:lnTo>
                    <a:lnTo>
                      <a:pt x="74" y="114"/>
                    </a:lnTo>
                    <a:lnTo>
                      <a:pt x="78" y="119"/>
                    </a:lnTo>
                    <a:lnTo>
                      <a:pt x="81" y="125"/>
                    </a:lnTo>
                    <a:lnTo>
                      <a:pt x="81" y="131"/>
                    </a:lnTo>
                    <a:lnTo>
                      <a:pt x="78" y="133"/>
                    </a:lnTo>
                    <a:lnTo>
                      <a:pt x="78" y="133"/>
                    </a:lnTo>
                    <a:lnTo>
                      <a:pt x="78" y="135"/>
                    </a:lnTo>
                    <a:lnTo>
                      <a:pt x="78" y="136"/>
                    </a:lnTo>
                    <a:lnTo>
                      <a:pt x="83" y="139"/>
                    </a:lnTo>
                    <a:lnTo>
                      <a:pt x="97" y="149"/>
                    </a:lnTo>
                    <a:lnTo>
                      <a:pt x="97" y="149"/>
                    </a:lnTo>
                    <a:lnTo>
                      <a:pt x="104" y="156"/>
                    </a:lnTo>
                    <a:lnTo>
                      <a:pt x="110" y="162"/>
                    </a:lnTo>
                    <a:lnTo>
                      <a:pt x="113" y="166"/>
                    </a:lnTo>
                    <a:lnTo>
                      <a:pt x="114" y="170"/>
                    </a:lnTo>
                    <a:lnTo>
                      <a:pt x="114" y="170"/>
                    </a:lnTo>
                    <a:lnTo>
                      <a:pt x="115" y="172"/>
                    </a:lnTo>
                    <a:lnTo>
                      <a:pt x="118" y="172"/>
                    </a:lnTo>
                    <a:lnTo>
                      <a:pt x="120" y="169"/>
                    </a:lnTo>
                    <a:lnTo>
                      <a:pt x="123" y="165"/>
                    </a:lnTo>
                    <a:lnTo>
                      <a:pt x="123" y="165"/>
                    </a:lnTo>
                    <a:lnTo>
                      <a:pt x="123" y="162"/>
                    </a:lnTo>
                    <a:lnTo>
                      <a:pt x="121" y="159"/>
                    </a:lnTo>
                    <a:lnTo>
                      <a:pt x="120" y="156"/>
                    </a:lnTo>
                    <a:lnTo>
                      <a:pt x="118" y="152"/>
                    </a:lnTo>
                    <a:lnTo>
                      <a:pt x="118" y="152"/>
                    </a:lnTo>
                    <a:lnTo>
                      <a:pt x="118" y="150"/>
                    </a:lnTo>
                    <a:lnTo>
                      <a:pt x="117" y="149"/>
                    </a:lnTo>
                    <a:lnTo>
                      <a:pt x="113" y="148"/>
                    </a:lnTo>
                    <a:lnTo>
                      <a:pt x="106" y="146"/>
                    </a:lnTo>
                    <a:lnTo>
                      <a:pt x="106" y="146"/>
                    </a:lnTo>
                    <a:lnTo>
                      <a:pt x="104" y="146"/>
                    </a:lnTo>
                    <a:lnTo>
                      <a:pt x="103" y="145"/>
                    </a:lnTo>
                    <a:lnTo>
                      <a:pt x="103" y="141"/>
                    </a:lnTo>
                    <a:lnTo>
                      <a:pt x="103" y="136"/>
                    </a:lnTo>
                    <a:lnTo>
                      <a:pt x="101" y="132"/>
                    </a:lnTo>
                    <a:lnTo>
                      <a:pt x="101" y="132"/>
                    </a:lnTo>
                    <a:lnTo>
                      <a:pt x="98" y="128"/>
                    </a:lnTo>
                    <a:lnTo>
                      <a:pt x="96" y="122"/>
                    </a:lnTo>
                    <a:lnTo>
                      <a:pt x="91" y="109"/>
                    </a:lnTo>
                    <a:lnTo>
                      <a:pt x="91" y="109"/>
                    </a:lnTo>
                    <a:lnTo>
                      <a:pt x="87" y="104"/>
                    </a:lnTo>
                    <a:lnTo>
                      <a:pt x="83" y="98"/>
                    </a:lnTo>
                    <a:lnTo>
                      <a:pt x="77" y="92"/>
                    </a:lnTo>
                    <a:lnTo>
                      <a:pt x="73" y="85"/>
                    </a:lnTo>
                    <a:lnTo>
                      <a:pt x="73" y="85"/>
                    </a:lnTo>
                    <a:lnTo>
                      <a:pt x="66" y="75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7"/>
                    </a:lnTo>
                    <a:lnTo>
                      <a:pt x="61" y="64"/>
                    </a:lnTo>
                    <a:lnTo>
                      <a:pt x="63" y="62"/>
                    </a:lnTo>
                    <a:lnTo>
                      <a:pt x="61" y="59"/>
                    </a:lnTo>
                    <a:lnTo>
                      <a:pt x="61" y="59"/>
                    </a:lnTo>
                    <a:lnTo>
                      <a:pt x="60" y="58"/>
                    </a:lnTo>
                    <a:lnTo>
                      <a:pt x="57" y="57"/>
                    </a:lnTo>
                    <a:lnTo>
                      <a:pt x="50" y="54"/>
                    </a:lnTo>
                    <a:lnTo>
                      <a:pt x="50" y="54"/>
                    </a:lnTo>
                    <a:lnTo>
                      <a:pt x="46" y="52"/>
                    </a:lnTo>
                    <a:lnTo>
                      <a:pt x="43" y="49"/>
                    </a:lnTo>
                    <a:lnTo>
                      <a:pt x="42" y="45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39" y="30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6" y="15"/>
                    </a:lnTo>
                    <a:lnTo>
                      <a:pt x="37" y="15"/>
                    </a:lnTo>
                    <a:lnTo>
                      <a:pt x="39" y="15"/>
                    </a:lnTo>
                    <a:lnTo>
                      <a:pt x="42" y="17"/>
                    </a:lnTo>
                    <a:lnTo>
                      <a:pt x="42" y="17"/>
                    </a:lnTo>
                    <a:lnTo>
                      <a:pt x="43" y="20"/>
                    </a:lnTo>
                    <a:lnTo>
                      <a:pt x="44" y="20"/>
                    </a:lnTo>
                    <a:lnTo>
                      <a:pt x="47" y="20"/>
                    </a:lnTo>
                    <a:lnTo>
                      <a:pt x="47" y="20"/>
                    </a:lnTo>
                    <a:lnTo>
                      <a:pt x="49" y="18"/>
                    </a:lnTo>
                    <a:lnTo>
                      <a:pt x="51" y="20"/>
                    </a:lnTo>
                    <a:lnTo>
                      <a:pt x="53" y="20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7" y="24"/>
                    </a:lnTo>
                    <a:lnTo>
                      <a:pt x="60" y="24"/>
                    </a:lnTo>
                    <a:lnTo>
                      <a:pt x="63" y="24"/>
                    </a:lnTo>
                    <a:lnTo>
                      <a:pt x="66" y="25"/>
                    </a:lnTo>
                    <a:lnTo>
                      <a:pt x="66" y="25"/>
                    </a:lnTo>
                    <a:lnTo>
                      <a:pt x="66" y="25"/>
                    </a:lnTo>
                    <a:lnTo>
                      <a:pt x="66" y="27"/>
                    </a:lnTo>
                    <a:lnTo>
                      <a:pt x="64" y="30"/>
                    </a:lnTo>
                    <a:lnTo>
                      <a:pt x="64" y="35"/>
                    </a:lnTo>
                    <a:lnTo>
                      <a:pt x="66" y="40"/>
                    </a:lnTo>
                    <a:lnTo>
                      <a:pt x="69" y="45"/>
                    </a:lnTo>
                    <a:lnTo>
                      <a:pt x="69" y="45"/>
                    </a:lnTo>
                    <a:lnTo>
                      <a:pt x="73" y="54"/>
                    </a:lnTo>
                    <a:lnTo>
                      <a:pt x="74" y="57"/>
                    </a:lnTo>
                    <a:lnTo>
                      <a:pt x="73" y="58"/>
                    </a:lnTo>
                    <a:lnTo>
                      <a:pt x="71" y="64"/>
                    </a:lnTo>
                    <a:lnTo>
                      <a:pt x="71" y="64"/>
                    </a:lnTo>
                    <a:lnTo>
                      <a:pt x="73" y="69"/>
                    </a:lnTo>
                    <a:lnTo>
                      <a:pt x="73" y="69"/>
                    </a:lnTo>
                    <a:lnTo>
                      <a:pt x="74" y="71"/>
                    </a:lnTo>
                    <a:lnTo>
                      <a:pt x="77" y="69"/>
                    </a:lnTo>
                    <a:lnTo>
                      <a:pt x="78" y="68"/>
                    </a:lnTo>
                    <a:lnTo>
                      <a:pt x="78" y="68"/>
                    </a:lnTo>
                    <a:lnTo>
                      <a:pt x="81" y="68"/>
                    </a:lnTo>
                    <a:lnTo>
                      <a:pt x="84" y="69"/>
                    </a:lnTo>
                    <a:lnTo>
                      <a:pt x="90" y="77"/>
                    </a:lnTo>
                    <a:lnTo>
                      <a:pt x="90" y="77"/>
                    </a:lnTo>
                    <a:lnTo>
                      <a:pt x="94" y="81"/>
                    </a:lnTo>
                    <a:lnTo>
                      <a:pt x="98" y="82"/>
                    </a:lnTo>
                    <a:lnTo>
                      <a:pt x="103" y="84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9"/>
                    </a:lnTo>
                    <a:lnTo>
                      <a:pt x="106" y="92"/>
                    </a:lnTo>
                    <a:lnTo>
                      <a:pt x="108" y="95"/>
                    </a:lnTo>
                    <a:lnTo>
                      <a:pt x="111" y="96"/>
                    </a:lnTo>
                    <a:lnTo>
                      <a:pt x="111" y="96"/>
                    </a:lnTo>
                    <a:lnTo>
                      <a:pt x="115" y="98"/>
                    </a:lnTo>
                    <a:lnTo>
                      <a:pt x="118" y="101"/>
                    </a:lnTo>
                    <a:lnTo>
                      <a:pt x="120" y="104"/>
                    </a:lnTo>
                    <a:lnTo>
                      <a:pt x="123" y="105"/>
                    </a:lnTo>
                    <a:lnTo>
                      <a:pt x="123" y="105"/>
                    </a:lnTo>
                    <a:lnTo>
                      <a:pt x="125" y="106"/>
                    </a:lnTo>
                    <a:lnTo>
                      <a:pt x="127" y="109"/>
                    </a:lnTo>
                    <a:lnTo>
                      <a:pt x="127" y="112"/>
                    </a:lnTo>
                    <a:lnTo>
                      <a:pt x="125" y="115"/>
                    </a:lnTo>
                    <a:lnTo>
                      <a:pt x="125" y="115"/>
                    </a:lnTo>
                    <a:lnTo>
                      <a:pt x="124" y="118"/>
                    </a:lnTo>
                    <a:lnTo>
                      <a:pt x="125" y="121"/>
                    </a:lnTo>
                    <a:lnTo>
                      <a:pt x="130" y="125"/>
                    </a:lnTo>
                    <a:lnTo>
                      <a:pt x="135" y="128"/>
                    </a:lnTo>
                    <a:lnTo>
                      <a:pt x="135" y="128"/>
                    </a:lnTo>
                    <a:lnTo>
                      <a:pt x="140" y="129"/>
                    </a:lnTo>
                    <a:lnTo>
                      <a:pt x="143" y="132"/>
                    </a:lnTo>
                    <a:lnTo>
                      <a:pt x="144" y="135"/>
                    </a:lnTo>
                    <a:lnTo>
                      <a:pt x="148" y="139"/>
                    </a:lnTo>
                    <a:lnTo>
                      <a:pt x="148" y="139"/>
                    </a:lnTo>
                    <a:lnTo>
                      <a:pt x="167" y="159"/>
                    </a:lnTo>
                    <a:lnTo>
                      <a:pt x="182" y="178"/>
                    </a:lnTo>
                    <a:lnTo>
                      <a:pt x="182" y="178"/>
                    </a:lnTo>
                    <a:lnTo>
                      <a:pt x="188" y="187"/>
                    </a:lnTo>
                    <a:lnTo>
                      <a:pt x="191" y="195"/>
                    </a:lnTo>
                    <a:lnTo>
                      <a:pt x="191" y="195"/>
                    </a:lnTo>
                    <a:lnTo>
                      <a:pt x="191" y="199"/>
                    </a:lnTo>
                    <a:lnTo>
                      <a:pt x="189" y="202"/>
                    </a:lnTo>
                    <a:lnTo>
                      <a:pt x="189" y="205"/>
                    </a:lnTo>
                    <a:lnTo>
                      <a:pt x="189" y="207"/>
                    </a:lnTo>
                    <a:lnTo>
                      <a:pt x="189" y="207"/>
                    </a:lnTo>
                    <a:lnTo>
                      <a:pt x="191" y="209"/>
                    </a:lnTo>
                    <a:lnTo>
                      <a:pt x="188" y="210"/>
                    </a:lnTo>
                    <a:lnTo>
                      <a:pt x="187" y="212"/>
                    </a:lnTo>
                    <a:lnTo>
                      <a:pt x="185" y="213"/>
                    </a:lnTo>
                    <a:lnTo>
                      <a:pt x="185" y="213"/>
                    </a:lnTo>
                    <a:lnTo>
                      <a:pt x="187" y="217"/>
                    </a:lnTo>
                    <a:lnTo>
                      <a:pt x="188" y="223"/>
                    </a:lnTo>
                    <a:lnTo>
                      <a:pt x="192" y="230"/>
                    </a:lnTo>
                    <a:lnTo>
                      <a:pt x="195" y="232"/>
                    </a:lnTo>
                    <a:lnTo>
                      <a:pt x="198" y="233"/>
                    </a:lnTo>
                    <a:lnTo>
                      <a:pt x="198" y="233"/>
                    </a:lnTo>
                    <a:lnTo>
                      <a:pt x="204" y="234"/>
                    </a:lnTo>
                    <a:lnTo>
                      <a:pt x="209" y="239"/>
                    </a:lnTo>
                    <a:lnTo>
                      <a:pt x="221" y="249"/>
                    </a:lnTo>
                    <a:lnTo>
                      <a:pt x="221" y="249"/>
                    </a:lnTo>
                    <a:lnTo>
                      <a:pt x="226" y="251"/>
                    </a:lnTo>
                    <a:lnTo>
                      <a:pt x="232" y="253"/>
                    </a:lnTo>
                    <a:lnTo>
                      <a:pt x="239" y="254"/>
                    </a:lnTo>
                    <a:lnTo>
                      <a:pt x="246" y="256"/>
                    </a:lnTo>
                    <a:lnTo>
                      <a:pt x="246" y="256"/>
                    </a:lnTo>
                    <a:lnTo>
                      <a:pt x="253" y="260"/>
                    </a:lnTo>
                    <a:lnTo>
                      <a:pt x="261" y="264"/>
                    </a:lnTo>
                    <a:lnTo>
                      <a:pt x="269" y="269"/>
                    </a:lnTo>
                    <a:lnTo>
                      <a:pt x="278" y="271"/>
                    </a:lnTo>
                    <a:lnTo>
                      <a:pt x="278" y="271"/>
                    </a:lnTo>
                    <a:lnTo>
                      <a:pt x="298" y="279"/>
                    </a:lnTo>
                    <a:lnTo>
                      <a:pt x="315" y="287"/>
                    </a:lnTo>
                    <a:lnTo>
                      <a:pt x="315" y="287"/>
                    </a:lnTo>
                    <a:lnTo>
                      <a:pt x="322" y="290"/>
                    </a:lnTo>
                    <a:lnTo>
                      <a:pt x="329" y="291"/>
                    </a:lnTo>
                    <a:lnTo>
                      <a:pt x="337" y="288"/>
                    </a:lnTo>
                    <a:lnTo>
                      <a:pt x="347" y="286"/>
                    </a:lnTo>
                    <a:lnTo>
                      <a:pt x="347" y="286"/>
                    </a:lnTo>
                    <a:lnTo>
                      <a:pt x="352" y="284"/>
                    </a:lnTo>
                    <a:lnTo>
                      <a:pt x="356" y="284"/>
                    </a:lnTo>
                    <a:lnTo>
                      <a:pt x="363" y="286"/>
                    </a:lnTo>
                    <a:lnTo>
                      <a:pt x="370" y="287"/>
                    </a:lnTo>
                    <a:lnTo>
                      <a:pt x="376" y="290"/>
                    </a:lnTo>
                    <a:lnTo>
                      <a:pt x="376" y="290"/>
                    </a:lnTo>
                    <a:lnTo>
                      <a:pt x="383" y="296"/>
                    </a:lnTo>
                    <a:lnTo>
                      <a:pt x="393" y="304"/>
                    </a:lnTo>
                    <a:lnTo>
                      <a:pt x="393" y="304"/>
                    </a:lnTo>
                    <a:lnTo>
                      <a:pt x="406" y="286"/>
                    </a:lnTo>
                    <a:lnTo>
                      <a:pt x="406" y="286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48" name="Canada">
                <a:extLst>
                  <a:ext uri="{FF2B5EF4-FFF2-40B4-BE49-F238E27FC236}">
                    <a16:creationId xmlns:a16="http://schemas.microsoft.com/office/drawing/2014/main" id="{B6E098DB-6B36-FB7B-DC6D-7A0DEB997F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52449" y="1615054"/>
                <a:ext cx="2108693" cy="1620364"/>
              </a:xfrm>
              <a:custGeom>
                <a:avLst/>
                <a:gdLst/>
                <a:ahLst/>
                <a:cxnLst>
                  <a:cxn ang="0">
                    <a:pos x="294" y="420"/>
                  </a:cxn>
                  <a:cxn ang="0">
                    <a:pos x="249" y="381"/>
                  </a:cxn>
                  <a:cxn ang="0">
                    <a:pos x="532" y="360"/>
                  </a:cxn>
                  <a:cxn ang="0">
                    <a:pos x="364" y="377"/>
                  </a:cxn>
                  <a:cxn ang="0">
                    <a:pos x="485" y="491"/>
                  </a:cxn>
                  <a:cxn ang="0">
                    <a:pos x="313" y="265"/>
                  </a:cxn>
                  <a:cxn ang="0">
                    <a:pos x="356" y="221"/>
                  </a:cxn>
                  <a:cxn ang="0">
                    <a:pos x="461" y="299"/>
                  </a:cxn>
                  <a:cxn ang="0">
                    <a:pos x="509" y="279"/>
                  </a:cxn>
                  <a:cxn ang="0">
                    <a:pos x="502" y="199"/>
                  </a:cxn>
                  <a:cxn ang="0">
                    <a:pos x="670" y="175"/>
                  </a:cxn>
                  <a:cxn ang="0">
                    <a:pos x="593" y="280"/>
                  </a:cxn>
                  <a:cxn ang="0">
                    <a:pos x="660" y="296"/>
                  </a:cxn>
                  <a:cxn ang="0">
                    <a:pos x="764" y="307"/>
                  </a:cxn>
                  <a:cxn ang="0">
                    <a:pos x="697" y="322"/>
                  </a:cxn>
                  <a:cxn ang="0">
                    <a:pos x="898" y="312"/>
                  </a:cxn>
                  <a:cxn ang="0">
                    <a:pos x="777" y="255"/>
                  </a:cxn>
                  <a:cxn ang="0">
                    <a:pos x="858" y="172"/>
                  </a:cxn>
                  <a:cxn ang="0">
                    <a:pos x="752" y="91"/>
                  </a:cxn>
                  <a:cxn ang="0">
                    <a:pos x="927" y="98"/>
                  </a:cxn>
                  <a:cxn ang="0">
                    <a:pos x="865" y="176"/>
                  </a:cxn>
                  <a:cxn ang="0">
                    <a:pos x="952" y="246"/>
                  </a:cxn>
                  <a:cxn ang="0">
                    <a:pos x="1065" y="145"/>
                  </a:cxn>
                  <a:cxn ang="0">
                    <a:pos x="1198" y="17"/>
                  </a:cxn>
                  <a:cxn ang="0">
                    <a:pos x="929" y="36"/>
                  </a:cxn>
                  <a:cxn ang="0">
                    <a:pos x="952" y="643"/>
                  </a:cxn>
                  <a:cxn ang="0">
                    <a:pos x="972" y="623"/>
                  </a:cxn>
                  <a:cxn ang="0">
                    <a:pos x="1189" y="457"/>
                  </a:cxn>
                  <a:cxn ang="0">
                    <a:pos x="1020" y="370"/>
                  </a:cxn>
                  <a:cxn ang="0">
                    <a:pos x="882" y="357"/>
                  </a:cxn>
                  <a:cxn ang="0">
                    <a:pos x="997" y="441"/>
                  </a:cxn>
                  <a:cxn ang="0">
                    <a:pos x="1111" y="542"/>
                  </a:cxn>
                  <a:cxn ang="0">
                    <a:pos x="1208" y="666"/>
                  </a:cxn>
                  <a:cxn ang="0">
                    <a:pos x="1024" y="516"/>
                  </a:cxn>
                  <a:cxn ang="0">
                    <a:pos x="1414" y="972"/>
                  </a:cxn>
                  <a:cxn ang="0">
                    <a:pos x="1327" y="989"/>
                  </a:cxn>
                  <a:cxn ang="0">
                    <a:pos x="1302" y="1004"/>
                  </a:cxn>
                  <a:cxn ang="0">
                    <a:pos x="1149" y="977"/>
                  </a:cxn>
                  <a:cxn ang="0">
                    <a:pos x="1311" y="862"/>
                  </a:cxn>
                  <a:cxn ang="0">
                    <a:pos x="1260" y="747"/>
                  </a:cxn>
                  <a:cxn ang="0">
                    <a:pos x="1152" y="716"/>
                  </a:cxn>
                  <a:cxn ang="0">
                    <a:pos x="1017" y="687"/>
                  </a:cxn>
                  <a:cxn ang="0">
                    <a:pos x="989" y="911"/>
                  </a:cxn>
                  <a:cxn ang="0">
                    <a:pos x="775" y="751"/>
                  </a:cxn>
                  <a:cxn ang="0">
                    <a:pos x="832" y="609"/>
                  </a:cxn>
                  <a:cxn ang="0">
                    <a:pos x="944" y="541"/>
                  </a:cxn>
                  <a:cxn ang="0">
                    <a:pos x="886" y="505"/>
                  </a:cxn>
                  <a:cxn ang="0">
                    <a:pos x="819" y="467"/>
                  </a:cxn>
                  <a:cxn ang="0">
                    <a:pos x="798" y="329"/>
                  </a:cxn>
                  <a:cxn ang="0">
                    <a:pos x="755" y="475"/>
                  </a:cxn>
                  <a:cxn ang="0">
                    <a:pos x="727" y="467"/>
                  </a:cxn>
                  <a:cxn ang="0">
                    <a:pos x="582" y="495"/>
                  </a:cxn>
                  <a:cxn ang="0">
                    <a:pos x="498" y="508"/>
                  </a:cxn>
                  <a:cxn ang="0">
                    <a:pos x="232" y="454"/>
                  </a:cxn>
                  <a:cxn ang="0">
                    <a:pos x="129" y="465"/>
                  </a:cxn>
                  <a:cxn ang="0">
                    <a:pos x="75" y="730"/>
                  </a:cxn>
                  <a:cxn ang="0">
                    <a:pos x="210" y="896"/>
                  </a:cxn>
                  <a:cxn ang="0">
                    <a:pos x="851" y="960"/>
                  </a:cxn>
                  <a:cxn ang="0">
                    <a:pos x="996" y="1085"/>
                  </a:cxn>
                  <a:cxn ang="0">
                    <a:pos x="1235" y="1037"/>
                  </a:cxn>
                  <a:cxn ang="0">
                    <a:pos x="299" y="588"/>
                  </a:cxn>
                  <a:cxn ang="0">
                    <a:pos x="444" y="681"/>
                  </a:cxn>
                  <a:cxn ang="0">
                    <a:pos x="686" y="855"/>
                  </a:cxn>
                </a:cxnLst>
                <a:rect l="0" t="0" r="r" b="b"/>
                <a:pathLst>
                  <a:path w="1425" h="1095">
                    <a:moveTo>
                      <a:pt x="282" y="960"/>
                    </a:moveTo>
                    <a:lnTo>
                      <a:pt x="282" y="960"/>
                    </a:lnTo>
                    <a:lnTo>
                      <a:pt x="277" y="957"/>
                    </a:lnTo>
                    <a:lnTo>
                      <a:pt x="272" y="956"/>
                    </a:lnTo>
                    <a:lnTo>
                      <a:pt x="266" y="953"/>
                    </a:lnTo>
                    <a:lnTo>
                      <a:pt x="264" y="953"/>
                    </a:lnTo>
                    <a:lnTo>
                      <a:pt x="263" y="952"/>
                    </a:lnTo>
                    <a:lnTo>
                      <a:pt x="263" y="952"/>
                    </a:lnTo>
                    <a:lnTo>
                      <a:pt x="260" y="946"/>
                    </a:lnTo>
                    <a:lnTo>
                      <a:pt x="255" y="939"/>
                    </a:lnTo>
                    <a:lnTo>
                      <a:pt x="249" y="933"/>
                    </a:lnTo>
                    <a:lnTo>
                      <a:pt x="246" y="930"/>
                    </a:lnTo>
                    <a:lnTo>
                      <a:pt x="245" y="930"/>
                    </a:lnTo>
                    <a:lnTo>
                      <a:pt x="245" y="930"/>
                    </a:lnTo>
                    <a:lnTo>
                      <a:pt x="235" y="930"/>
                    </a:lnTo>
                    <a:lnTo>
                      <a:pt x="229" y="929"/>
                    </a:lnTo>
                    <a:lnTo>
                      <a:pt x="223" y="926"/>
                    </a:lnTo>
                    <a:lnTo>
                      <a:pt x="223" y="926"/>
                    </a:lnTo>
                    <a:lnTo>
                      <a:pt x="218" y="922"/>
                    </a:lnTo>
                    <a:lnTo>
                      <a:pt x="213" y="922"/>
                    </a:lnTo>
                    <a:lnTo>
                      <a:pt x="210" y="922"/>
                    </a:lnTo>
                    <a:lnTo>
                      <a:pt x="206" y="923"/>
                    </a:lnTo>
                    <a:lnTo>
                      <a:pt x="206" y="923"/>
                    </a:lnTo>
                    <a:lnTo>
                      <a:pt x="205" y="925"/>
                    </a:lnTo>
                    <a:lnTo>
                      <a:pt x="205" y="925"/>
                    </a:lnTo>
                    <a:lnTo>
                      <a:pt x="208" y="926"/>
                    </a:lnTo>
                    <a:lnTo>
                      <a:pt x="210" y="929"/>
                    </a:lnTo>
                    <a:lnTo>
                      <a:pt x="212" y="930"/>
                    </a:lnTo>
                    <a:lnTo>
                      <a:pt x="212" y="930"/>
                    </a:lnTo>
                    <a:lnTo>
                      <a:pt x="212" y="933"/>
                    </a:lnTo>
                    <a:lnTo>
                      <a:pt x="213" y="935"/>
                    </a:lnTo>
                    <a:lnTo>
                      <a:pt x="216" y="936"/>
                    </a:lnTo>
                    <a:lnTo>
                      <a:pt x="219" y="936"/>
                    </a:lnTo>
                    <a:lnTo>
                      <a:pt x="219" y="936"/>
                    </a:lnTo>
                    <a:lnTo>
                      <a:pt x="222" y="936"/>
                    </a:lnTo>
                    <a:lnTo>
                      <a:pt x="225" y="939"/>
                    </a:lnTo>
                    <a:lnTo>
                      <a:pt x="227" y="943"/>
                    </a:lnTo>
                    <a:lnTo>
                      <a:pt x="230" y="945"/>
                    </a:lnTo>
                    <a:lnTo>
                      <a:pt x="230" y="945"/>
                    </a:lnTo>
                    <a:lnTo>
                      <a:pt x="233" y="946"/>
                    </a:lnTo>
                    <a:lnTo>
                      <a:pt x="235" y="948"/>
                    </a:lnTo>
                    <a:lnTo>
                      <a:pt x="237" y="950"/>
                    </a:lnTo>
                    <a:lnTo>
                      <a:pt x="240" y="952"/>
                    </a:lnTo>
                    <a:lnTo>
                      <a:pt x="240" y="952"/>
                    </a:lnTo>
                    <a:lnTo>
                      <a:pt x="243" y="952"/>
                    </a:lnTo>
                    <a:lnTo>
                      <a:pt x="246" y="955"/>
                    </a:lnTo>
                    <a:lnTo>
                      <a:pt x="249" y="960"/>
                    </a:lnTo>
                    <a:lnTo>
                      <a:pt x="249" y="960"/>
                    </a:lnTo>
                    <a:lnTo>
                      <a:pt x="252" y="962"/>
                    </a:lnTo>
                    <a:lnTo>
                      <a:pt x="255" y="962"/>
                    </a:lnTo>
                    <a:lnTo>
                      <a:pt x="256" y="962"/>
                    </a:lnTo>
                    <a:lnTo>
                      <a:pt x="257" y="963"/>
                    </a:lnTo>
                    <a:lnTo>
                      <a:pt x="257" y="963"/>
                    </a:lnTo>
                    <a:lnTo>
                      <a:pt x="257" y="966"/>
                    </a:lnTo>
                    <a:lnTo>
                      <a:pt x="260" y="967"/>
                    </a:lnTo>
                    <a:lnTo>
                      <a:pt x="263" y="970"/>
                    </a:lnTo>
                    <a:lnTo>
                      <a:pt x="264" y="973"/>
                    </a:lnTo>
                    <a:lnTo>
                      <a:pt x="264" y="973"/>
                    </a:lnTo>
                    <a:lnTo>
                      <a:pt x="277" y="975"/>
                    </a:lnTo>
                    <a:lnTo>
                      <a:pt x="284" y="975"/>
                    </a:lnTo>
                    <a:lnTo>
                      <a:pt x="290" y="973"/>
                    </a:lnTo>
                    <a:lnTo>
                      <a:pt x="290" y="973"/>
                    </a:lnTo>
                    <a:lnTo>
                      <a:pt x="292" y="966"/>
                    </a:lnTo>
                    <a:lnTo>
                      <a:pt x="292" y="966"/>
                    </a:lnTo>
                    <a:lnTo>
                      <a:pt x="292" y="965"/>
                    </a:lnTo>
                    <a:lnTo>
                      <a:pt x="289" y="963"/>
                    </a:lnTo>
                    <a:lnTo>
                      <a:pt x="286" y="962"/>
                    </a:lnTo>
                    <a:lnTo>
                      <a:pt x="282" y="960"/>
                    </a:lnTo>
                    <a:lnTo>
                      <a:pt x="282" y="960"/>
                    </a:lnTo>
                    <a:close/>
                    <a:moveTo>
                      <a:pt x="269" y="394"/>
                    </a:moveTo>
                    <a:lnTo>
                      <a:pt x="269" y="394"/>
                    </a:lnTo>
                    <a:lnTo>
                      <a:pt x="273" y="397"/>
                    </a:lnTo>
                    <a:lnTo>
                      <a:pt x="277" y="400"/>
                    </a:lnTo>
                    <a:lnTo>
                      <a:pt x="282" y="408"/>
                    </a:lnTo>
                    <a:lnTo>
                      <a:pt x="287" y="417"/>
                    </a:lnTo>
                    <a:lnTo>
                      <a:pt x="289" y="420"/>
                    </a:lnTo>
                    <a:lnTo>
                      <a:pt x="292" y="420"/>
                    </a:lnTo>
                    <a:lnTo>
                      <a:pt x="292" y="420"/>
                    </a:lnTo>
                    <a:lnTo>
                      <a:pt x="294" y="420"/>
                    </a:lnTo>
                    <a:lnTo>
                      <a:pt x="296" y="417"/>
                    </a:lnTo>
                    <a:lnTo>
                      <a:pt x="297" y="414"/>
                    </a:lnTo>
                    <a:lnTo>
                      <a:pt x="303" y="413"/>
                    </a:lnTo>
                    <a:lnTo>
                      <a:pt x="303" y="413"/>
                    </a:lnTo>
                    <a:lnTo>
                      <a:pt x="307" y="413"/>
                    </a:lnTo>
                    <a:lnTo>
                      <a:pt x="311" y="411"/>
                    </a:lnTo>
                    <a:lnTo>
                      <a:pt x="314" y="410"/>
                    </a:lnTo>
                    <a:lnTo>
                      <a:pt x="319" y="408"/>
                    </a:lnTo>
                    <a:lnTo>
                      <a:pt x="319" y="408"/>
                    </a:lnTo>
                    <a:lnTo>
                      <a:pt x="324" y="408"/>
                    </a:lnTo>
                    <a:lnTo>
                      <a:pt x="330" y="407"/>
                    </a:lnTo>
                    <a:lnTo>
                      <a:pt x="333" y="403"/>
                    </a:lnTo>
                    <a:lnTo>
                      <a:pt x="334" y="397"/>
                    </a:lnTo>
                    <a:lnTo>
                      <a:pt x="334" y="397"/>
                    </a:lnTo>
                    <a:lnTo>
                      <a:pt x="336" y="390"/>
                    </a:lnTo>
                    <a:lnTo>
                      <a:pt x="338" y="386"/>
                    </a:lnTo>
                    <a:lnTo>
                      <a:pt x="343" y="383"/>
                    </a:lnTo>
                    <a:lnTo>
                      <a:pt x="348" y="381"/>
                    </a:lnTo>
                    <a:lnTo>
                      <a:pt x="348" y="381"/>
                    </a:lnTo>
                    <a:lnTo>
                      <a:pt x="351" y="380"/>
                    </a:lnTo>
                    <a:lnTo>
                      <a:pt x="353" y="378"/>
                    </a:lnTo>
                    <a:lnTo>
                      <a:pt x="354" y="374"/>
                    </a:lnTo>
                    <a:lnTo>
                      <a:pt x="356" y="369"/>
                    </a:lnTo>
                    <a:lnTo>
                      <a:pt x="358" y="367"/>
                    </a:lnTo>
                    <a:lnTo>
                      <a:pt x="361" y="366"/>
                    </a:lnTo>
                    <a:lnTo>
                      <a:pt x="361" y="366"/>
                    </a:lnTo>
                    <a:lnTo>
                      <a:pt x="374" y="361"/>
                    </a:lnTo>
                    <a:lnTo>
                      <a:pt x="390" y="356"/>
                    </a:lnTo>
                    <a:lnTo>
                      <a:pt x="404" y="349"/>
                    </a:lnTo>
                    <a:lnTo>
                      <a:pt x="412" y="344"/>
                    </a:lnTo>
                    <a:lnTo>
                      <a:pt x="412" y="344"/>
                    </a:lnTo>
                    <a:lnTo>
                      <a:pt x="414" y="343"/>
                    </a:lnTo>
                    <a:lnTo>
                      <a:pt x="414" y="340"/>
                    </a:lnTo>
                    <a:lnTo>
                      <a:pt x="410" y="337"/>
                    </a:lnTo>
                    <a:lnTo>
                      <a:pt x="393" y="326"/>
                    </a:lnTo>
                    <a:lnTo>
                      <a:pt x="393" y="326"/>
                    </a:lnTo>
                    <a:lnTo>
                      <a:pt x="384" y="322"/>
                    </a:lnTo>
                    <a:lnTo>
                      <a:pt x="375" y="319"/>
                    </a:lnTo>
                    <a:lnTo>
                      <a:pt x="368" y="320"/>
                    </a:lnTo>
                    <a:lnTo>
                      <a:pt x="360" y="323"/>
                    </a:lnTo>
                    <a:lnTo>
                      <a:pt x="360" y="323"/>
                    </a:lnTo>
                    <a:lnTo>
                      <a:pt x="357" y="324"/>
                    </a:lnTo>
                    <a:lnTo>
                      <a:pt x="356" y="324"/>
                    </a:lnTo>
                    <a:lnTo>
                      <a:pt x="356" y="323"/>
                    </a:lnTo>
                    <a:lnTo>
                      <a:pt x="354" y="322"/>
                    </a:lnTo>
                    <a:lnTo>
                      <a:pt x="354" y="319"/>
                    </a:lnTo>
                    <a:lnTo>
                      <a:pt x="353" y="319"/>
                    </a:lnTo>
                    <a:lnTo>
                      <a:pt x="350" y="319"/>
                    </a:lnTo>
                    <a:lnTo>
                      <a:pt x="350" y="319"/>
                    </a:lnTo>
                    <a:lnTo>
                      <a:pt x="347" y="320"/>
                    </a:lnTo>
                    <a:lnTo>
                      <a:pt x="343" y="320"/>
                    </a:lnTo>
                    <a:lnTo>
                      <a:pt x="333" y="317"/>
                    </a:lnTo>
                    <a:lnTo>
                      <a:pt x="323" y="313"/>
                    </a:lnTo>
                    <a:lnTo>
                      <a:pt x="319" y="310"/>
                    </a:lnTo>
                    <a:lnTo>
                      <a:pt x="319" y="310"/>
                    </a:lnTo>
                    <a:lnTo>
                      <a:pt x="316" y="309"/>
                    </a:lnTo>
                    <a:lnTo>
                      <a:pt x="310" y="310"/>
                    </a:lnTo>
                    <a:lnTo>
                      <a:pt x="296" y="313"/>
                    </a:lnTo>
                    <a:lnTo>
                      <a:pt x="279" y="316"/>
                    </a:lnTo>
                    <a:lnTo>
                      <a:pt x="267" y="317"/>
                    </a:lnTo>
                    <a:lnTo>
                      <a:pt x="267" y="317"/>
                    </a:lnTo>
                    <a:lnTo>
                      <a:pt x="266" y="319"/>
                    </a:lnTo>
                    <a:lnTo>
                      <a:pt x="264" y="320"/>
                    </a:lnTo>
                    <a:lnTo>
                      <a:pt x="264" y="322"/>
                    </a:lnTo>
                    <a:lnTo>
                      <a:pt x="266" y="323"/>
                    </a:lnTo>
                    <a:lnTo>
                      <a:pt x="270" y="329"/>
                    </a:lnTo>
                    <a:lnTo>
                      <a:pt x="274" y="333"/>
                    </a:lnTo>
                    <a:lnTo>
                      <a:pt x="274" y="333"/>
                    </a:lnTo>
                    <a:lnTo>
                      <a:pt x="276" y="336"/>
                    </a:lnTo>
                    <a:lnTo>
                      <a:pt x="276" y="339"/>
                    </a:lnTo>
                    <a:lnTo>
                      <a:pt x="270" y="346"/>
                    </a:lnTo>
                    <a:lnTo>
                      <a:pt x="264" y="353"/>
                    </a:lnTo>
                    <a:lnTo>
                      <a:pt x="263" y="356"/>
                    </a:lnTo>
                    <a:lnTo>
                      <a:pt x="263" y="357"/>
                    </a:lnTo>
                    <a:lnTo>
                      <a:pt x="263" y="357"/>
                    </a:lnTo>
                    <a:lnTo>
                      <a:pt x="264" y="359"/>
                    </a:lnTo>
                    <a:lnTo>
                      <a:pt x="264" y="360"/>
                    </a:lnTo>
                    <a:lnTo>
                      <a:pt x="262" y="366"/>
                    </a:lnTo>
                    <a:lnTo>
                      <a:pt x="249" y="381"/>
                    </a:lnTo>
                    <a:lnTo>
                      <a:pt x="249" y="381"/>
                    </a:lnTo>
                    <a:lnTo>
                      <a:pt x="247" y="386"/>
                    </a:lnTo>
                    <a:lnTo>
                      <a:pt x="246" y="387"/>
                    </a:lnTo>
                    <a:lnTo>
                      <a:pt x="247" y="390"/>
                    </a:lnTo>
                    <a:lnTo>
                      <a:pt x="250" y="391"/>
                    </a:lnTo>
                    <a:lnTo>
                      <a:pt x="259" y="393"/>
                    </a:lnTo>
                    <a:lnTo>
                      <a:pt x="269" y="394"/>
                    </a:lnTo>
                    <a:lnTo>
                      <a:pt x="269" y="394"/>
                    </a:lnTo>
                    <a:close/>
                    <a:moveTo>
                      <a:pt x="624" y="452"/>
                    </a:moveTo>
                    <a:lnTo>
                      <a:pt x="624" y="452"/>
                    </a:lnTo>
                    <a:lnTo>
                      <a:pt x="627" y="452"/>
                    </a:lnTo>
                    <a:lnTo>
                      <a:pt x="630" y="452"/>
                    </a:lnTo>
                    <a:lnTo>
                      <a:pt x="637" y="455"/>
                    </a:lnTo>
                    <a:lnTo>
                      <a:pt x="644" y="457"/>
                    </a:lnTo>
                    <a:lnTo>
                      <a:pt x="647" y="455"/>
                    </a:lnTo>
                    <a:lnTo>
                      <a:pt x="647" y="452"/>
                    </a:lnTo>
                    <a:lnTo>
                      <a:pt x="647" y="452"/>
                    </a:lnTo>
                    <a:lnTo>
                      <a:pt x="647" y="448"/>
                    </a:lnTo>
                    <a:lnTo>
                      <a:pt x="644" y="445"/>
                    </a:lnTo>
                    <a:lnTo>
                      <a:pt x="637" y="440"/>
                    </a:lnTo>
                    <a:lnTo>
                      <a:pt x="627" y="435"/>
                    </a:lnTo>
                    <a:lnTo>
                      <a:pt x="619" y="431"/>
                    </a:lnTo>
                    <a:lnTo>
                      <a:pt x="619" y="431"/>
                    </a:lnTo>
                    <a:lnTo>
                      <a:pt x="613" y="428"/>
                    </a:lnTo>
                    <a:lnTo>
                      <a:pt x="609" y="427"/>
                    </a:lnTo>
                    <a:lnTo>
                      <a:pt x="602" y="424"/>
                    </a:lnTo>
                    <a:lnTo>
                      <a:pt x="593" y="418"/>
                    </a:lnTo>
                    <a:lnTo>
                      <a:pt x="593" y="418"/>
                    </a:lnTo>
                    <a:lnTo>
                      <a:pt x="590" y="414"/>
                    </a:lnTo>
                    <a:lnTo>
                      <a:pt x="589" y="411"/>
                    </a:lnTo>
                    <a:lnTo>
                      <a:pt x="589" y="408"/>
                    </a:lnTo>
                    <a:lnTo>
                      <a:pt x="589" y="406"/>
                    </a:lnTo>
                    <a:lnTo>
                      <a:pt x="590" y="401"/>
                    </a:lnTo>
                    <a:lnTo>
                      <a:pt x="590" y="398"/>
                    </a:lnTo>
                    <a:lnTo>
                      <a:pt x="587" y="396"/>
                    </a:lnTo>
                    <a:lnTo>
                      <a:pt x="587" y="396"/>
                    </a:lnTo>
                    <a:lnTo>
                      <a:pt x="583" y="391"/>
                    </a:lnTo>
                    <a:lnTo>
                      <a:pt x="580" y="387"/>
                    </a:lnTo>
                    <a:lnTo>
                      <a:pt x="577" y="377"/>
                    </a:lnTo>
                    <a:lnTo>
                      <a:pt x="577" y="371"/>
                    </a:lnTo>
                    <a:lnTo>
                      <a:pt x="577" y="367"/>
                    </a:lnTo>
                    <a:lnTo>
                      <a:pt x="579" y="363"/>
                    </a:lnTo>
                    <a:lnTo>
                      <a:pt x="580" y="359"/>
                    </a:lnTo>
                    <a:lnTo>
                      <a:pt x="580" y="359"/>
                    </a:lnTo>
                    <a:lnTo>
                      <a:pt x="586" y="353"/>
                    </a:lnTo>
                    <a:lnTo>
                      <a:pt x="589" y="347"/>
                    </a:lnTo>
                    <a:lnTo>
                      <a:pt x="590" y="344"/>
                    </a:lnTo>
                    <a:lnTo>
                      <a:pt x="589" y="341"/>
                    </a:lnTo>
                    <a:lnTo>
                      <a:pt x="587" y="339"/>
                    </a:lnTo>
                    <a:lnTo>
                      <a:pt x="583" y="336"/>
                    </a:lnTo>
                    <a:lnTo>
                      <a:pt x="583" y="336"/>
                    </a:lnTo>
                    <a:lnTo>
                      <a:pt x="577" y="336"/>
                    </a:lnTo>
                    <a:lnTo>
                      <a:pt x="572" y="334"/>
                    </a:lnTo>
                    <a:lnTo>
                      <a:pt x="562" y="337"/>
                    </a:lnTo>
                    <a:lnTo>
                      <a:pt x="553" y="340"/>
                    </a:lnTo>
                    <a:lnTo>
                      <a:pt x="552" y="341"/>
                    </a:lnTo>
                    <a:lnTo>
                      <a:pt x="552" y="343"/>
                    </a:lnTo>
                    <a:lnTo>
                      <a:pt x="552" y="343"/>
                    </a:lnTo>
                    <a:lnTo>
                      <a:pt x="562" y="351"/>
                    </a:lnTo>
                    <a:lnTo>
                      <a:pt x="569" y="357"/>
                    </a:lnTo>
                    <a:lnTo>
                      <a:pt x="570" y="359"/>
                    </a:lnTo>
                    <a:lnTo>
                      <a:pt x="572" y="360"/>
                    </a:lnTo>
                    <a:lnTo>
                      <a:pt x="572" y="360"/>
                    </a:lnTo>
                    <a:lnTo>
                      <a:pt x="570" y="361"/>
                    </a:lnTo>
                    <a:lnTo>
                      <a:pt x="569" y="360"/>
                    </a:lnTo>
                    <a:lnTo>
                      <a:pt x="563" y="357"/>
                    </a:lnTo>
                    <a:lnTo>
                      <a:pt x="555" y="353"/>
                    </a:lnTo>
                    <a:lnTo>
                      <a:pt x="552" y="351"/>
                    </a:lnTo>
                    <a:lnTo>
                      <a:pt x="549" y="351"/>
                    </a:lnTo>
                    <a:lnTo>
                      <a:pt x="549" y="351"/>
                    </a:lnTo>
                    <a:lnTo>
                      <a:pt x="548" y="353"/>
                    </a:lnTo>
                    <a:lnTo>
                      <a:pt x="545" y="353"/>
                    </a:lnTo>
                    <a:lnTo>
                      <a:pt x="540" y="350"/>
                    </a:lnTo>
                    <a:lnTo>
                      <a:pt x="536" y="350"/>
                    </a:lnTo>
                    <a:lnTo>
                      <a:pt x="535" y="350"/>
                    </a:lnTo>
                    <a:lnTo>
                      <a:pt x="532" y="351"/>
                    </a:lnTo>
                    <a:lnTo>
                      <a:pt x="532" y="351"/>
                    </a:lnTo>
                    <a:lnTo>
                      <a:pt x="532" y="356"/>
                    </a:lnTo>
                    <a:lnTo>
                      <a:pt x="532" y="360"/>
                    </a:lnTo>
                    <a:lnTo>
                      <a:pt x="535" y="371"/>
                    </a:lnTo>
                    <a:lnTo>
                      <a:pt x="539" y="383"/>
                    </a:lnTo>
                    <a:lnTo>
                      <a:pt x="543" y="391"/>
                    </a:lnTo>
                    <a:lnTo>
                      <a:pt x="543" y="391"/>
                    </a:lnTo>
                    <a:lnTo>
                      <a:pt x="545" y="394"/>
                    </a:lnTo>
                    <a:lnTo>
                      <a:pt x="545" y="396"/>
                    </a:lnTo>
                    <a:lnTo>
                      <a:pt x="542" y="397"/>
                    </a:lnTo>
                    <a:lnTo>
                      <a:pt x="533" y="400"/>
                    </a:lnTo>
                    <a:lnTo>
                      <a:pt x="533" y="400"/>
                    </a:lnTo>
                    <a:lnTo>
                      <a:pt x="531" y="400"/>
                    </a:lnTo>
                    <a:lnTo>
                      <a:pt x="529" y="397"/>
                    </a:lnTo>
                    <a:lnTo>
                      <a:pt x="528" y="390"/>
                    </a:lnTo>
                    <a:lnTo>
                      <a:pt x="525" y="380"/>
                    </a:lnTo>
                    <a:lnTo>
                      <a:pt x="521" y="371"/>
                    </a:lnTo>
                    <a:lnTo>
                      <a:pt x="521" y="371"/>
                    </a:lnTo>
                    <a:lnTo>
                      <a:pt x="515" y="366"/>
                    </a:lnTo>
                    <a:lnTo>
                      <a:pt x="505" y="361"/>
                    </a:lnTo>
                    <a:lnTo>
                      <a:pt x="495" y="359"/>
                    </a:lnTo>
                    <a:lnTo>
                      <a:pt x="492" y="359"/>
                    </a:lnTo>
                    <a:lnTo>
                      <a:pt x="491" y="360"/>
                    </a:lnTo>
                    <a:lnTo>
                      <a:pt x="491" y="360"/>
                    </a:lnTo>
                    <a:lnTo>
                      <a:pt x="491" y="363"/>
                    </a:lnTo>
                    <a:lnTo>
                      <a:pt x="492" y="364"/>
                    </a:lnTo>
                    <a:lnTo>
                      <a:pt x="498" y="367"/>
                    </a:lnTo>
                    <a:lnTo>
                      <a:pt x="502" y="370"/>
                    </a:lnTo>
                    <a:lnTo>
                      <a:pt x="503" y="371"/>
                    </a:lnTo>
                    <a:lnTo>
                      <a:pt x="503" y="374"/>
                    </a:lnTo>
                    <a:lnTo>
                      <a:pt x="503" y="374"/>
                    </a:lnTo>
                    <a:lnTo>
                      <a:pt x="502" y="376"/>
                    </a:lnTo>
                    <a:lnTo>
                      <a:pt x="501" y="377"/>
                    </a:lnTo>
                    <a:lnTo>
                      <a:pt x="496" y="376"/>
                    </a:lnTo>
                    <a:lnTo>
                      <a:pt x="491" y="374"/>
                    </a:lnTo>
                    <a:lnTo>
                      <a:pt x="488" y="374"/>
                    </a:lnTo>
                    <a:lnTo>
                      <a:pt x="485" y="376"/>
                    </a:lnTo>
                    <a:lnTo>
                      <a:pt x="485" y="376"/>
                    </a:lnTo>
                    <a:lnTo>
                      <a:pt x="481" y="378"/>
                    </a:lnTo>
                    <a:lnTo>
                      <a:pt x="479" y="378"/>
                    </a:lnTo>
                    <a:lnTo>
                      <a:pt x="479" y="376"/>
                    </a:lnTo>
                    <a:lnTo>
                      <a:pt x="479" y="371"/>
                    </a:lnTo>
                    <a:lnTo>
                      <a:pt x="479" y="371"/>
                    </a:lnTo>
                    <a:lnTo>
                      <a:pt x="479" y="369"/>
                    </a:lnTo>
                    <a:lnTo>
                      <a:pt x="478" y="367"/>
                    </a:lnTo>
                    <a:lnTo>
                      <a:pt x="472" y="363"/>
                    </a:lnTo>
                    <a:lnTo>
                      <a:pt x="465" y="360"/>
                    </a:lnTo>
                    <a:lnTo>
                      <a:pt x="454" y="359"/>
                    </a:lnTo>
                    <a:lnTo>
                      <a:pt x="454" y="359"/>
                    </a:lnTo>
                    <a:lnTo>
                      <a:pt x="449" y="360"/>
                    </a:lnTo>
                    <a:lnTo>
                      <a:pt x="447" y="361"/>
                    </a:lnTo>
                    <a:lnTo>
                      <a:pt x="445" y="364"/>
                    </a:lnTo>
                    <a:lnTo>
                      <a:pt x="445" y="366"/>
                    </a:lnTo>
                    <a:lnTo>
                      <a:pt x="445" y="370"/>
                    </a:lnTo>
                    <a:lnTo>
                      <a:pt x="445" y="373"/>
                    </a:lnTo>
                    <a:lnTo>
                      <a:pt x="444" y="374"/>
                    </a:lnTo>
                    <a:lnTo>
                      <a:pt x="444" y="374"/>
                    </a:lnTo>
                    <a:lnTo>
                      <a:pt x="441" y="376"/>
                    </a:lnTo>
                    <a:lnTo>
                      <a:pt x="438" y="376"/>
                    </a:lnTo>
                    <a:lnTo>
                      <a:pt x="431" y="374"/>
                    </a:lnTo>
                    <a:lnTo>
                      <a:pt x="428" y="373"/>
                    </a:lnTo>
                    <a:lnTo>
                      <a:pt x="427" y="371"/>
                    </a:lnTo>
                    <a:lnTo>
                      <a:pt x="428" y="370"/>
                    </a:lnTo>
                    <a:lnTo>
                      <a:pt x="431" y="369"/>
                    </a:lnTo>
                    <a:lnTo>
                      <a:pt x="431" y="369"/>
                    </a:lnTo>
                    <a:lnTo>
                      <a:pt x="435" y="369"/>
                    </a:lnTo>
                    <a:lnTo>
                      <a:pt x="438" y="366"/>
                    </a:lnTo>
                    <a:lnTo>
                      <a:pt x="439" y="364"/>
                    </a:lnTo>
                    <a:lnTo>
                      <a:pt x="439" y="361"/>
                    </a:lnTo>
                    <a:lnTo>
                      <a:pt x="438" y="356"/>
                    </a:lnTo>
                    <a:lnTo>
                      <a:pt x="434" y="350"/>
                    </a:lnTo>
                    <a:lnTo>
                      <a:pt x="434" y="350"/>
                    </a:lnTo>
                    <a:lnTo>
                      <a:pt x="432" y="349"/>
                    </a:lnTo>
                    <a:lnTo>
                      <a:pt x="430" y="347"/>
                    </a:lnTo>
                    <a:lnTo>
                      <a:pt x="421" y="350"/>
                    </a:lnTo>
                    <a:lnTo>
                      <a:pt x="394" y="360"/>
                    </a:lnTo>
                    <a:lnTo>
                      <a:pt x="394" y="360"/>
                    </a:lnTo>
                    <a:lnTo>
                      <a:pt x="380" y="366"/>
                    </a:lnTo>
                    <a:lnTo>
                      <a:pt x="370" y="371"/>
                    </a:lnTo>
                    <a:lnTo>
                      <a:pt x="365" y="376"/>
                    </a:lnTo>
                    <a:lnTo>
                      <a:pt x="364" y="376"/>
                    </a:lnTo>
                    <a:lnTo>
                      <a:pt x="364" y="377"/>
                    </a:lnTo>
                    <a:lnTo>
                      <a:pt x="364" y="377"/>
                    </a:lnTo>
                    <a:lnTo>
                      <a:pt x="365" y="378"/>
                    </a:lnTo>
                    <a:lnTo>
                      <a:pt x="367" y="380"/>
                    </a:lnTo>
                    <a:lnTo>
                      <a:pt x="364" y="384"/>
                    </a:lnTo>
                    <a:lnTo>
                      <a:pt x="360" y="388"/>
                    </a:lnTo>
                    <a:lnTo>
                      <a:pt x="360" y="388"/>
                    </a:lnTo>
                    <a:lnTo>
                      <a:pt x="357" y="391"/>
                    </a:lnTo>
                    <a:lnTo>
                      <a:pt x="356" y="394"/>
                    </a:lnTo>
                    <a:lnTo>
                      <a:pt x="357" y="396"/>
                    </a:lnTo>
                    <a:lnTo>
                      <a:pt x="357" y="398"/>
                    </a:lnTo>
                    <a:lnTo>
                      <a:pt x="361" y="401"/>
                    </a:lnTo>
                    <a:lnTo>
                      <a:pt x="367" y="401"/>
                    </a:lnTo>
                    <a:lnTo>
                      <a:pt x="367" y="401"/>
                    </a:lnTo>
                    <a:lnTo>
                      <a:pt x="371" y="403"/>
                    </a:lnTo>
                    <a:lnTo>
                      <a:pt x="371" y="406"/>
                    </a:lnTo>
                    <a:lnTo>
                      <a:pt x="371" y="408"/>
                    </a:lnTo>
                    <a:lnTo>
                      <a:pt x="373" y="408"/>
                    </a:lnTo>
                    <a:lnTo>
                      <a:pt x="374" y="410"/>
                    </a:lnTo>
                    <a:lnTo>
                      <a:pt x="374" y="410"/>
                    </a:lnTo>
                    <a:lnTo>
                      <a:pt x="381" y="408"/>
                    </a:lnTo>
                    <a:lnTo>
                      <a:pt x="393" y="406"/>
                    </a:lnTo>
                    <a:lnTo>
                      <a:pt x="404" y="404"/>
                    </a:lnTo>
                    <a:lnTo>
                      <a:pt x="408" y="404"/>
                    </a:lnTo>
                    <a:lnTo>
                      <a:pt x="411" y="404"/>
                    </a:lnTo>
                    <a:lnTo>
                      <a:pt x="411" y="404"/>
                    </a:lnTo>
                    <a:lnTo>
                      <a:pt x="412" y="406"/>
                    </a:lnTo>
                    <a:lnTo>
                      <a:pt x="412" y="407"/>
                    </a:lnTo>
                    <a:lnTo>
                      <a:pt x="408" y="408"/>
                    </a:lnTo>
                    <a:lnTo>
                      <a:pt x="393" y="411"/>
                    </a:lnTo>
                    <a:lnTo>
                      <a:pt x="377" y="415"/>
                    </a:lnTo>
                    <a:lnTo>
                      <a:pt x="371" y="418"/>
                    </a:lnTo>
                    <a:lnTo>
                      <a:pt x="370" y="420"/>
                    </a:lnTo>
                    <a:lnTo>
                      <a:pt x="370" y="421"/>
                    </a:lnTo>
                    <a:lnTo>
                      <a:pt x="370" y="421"/>
                    </a:lnTo>
                    <a:lnTo>
                      <a:pt x="371" y="424"/>
                    </a:lnTo>
                    <a:lnTo>
                      <a:pt x="374" y="427"/>
                    </a:lnTo>
                    <a:lnTo>
                      <a:pt x="380" y="428"/>
                    </a:lnTo>
                    <a:lnTo>
                      <a:pt x="385" y="431"/>
                    </a:lnTo>
                    <a:lnTo>
                      <a:pt x="401" y="433"/>
                    </a:lnTo>
                    <a:lnTo>
                      <a:pt x="417" y="431"/>
                    </a:lnTo>
                    <a:lnTo>
                      <a:pt x="417" y="431"/>
                    </a:lnTo>
                    <a:lnTo>
                      <a:pt x="425" y="430"/>
                    </a:lnTo>
                    <a:lnTo>
                      <a:pt x="434" y="430"/>
                    </a:lnTo>
                    <a:lnTo>
                      <a:pt x="451" y="431"/>
                    </a:lnTo>
                    <a:lnTo>
                      <a:pt x="465" y="435"/>
                    </a:lnTo>
                    <a:lnTo>
                      <a:pt x="469" y="437"/>
                    </a:lnTo>
                    <a:lnTo>
                      <a:pt x="471" y="438"/>
                    </a:lnTo>
                    <a:lnTo>
                      <a:pt x="471" y="438"/>
                    </a:lnTo>
                    <a:lnTo>
                      <a:pt x="471" y="441"/>
                    </a:lnTo>
                    <a:lnTo>
                      <a:pt x="468" y="441"/>
                    </a:lnTo>
                    <a:lnTo>
                      <a:pt x="458" y="442"/>
                    </a:lnTo>
                    <a:lnTo>
                      <a:pt x="430" y="441"/>
                    </a:lnTo>
                    <a:lnTo>
                      <a:pt x="430" y="441"/>
                    </a:lnTo>
                    <a:lnTo>
                      <a:pt x="415" y="442"/>
                    </a:lnTo>
                    <a:lnTo>
                      <a:pt x="400" y="444"/>
                    </a:lnTo>
                    <a:lnTo>
                      <a:pt x="387" y="448"/>
                    </a:lnTo>
                    <a:lnTo>
                      <a:pt x="384" y="450"/>
                    </a:lnTo>
                    <a:lnTo>
                      <a:pt x="383" y="452"/>
                    </a:lnTo>
                    <a:lnTo>
                      <a:pt x="383" y="452"/>
                    </a:lnTo>
                    <a:lnTo>
                      <a:pt x="384" y="457"/>
                    </a:lnTo>
                    <a:lnTo>
                      <a:pt x="388" y="460"/>
                    </a:lnTo>
                    <a:lnTo>
                      <a:pt x="405" y="467"/>
                    </a:lnTo>
                    <a:lnTo>
                      <a:pt x="405" y="467"/>
                    </a:lnTo>
                    <a:lnTo>
                      <a:pt x="412" y="470"/>
                    </a:lnTo>
                    <a:lnTo>
                      <a:pt x="418" y="471"/>
                    </a:lnTo>
                    <a:lnTo>
                      <a:pt x="431" y="470"/>
                    </a:lnTo>
                    <a:lnTo>
                      <a:pt x="435" y="470"/>
                    </a:lnTo>
                    <a:lnTo>
                      <a:pt x="439" y="470"/>
                    </a:lnTo>
                    <a:lnTo>
                      <a:pt x="441" y="471"/>
                    </a:lnTo>
                    <a:lnTo>
                      <a:pt x="442" y="475"/>
                    </a:lnTo>
                    <a:lnTo>
                      <a:pt x="442" y="475"/>
                    </a:lnTo>
                    <a:lnTo>
                      <a:pt x="442" y="479"/>
                    </a:lnTo>
                    <a:lnTo>
                      <a:pt x="444" y="482"/>
                    </a:lnTo>
                    <a:lnTo>
                      <a:pt x="447" y="485"/>
                    </a:lnTo>
                    <a:lnTo>
                      <a:pt x="449" y="487"/>
                    </a:lnTo>
                    <a:lnTo>
                      <a:pt x="461" y="489"/>
                    </a:lnTo>
                    <a:lnTo>
                      <a:pt x="476" y="491"/>
                    </a:lnTo>
                    <a:lnTo>
                      <a:pt x="476" y="491"/>
                    </a:lnTo>
                    <a:lnTo>
                      <a:pt x="485" y="491"/>
                    </a:lnTo>
                    <a:lnTo>
                      <a:pt x="494" y="489"/>
                    </a:lnTo>
                    <a:lnTo>
                      <a:pt x="506" y="485"/>
                    </a:lnTo>
                    <a:lnTo>
                      <a:pt x="516" y="481"/>
                    </a:lnTo>
                    <a:lnTo>
                      <a:pt x="521" y="481"/>
                    </a:lnTo>
                    <a:lnTo>
                      <a:pt x="525" y="479"/>
                    </a:lnTo>
                    <a:lnTo>
                      <a:pt x="525" y="479"/>
                    </a:lnTo>
                    <a:lnTo>
                      <a:pt x="533" y="479"/>
                    </a:lnTo>
                    <a:lnTo>
                      <a:pt x="539" y="478"/>
                    </a:lnTo>
                    <a:lnTo>
                      <a:pt x="545" y="475"/>
                    </a:lnTo>
                    <a:lnTo>
                      <a:pt x="549" y="470"/>
                    </a:lnTo>
                    <a:lnTo>
                      <a:pt x="549" y="470"/>
                    </a:lnTo>
                    <a:lnTo>
                      <a:pt x="553" y="467"/>
                    </a:lnTo>
                    <a:lnTo>
                      <a:pt x="556" y="465"/>
                    </a:lnTo>
                    <a:lnTo>
                      <a:pt x="559" y="468"/>
                    </a:lnTo>
                    <a:lnTo>
                      <a:pt x="560" y="471"/>
                    </a:lnTo>
                    <a:lnTo>
                      <a:pt x="560" y="471"/>
                    </a:lnTo>
                    <a:lnTo>
                      <a:pt x="562" y="472"/>
                    </a:lnTo>
                    <a:lnTo>
                      <a:pt x="565" y="474"/>
                    </a:lnTo>
                    <a:lnTo>
                      <a:pt x="570" y="475"/>
                    </a:lnTo>
                    <a:lnTo>
                      <a:pt x="577" y="475"/>
                    </a:lnTo>
                    <a:lnTo>
                      <a:pt x="582" y="478"/>
                    </a:lnTo>
                    <a:lnTo>
                      <a:pt x="582" y="478"/>
                    </a:lnTo>
                    <a:lnTo>
                      <a:pt x="586" y="481"/>
                    </a:lnTo>
                    <a:lnTo>
                      <a:pt x="592" y="482"/>
                    </a:lnTo>
                    <a:lnTo>
                      <a:pt x="599" y="484"/>
                    </a:lnTo>
                    <a:lnTo>
                      <a:pt x="606" y="484"/>
                    </a:lnTo>
                    <a:lnTo>
                      <a:pt x="620" y="482"/>
                    </a:lnTo>
                    <a:lnTo>
                      <a:pt x="632" y="478"/>
                    </a:lnTo>
                    <a:lnTo>
                      <a:pt x="632" y="478"/>
                    </a:lnTo>
                    <a:lnTo>
                      <a:pt x="634" y="477"/>
                    </a:lnTo>
                    <a:lnTo>
                      <a:pt x="636" y="472"/>
                    </a:lnTo>
                    <a:lnTo>
                      <a:pt x="636" y="470"/>
                    </a:lnTo>
                    <a:lnTo>
                      <a:pt x="633" y="467"/>
                    </a:lnTo>
                    <a:lnTo>
                      <a:pt x="630" y="464"/>
                    </a:lnTo>
                    <a:lnTo>
                      <a:pt x="627" y="462"/>
                    </a:lnTo>
                    <a:lnTo>
                      <a:pt x="624" y="462"/>
                    </a:lnTo>
                    <a:lnTo>
                      <a:pt x="622" y="464"/>
                    </a:lnTo>
                    <a:lnTo>
                      <a:pt x="622" y="464"/>
                    </a:lnTo>
                    <a:lnTo>
                      <a:pt x="617" y="468"/>
                    </a:lnTo>
                    <a:lnTo>
                      <a:pt x="613" y="468"/>
                    </a:lnTo>
                    <a:lnTo>
                      <a:pt x="612" y="467"/>
                    </a:lnTo>
                    <a:lnTo>
                      <a:pt x="609" y="464"/>
                    </a:lnTo>
                    <a:lnTo>
                      <a:pt x="609" y="464"/>
                    </a:lnTo>
                    <a:lnTo>
                      <a:pt x="609" y="462"/>
                    </a:lnTo>
                    <a:lnTo>
                      <a:pt x="610" y="461"/>
                    </a:lnTo>
                    <a:lnTo>
                      <a:pt x="614" y="460"/>
                    </a:lnTo>
                    <a:lnTo>
                      <a:pt x="620" y="457"/>
                    </a:lnTo>
                    <a:lnTo>
                      <a:pt x="624" y="452"/>
                    </a:lnTo>
                    <a:lnTo>
                      <a:pt x="624" y="452"/>
                    </a:lnTo>
                    <a:close/>
                    <a:moveTo>
                      <a:pt x="354" y="277"/>
                    </a:moveTo>
                    <a:lnTo>
                      <a:pt x="354" y="277"/>
                    </a:lnTo>
                    <a:lnTo>
                      <a:pt x="360" y="277"/>
                    </a:lnTo>
                    <a:lnTo>
                      <a:pt x="364" y="277"/>
                    </a:lnTo>
                    <a:lnTo>
                      <a:pt x="373" y="273"/>
                    </a:lnTo>
                    <a:lnTo>
                      <a:pt x="378" y="268"/>
                    </a:lnTo>
                    <a:lnTo>
                      <a:pt x="380" y="265"/>
                    </a:lnTo>
                    <a:lnTo>
                      <a:pt x="380" y="262"/>
                    </a:lnTo>
                    <a:lnTo>
                      <a:pt x="380" y="262"/>
                    </a:lnTo>
                    <a:lnTo>
                      <a:pt x="380" y="260"/>
                    </a:lnTo>
                    <a:lnTo>
                      <a:pt x="378" y="260"/>
                    </a:lnTo>
                    <a:lnTo>
                      <a:pt x="374" y="262"/>
                    </a:lnTo>
                    <a:lnTo>
                      <a:pt x="364" y="268"/>
                    </a:lnTo>
                    <a:lnTo>
                      <a:pt x="356" y="275"/>
                    </a:lnTo>
                    <a:lnTo>
                      <a:pt x="354" y="277"/>
                    </a:lnTo>
                    <a:lnTo>
                      <a:pt x="354" y="277"/>
                    </a:lnTo>
                    <a:lnTo>
                      <a:pt x="354" y="277"/>
                    </a:lnTo>
                    <a:lnTo>
                      <a:pt x="354" y="277"/>
                    </a:lnTo>
                    <a:close/>
                    <a:moveTo>
                      <a:pt x="296" y="258"/>
                    </a:moveTo>
                    <a:lnTo>
                      <a:pt x="296" y="258"/>
                    </a:lnTo>
                    <a:lnTo>
                      <a:pt x="297" y="259"/>
                    </a:lnTo>
                    <a:lnTo>
                      <a:pt x="297" y="260"/>
                    </a:lnTo>
                    <a:lnTo>
                      <a:pt x="299" y="265"/>
                    </a:lnTo>
                    <a:lnTo>
                      <a:pt x="299" y="268"/>
                    </a:lnTo>
                    <a:lnTo>
                      <a:pt x="300" y="268"/>
                    </a:lnTo>
                    <a:lnTo>
                      <a:pt x="301" y="268"/>
                    </a:lnTo>
                    <a:lnTo>
                      <a:pt x="301" y="268"/>
                    </a:lnTo>
                    <a:lnTo>
                      <a:pt x="307" y="265"/>
                    </a:lnTo>
                    <a:lnTo>
                      <a:pt x="313" y="265"/>
                    </a:lnTo>
                    <a:lnTo>
                      <a:pt x="313" y="265"/>
                    </a:lnTo>
                    <a:lnTo>
                      <a:pt x="317" y="266"/>
                    </a:lnTo>
                    <a:lnTo>
                      <a:pt x="320" y="263"/>
                    </a:lnTo>
                    <a:lnTo>
                      <a:pt x="326" y="258"/>
                    </a:lnTo>
                    <a:lnTo>
                      <a:pt x="326" y="258"/>
                    </a:lnTo>
                    <a:lnTo>
                      <a:pt x="327" y="258"/>
                    </a:lnTo>
                    <a:lnTo>
                      <a:pt x="327" y="258"/>
                    </a:lnTo>
                    <a:lnTo>
                      <a:pt x="328" y="262"/>
                    </a:lnTo>
                    <a:lnTo>
                      <a:pt x="331" y="268"/>
                    </a:lnTo>
                    <a:lnTo>
                      <a:pt x="334" y="269"/>
                    </a:lnTo>
                    <a:lnTo>
                      <a:pt x="337" y="270"/>
                    </a:lnTo>
                    <a:lnTo>
                      <a:pt x="337" y="270"/>
                    </a:lnTo>
                    <a:lnTo>
                      <a:pt x="340" y="269"/>
                    </a:lnTo>
                    <a:lnTo>
                      <a:pt x="341" y="268"/>
                    </a:lnTo>
                    <a:lnTo>
                      <a:pt x="344" y="262"/>
                    </a:lnTo>
                    <a:lnTo>
                      <a:pt x="347" y="258"/>
                    </a:lnTo>
                    <a:lnTo>
                      <a:pt x="348" y="258"/>
                    </a:lnTo>
                    <a:lnTo>
                      <a:pt x="350" y="258"/>
                    </a:lnTo>
                    <a:lnTo>
                      <a:pt x="350" y="258"/>
                    </a:lnTo>
                    <a:lnTo>
                      <a:pt x="354" y="260"/>
                    </a:lnTo>
                    <a:lnTo>
                      <a:pt x="358" y="259"/>
                    </a:lnTo>
                    <a:lnTo>
                      <a:pt x="360" y="255"/>
                    </a:lnTo>
                    <a:lnTo>
                      <a:pt x="361" y="250"/>
                    </a:lnTo>
                    <a:lnTo>
                      <a:pt x="361" y="250"/>
                    </a:lnTo>
                    <a:lnTo>
                      <a:pt x="363" y="242"/>
                    </a:lnTo>
                    <a:lnTo>
                      <a:pt x="365" y="238"/>
                    </a:lnTo>
                    <a:lnTo>
                      <a:pt x="370" y="236"/>
                    </a:lnTo>
                    <a:lnTo>
                      <a:pt x="370" y="236"/>
                    </a:lnTo>
                    <a:lnTo>
                      <a:pt x="373" y="236"/>
                    </a:lnTo>
                    <a:lnTo>
                      <a:pt x="374" y="236"/>
                    </a:lnTo>
                    <a:lnTo>
                      <a:pt x="374" y="240"/>
                    </a:lnTo>
                    <a:lnTo>
                      <a:pt x="374" y="245"/>
                    </a:lnTo>
                    <a:lnTo>
                      <a:pt x="375" y="250"/>
                    </a:lnTo>
                    <a:lnTo>
                      <a:pt x="375" y="250"/>
                    </a:lnTo>
                    <a:lnTo>
                      <a:pt x="377" y="253"/>
                    </a:lnTo>
                    <a:lnTo>
                      <a:pt x="380" y="255"/>
                    </a:lnTo>
                    <a:lnTo>
                      <a:pt x="383" y="255"/>
                    </a:lnTo>
                    <a:lnTo>
                      <a:pt x="384" y="253"/>
                    </a:lnTo>
                    <a:lnTo>
                      <a:pt x="388" y="250"/>
                    </a:lnTo>
                    <a:lnTo>
                      <a:pt x="390" y="246"/>
                    </a:lnTo>
                    <a:lnTo>
                      <a:pt x="390" y="246"/>
                    </a:lnTo>
                    <a:lnTo>
                      <a:pt x="391" y="246"/>
                    </a:lnTo>
                    <a:lnTo>
                      <a:pt x="393" y="245"/>
                    </a:lnTo>
                    <a:lnTo>
                      <a:pt x="397" y="243"/>
                    </a:lnTo>
                    <a:lnTo>
                      <a:pt x="401" y="243"/>
                    </a:lnTo>
                    <a:lnTo>
                      <a:pt x="402" y="242"/>
                    </a:lnTo>
                    <a:lnTo>
                      <a:pt x="402" y="240"/>
                    </a:lnTo>
                    <a:lnTo>
                      <a:pt x="402" y="240"/>
                    </a:lnTo>
                    <a:lnTo>
                      <a:pt x="402" y="238"/>
                    </a:lnTo>
                    <a:lnTo>
                      <a:pt x="404" y="235"/>
                    </a:lnTo>
                    <a:lnTo>
                      <a:pt x="404" y="232"/>
                    </a:lnTo>
                    <a:lnTo>
                      <a:pt x="402" y="228"/>
                    </a:lnTo>
                    <a:lnTo>
                      <a:pt x="402" y="228"/>
                    </a:lnTo>
                    <a:lnTo>
                      <a:pt x="402" y="226"/>
                    </a:lnTo>
                    <a:lnTo>
                      <a:pt x="402" y="225"/>
                    </a:lnTo>
                    <a:lnTo>
                      <a:pt x="405" y="223"/>
                    </a:lnTo>
                    <a:lnTo>
                      <a:pt x="410" y="222"/>
                    </a:lnTo>
                    <a:lnTo>
                      <a:pt x="412" y="219"/>
                    </a:lnTo>
                    <a:lnTo>
                      <a:pt x="412" y="219"/>
                    </a:lnTo>
                    <a:lnTo>
                      <a:pt x="414" y="219"/>
                    </a:lnTo>
                    <a:lnTo>
                      <a:pt x="414" y="218"/>
                    </a:lnTo>
                    <a:lnTo>
                      <a:pt x="411" y="216"/>
                    </a:lnTo>
                    <a:lnTo>
                      <a:pt x="405" y="216"/>
                    </a:lnTo>
                    <a:lnTo>
                      <a:pt x="400" y="212"/>
                    </a:lnTo>
                    <a:lnTo>
                      <a:pt x="400" y="212"/>
                    </a:lnTo>
                    <a:lnTo>
                      <a:pt x="398" y="211"/>
                    </a:lnTo>
                    <a:lnTo>
                      <a:pt x="395" y="211"/>
                    </a:lnTo>
                    <a:lnTo>
                      <a:pt x="394" y="211"/>
                    </a:lnTo>
                    <a:lnTo>
                      <a:pt x="393" y="212"/>
                    </a:lnTo>
                    <a:lnTo>
                      <a:pt x="391" y="215"/>
                    </a:lnTo>
                    <a:lnTo>
                      <a:pt x="390" y="219"/>
                    </a:lnTo>
                    <a:lnTo>
                      <a:pt x="390" y="219"/>
                    </a:lnTo>
                    <a:lnTo>
                      <a:pt x="390" y="221"/>
                    </a:lnTo>
                    <a:lnTo>
                      <a:pt x="388" y="221"/>
                    </a:lnTo>
                    <a:lnTo>
                      <a:pt x="383" y="221"/>
                    </a:lnTo>
                    <a:lnTo>
                      <a:pt x="368" y="216"/>
                    </a:lnTo>
                    <a:lnTo>
                      <a:pt x="368" y="216"/>
                    </a:lnTo>
                    <a:lnTo>
                      <a:pt x="365" y="216"/>
                    </a:lnTo>
                    <a:lnTo>
                      <a:pt x="363" y="218"/>
                    </a:lnTo>
                    <a:lnTo>
                      <a:pt x="356" y="221"/>
                    </a:lnTo>
                    <a:lnTo>
                      <a:pt x="348" y="226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33" y="236"/>
                    </a:lnTo>
                    <a:lnTo>
                      <a:pt x="328" y="242"/>
                    </a:lnTo>
                    <a:lnTo>
                      <a:pt x="323" y="246"/>
                    </a:lnTo>
                    <a:lnTo>
                      <a:pt x="320" y="246"/>
                    </a:lnTo>
                    <a:lnTo>
                      <a:pt x="317" y="246"/>
                    </a:lnTo>
                    <a:lnTo>
                      <a:pt x="317" y="246"/>
                    </a:lnTo>
                    <a:lnTo>
                      <a:pt x="309" y="248"/>
                    </a:lnTo>
                    <a:lnTo>
                      <a:pt x="300" y="252"/>
                    </a:lnTo>
                    <a:lnTo>
                      <a:pt x="296" y="255"/>
                    </a:lnTo>
                    <a:lnTo>
                      <a:pt x="294" y="258"/>
                    </a:lnTo>
                    <a:lnTo>
                      <a:pt x="296" y="258"/>
                    </a:lnTo>
                    <a:lnTo>
                      <a:pt x="296" y="258"/>
                    </a:lnTo>
                    <a:close/>
                    <a:moveTo>
                      <a:pt x="407" y="255"/>
                    </a:moveTo>
                    <a:lnTo>
                      <a:pt x="407" y="255"/>
                    </a:lnTo>
                    <a:lnTo>
                      <a:pt x="404" y="255"/>
                    </a:lnTo>
                    <a:lnTo>
                      <a:pt x="401" y="256"/>
                    </a:lnTo>
                    <a:lnTo>
                      <a:pt x="400" y="259"/>
                    </a:lnTo>
                    <a:lnTo>
                      <a:pt x="400" y="260"/>
                    </a:lnTo>
                    <a:lnTo>
                      <a:pt x="401" y="262"/>
                    </a:lnTo>
                    <a:lnTo>
                      <a:pt x="402" y="263"/>
                    </a:lnTo>
                    <a:lnTo>
                      <a:pt x="405" y="265"/>
                    </a:lnTo>
                    <a:lnTo>
                      <a:pt x="408" y="265"/>
                    </a:lnTo>
                    <a:lnTo>
                      <a:pt x="408" y="265"/>
                    </a:lnTo>
                    <a:lnTo>
                      <a:pt x="415" y="266"/>
                    </a:lnTo>
                    <a:lnTo>
                      <a:pt x="418" y="268"/>
                    </a:lnTo>
                    <a:lnTo>
                      <a:pt x="415" y="268"/>
                    </a:lnTo>
                    <a:lnTo>
                      <a:pt x="407" y="268"/>
                    </a:lnTo>
                    <a:lnTo>
                      <a:pt x="407" y="268"/>
                    </a:lnTo>
                    <a:lnTo>
                      <a:pt x="401" y="269"/>
                    </a:lnTo>
                    <a:lnTo>
                      <a:pt x="397" y="270"/>
                    </a:lnTo>
                    <a:lnTo>
                      <a:pt x="393" y="272"/>
                    </a:lnTo>
                    <a:lnTo>
                      <a:pt x="391" y="275"/>
                    </a:lnTo>
                    <a:lnTo>
                      <a:pt x="390" y="276"/>
                    </a:lnTo>
                    <a:lnTo>
                      <a:pt x="390" y="279"/>
                    </a:lnTo>
                    <a:lnTo>
                      <a:pt x="391" y="279"/>
                    </a:lnTo>
                    <a:lnTo>
                      <a:pt x="395" y="279"/>
                    </a:lnTo>
                    <a:lnTo>
                      <a:pt x="395" y="279"/>
                    </a:lnTo>
                    <a:lnTo>
                      <a:pt x="404" y="277"/>
                    </a:lnTo>
                    <a:lnTo>
                      <a:pt x="411" y="276"/>
                    </a:lnTo>
                    <a:lnTo>
                      <a:pt x="414" y="277"/>
                    </a:lnTo>
                    <a:lnTo>
                      <a:pt x="411" y="279"/>
                    </a:lnTo>
                    <a:lnTo>
                      <a:pt x="411" y="279"/>
                    </a:lnTo>
                    <a:lnTo>
                      <a:pt x="393" y="283"/>
                    </a:lnTo>
                    <a:lnTo>
                      <a:pt x="385" y="285"/>
                    </a:lnTo>
                    <a:lnTo>
                      <a:pt x="383" y="286"/>
                    </a:lnTo>
                    <a:lnTo>
                      <a:pt x="383" y="287"/>
                    </a:lnTo>
                    <a:lnTo>
                      <a:pt x="383" y="287"/>
                    </a:lnTo>
                    <a:lnTo>
                      <a:pt x="385" y="290"/>
                    </a:lnTo>
                    <a:lnTo>
                      <a:pt x="391" y="290"/>
                    </a:lnTo>
                    <a:lnTo>
                      <a:pt x="397" y="292"/>
                    </a:lnTo>
                    <a:lnTo>
                      <a:pt x="404" y="293"/>
                    </a:lnTo>
                    <a:lnTo>
                      <a:pt x="404" y="293"/>
                    </a:lnTo>
                    <a:lnTo>
                      <a:pt x="410" y="296"/>
                    </a:lnTo>
                    <a:lnTo>
                      <a:pt x="415" y="297"/>
                    </a:lnTo>
                    <a:lnTo>
                      <a:pt x="421" y="296"/>
                    </a:lnTo>
                    <a:lnTo>
                      <a:pt x="425" y="292"/>
                    </a:lnTo>
                    <a:lnTo>
                      <a:pt x="425" y="292"/>
                    </a:lnTo>
                    <a:lnTo>
                      <a:pt x="431" y="286"/>
                    </a:lnTo>
                    <a:lnTo>
                      <a:pt x="437" y="282"/>
                    </a:lnTo>
                    <a:lnTo>
                      <a:pt x="438" y="282"/>
                    </a:lnTo>
                    <a:lnTo>
                      <a:pt x="439" y="282"/>
                    </a:lnTo>
                    <a:lnTo>
                      <a:pt x="439" y="283"/>
                    </a:lnTo>
                    <a:lnTo>
                      <a:pt x="438" y="286"/>
                    </a:lnTo>
                    <a:lnTo>
                      <a:pt x="438" y="286"/>
                    </a:lnTo>
                    <a:lnTo>
                      <a:pt x="438" y="290"/>
                    </a:lnTo>
                    <a:lnTo>
                      <a:pt x="439" y="292"/>
                    </a:lnTo>
                    <a:lnTo>
                      <a:pt x="441" y="292"/>
                    </a:lnTo>
                    <a:lnTo>
                      <a:pt x="445" y="292"/>
                    </a:lnTo>
                    <a:lnTo>
                      <a:pt x="455" y="290"/>
                    </a:lnTo>
                    <a:lnTo>
                      <a:pt x="469" y="289"/>
                    </a:lnTo>
                    <a:lnTo>
                      <a:pt x="469" y="289"/>
                    </a:lnTo>
                    <a:lnTo>
                      <a:pt x="475" y="289"/>
                    </a:lnTo>
                    <a:lnTo>
                      <a:pt x="476" y="290"/>
                    </a:lnTo>
                    <a:lnTo>
                      <a:pt x="475" y="292"/>
                    </a:lnTo>
                    <a:lnTo>
                      <a:pt x="472" y="295"/>
                    </a:lnTo>
                    <a:lnTo>
                      <a:pt x="461" y="299"/>
                    </a:lnTo>
                    <a:lnTo>
                      <a:pt x="445" y="302"/>
                    </a:lnTo>
                    <a:lnTo>
                      <a:pt x="445" y="302"/>
                    </a:lnTo>
                    <a:lnTo>
                      <a:pt x="439" y="303"/>
                    </a:lnTo>
                    <a:lnTo>
                      <a:pt x="435" y="305"/>
                    </a:lnTo>
                    <a:lnTo>
                      <a:pt x="432" y="306"/>
                    </a:lnTo>
                    <a:lnTo>
                      <a:pt x="432" y="309"/>
                    </a:lnTo>
                    <a:lnTo>
                      <a:pt x="432" y="310"/>
                    </a:lnTo>
                    <a:lnTo>
                      <a:pt x="435" y="313"/>
                    </a:lnTo>
                    <a:lnTo>
                      <a:pt x="439" y="314"/>
                    </a:lnTo>
                    <a:lnTo>
                      <a:pt x="445" y="316"/>
                    </a:lnTo>
                    <a:lnTo>
                      <a:pt x="445" y="316"/>
                    </a:lnTo>
                    <a:lnTo>
                      <a:pt x="451" y="317"/>
                    </a:lnTo>
                    <a:lnTo>
                      <a:pt x="459" y="316"/>
                    </a:lnTo>
                    <a:lnTo>
                      <a:pt x="476" y="312"/>
                    </a:lnTo>
                    <a:lnTo>
                      <a:pt x="492" y="306"/>
                    </a:lnTo>
                    <a:lnTo>
                      <a:pt x="502" y="299"/>
                    </a:lnTo>
                    <a:lnTo>
                      <a:pt x="502" y="299"/>
                    </a:lnTo>
                    <a:lnTo>
                      <a:pt x="505" y="296"/>
                    </a:lnTo>
                    <a:lnTo>
                      <a:pt x="508" y="296"/>
                    </a:lnTo>
                    <a:lnTo>
                      <a:pt x="513" y="297"/>
                    </a:lnTo>
                    <a:lnTo>
                      <a:pt x="519" y="299"/>
                    </a:lnTo>
                    <a:lnTo>
                      <a:pt x="522" y="299"/>
                    </a:lnTo>
                    <a:lnTo>
                      <a:pt x="525" y="297"/>
                    </a:lnTo>
                    <a:lnTo>
                      <a:pt x="525" y="297"/>
                    </a:lnTo>
                    <a:lnTo>
                      <a:pt x="528" y="296"/>
                    </a:lnTo>
                    <a:lnTo>
                      <a:pt x="532" y="295"/>
                    </a:lnTo>
                    <a:lnTo>
                      <a:pt x="540" y="295"/>
                    </a:lnTo>
                    <a:lnTo>
                      <a:pt x="550" y="296"/>
                    </a:lnTo>
                    <a:lnTo>
                      <a:pt x="560" y="295"/>
                    </a:lnTo>
                    <a:lnTo>
                      <a:pt x="560" y="295"/>
                    </a:lnTo>
                    <a:lnTo>
                      <a:pt x="566" y="293"/>
                    </a:lnTo>
                    <a:lnTo>
                      <a:pt x="569" y="289"/>
                    </a:lnTo>
                    <a:lnTo>
                      <a:pt x="572" y="285"/>
                    </a:lnTo>
                    <a:lnTo>
                      <a:pt x="573" y="279"/>
                    </a:lnTo>
                    <a:lnTo>
                      <a:pt x="573" y="273"/>
                    </a:lnTo>
                    <a:lnTo>
                      <a:pt x="572" y="269"/>
                    </a:lnTo>
                    <a:lnTo>
                      <a:pt x="570" y="265"/>
                    </a:lnTo>
                    <a:lnTo>
                      <a:pt x="566" y="262"/>
                    </a:lnTo>
                    <a:lnTo>
                      <a:pt x="566" y="262"/>
                    </a:lnTo>
                    <a:lnTo>
                      <a:pt x="563" y="262"/>
                    </a:lnTo>
                    <a:lnTo>
                      <a:pt x="560" y="262"/>
                    </a:lnTo>
                    <a:lnTo>
                      <a:pt x="558" y="263"/>
                    </a:lnTo>
                    <a:lnTo>
                      <a:pt x="553" y="266"/>
                    </a:lnTo>
                    <a:lnTo>
                      <a:pt x="549" y="269"/>
                    </a:lnTo>
                    <a:lnTo>
                      <a:pt x="549" y="269"/>
                    </a:lnTo>
                    <a:lnTo>
                      <a:pt x="546" y="269"/>
                    </a:lnTo>
                    <a:lnTo>
                      <a:pt x="543" y="268"/>
                    </a:lnTo>
                    <a:lnTo>
                      <a:pt x="539" y="265"/>
                    </a:lnTo>
                    <a:lnTo>
                      <a:pt x="531" y="253"/>
                    </a:lnTo>
                    <a:lnTo>
                      <a:pt x="531" y="253"/>
                    </a:lnTo>
                    <a:lnTo>
                      <a:pt x="528" y="252"/>
                    </a:lnTo>
                    <a:lnTo>
                      <a:pt x="528" y="248"/>
                    </a:lnTo>
                    <a:lnTo>
                      <a:pt x="526" y="242"/>
                    </a:lnTo>
                    <a:lnTo>
                      <a:pt x="523" y="238"/>
                    </a:lnTo>
                    <a:lnTo>
                      <a:pt x="522" y="236"/>
                    </a:lnTo>
                    <a:lnTo>
                      <a:pt x="519" y="236"/>
                    </a:lnTo>
                    <a:lnTo>
                      <a:pt x="519" y="236"/>
                    </a:lnTo>
                    <a:lnTo>
                      <a:pt x="511" y="240"/>
                    </a:lnTo>
                    <a:lnTo>
                      <a:pt x="502" y="246"/>
                    </a:lnTo>
                    <a:lnTo>
                      <a:pt x="499" y="249"/>
                    </a:lnTo>
                    <a:lnTo>
                      <a:pt x="498" y="252"/>
                    </a:lnTo>
                    <a:lnTo>
                      <a:pt x="499" y="253"/>
                    </a:lnTo>
                    <a:lnTo>
                      <a:pt x="502" y="255"/>
                    </a:lnTo>
                    <a:lnTo>
                      <a:pt x="502" y="255"/>
                    </a:lnTo>
                    <a:lnTo>
                      <a:pt x="508" y="256"/>
                    </a:lnTo>
                    <a:lnTo>
                      <a:pt x="509" y="258"/>
                    </a:lnTo>
                    <a:lnTo>
                      <a:pt x="509" y="259"/>
                    </a:lnTo>
                    <a:lnTo>
                      <a:pt x="508" y="263"/>
                    </a:lnTo>
                    <a:lnTo>
                      <a:pt x="503" y="265"/>
                    </a:lnTo>
                    <a:lnTo>
                      <a:pt x="503" y="265"/>
                    </a:lnTo>
                    <a:lnTo>
                      <a:pt x="502" y="266"/>
                    </a:lnTo>
                    <a:lnTo>
                      <a:pt x="503" y="268"/>
                    </a:lnTo>
                    <a:lnTo>
                      <a:pt x="508" y="270"/>
                    </a:lnTo>
                    <a:lnTo>
                      <a:pt x="513" y="275"/>
                    </a:lnTo>
                    <a:lnTo>
                      <a:pt x="515" y="276"/>
                    </a:lnTo>
                    <a:lnTo>
                      <a:pt x="515" y="277"/>
                    </a:lnTo>
                    <a:lnTo>
                      <a:pt x="515" y="277"/>
                    </a:lnTo>
                    <a:lnTo>
                      <a:pt x="513" y="279"/>
                    </a:lnTo>
                    <a:lnTo>
                      <a:pt x="509" y="279"/>
                    </a:lnTo>
                    <a:lnTo>
                      <a:pt x="496" y="279"/>
                    </a:lnTo>
                    <a:lnTo>
                      <a:pt x="485" y="276"/>
                    </a:lnTo>
                    <a:lnTo>
                      <a:pt x="481" y="273"/>
                    </a:lnTo>
                    <a:lnTo>
                      <a:pt x="478" y="270"/>
                    </a:lnTo>
                    <a:lnTo>
                      <a:pt x="478" y="270"/>
                    </a:lnTo>
                    <a:lnTo>
                      <a:pt x="476" y="268"/>
                    </a:lnTo>
                    <a:lnTo>
                      <a:pt x="474" y="265"/>
                    </a:lnTo>
                    <a:lnTo>
                      <a:pt x="464" y="259"/>
                    </a:lnTo>
                    <a:lnTo>
                      <a:pt x="451" y="255"/>
                    </a:lnTo>
                    <a:lnTo>
                      <a:pt x="445" y="253"/>
                    </a:lnTo>
                    <a:lnTo>
                      <a:pt x="441" y="253"/>
                    </a:lnTo>
                    <a:lnTo>
                      <a:pt x="441" y="253"/>
                    </a:lnTo>
                    <a:lnTo>
                      <a:pt x="437" y="255"/>
                    </a:lnTo>
                    <a:lnTo>
                      <a:pt x="435" y="253"/>
                    </a:lnTo>
                    <a:lnTo>
                      <a:pt x="432" y="250"/>
                    </a:lnTo>
                    <a:lnTo>
                      <a:pt x="430" y="246"/>
                    </a:lnTo>
                    <a:lnTo>
                      <a:pt x="427" y="245"/>
                    </a:lnTo>
                    <a:lnTo>
                      <a:pt x="424" y="245"/>
                    </a:lnTo>
                    <a:lnTo>
                      <a:pt x="424" y="245"/>
                    </a:lnTo>
                    <a:lnTo>
                      <a:pt x="420" y="245"/>
                    </a:lnTo>
                    <a:lnTo>
                      <a:pt x="418" y="246"/>
                    </a:lnTo>
                    <a:lnTo>
                      <a:pt x="415" y="249"/>
                    </a:lnTo>
                    <a:lnTo>
                      <a:pt x="412" y="253"/>
                    </a:lnTo>
                    <a:lnTo>
                      <a:pt x="410" y="253"/>
                    </a:lnTo>
                    <a:lnTo>
                      <a:pt x="407" y="255"/>
                    </a:lnTo>
                    <a:lnTo>
                      <a:pt x="407" y="255"/>
                    </a:lnTo>
                    <a:close/>
                    <a:moveTo>
                      <a:pt x="444" y="203"/>
                    </a:moveTo>
                    <a:lnTo>
                      <a:pt x="444" y="203"/>
                    </a:lnTo>
                    <a:lnTo>
                      <a:pt x="444" y="201"/>
                    </a:lnTo>
                    <a:lnTo>
                      <a:pt x="441" y="199"/>
                    </a:lnTo>
                    <a:lnTo>
                      <a:pt x="438" y="198"/>
                    </a:lnTo>
                    <a:lnTo>
                      <a:pt x="434" y="196"/>
                    </a:lnTo>
                    <a:lnTo>
                      <a:pt x="425" y="198"/>
                    </a:lnTo>
                    <a:lnTo>
                      <a:pt x="422" y="198"/>
                    </a:lnTo>
                    <a:lnTo>
                      <a:pt x="422" y="199"/>
                    </a:lnTo>
                    <a:lnTo>
                      <a:pt x="422" y="199"/>
                    </a:lnTo>
                    <a:lnTo>
                      <a:pt x="427" y="203"/>
                    </a:lnTo>
                    <a:lnTo>
                      <a:pt x="434" y="206"/>
                    </a:lnTo>
                    <a:lnTo>
                      <a:pt x="437" y="208"/>
                    </a:lnTo>
                    <a:lnTo>
                      <a:pt x="439" y="208"/>
                    </a:lnTo>
                    <a:lnTo>
                      <a:pt x="442" y="206"/>
                    </a:lnTo>
                    <a:lnTo>
                      <a:pt x="444" y="203"/>
                    </a:lnTo>
                    <a:lnTo>
                      <a:pt x="444" y="203"/>
                    </a:lnTo>
                    <a:close/>
                    <a:moveTo>
                      <a:pt x="502" y="199"/>
                    </a:moveTo>
                    <a:lnTo>
                      <a:pt x="502" y="199"/>
                    </a:lnTo>
                    <a:lnTo>
                      <a:pt x="505" y="199"/>
                    </a:lnTo>
                    <a:lnTo>
                      <a:pt x="506" y="198"/>
                    </a:lnTo>
                    <a:lnTo>
                      <a:pt x="508" y="196"/>
                    </a:lnTo>
                    <a:lnTo>
                      <a:pt x="506" y="195"/>
                    </a:lnTo>
                    <a:lnTo>
                      <a:pt x="502" y="194"/>
                    </a:lnTo>
                    <a:lnTo>
                      <a:pt x="492" y="194"/>
                    </a:lnTo>
                    <a:lnTo>
                      <a:pt x="492" y="194"/>
                    </a:lnTo>
                    <a:lnTo>
                      <a:pt x="479" y="195"/>
                    </a:lnTo>
                    <a:lnTo>
                      <a:pt x="466" y="196"/>
                    </a:lnTo>
                    <a:lnTo>
                      <a:pt x="461" y="198"/>
                    </a:lnTo>
                    <a:lnTo>
                      <a:pt x="457" y="201"/>
                    </a:lnTo>
                    <a:lnTo>
                      <a:pt x="454" y="202"/>
                    </a:lnTo>
                    <a:lnTo>
                      <a:pt x="452" y="206"/>
                    </a:lnTo>
                    <a:lnTo>
                      <a:pt x="452" y="206"/>
                    </a:lnTo>
                    <a:lnTo>
                      <a:pt x="454" y="212"/>
                    </a:lnTo>
                    <a:lnTo>
                      <a:pt x="457" y="216"/>
                    </a:lnTo>
                    <a:lnTo>
                      <a:pt x="464" y="219"/>
                    </a:lnTo>
                    <a:lnTo>
                      <a:pt x="474" y="221"/>
                    </a:lnTo>
                    <a:lnTo>
                      <a:pt x="474" y="221"/>
                    </a:lnTo>
                    <a:lnTo>
                      <a:pt x="479" y="221"/>
                    </a:lnTo>
                    <a:lnTo>
                      <a:pt x="485" y="219"/>
                    </a:lnTo>
                    <a:lnTo>
                      <a:pt x="489" y="216"/>
                    </a:lnTo>
                    <a:lnTo>
                      <a:pt x="494" y="213"/>
                    </a:lnTo>
                    <a:lnTo>
                      <a:pt x="496" y="211"/>
                    </a:lnTo>
                    <a:lnTo>
                      <a:pt x="498" y="209"/>
                    </a:lnTo>
                    <a:lnTo>
                      <a:pt x="498" y="206"/>
                    </a:lnTo>
                    <a:lnTo>
                      <a:pt x="496" y="206"/>
                    </a:lnTo>
                    <a:lnTo>
                      <a:pt x="496" y="206"/>
                    </a:lnTo>
                    <a:lnTo>
                      <a:pt x="492" y="205"/>
                    </a:lnTo>
                    <a:lnTo>
                      <a:pt x="492" y="205"/>
                    </a:lnTo>
                    <a:lnTo>
                      <a:pt x="494" y="203"/>
                    </a:lnTo>
                    <a:lnTo>
                      <a:pt x="496" y="202"/>
                    </a:lnTo>
                    <a:lnTo>
                      <a:pt x="502" y="199"/>
                    </a:lnTo>
                    <a:lnTo>
                      <a:pt x="502" y="199"/>
                    </a:lnTo>
                    <a:close/>
                    <a:moveTo>
                      <a:pt x="468" y="186"/>
                    </a:moveTo>
                    <a:lnTo>
                      <a:pt x="468" y="186"/>
                    </a:lnTo>
                    <a:lnTo>
                      <a:pt x="471" y="186"/>
                    </a:lnTo>
                    <a:lnTo>
                      <a:pt x="474" y="186"/>
                    </a:lnTo>
                    <a:lnTo>
                      <a:pt x="478" y="185"/>
                    </a:lnTo>
                    <a:lnTo>
                      <a:pt x="482" y="184"/>
                    </a:lnTo>
                    <a:lnTo>
                      <a:pt x="485" y="184"/>
                    </a:lnTo>
                    <a:lnTo>
                      <a:pt x="486" y="184"/>
                    </a:lnTo>
                    <a:lnTo>
                      <a:pt x="486" y="184"/>
                    </a:lnTo>
                    <a:lnTo>
                      <a:pt x="494" y="186"/>
                    </a:lnTo>
                    <a:lnTo>
                      <a:pt x="502" y="188"/>
                    </a:lnTo>
                    <a:lnTo>
                      <a:pt x="506" y="188"/>
                    </a:lnTo>
                    <a:lnTo>
                      <a:pt x="511" y="186"/>
                    </a:lnTo>
                    <a:lnTo>
                      <a:pt x="513" y="184"/>
                    </a:lnTo>
                    <a:lnTo>
                      <a:pt x="513" y="181"/>
                    </a:lnTo>
                    <a:lnTo>
                      <a:pt x="513" y="181"/>
                    </a:lnTo>
                    <a:lnTo>
                      <a:pt x="513" y="176"/>
                    </a:lnTo>
                    <a:lnTo>
                      <a:pt x="509" y="174"/>
                    </a:lnTo>
                    <a:lnTo>
                      <a:pt x="505" y="172"/>
                    </a:lnTo>
                    <a:lnTo>
                      <a:pt x="499" y="171"/>
                    </a:lnTo>
                    <a:lnTo>
                      <a:pt x="488" y="169"/>
                    </a:lnTo>
                    <a:lnTo>
                      <a:pt x="482" y="171"/>
                    </a:lnTo>
                    <a:lnTo>
                      <a:pt x="479" y="172"/>
                    </a:lnTo>
                    <a:lnTo>
                      <a:pt x="479" y="172"/>
                    </a:lnTo>
                    <a:lnTo>
                      <a:pt x="469" y="175"/>
                    </a:lnTo>
                    <a:lnTo>
                      <a:pt x="458" y="178"/>
                    </a:lnTo>
                    <a:lnTo>
                      <a:pt x="448" y="181"/>
                    </a:lnTo>
                    <a:lnTo>
                      <a:pt x="447" y="182"/>
                    </a:lnTo>
                    <a:lnTo>
                      <a:pt x="448" y="185"/>
                    </a:lnTo>
                    <a:lnTo>
                      <a:pt x="448" y="185"/>
                    </a:lnTo>
                    <a:lnTo>
                      <a:pt x="452" y="186"/>
                    </a:lnTo>
                    <a:lnTo>
                      <a:pt x="458" y="186"/>
                    </a:lnTo>
                    <a:lnTo>
                      <a:pt x="462" y="185"/>
                    </a:lnTo>
                    <a:lnTo>
                      <a:pt x="468" y="186"/>
                    </a:lnTo>
                    <a:lnTo>
                      <a:pt x="468" y="186"/>
                    </a:lnTo>
                    <a:close/>
                    <a:moveTo>
                      <a:pt x="586" y="164"/>
                    </a:moveTo>
                    <a:lnTo>
                      <a:pt x="586" y="164"/>
                    </a:lnTo>
                    <a:lnTo>
                      <a:pt x="590" y="162"/>
                    </a:lnTo>
                    <a:lnTo>
                      <a:pt x="595" y="162"/>
                    </a:lnTo>
                    <a:lnTo>
                      <a:pt x="602" y="165"/>
                    </a:lnTo>
                    <a:lnTo>
                      <a:pt x="607" y="169"/>
                    </a:lnTo>
                    <a:lnTo>
                      <a:pt x="609" y="172"/>
                    </a:lnTo>
                    <a:lnTo>
                      <a:pt x="607" y="174"/>
                    </a:lnTo>
                    <a:lnTo>
                      <a:pt x="607" y="174"/>
                    </a:lnTo>
                    <a:lnTo>
                      <a:pt x="606" y="176"/>
                    </a:lnTo>
                    <a:lnTo>
                      <a:pt x="603" y="176"/>
                    </a:lnTo>
                    <a:lnTo>
                      <a:pt x="593" y="176"/>
                    </a:lnTo>
                    <a:lnTo>
                      <a:pt x="585" y="176"/>
                    </a:lnTo>
                    <a:lnTo>
                      <a:pt x="583" y="176"/>
                    </a:lnTo>
                    <a:lnTo>
                      <a:pt x="582" y="178"/>
                    </a:lnTo>
                    <a:lnTo>
                      <a:pt x="582" y="178"/>
                    </a:lnTo>
                    <a:lnTo>
                      <a:pt x="583" y="181"/>
                    </a:lnTo>
                    <a:lnTo>
                      <a:pt x="586" y="184"/>
                    </a:lnTo>
                    <a:lnTo>
                      <a:pt x="589" y="185"/>
                    </a:lnTo>
                    <a:lnTo>
                      <a:pt x="593" y="185"/>
                    </a:lnTo>
                    <a:lnTo>
                      <a:pt x="597" y="185"/>
                    </a:lnTo>
                    <a:lnTo>
                      <a:pt x="603" y="184"/>
                    </a:lnTo>
                    <a:lnTo>
                      <a:pt x="603" y="184"/>
                    </a:lnTo>
                    <a:lnTo>
                      <a:pt x="614" y="182"/>
                    </a:lnTo>
                    <a:lnTo>
                      <a:pt x="626" y="182"/>
                    </a:lnTo>
                    <a:lnTo>
                      <a:pt x="636" y="186"/>
                    </a:lnTo>
                    <a:lnTo>
                      <a:pt x="646" y="192"/>
                    </a:lnTo>
                    <a:lnTo>
                      <a:pt x="646" y="192"/>
                    </a:lnTo>
                    <a:lnTo>
                      <a:pt x="654" y="198"/>
                    </a:lnTo>
                    <a:lnTo>
                      <a:pt x="661" y="201"/>
                    </a:lnTo>
                    <a:lnTo>
                      <a:pt x="666" y="201"/>
                    </a:lnTo>
                    <a:lnTo>
                      <a:pt x="668" y="201"/>
                    </a:lnTo>
                    <a:lnTo>
                      <a:pt x="673" y="198"/>
                    </a:lnTo>
                    <a:lnTo>
                      <a:pt x="676" y="195"/>
                    </a:lnTo>
                    <a:lnTo>
                      <a:pt x="676" y="195"/>
                    </a:lnTo>
                    <a:lnTo>
                      <a:pt x="677" y="192"/>
                    </a:lnTo>
                    <a:lnTo>
                      <a:pt x="677" y="189"/>
                    </a:lnTo>
                    <a:lnTo>
                      <a:pt x="676" y="188"/>
                    </a:lnTo>
                    <a:lnTo>
                      <a:pt x="674" y="186"/>
                    </a:lnTo>
                    <a:lnTo>
                      <a:pt x="670" y="182"/>
                    </a:lnTo>
                    <a:lnTo>
                      <a:pt x="668" y="181"/>
                    </a:lnTo>
                    <a:lnTo>
                      <a:pt x="668" y="178"/>
                    </a:lnTo>
                    <a:lnTo>
                      <a:pt x="668" y="178"/>
                    </a:lnTo>
                    <a:lnTo>
                      <a:pt x="670" y="175"/>
                    </a:lnTo>
                    <a:lnTo>
                      <a:pt x="668" y="174"/>
                    </a:lnTo>
                    <a:lnTo>
                      <a:pt x="664" y="169"/>
                    </a:lnTo>
                    <a:lnTo>
                      <a:pt x="657" y="167"/>
                    </a:lnTo>
                    <a:lnTo>
                      <a:pt x="650" y="167"/>
                    </a:lnTo>
                    <a:lnTo>
                      <a:pt x="650" y="167"/>
                    </a:lnTo>
                    <a:lnTo>
                      <a:pt x="647" y="165"/>
                    </a:lnTo>
                    <a:lnTo>
                      <a:pt x="644" y="164"/>
                    </a:lnTo>
                    <a:lnTo>
                      <a:pt x="640" y="159"/>
                    </a:lnTo>
                    <a:lnTo>
                      <a:pt x="637" y="155"/>
                    </a:lnTo>
                    <a:lnTo>
                      <a:pt x="634" y="155"/>
                    </a:lnTo>
                    <a:lnTo>
                      <a:pt x="633" y="155"/>
                    </a:lnTo>
                    <a:lnTo>
                      <a:pt x="633" y="155"/>
                    </a:lnTo>
                    <a:lnTo>
                      <a:pt x="624" y="159"/>
                    </a:lnTo>
                    <a:lnTo>
                      <a:pt x="624" y="159"/>
                    </a:lnTo>
                    <a:lnTo>
                      <a:pt x="623" y="158"/>
                    </a:lnTo>
                    <a:lnTo>
                      <a:pt x="622" y="154"/>
                    </a:lnTo>
                    <a:lnTo>
                      <a:pt x="622" y="154"/>
                    </a:lnTo>
                    <a:lnTo>
                      <a:pt x="620" y="151"/>
                    </a:lnTo>
                    <a:lnTo>
                      <a:pt x="616" y="148"/>
                    </a:lnTo>
                    <a:lnTo>
                      <a:pt x="610" y="147"/>
                    </a:lnTo>
                    <a:lnTo>
                      <a:pt x="603" y="145"/>
                    </a:lnTo>
                    <a:lnTo>
                      <a:pt x="587" y="145"/>
                    </a:lnTo>
                    <a:lnTo>
                      <a:pt x="576" y="147"/>
                    </a:lnTo>
                    <a:lnTo>
                      <a:pt x="576" y="147"/>
                    </a:lnTo>
                    <a:lnTo>
                      <a:pt x="573" y="149"/>
                    </a:lnTo>
                    <a:lnTo>
                      <a:pt x="572" y="152"/>
                    </a:lnTo>
                    <a:lnTo>
                      <a:pt x="573" y="155"/>
                    </a:lnTo>
                    <a:lnTo>
                      <a:pt x="575" y="159"/>
                    </a:lnTo>
                    <a:lnTo>
                      <a:pt x="577" y="162"/>
                    </a:lnTo>
                    <a:lnTo>
                      <a:pt x="580" y="165"/>
                    </a:lnTo>
                    <a:lnTo>
                      <a:pt x="583" y="165"/>
                    </a:lnTo>
                    <a:lnTo>
                      <a:pt x="586" y="164"/>
                    </a:lnTo>
                    <a:lnTo>
                      <a:pt x="586" y="164"/>
                    </a:lnTo>
                    <a:close/>
                    <a:moveTo>
                      <a:pt x="592" y="223"/>
                    </a:moveTo>
                    <a:lnTo>
                      <a:pt x="592" y="223"/>
                    </a:lnTo>
                    <a:lnTo>
                      <a:pt x="592" y="221"/>
                    </a:lnTo>
                    <a:lnTo>
                      <a:pt x="590" y="216"/>
                    </a:lnTo>
                    <a:lnTo>
                      <a:pt x="586" y="212"/>
                    </a:lnTo>
                    <a:lnTo>
                      <a:pt x="582" y="208"/>
                    </a:lnTo>
                    <a:lnTo>
                      <a:pt x="577" y="205"/>
                    </a:lnTo>
                    <a:lnTo>
                      <a:pt x="572" y="202"/>
                    </a:lnTo>
                    <a:lnTo>
                      <a:pt x="569" y="202"/>
                    </a:lnTo>
                    <a:lnTo>
                      <a:pt x="567" y="203"/>
                    </a:lnTo>
                    <a:lnTo>
                      <a:pt x="567" y="205"/>
                    </a:lnTo>
                    <a:lnTo>
                      <a:pt x="567" y="205"/>
                    </a:lnTo>
                    <a:lnTo>
                      <a:pt x="567" y="209"/>
                    </a:lnTo>
                    <a:lnTo>
                      <a:pt x="569" y="213"/>
                    </a:lnTo>
                    <a:lnTo>
                      <a:pt x="573" y="218"/>
                    </a:lnTo>
                    <a:lnTo>
                      <a:pt x="576" y="221"/>
                    </a:lnTo>
                    <a:lnTo>
                      <a:pt x="580" y="223"/>
                    </a:lnTo>
                    <a:lnTo>
                      <a:pt x="585" y="226"/>
                    </a:lnTo>
                    <a:lnTo>
                      <a:pt x="589" y="226"/>
                    </a:lnTo>
                    <a:lnTo>
                      <a:pt x="592" y="223"/>
                    </a:lnTo>
                    <a:lnTo>
                      <a:pt x="592" y="223"/>
                    </a:lnTo>
                    <a:close/>
                    <a:moveTo>
                      <a:pt x="684" y="131"/>
                    </a:moveTo>
                    <a:lnTo>
                      <a:pt x="684" y="131"/>
                    </a:lnTo>
                    <a:lnTo>
                      <a:pt x="684" y="128"/>
                    </a:lnTo>
                    <a:lnTo>
                      <a:pt x="681" y="125"/>
                    </a:lnTo>
                    <a:lnTo>
                      <a:pt x="677" y="122"/>
                    </a:lnTo>
                    <a:lnTo>
                      <a:pt x="671" y="121"/>
                    </a:lnTo>
                    <a:lnTo>
                      <a:pt x="663" y="120"/>
                    </a:lnTo>
                    <a:lnTo>
                      <a:pt x="661" y="121"/>
                    </a:lnTo>
                    <a:lnTo>
                      <a:pt x="663" y="122"/>
                    </a:lnTo>
                    <a:lnTo>
                      <a:pt x="663" y="122"/>
                    </a:lnTo>
                    <a:lnTo>
                      <a:pt x="667" y="127"/>
                    </a:lnTo>
                    <a:lnTo>
                      <a:pt x="673" y="132"/>
                    </a:lnTo>
                    <a:lnTo>
                      <a:pt x="676" y="134"/>
                    </a:lnTo>
                    <a:lnTo>
                      <a:pt x="680" y="134"/>
                    </a:lnTo>
                    <a:lnTo>
                      <a:pt x="681" y="134"/>
                    </a:lnTo>
                    <a:lnTo>
                      <a:pt x="684" y="131"/>
                    </a:lnTo>
                    <a:lnTo>
                      <a:pt x="684" y="131"/>
                    </a:lnTo>
                    <a:close/>
                    <a:moveTo>
                      <a:pt x="603" y="292"/>
                    </a:moveTo>
                    <a:lnTo>
                      <a:pt x="603" y="292"/>
                    </a:lnTo>
                    <a:lnTo>
                      <a:pt x="604" y="290"/>
                    </a:lnTo>
                    <a:lnTo>
                      <a:pt x="604" y="287"/>
                    </a:lnTo>
                    <a:lnTo>
                      <a:pt x="602" y="285"/>
                    </a:lnTo>
                    <a:lnTo>
                      <a:pt x="600" y="283"/>
                    </a:lnTo>
                    <a:lnTo>
                      <a:pt x="596" y="282"/>
                    </a:lnTo>
                    <a:lnTo>
                      <a:pt x="593" y="280"/>
                    </a:lnTo>
                    <a:lnTo>
                      <a:pt x="590" y="282"/>
                    </a:lnTo>
                    <a:lnTo>
                      <a:pt x="589" y="285"/>
                    </a:lnTo>
                    <a:lnTo>
                      <a:pt x="589" y="285"/>
                    </a:lnTo>
                    <a:lnTo>
                      <a:pt x="587" y="287"/>
                    </a:lnTo>
                    <a:lnTo>
                      <a:pt x="589" y="290"/>
                    </a:lnTo>
                    <a:lnTo>
                      <a:pt x="590" y="293"/>
                    </a:lnTo>
                    <a:lnTo>
                      <a:pt x="593" y="295"/>
                    </a:lnTo>
                    <a:lnTo>
                      <a:pt x="599" y="295"/>
                    </a:lnTo>
                    <a:lnTo>
                      <a:pt x="602" y="295"/>
                    </a:lnTo>
                    <a:lnTo>
                      <a:pt x="603" y="292"/>
                    </a:lnTo>
                    <a:lnTo>
                      <a:pt x="603" y="292"/>
                    </a:lnTo>
                    <a:close/>
                    <a:moveTo>
                      <a:pt x="684" y="242"/>
                    </a:moveTo>
                    <a:lnTo>
                      <a:pt x="684" y="242"/>
                    </a:lnTo>
                    <a:lnTo>
                      <a:pt x="683" y="245"/>
                    </a:lnTo>
                    <a:lnTo>
                      <a:pt x="681" y="245"/>
                    </a:lnTo>
                    <a:lnTo>
                      <a:pt x="674" y="243"/>
                    </a:lnTo>
                    <a:lnTo>
                      <a:pt x="654" y="236"/>
                    </a:lnTo>
                    <a:lnTo>
                      <a:pt x="654" y="236"/>
                    </a:lnTo>
                    <a:lnTo>
                      <a:pt x="650" y="235"/>
                    </a:lnTo>
                    <a:lnTo>
                      <a:pt x="649" y="236"/>
                    </a:lnTo>
                    <a:lnTo>
                      <a:pt x="647" y="238"/>
                    </a:lnTo>
                    <a:lnTo>
                      <a:pt x="649" y="240"/>
                    </a:lnTo>
                    <a:lnTo>
                      <a:pt x="653" y="248"/>
                    </a:lnTo>
                    <a:lnTo>
                      <a:pt x="659" y="255"/>
                    </a:lnTo>
                    <a:lnTo>
                      <a:pt x="659" y="255"/>
                    </a:lnTo>
                    <a:lnTo>
                      <a:pt x="661" y="258"/>
                    </a:lnTo>
                    <a:lnTo>
                      <a:pt x="663" y="259"/>
                    </a:lnTo>
                    <a:lnTo>
                      <a:pt x="661" y="259"/>
                    </a:lnTo>
                    <a:lnTo>
                      <a:pt x="659" y="259"/>
                    </a:lnTo>
                    <a:lnTo>
                      <a:pt x="650" y="256"/>
                    </a:lnTo>
                    <a:lnTo>
                      <a:pt x="640" y="249"/>
                    </a:lnTo>
                    <a:lnTo>
                      <a:pt x="640" y="249"/>
                    </a:lnTo>
                    <a:lnTo>
                      <a:pt x="636" y="248"/>
                    </a:lnTo>
                    <a:lnTo>
                      <a:pt x="633" y="246"/>
                    </a:lnTo>
                    <a:lnTo>
                      <a:pt x="632" y="248"/>
                    </a:lnTo>
                    <a:lnTo>
                      <a:pt x="630" y="250"/>
                    </a:lnTo>
                    <a:lnTo>
                      <a:pt x="632" y="256"/>
                    </a:lnTo>
                    <a:lnTo>
                      <a:pt x="633" y="259"/>
                    </a:lnTo>
                    <a:lnTo>
                      <a:pt x="634" y="260"/>
                    </a:lnTo>
                    <a:lnTo>
                      <a:pt x="634" y="260"/>
                    </a:lnTo>
                    <a:lnTo>
                      <a:pt x="637" y="263"/>
                    </a:lnTo>
                    <a:lnTo>
                      <a:pt x="637" y="265"/>
                    </a:lnTo>
                    <a:lnTo>
                      <a:pt x="637" y="266"/>
                    </a:lnTo>
                    <a:lnTo>
                      <a:pt x="636" y="268"/>
                    </a:lnTo>
                    <a:lnTo>
                      <a:pt x="633" y="268"/>
                    </a:lnTo>
                    <a:lnTo>
                      <a:pt x="632" y="268"/>
                    </a:lnTo>
                    <a:lnTo>
                      <a:pt x="629" y="265"/>
                    </a:lnTo>
                    <a:lnTo>
                      <a:pt x="624" y="262"/>
                    </a:lnTo>
                    <a:lnTo>
                      <a:pt x="624" y="262"/>
                    </a:lnTo>
                    <a:lnTo>
                      <a:pt x="613" y="246"/>
                    </a:lnTo>
                    <a:lnTo>
                      <a:pt x="607" y="240"/>
                    </a:lnTo>
                    <a:lnTo>
                      <a:pt x="603" y="238"/>
                    </a:lnTo>
                    <a:lnTo>
                      <a:pt x="599" y="238"/>
                    </a:lnTo>
                    <a:lnTo>
                      <a:pt x="599" y="238"/>
                    </a:lnTo>
                    <a:lnTo>
                      <a:pt x="595" y="238"/>
                    </a:lnTo>
                    <a:lnTo>
                      <a:pt x="592" y="239"/>
                    </a:lnTo>
                    <a:lnTo>
                      <a:pt x="590" y="242"/>
                    </a:lnTo>
                    <a:lnTo>
                      <a:pt x="590" y="245"/>
                    </a:lnTo>
                    <a:lnTo>
                      <a:pt x="593" y="252"/>
                    </a:lnTo>
                    <a:lnTo>
                      <a:pt x="596" y="258"/>
                    </a:lnTo>
                    <a:lnTo>
                      <a:pt x="596" y="258"/>
                    </a:lnTo>
                    <a:lnTo>
                      <a:pt x="602" y="263"/>
                    </a:lnTo>
                    <a:lnTo>
                      <a:pt x="607" y="268"/>
                    </a:lnTo>
                    <a:lnTo>
                      <a:pt x="622" y="275"/>
                    </a:lnTo>
                    <a:lnTo>
                      <a:pt x="622" y="275"/>
                    </a:lnTo>
                    <a:lnTo>
                      <a:pt x="627" y="277"/>
                    </a:lnTo>
                    <a:lnTo>
                      <a:pt x="632" y="277"/>
                    </a:lnTo>
                    <a:lnTo>
                      <a:pt x="643" y="276"/>
                    </a:lnTo>
                    <a:lnTo>
                      <a:pt x="653" y="275"/>
                    </a:lnTo>
                    <a:lnTo>
                      <a:pt x="660" y="275"/>
                    </a:lnTo>
                    <a:lnTo>
                      <a:pt x="660" y="275"/>
                    </a:lnTo>
                    <a:lnTo>
                      <a:pt x="663" y="276"/>
                    </a:lnTo>
                    <a:lnTo>
                      <a:pt x="663" y="277"/>
                    </a:lnTo>
                    <a:lnTo>
                      <a:pt x="660" y="283"/>
                    </a:lnTo>
                    <a:lnTo>
                      <a:pt x="656" y="289"/>
                    </a:lnTo>
                    <a:lnTo>
                      <a:pt x="656" y="292"/>
                    </a:lnTo>
                    <a:lnTo>
                      <a:pt x="657" y="295"/>
                    </a:lnTo>
                    <a:lnTo>
                      <a:pt x="657" y="295"/>
                    </a:lnTo>
                    <a:lnTo>
                      <a:pt x="660" y="296"/>
                    </a:lnTo>
                    <a:lnTo>
                      <a:pt x="663" y="297"/>
                    </a:lnTo>
                    <a:lnTo>
                      <a:pt x="671" y="297"/>
                    </a:lnTo>
                    <a:lnTo>
                      <a:pt x="690" y="296"/>
                    </a:lnTo>
                    <a:lnTo>
                      <a:pt x="690" y="296"/>
                    </a:lnTo>
                    <a:lnTo>
                      <a:pt x="694" y="296"/>
                    </a:lnTo>
                    <a:lnTo>
                      <a:pt x="697" y="295"/>
                    </a:lnTo>
                    <a:lnTo>
                      <a:pt x="698" y="292"/>
                    </a:lnTo>
                    <a:lnTo>
                      <a:pt x="700" y="287"/>
                    </a:lnTo>
                    <a:lnTo>
                      <a:pt x="704" y="283"/>
                    </a:lnTo>
                    <a:lnTo>
                      <a:pt x="704" y="283"/>
                    </a:lnTo>
                    <a:lnTo>
                      <a:pt x="705" y="282"/>
                    </a:lnTo>
                    <a:lnTo>
                      <a:pt x="705" y="280"/>
                    </a:lnTo>
                    <a:lnTo>
                      <a:pt x="704" y="277"/>
                    </a:lnTo>
                    <a:lnTo>
                      <a:pt x="701" y="273"/>
                    </a:lnTo>
                    <a:lnTo>
                      <a:pt x="701" y="270"/>
                    </a:lnTo>
                    <a:lnTo>
                      <a:pt x="703" y="266"/>
                    </a:lnTo>
                    <a:lnTo>
                      <a:pt x="703" y="266"/>
                    </a:lnTo>
                    <a:lnTo>
                      <a:pt x="703" y="262"/>
                    </a:lnTo>
                    <a:lnTo>
                      <a:pt x="703" y="256"/>
                    </a:lnTo>
                    <a:lnTo>
                      <a:pt x="700" y="252"/>
                    </a:lnTo>
                    <a:lnTo>
                      <a:pt x="696" y="248"/>
                    </a:lnTo>
                    <a:lnTo>
                      <a:pt x="691" y="243"/>
                    </a:lnTo>
                    <a:lnTo>
                      <a:pt x="688" y="242"/>
                    </a:lnTo>
                    <a:lnTo>
                      <a:pt x="686" y="240"/>
                    </a:lnTo>
                    <a:lnTo>
                      <a:pt x="684" y="242"/>
                    </a:lnTo>
                    <a:lnTo>
                      <a:pt x="684" y="242"/>
                    </a:lnTo>
                    <a:close/>
                    <a:moveTo>
                      <a:pt x="714" y="201"/>
                    </a:moveTo>
                    <a:lnTo>
                      <a:pt x="714" y="201"/>
                    </a:lnTo>
                    <a:lnTo>
                      <a:pt x="728" y="199"/>
                    </a:lnTo>
                    <a:lnTo>
                      <a:pt x="742" y="195"/>
                    </a:lnTo>
                    <a:lnTo>
                      <a:pt x="742" y="195"/>
                    </a:lnTo>
                    <a:lnTo>
                      <a:pt x="745" y="194"/>
                    </a:lnTo>
                    <a:lnTo>
                      <a:pt x="744" y="191"/>
                    </a:lnTo>
                    <a:lnTo>
                      <a:pt x="742" y="188"/>
                    </a:lnTo>
                    <a:lnTo>
                      <a:pt x="742" y="186"/>
                    </a:lnTo>
                    <a:lnTo>
                      <a:pt x="744" y="184"/>
                    </a:lnTo>
                    <a:lnTo>
                      <a:pt x="744" y="184"/>
                    </a:lnTo>
                    <a:lnTo>
                      <a:pt x="745" y="181"/>
                    </a:lnTo>
                    <a:lnTo>
                      <a:pt x="744" y="178"/>
                    </a:lnTo>
                    <a:lnTo>
                      <a:pt x="741" y="176"/>
                    </a:lnTo>
                    <a:lnTo>
                      <a:pt x="738" y="176"/>
                    </a:lnTo>
                    <a:lnTo>
                      <a:pt x="731" y="175"/>
                    </a:lnTo>
                    <a:lnTo>
                      <a:pt x="727" y="176"/>
                    </a:lnTo>
                    <a:lnTo>
                      <a:pt x="727" y="176"/>
                    </a:lnTo>
                    <a:lnTo>
                      <a:pt x="725" y="176"/>
                    </a:lnTo>
                    <a:lnTo>
                      <a:pt x="721" y="175"/>
                    </a:lnTo>
                    <a:lnTo>
                      <a:pt x="711" y="171"/>
                    </a:lnTo>
                    <a:lnTo>
                      <a:pt x="700" y="165"/>
                    </a:lnTo>
                    <a:lnTo>
                      <a:pt x="696" y="165"/>
                    </a:lnTo>
                    <a:lnTo>
                      <a:pt x="693" y="167"/>
                    </a:lnTo>
                    <a:lnTo>
                      <a:pt x="693" y="167"/>
                    </a:lnTo>
                    <a:lnTo>
                      <a:pt x="693" y="169"/>
                    </a:lnTo>
                    <a:lnTo>
                      <a:pt x="693" y="175"/>
                    </a:lnTo>
                    <a:lnTo>
                      <a:pt x="698" y="186"/>
                    </a:lnTo>
                    <a:lnTo>
                      <a:pt x="701" y="192"/>
                    </a:lnTo>
                    <a:lnTo>
                      <a:pt x="705" y="196"/>
                    </a:lnTo>
                    <a:lnTo>
                      <a:pt x="710" y="199"/>
                    </a:lnTo>
                    <a:lnTo>
                      <a:pt x="714" y="201"/>
                    </a:lnTo>
                    <a:lnTo>
                      <a:pt x="714" y="201"/>
                    </a:lnTo>
                    <a:close/>
                    <a:moveTo>
                      <a:pt x="771" y="203"/>
                    </a:moveTo>
                    <a:lnTo>
                      <a:pt x="771" y="203"/>
                    </a:lnTo>
                    <a:lnTo>
                      <a:pt x="768" y="203"/>
                    </a:lnTo>
                    <a:lnTo>
                      <a:pt x="762" y="202"/>
                    </a:lnTo>
                    <a:lnTo>
                      <a:pt x="744" y="205"/>
                    </a:lnTo>
                    <a:lnTo>
                      <a:pt x="728" y="208"/>
                    </a:lnTo>
                    <a:lnTo>
                      <a:pt x="724" y="211"/>
                    </a:lnTo>
                    <a:lnTo>
                      <a:pt x="724" y="212"/>
                    </a:lnTo>
                    <a:lnTo>
                      <a:pt x="724" y="212"/>
                    </a:lnTo>
                    <a:lnTo>
                      <a:pt x="724" y="212"/>
                    </a:lnTo>
                    <a:lnTo>
                      <a:pt x="731" y="215"/>
                    </a:lnTo>
                    <a:lnTo>
                      <a:pt x="738" y="216"/>
                    </a:lnTo>
                    <a:lnTo>
                      <a:pt x="745" y="216"/>
                    </a:lnTo>
                    <a:lnTo>
                      <a:pt x="754" y="213"/>
                    </a:lnTo>
                    <a:lnTo>
                      <a:pt x="767" y="209"/>
                    </a:lnTo>
                    <a:lnTo>
                      <a:pt x="771" y="206"/>
                    </a:lnTo>
                    <a:lnTo>
                      <a:pt x="771" y="203"/>
                    </a:lnTo>
                    <a:lnTo>
                      <a:pt x="771" y="203"/>
                    </a:lnTo>
                    <a:close/>
                    <a:moveTo>
                      <a:pt x="764" y="307"/>
                    </a:moveTo>
                    <a:lnTo>
                      <a:pt x="764" y="307"/>
                    </a:lnTo>
                    <a:lnTo>
                      <a:pt x="768" y="307"/>
                    </a:lnTo>
                    <a:lnTo>
                      <a:pt x="769" y="305"/>
                    </a:lnTo>
                    <a:lnTo>
                      <a:pt x="771" y="302"/>
                    </a:lnTo>
                    <a:lnTo>
                      <a:pt x="769" y="299"/>
                    </a:lnTo>
                    <a:lnTo>
                      <a:pt x="768" y="295"/>
                    </a:lnTo>
                    <a:lnTo>
                      <a:pt x="765" y="289"/>
                    </a:lnTo>
                    <a:lnTo>
                      <a:pt x="755" y="280"/>
                    </a:lnTo>
                    <a:lnTo>
                      <a:pt x="755" y="280"/>
                    </a:lnTo>
                    <a:lnTo>
                      <a:pt x="750" y="279"/>
                    </a:lnTo>
                    <a:lnTo>
                      <a:pt x="742" y="279"/>
                    </a:lnTo>
                    <a:lnTo>
                      <a:pt x="735" y="280"/>
                    </a:lnTo>
                    <a:lnTo>
                      <a:pt x="728" y="283"/>
                    </a:lnTo>
                    <a:lnTo>
                      <a:pt x="721" y="287"/>
                    </a:lnTo>
                    <a:lnTo>
                      <a:pt x="717" y="290"/>
                    </a:lnTo>
                    <a:lnTo>
                      <a:pt x="715" y="295"/>
                    </a:lnTo>
                    <a:lnTo>
                      <a:pt x="714" y="296"/>
                    </a:lnTo>
                    <a:lnTo>
                      <a:pt x="715" y="296"/>
                    </a:lnTo>
                    <a:lnTo>
                      <a:pt x="715" y="296"/>
                    </a:lnTo>
                    <a:lnTo>
                      <a:pt x="724" y="300"/>
                    </a:lnTo>
                    <a:lnTo>
                      <a:pt x="737" y="305"/>
                    </a:lnTo>
                    <a:lnTo>
                      <a:pt x="751" y="307"/>
                    </a:lnTo>
                    <a:lnTo>
                      <a:pt x="764" y="307"/>
                    </a:lnTo>
                    <a:lnTo>
                      <a:pt x="764" y="307"/>
                    </a:lnTo>
                    <a:close/>
                    <a:moveTo>
                      <a:pt x="673" y="407"/>
                    </a:moveTo>
                    <a:lnTo>
                      <a:pt x="673" y="407"/>
                    </a:lnTo>
                    <a:lnTo>
                      <a:pt x="677" y="410"/>
                    </a:lnTo>
                    <a:lnTo>
                      <a:pt x="681" y="411"/>
                    </a:lnTo>
                    <a:lnTo>
                      <a:pt x="684" y="410"/>
                    </a:lnTo>
                    <a:lnTo>
                      <a:pt x="686" y="407"/>
                    </a:lnTo>
                    <a:lnTo>
                      <a:pt x="691" y="403"/>
                    </a:lnTo>
                    <a:lnTo>
                      <a:pt x="696" y="400"/>
                    </a:lnTo>
                    <a:lnTo>
                      <a:pt x="701" y="400"/>
                    </a:lnTo>
                    <a:lnTo>
                      <a:pt x="701" y="400"/>
                    </a:lnTo>
                    <a:lnTo>
                      <a:pt x="707" y="398"/>
                    </a:lnTo>
                    <a:lnTo>
                      <a:pt x="711" y="396"/>
                    </a:lnTo>
                    <a:lnTo>
                      <a:pt x="715" y="390"/>
                    </a:lnTo>
                    <a:lnTo>
                      <a:pt x="717" y="384"/>
                    </a:lnTo>
                    <a:lnTo>
                      <a:pt x="720" y="371"/>
                    </a:lnTo>
                    <a:lnTo>
                      <a:pt x="723" y="360"/>
                    </a:lnTo>
                    <a:lnTo>
                      <a:pt x="723" y="360"/>
                    </a:lnTo>
                    <a:lnTo>
                      <a:pt x="723" y="357"/>
                    </a:lnTo>
                    <a:lnTo>
                      <a:pt x="721" y="354"/>
                    </a:lnTo>
                    <a:lnTo>
                      <a:pt x="720" y="353"/>
                    </a:lnTo>
                    <a:lnTo>
                      <a:pt x="717" y="353"/>
                    </a:lnTo>
                    <a:lnTo>
                      <a:pt x="714" y="353"/>
                    </a:lnTo>
                    <a:lnTo>
                      <a:pt x="713" y="354"/>
                    </a:lnTo>
                    <a:lnTo>
                      <a:pt x="711" y="356"/>
                    </a:lnTo>
                    <a:lnTo>
                      <a:pt x="713" y="359"/>
                    </a:lnTo>
                    <a:lnTo>
                      <a:pt x="713" y="359"/>
                    </a:lnTo>
                    <a:lnTo>
                      <a:pt x="714" y="364"/>
                    </a:lnTo>
                    <a:lnTo>
                      <a:pt x="714" y="369"/>
                    </a:lnTo>
                    <a:lnTo>
                      <a:pt x="713" y="369"/>
                    </a:lnTo>
                    <a:lnTo>
                      <a:pt x="711" y="369"/>
                    </a:lnTo>
                    <a:lnTo>
                      <a:pt x="710" y="364"/>
                    </a:lnTo>
                    <a:lnTo>
                      <a:pt x="710" y="364"/>
                    </a:lnTo>
                    <a:lnTo>
                      <a:pt x="710" y="363"/>
                    </a:lnTo>
                    <a:lnTo>
                      <a:pt x="707" y="361"/>
                    </a:lnTo>
                    <a:lnTo>
                      <a:pt x="701" y="360"/>
                    </a:lnTo>
                    <a:lnTo>
                      <a:pt x="696" y="360"/>
                    </a:lnTo>
                    <a:lnTo>
                      <a:pt x="693" y="359"/>
                    </a:lnTo>
                    <a:lnTo>
                      <a:pt x="690" y="357"/>
                    </a:lnTo>
                    <a:lnTo>
                      <a:pt x="690" y="357"/>
                    </a:lnTo>
                    <a:lnTo>
                      <a:pt x="690" y="354"/>
                    </a:lnTo>
                    <a:lnTo>
                      <a:pt x="691" y="353"/>
                    </a:lnTo>
                    <a:lnTo>
                      <a:pt x="697" y="349"/>
                    </a:lnTo>
                    <a:lnTo>
                      <a:pt x="705" y="346"/>
                    </a:lnTo>
                    <a:lnTo>
                      <a:pt x="708" y="343"/>
                    </a:lnTo>
                    <a:lnTo>
                      <a:pt x="711" y="340"/>
                    </a:lnTo>
                    <a:lnTo>
                      <a:pt x="711" y="340"/>
                    </a:lnTo>
                    <a:lnTo>
                      <a:pt x="711" y="337"/>
                    </a:lnTo>
                    <a:lnTo>
                      <a:pt x="711" y="334"/>
                    </a:lnTo>
                    <a:lnTo>
                      <a:pt x="705" y="332"/>
                    </a:lnTo>
                    <a:lnTo>
                      <a:pt x="700" y="329"/>
                    </a:lnTo>
                    <a:lnTo>
                      <a:pt x="698" y="327"/>
                    </a:lnTo>
                    <a:lnTo>
                      <a:pt x="700" y="324"/>
                    </a:lnTo>
                    <a:lnTo>
                      <a:pt x="700" y="324"/>
                    </a:lnTo>
                    <a:lnTo>
                      <a:pt x="700" y="324"/>
                    </a:lnTo>
                    <a:lnTo>
                      <a:pt x="700" y="323"/>
                    </a:lnTo>
                    <a:lnTo>
                      <a:pt x="697" y="322"/>
                    </a:lnTo>
                    <a:lnTo>
                      <a:pt x="687" y="323"/>
                    </a:lnTo>
                    <a:lnTo>
                      <a:pt x="678" y="326"/>
                    </a:lnTo>
                    <a:lnTo>
                      <a:pt x="677" y="329"/>
                    </a:lnTo>
                    <a:lnTo>
                      <a:pt x="678" y="330"/>
                    </a:lnTo>
                    <a:lnTo>
                      <a:pt x="678" y="330"/>
                    </a:lnTo>
                    <a:lnTo>
                      <a:pt x="683" y="332"/>
                    </a:lnTo>
                    <a:lnTo>
                      <a:pt x="683" y="333"/>
                    </a:lnTo>
                    <a:lnTo>
                      <a:pt x="683" y="334"/>
                    </a:lnTo>
                    <a:lnTo>
                      <a:pt x="683" y="336"/>
                    </a:lnTo>
                    <a:lnTo>
                      <a:pt x="677" y="336"/>
                    </a:lnTo>
                    <a:lnTo>
                      <a:pt x="673" y="334"/>
                    </a:lnTo>
                    <a:lnTo>
                      <a:pt x="670" y="333"/>
                    </a:lnTo>
                    <a:lnTo>
                      <a:pt x="670" y="333"/>
                    </a:lnTo>
                    <a:lnTo>
                      <a:pt x="666" y="332"/>
                    </a:lnTo>
                    <a:lnTo>
                      <a:pt x="660" y="330"/>
                    </a:lnTo>
                    <a:lnTo>
                      <a:pt x="654" y="332"/>
                    </a:lnTo>
                    <a:lnTo>
                      <a:pt x="649" y="333"/>
                    </a:lnTo>
                    <a:lnTo>
                      <a:pt x="644" y="336"/>
                    </a:lnTo>
                    <a:lnTo>
                      <a:pt x="641" y="339"/>
                    </a:lnTo>
                    <a:lnTo>
                      <a:pt x="640" y="343"/>
                    </a:lnTo>
                    <a:lnTo>
                      <a:pt x="641" y="346"/>
                    </a:lnTo>
                    <a:lnTo>
                      <a:pt x="641" y="346"/>
                    </a:lnTo>
                    <a:lnTo>
                      <a:pt x="646" y="347"/>
                    </a:lnTo>
                    <a:lnTo>
                      <a:pt x="650" y="349"/>
                    </a:lnTo>
                    <a:lnTo>
                      <a:pt x="659" y="349"/>
                    </a:lnTo>
                    <a:lnTo>
                      <a:pt x="663" y="349"/>
                    </a:lnTo>
                    <a:lnTo>
                      <a:pt x="664" y="350"/>
                    </a:lnTo>
                    <a:lnTo>
                      <a:pt x="663" y="354"/>
                    </a:lnTo>
                    <a:lnTo>
                      <a:pt x="660" y="360"/>
                    </a:lnTo>
                    <a:lnTo>
                      <a:pt x="660" y="360"/>
                    </a:lnTo>
                    <a:lnTo>
                      <a:pt x="656" y="364"/>
                    </a:lnTo>
                    <a:lnTo>
                      <a:pt x="651" y="367"/>
                    </a:lnTo>
                    <a:lnTo>
                      <a:pt x="647" y="367"/>
                    </a:lnTo>
                    <a:lnTo>
                      <a:pt x="643" y="364"/>
                    </a:lnTo>
                    <a:lnTo>
                      <a:pt x="636" y="359"/>
                    </a:lnTo>
                    <a:lnTo>
                      <a:pt x="633" y="357"/>
                    </a:lnTo>
                    <a:lnTo>
                      <a:pt x="627" y="357"/>
                    </a:lnTo>
                    <a:lnTo>
                      <a:pt x="627" y="357"/>
                    </a:lnTo>
                    <a:lnTo>
                      <a:pt x="624" y="359"/>
                    </a:lnTo>
                    <a:lnTo>
                      <a:pt x="622" y="361"/>
                    </a:lnTo>
                    <a:lnTo>
                      <a:pt x="622" y="364"/>
                    </a:lnTo>
                    <a:lnTo>
                      <a:pt x="622" y="367"/>
                    </a:lnTo>
                    <a:lnTo>
                      <a:pt x="624" y="371"/>
                    </a:lnTo>
                    <a:lnTo>
                      <a:pt x="629" y="374"/>
                    </a:lnTo>
                    <a:lnTo>
                      <a:pt x="633" y="378"/>
                    </a:lnTo>
                    <a:lnTo>
                      <a:pt x="640" y="380"/>
                    </a:lnTo>
                    <a:lnTo>
                      <a:pt x="640" y="380"/>
                    </a:lnTo>
                    <a:lnTo>
                      <a:pt x="646" y="383"/>
                    </a:lnTo>
                    <a:lnTo>
                      <a:pt x="651" y="386"/>
                    </a:lnTo>
                    <a:lnTo>
                      <a:pt x="657" y="393"/>
                    </a:lnTo>
                    <a:lnTo>
                      <a:pt x="664" y="400"/>
                    </a:lnTo>
                    <a:lnTo>
                      <a:pt x="667" y="404"/>
                    </a:lnTo>
                    <a:lnTo>
                      <a:pt x="673" y="407"/>
                    </a:lnTo>
                    <a:lnTo>
                      <a:pt x="673" y="407"/>
                    </a:lnTo>
                    <a:close/>
                    <a:moveTo>
                      <a:pt x="788" y="293"/>
                    </a:moveTo>
                    <a:lnTo>
                      <a:pt x="788" y="293"/>
                    </a:lnTo>
                    <a:lnTo>
                      <a:pt x="791" y="297"/>
                    </a:lnTo>
                    <a:lnTo>
                      <a:pt x="792" y="300"/>
                    </a:lnTo>
                    <a:lnTo>
                      <a:pt x="795" y="302"/>
                    </a:lnTo>
                    <a:lnTo>
                      <a:pt x="797" y="302"/>
                    </a:lnTo>
                    <a:lnTo>
                      <a:pt x="801" y="302"/>
                    </a:lnTo>
                    <a:lnTo>
                      <a:pt x="804" y="302"/>
                    </a:lnTo>
                    <a:lnTo>
                      <a:pt x="806" y="303"/>
                    </a:lnTo>
                    <a:lnTo>
                      <a:pt x="806" y="303"/>
                    </a:lnTo>
                    <a:lnTo>
                      <a:pt x="814" y="307"/>
                    </a:lnTo>
                    <a:lnTo>
                      <a:pt x="821" y="310"/>
                    </a:lnTo>
                    <a:lnTo>
                      <a:pt x="828" y="310"/>
                    </a:lnTo>
                    <a:lnTo>
                      <a:pt x="831" y="309"/>
                    </a:lnTo>
                    <a:lnTo>
                      <a:pt x="834" y="307"/>
                    </a:lnTo>
                    <a:lnTo>
                      <a:pt x="834" y="307"/>
                    </a:lnTo>
                    <a:lnTo>
                      <a:pt x="841" y="300"/>
                    </a:lnTo>
                    <a:lnTo>
                      <a:pt x="843" y="300"/>
                    </a:lnTo>
                    <a:lnTo>
                      <a:pt x="845" y="302"/>
                    </a:lnTo>
                    <a:lnTo>
                      <a:pt x="845" y="302"/>
                    </a:lnTo>
                    <a:lnTo>
                      <a:pt x="846" y="305"/>
                    </a:lnTo>
                    <a:lnTo>
                      <a:pt x="849" y="307"/>
                    </a:lnTo>
                    <a:lnTo>
                      <a:pt x="861" y="310"/>
                    </a:lnTo>
                    <a:lnTo>
                      <a:pt x="876" y="312"/>
                    </a:lnTo>
                    <a:lnTo>
                      <a:pt x="898" y="312"/>
                    </a:lnTo>
                    <a:lnTo>
                      <a:pt x="898" y="312"/>
                    </a:lnTo>
                    <a:lnTo>
                      <a:pt x="909" y="312"/>
                    </a:lnTo>
                    <a:lnTo>
                      <a:pt x="916" y="310"/>
                    </a:lnTo>
                    <a:lnTo>
                      <a:pt x="922" y="309"/>
                    </a:lnTo>
                    <a:lnTo>
                      <a:pt x="925" y="306"/>
                    </a:lnTo>
                    <a:lnTo>
                      <a:pt x="929" y="303"/>
                    </a:lnTo>
                    <a:lnTo>
                      <a:pt x="930" y="303"/>
                    </a:lnTo>
                    <a:lnTo>
                      <a:pt x="933" y="303"/>
                    </a:lnTo>
                    <a:lnTo>
                      <a:pt x="933" y="303"/>
                    </a:lnTo>
                    <a:lnTo>
                      <a:pt x="943" y="307"/>
                    </a:lnTo>
                    <a:lnTo>
                      <a:pt x="954" y="309"/>
                    </a:lnTo>
                    <a:lnTo>
                      <a:pt x="967" y="309"/>
                    </a:lnTo>
                    <a:lnTo>
                      <a:pt x="976" y="307"/>
                    </a:lnTo>
                    <a:lnTo>
                      <a:pt x="976" y="307"/>
                    </a:lnTo>
                    <a:lnTo>
                      <a:pt x="980" y="306"/>
                    </a:lnTo>
                    <a:lnTo>
                      <a:pt x="983" y="303"/>
                    </a:lnTo>
                    <a:lnTo>
                      <a:pt x="987" y="296"/>
                    </a:lnTo>
                    <a:lnTo>
                      <a:pt x="990" y="289"/>
                    </a:lnTo>
                    <a:lnTo>
                      <a:pt x="990" y="282"/>
                    </a:lnTo>
                    <a:lnTo>
                      <a:pt x="990" y="282"/>
                    </a:lnTo>
                    <a:lnTo>
                      <a:pt x="990" y="280"/>
                    </a:lnTo>
                    <a:lnTo>
                      <a:pt x="987" y="279"/>
                    </a:lnTo>
                    <a:lnTo>
                      <a:pt x="979" y="276"/>
                    </a:lnTo>
                    <a:lnTo>
                      <a:pt x="966" y="275"/>
                    </a:lnTo>
                    <a:lnTo>
                      <a:pt x="950" y="273"/>
                    </a:lnTo>
                    <a:lnTo>
                      <a:pt x="935" y="272"/>
                    </a:lnTo>
                    <a:lnTo>
                      <a:pt x="920" y="272"/>
                    </a:lnTo>
                    <a:lnTo>
                      <a:pt x="907" y="273"/>
                    </a:lnTo>
                    <a:lnTo>
                      <a:pt x="900" y="275"/>
                    </a:lnTo>
                    <a:lnTo>
                      <a:pt x="900" y="275"/>
                    </a:lnTo>
                    <a:lnTo>
                      <a:pt x="895" y="277"/>
                    </a:lnTo>
                    <a:lnTo>
                      <a:pt x="889" y="277"/>
                    </a:lnTo>
                    <a:lnTo>
                      <a:pt x="876" y="277"/>
                    </a:lnTo>
                    <a:lnTo>
                      <a:pt x="865" y="276"/>
                    </a:lnTo>
                    <a:lnTo>
                      <a:pt x="859" y="276"/>
                    </a:lnTo>
                    <a:lnTo>
                      <a:pt x="855" y="277"/>
                    </a:lnTo>
                    <a:lnTo>
                      <a:pt x="855" y="277"/>
                    </a:lnTo>
                    <a:lnTo>
                      <a:pt x="851" y="279"/>
                    </a:lnTo>
                    <a:lnTo>
                      <a:pt x="849" y="279"/>
                    </a:lnTo>
                    <a:lnTo>
                      <a:pt x="845" y="276"/>
                    </a:lnTo>
                    <a:lnTo>
                      <a:pt x="839" y="272"/>
                    </a:lnTo>
                    <a:lnTo>
                      <a:pt x="835" y="270"/>
                    </a:lnTo>
                    <a:lnTo>
                      <a:pt x="828" y="269"/>
                    </a:lnTo>
                    <a:lnTo>
                      <a:pt x="828" y="269"/>
                    </a:lnTo>
                    <a:lnTo>
                      <a:pt x="824" y="269"/>
                    </a:lnTo>
                    <a:lnTo>
                      <a:pt x="821" y="268"/>
                    </a:lnTo>
                    <a:lnTo>
                      <a:pt x="821" y="266"/>
                    </a:lnTo>
                    <a:lnTo>
                      <a:pt x="822" y="263"/>
                    </a:lnTo>
                    <a:lnTo>
                      <a:pt x="834" y="255"/>
                    </a:lnTo>
                    <a:lnTo>
                      <a:pt x="834" y="255"/>
                    </a:lnTo>
                    <a:lnTo>
                      <a:pt x="834" y="253"/>
                    </a:lnTo>
                    <a:lnTo>
                      <a:pt x="831" y="250"/>
                    </a:lnTo>
                    <a:lnTo>
                      <a:pt x="818" y="246"/>
                    </a:lnTo>
                    <a:lnTo>
                      <a:pt x="804" y="242"/>
                    </a:lnTo>
                    <a:lnTo>
                      <a:pt x="797" y="242"/>
                    </a:lnTo>
                    <a:lnTo>
                      <a:pt x="791" y="242"/>
                    </a:lnTo>
                    <a:lnTo>
                      <a:pt x="791" y="242"/>
                    </a:lnTo>
                    <a:lnTo>
                      <a:pt x="781" y="242"/>
                    </a:lnTo>
                    <a:lnTo>
                      <a:pt x="774" y="240"/>
                    </a:lnTo>
                    <a:lnTo>
                      <a:pt x="757" y="232"/>
                    </a:lnTo>
                    <a:lnTo>
                      <a:pt x="757" y="232"/>
                    </a:lnTo>
                    <a:lnTo>
                      <a:pt x="751" y="231"/>
                    </a:lnTo>
                    <a:lnTo>
                      <a:pt x="744" y="229"/>
                    </a:lnTo>
                    <a:lnTo>
                      <a:pt x="728" y="229"/>
                    </a:lnTo>
                    <a:lnTo>
                      <a:pt x="723" y="229"/>
                    </a:lnTo>
                    <a:lnTo>
                      <a:pt x="717" y="232"/>
                    </a:lnTo>
                    <a:lnTo>
                      <a:pt x="715" y="235"/>
                    </a:lnTo>
                    <a:lnTo>
                      <a:pt x="715" y="238"/>
                    </a:lnTo>
                    <a:lnTo>
                      <a:pt x="715" y="238"/>
                    </a:lnTo>
                    <a:lnTo>
                      <a:pt x="720" y="240"/>
                    </a:lnTo>
                    <a:lnTo>
                      <a:pt x="725" y="243"/>
                    </a:lnTo>
                    <a:lnTo>
                      <a:pt x="741" y="250"/>
                    </a:lnTo>
                    <a:lnTo>
                      <a:pt x="758" y="255"/>
                    </a:lnTo>
                    <a:lnTo>
                      <a:pt x="764" y="255"/>
                    </a:lnTo>
                    <a:lnTo>
                      <a:pt x="767" y="252"/>
                    </a:lnTo>
                    <a:lnTo>
                      <a:pt x="767" y="252"/>
                    </a:lnTo>
                    <a:lnTo>
                      <a:pt x="768" y="250"/>
                    </a:lnTo>
                    <a:lnTo>
                      <a:pt x="771" y="250"/>
                    </a:lnTo>
                    <a:lnTo>
                      <a:pt x="777" y="255"/>
                    </a:lnTo>
                    <a:lnTo>
                      <a:pt x="788" y="269"/>
                    </a:lnTo>
                    <a:lnTo>
                      <a:pt x="788" y="269"/>
                    </a:lnTo>
                    <a:lnTo>
                      <a:pt x="789" y="272"/>
                    </a:lnTo>
                    <a:lnTo>
                      <a:pt x="789" y="275"/>
                    </a:lnTo>
                    <a:lnTo>
                      <a:pt x="788" y="279"/>
                    </a:lnTo>
                    <a:lnTo>
                      <a:pt x="787" y="285"/>
                    </a:lnTo>
                    <a:lnTo>
                      <a:pt x="788" y="289"/>
                    </a:lnTo>
                    <a:lnTo>
                      <a:pt x="788" y="293"/>
                    </a:lnTo>
                    <a:lnTo>
                      <a:pt x="788" y="293"/>
                    </a:lnTo>
                    <a:close/>
                    <a:moveTo>
                      <a:pt x="825" y="209"/>
                    </a:moveTo>
                    <a:lnTo>
                      <a:pt x="825" y="209"/>
                    </a:lnTo>
                    <a:lnTo>
                      <a:pt x="819" y="208"/>
                    </a:lnTo>
                    <a:lnTo>
                      <a:pt x="815" y="208"/>
                    </a:lnTo>
                    <a:lnTo>
                      <a:pt x="811" y="209"/>
                    </a:lnTo>
                    <a:lnTo>
                      <a:pt x="806" y="212"/>
                    </a:lnTo>
                    <a:lnTo>
                      <a:pt x="805" y="215"/>
                    </a:lnTo>
                    <a:lnTo>
                      <a:pt x="804" y="216"/>
                    </a:lnTo>
                    <a:lnTo>
                      <a:pt x="805" y="219"/>
                    </a:lnTo>
                    <a:lnTo>
                      <a:pt x="809" y="222"/>
                    </a:lnTo>
                    <a:lnTo>
                      <a:pt x="809" y="222"/>
                    </a:lnTo>
                    <a:lnTo>
                      <a:pt x="814" y="223"/>
                    </a:lnTo>
                    <a:lnTo>
                      <a:pt x="818" y="222"/>
                    </a:lnTo>
                    <a:lnTo>
                      <a:pt x="822" y="222"/>
                    </a:lnTo>
                    <a:lnTo>
                      <a:pt x="826" y="219"/>
                    </a:lnTo>
                    <a:lnTo>
                      <a:pt x="828" y="218"/>
                    </a:lnTo>
                    <a:lnTo>
                      <a:pt x="829" y="215"/>
                    </a:lnTo>
                    <a:lnTo>
                      <a:pt x="828" y="212"/>
                    </a:lnTo>
                    <a:lnTo>
                      <a:pt x="825" y="209"/>
                    </a:lnTo>
                    <a:lnTo>
                      <a:pt x="825" y="209"/>
                    </a:lnTo>
                    <a:close/>
                    <a:moveTo>
                      <a:pt x="723" y="130"/>
                    </a:moveTo>
                    <a:lnTo>
                      <a:pt x="723" y="130"/>
                    </a:lnTo>
                    <a:lnTo>
                      <a:pt x="725" y="132"/>
                    </a:lnTo>
                    <a:lnTo>
                      <a:pt x="728" y="134"/>
                    </a:lnTo>
                    <a:lnTo>
                      <a:pt x="730" y="138"/>
                    </a:lnTo>
                    <a:lnTo>
                      <a:pt x="733" y="144"/>
                    </a:lnTo>
                    <a:lnTo>
                      <a:pt x="734" y="145"/>
                    </a:lnTo>
                    <a:lnTo>
                      <a:pt x="738" y="147"/>
                    </a:lnTo>
                    <a:lnTo>
                      <a:pt x="738" y="147"/>
                    </a:lnTo>
                    <a:lnTo>
                      <a:pt x="742" y="148"/>
                    </a:lnTo>
                    <a:lnTo>
                      <a:pt x="750" y="148"/>
                    </a:lnTo>
                    <a:lnTo>
                      <a:pt x="765" y="147"/>
                    </a:lnTo>
                    <a:lnTo>
                      <a:pt x="778" y="145"/>
                    </a:lnTo>
                    <a:lnTo>
                      <a:pt x="782" y="147"/>
                    </a:lnTo>
                    <a:lnTo>
                      <a:pt x="785" y="148"/>
                    </a:lnTo>
                    <a:lnTo>
                      <a:pt x="785" y="148"/>
                    </a:lnTo>
                    <a:lnTo>
                      <a:pt x="784" y="151"/>
                    </a:lnTo>
                    <a:lnTo>
                      <a:pt x="781" y="154"/>
                    </a:lnTo>
                    <a:lnTo>
                      <a:pt x="769" y="157"/>
                    </a:lnTo>
                    <a:lnTo>
                      <a:pt x="760" y="159"/>
                    </a:lnTo>
                    <a:lnTo>
                      <a:pt x="757" y="161"/>
                    </a:lnTo>
                    <a:lnTo>
                      <a:pt x="757" y="161"/>
                    </a:lnTo>
                    <a:lnTo>
                      <a:pt x="757" y="162"/>
                    </a:lnTo>
                    <a:lnTo>
                      <a:pt x="757" y="162"/>
                    </a:lnTo>
                    <a:lnTo>
                      <a:pt x="762" y="167"/>
                    </a:lnTo>
                    <a:lnTo>
                      <a:pt x="771" y="171"/>
                    </a:lnTo>
                    <a:lnTo>
                      <a:pt x="778" y="175"/>
                    </a:lnTo>
                    <a:lnTo>
                      <a:pt x="779" y="178"/>
                    </a:lnTo>
                    <a:lnTo>
                      <a:pt x="779" y="179"/>
                    </a:lnTo>
                    <a:lnTo>
                      <a:pt x="779" y="179"/>
                    </a:lnTo>
                    <a:lnTo>
                      <a:pt x="779" y="181"/>
                    </a:lnTo>
                    <a:lnTo>
                      <a:pt x="784" y="184"/>
                    </a:lnTo>
                    <a:lnTo>
                      <a:pt x="795" y="188"/>
                    </a:lnTo>
                    <a:lnTo>
                      <a:pt x="809" y="191"/>
                    </a:lnTo>
                    <a:lnTo>
                      <a:pt x="814" y="191"/>
                    </a:lnTo>
                    <a:lnTo>
                      <a:pt x="816" y="189"/>
                    </a:lnTo>
                    <a:lnTo>
                      <a:pt x="816" y="189"/>
                    </a:lnTo>
                    <a:lnTo>
                      <a:pt x="821" y="186"/>
                    </a:lnTo>
                    <a:lnTo>
                      <a:pt x="826" y="186"/>
                    </a:lnTo>
                    <a:lnTo>
                      <a:pt x="832" y="186"/>
                    </a:lnTo>
                    <a:lnTo>
                      <a:pt x="839" y="189"/>
                    </a:lnTo>
                    <a:lnTo>
                      <a:pt x="839" y="189"/>
                    </a:lnTo>
                    <a:lnTo>
                      <a:pt x="843" y="189"/>
                    </a:lnTo>
                    <a:lnTo>
                      <a:pt x="845" y="188"/>
                    </a:lnTo>
                    <a:lnTo>
                      <a:pt x="849" y="179"/>
                    </a:lnTo>
                    <a:lnTo>
                      <a:pt x="852" y="172"/>
                    </a:lnTo>
                    <a:lnTo>
                      <a:pt x="853" y="171"/>
                    </a:lnTo>
                    <a:lnTo>
                      <a:pt x="856" y="171"/>
                    </a:lnTo>
                    <a:lnTo>
                      <a:pt x="856" y="171"/>
                    </a:lnTo>
                    <a:lnTo>
                      <a:pt x="858" y="172"/>
                    </a:lnTo>
                    <a:lnTo>
                      <a:pt x="859" y="172"/>
                    </a:lnTo>
                    <a:lnTo>
                      <a:pt x="862" y="168"/>
                    </a:lnTo>
                    <a:lnTo>
                      <a:pt x="866" y="162"/>
                    </a:lnTo>
                    <a:lnTo>
                      <a:pt x="869" y="159"/>
                    </a:lnTo>
                    <a:lnTo>
                      <a:pt x="872" y="158"/>
                    </a:lnTo>
                    <a:lnTo>
                      <a:pt x="872" y="158"/>
                    </a:lnTo>
                    <a:lnTo>
                      <a:pt x="880" y="155"/>
                    </a:lnTo>
                    <a:lnTo>
                      <a:pt x="889" y="154"/>
                    </a:lnTo>
                    <a:lnTo>
                      <a:pt x="896" y="151"/>
                    </a:lnTo>
                    <a:lnTo>
                      <a:pt x="899" y="151"/>
                    </a:lnTo>
                    <a:lnTo>
                      <a:pt x="899" y="148"/>
                    </a:lnTo>
                    <a:lnTo>
                      <a:pt x="899" y="148"/>
                    </a:lnTo>
                    <a:lnTo>
                      <a:pt x="899" y="145"/>
                    </a:lnTo>
                    <a:lnTo>
                      <a:pt x="896" y="144"/>
                    </a:lnTo>
                    <a:lnTo>
                      <a:pt x="892" y="141"/>
                    </a:lnTo>
                    <a:lnTo>
                      <a:pt x="883" y="141"/>
                    </a:lnTo>
                    <a:lnTo>
                      <a:pt x="883" y="141"/>
                    </a:lnTo>
                    <a:lnTo>
                      <a:pt x="875" y="141"/>
                    </a:lnTo>
                    <a:lnTo>
                      <a:pt x="869" y="139"/>
                    </a:lnTo>
                    <a:lnTo>
                      <a:pt x="868" y="138"/>
                    </a:lnTo>
                    <a:lnTo>
                      <a:pt x="866" y="135"/>
                    </a:lnTo>
                    <a:lnTo>
                      <a:pt x="866" y="134"/>
                    </a:lnTo>
                    <a:lnTo>
                      <a:pt x="868" y="131"/>
                    </a:lnTo>
                    <a:lnTo>
                      <a:pt x="868" y="131"/>
                    </a:lnTo>
                    <a:lnTo>
                      <a:pt x="869" y="128"/>
                    </a:lnTo>
                    <a:lnTo>
                      <a:pt x="869" y="127"/>
                    </a:lnTo>
                    <a:lnTo>
                      <a:pt x="863" y="122"/>
                    </a:lnTo>
                    <a:lnTo>
                      <a:pt x="861" y="120"/>
                    </a:lnTo>
                    <a:lnTo>
                      <a:pt x="859" y="118"/>
                    </a:lnTo>
                    <a:lnTo>
                      <a:pt x="861" y="115"/>
                    </a:lnTo>
                    <a:lnTo>
                      <a:pt x="861" y="115"/>
                    </a:lnTo>
                    <a:lnTo>
                      <a:pt x="862" y="114"/>
                    </a:lnTo>
                    <a:lnTo>
                      <a:pt x="862" y="112"/>
                    </a:lnTo>
                    <a:lnTo>
                      <a:pt x="861" y="110"/>
                    </a:lnTo>
                    <a:lnTo>
                      <a:pt x="858" y="110"/>
                    </a:lnTo>
                    <a:lnTo>
                      <a:pt x="855" y="108"/>
                    </a:lnTo>
                    <a:lnTo>
                      <a:pt x="852" y="110"/>
                    </a:lnTo>
                    <a:lnTo>
                      <a:pt x="849" y="111"/>
                    </a:lnTo>
                    <a:lnTo>
                      <a:pt x="849" y="112"/>
                    </a:lnTo>
                    <a:lnTo>
                      <a:pt x="849" y="112"/>
                    </a:lnTo>
                    <a:lnTo>
                      <a:pt x="849" y="115"/>
                    </a:lnTo>
                    <a:lnTo>
                      <a:pt x="849" y="117"/>
                    </a:lnTo>
                    <a:lnTo>
                      <a:pt x="846" y="117"/>
                    </a:lnTo>
                    <a:lnTo>
                      <a:pt x="843" y="115"/>
                    </a:lnTo>
                    <a:lnTo>
                      <a:pt x="838" y="111"/>
                    </a:lnTo>
                    <a:lnTo>
                      <a:pt x="836" y="108"/>
                    </a:lnTo>
                    <a:lnTo>
                      <a:pt x="835" y="105"/>
                    </a:lnTo>
                    <a:lnTo>
                      <a:pt x="835" y="105"/>
                    </a:lnTo>
                    <a:lnTo>
                      <a:pt x="832" y="102"/>
                    </a:lnTo>
                    <a:lnTo>
                      <a:pt x="829" y="101"/>
                    </a:lnTo>
                    <a:lnTo>
                      <a:pt x="816" y="95"/>
                    </a:lnTo>
                    <a:lnTo>
                      <a:pt x="799" y="88"/>
                    </a:lnTo>
                    <a:lnTo>
                      <a:pt x="792" y="84"/>
                    </a:lnTo>
                    <a:lnTo>
                      <a:pt x="784" y="78"/>
                    </a:lnTo>
                    <a:lnTo>
                      <a:pt x="784" y="78"/>
                    </a:lnTo>
                    <a:lnTo>
                      <a:pt x="777" y="73"/>
                    </a:lnTo>
                    <a:lnTo>
                      <a:pt x="769" y="70"/>
                    </a:lnTo>
                    <a:lnTo>
                      <a:pt x="764" y="68"/>
                    </a:lnTo>
                    <a:lnTo>
                      <a:pt x="760" y="70"/>
                    </a:lnTo>
                    <a:lnTo>
                      <a:pt x="755" y="70"/>
                    </a:lnTo>
                    <a:lnTo>
                      <a:pt x="754" y="71"/>
                    </a:lnTo>
                    <a:lnTo>
                      <a:pt x="754" y="74"/>
                    </a:lnTo>
                    <a:lnTo>
                      <a:pt x="757" y="74"/>
                    </a:lnTo>
                    <a:lnTo>
                      <a:pt x="757" y="74"/>
                    </a:lnTo>
                    <a:lnTo>
                      <a:pt x="762" y="77"/>
                    </a:lnTo>
                    <a:lnTo>
                      <a:pt x="765" y="80"/>
                    </a:lnTo>
                    <a:lnTo>
                      <a:pt x="764" y="80"/>
                    </a:lnTo>
                    <a:lnTo>
                      <a:pt x="764" y="81"/>
                    </a:lnTo>
                    <a:lnTo>
                      <a:pt x="758" y="81"/>
                    </a:lnTo>
                    <a:lnTo>
                      <a:pt x="758" y="81"/>
                    </a:lnTo>
                    <a:lnTo>
                      <a:pt x="750" y="81"/>
                    </a:lnTo>
                    <a:lnTo>
                      <a:pt x="744" y="83"/>
                    </a:lnTo>
                    <a:lnTo>
                      <a:pt x="741" y="84"/>
                    </a:lnTo>
                    <a:lnTo>
                      <a:pt x="741" y="84"/>
                    </a:lnTo>
                    <a:lnTo>
                      <a:pt x="742" y="87"/>
                    </a:lnTo>
                    <a:lnTo>
                      <a:pt x="747" y="88"/>
                    </a:lnTo>
                    <a:lnTo>
                      <a:pt x="747" y="88"/>
                    </a:lnTo>
                    <a:lnTo>
                      <a:pt x="751" y="90"/>
                    </a:lnTo>
                    <a:lnTo>
                      <a:pt x="752" y="91"/>
                    </a:lnTo>
                    <a:lnTo>
                      <a:pt x="752" y="93"/>
                    </a:lnTo>
                    <a:lnTo>
                      <a:pt x="751" y="94"/>
                    </a:lnTo>
                    <a:lnTo>
                      <a:pt x="742" y="95"/>
                    </a:lnTo>
                    <a:lnTo>
                      <a:pt x="734" y="95"/>
                    </a:lnTo>
                    <a:lnTo>
                      <a:pt x="734" y="95"/>
                    </a:lnTo>
                    <a:lnTo>
                      <a:pt x="730" y="97"/>
                    </a:lnTo>
                    <a:lnTo>
                      <a:pt x="727" y="98"/>
                    </a:lnTo>
                    <a:lnTo>
                      <a:pt x="725" y="101"/>
                    </a:lnTo>
                    <a:lnTo>
                      <a:pt x="725" y="104"/>
                    </a:lnTo>
                    <a:lnTo>
                      <a:pt x="725" y="107"/>
                    </a:lnTo>
                    <a:lnTo>
                      <a:pt x="728" y="110"/>
                    </a:lnTo>
                    <a:lnTo>
                      <a:pt x="731" y="112"/>
                    </a:lnTo>
                    <a:lnTo>
                      <a:pt x="737" y="114"/>
                    </a:lnTo>
                    <a:lnTo>
                      <a:pt x="737" y="114"/>
                    </a:lnTo>
                    <a:lnTo>
                      <a:pt x="741" y="115"/>
                    </a:lnTo>
                    <a:lnTo>
                      <a:pt x="744" y="117"/>
                    </a:lnTo>
                    <a:lnTo>
                      <a:pt x="744" y="118"/>
                    </a:lnTo>
                    <a:lnTo>
                      <a:pt x="742" y="120"/>
                    </a:lnTo>
                    <a:lnTo>
                      <a:pt x="741" y="121"/>
                    </a:lnTo>
                    <a:lnTo>
                      <a:pt x="737" y="122"/>
                    </a:lnTo>
                    <a:lnTo>
                      <a:pt x="733" y="122"/>
                    </a:lnTo>
                    <a:lnTo>
                      <a:pt x="728" y="121"/>
                    </a:lnTo>
                    <a:lnTo>
                      <a:pt x="728" y="121"/>
                    </a:lnTo>
                    <a:lnTo>
                      <a:pt x="720" y="121"/>
                    </a:lnTo>
                    <a:lnTo>
                      <a:pt x="718" y="121"/>
                    </a:lnTo>
                    <a:lnTo>
                      <a:pt x="715" y="122"/>
                    </a:lnTo>
                    <a:lnTo>
                      <a:pt x="715" y="124"/>
                    </a:lnTo>
                    <a:lnTo>
                      <a:pt x="717" y="125"/>
                    </a:lnTo>
                    <a:lnTo>
                      <a:pt x="723" y="130"/>
                    </a:lnTo>
                    <a:lnTo>
                      <a:pt x="723" y="130"/>
                    </a:lnTo>
                    <a:close/>
                    <a:moveTo>
                      <a:pt x="808" y="60"/>
                    </a:moveTo>
                    <a:lnTo>
                      <a:pt x="808" y="60"/>
                    </a:lnTo>
                    <a:lnTo>
                      <a:pt x="815" y="57"/>
                    </a:lnTo>
                    <a:lnTo>
                      <a:pt x="819" y="57"/>
                    </a:lnTo>
                    <a:lnTo>
                      <a:pt x="821" y="57"/>
                    </a:lnTo>
                    <a:lnTo>
                      <a:pt x="821" y="58"/>
                    </a:lnTo>
                    <a:lnTo>
                      <a:pt x="821" y="60"/>
                    </a:lnTo>
                    <a:lnTo>
                      <a:pt x="818" y="61"/>
                    </a:lnTo>
                    <a:lnTo>
                      <a:pt x="818" y="61"/>
                    </a:lnTo>
                    <a:lnTo>
                      <a:pt x="814" y="64"/>
                    </a:lnTo>
                    <a:lnTo>
                      <a:pt x="812" y="66"/>
                    </a:lnTo>
                    <a:lnTo>
                      <a:pt x="814" y="67"/>
                    </a:lnTo>
                    <a:lnTo>
                      <a:pt x="816" y="68"/>
                    </a:lnTo>
                    <a:lnTo>
                      <a:pt x="824" y="68"/>
                    </a:lnTo>
                    <a:lnTo>
                      <a:pt x="824" y="68"/>
                    </a:lnTo>
                    <a:lnTo>
                      <a:pt x="828" y="68"/>
                    </a:lnTo>
                    <a:lnTo>
                      <a:pt x="826" y="71"/>
                    </a:lnTo>
                    <a:lnTo>
                      <a:pt x="822" y="74"/>
                    </a:lnTo>
                    <a:lnTo>
                      <a:pt x="819" y="77"/>
                    </a:lnTo>
                    <a:lnTo>
                      <a:pt x="819" y="78"/>
                    </a:lnTo>
                    <a:lnTo>
                      <a:pt x="819" y="78"/>
                    </a:lnTo>
                    <a:lnTo>
                      <a:pt x="819" y="81"/>
                    </a:lnTo>
                    <a:lnTo>
                      <a:pt x="821" y="83"/>
                    </a:lnTo>
                    <a:lnTo>
                      <a:pt x="826" y="84"/>
                    </a:lnTo>
                    <a:lnTo>
                      <a:pt x="831" y="85"/>
                    </a:lnTo>
                    <a:lnTo>
                      <a:pt x="834" y="87"/>
                    </a:lnTo>
                    <a:lnTo>
                      <a:pt x="834" y="88"/>
                    </a:lnTo>
                    <a:lnTo>
                      <a:pt x="834" y="88"/>
                    </a:lnTo>
                    <a:lnTo>
                      <a:pt x="835" y="91"/>
                    </a:lnTo>
                    <a:lnTo>
                      <a:pt x="839" y="94"/>
                    </a:lnTo>
                    <a:lnTo>
                      <a:pt x="851" y="95"/>
                    </a:lnTo>
                    <a:lnTo>
                      <a:pt x="858" y="95"/>
                    </a:lnTo>
                    <a:lnTo>
                      <a:pt x="865" y="94"/>
                    </a:lnTo>
                    <a:lnTo>
                      <a:pt x="870" y="93"/>
                    </a:lnTo>
                    <a:lnTo>
                      <a:pt x="875" y="90"/>
                    </a:lnTo>
                    <a:lnTo>
                      <a:pt x="875" y="90"/>
                    </a:lnTo>
                    <a:lnTo>
                      <a:pt x="879" y="87"/>
                    </a:lnTo>
                    <a:lnTo>
                      <a:pt x="880" y="87"/>
                    </a:lnTo>
                    <a:lnTo>
                      <a:pt x="880" y="88"/>
                    </a:lnTo>
                    <a:lnTo>
                      <a:pt x="879" y="98"/>
                    </a:lnTo>
                    <a:lnTo>
                      <a:pt x="879" y="98"/>
                    </a:lnTo>
                    <a:lnTo>
                      <a:pt x="882" y="100"/>
                    </a:lnTo>
                    <a:lnTo>
                      <a:pt x="886" y="102"/>
                    </a:lnTo>
                    <a:lnTo>
                      <a:pt x="902" y="105"/>
                    </a:lnTo>
                    <a:lnTo>
                      <a:pt x="917" y="105"/>
                    </a:lnTo>
                    <a:lnTo>
                      <a:pt x="923" y="104"/>
                    </a:lnTo>
                    <a:lnTo>
                      <a:pt x="925" y="101"/>
                    </a:lnTo>
                    <a:lnTo>
                      <a:pt x="925" y="101"/>
                    </a:lnTo>
                    <a:lnTo>
                      <a:pt x="927" y="98"/>
                    </a:lnTo>
                    <a:lnTo>
                      <a:pt x="932" y="97"/>
                    </a:lnTo>
                    <a:lnTo>
                      <a:pt x="942" y="100"/>
                    </a:lnTo>
                    <a:lnTo>
                      <a:pt x="942" y="100"/>
                    </a:lnTo>
                    <a:lnTo>
                      <a:pt x="947" y="100"/>
                    </a:lnTo>
                    <a:lnTo>
                      <a:pt x="953" y="100"/>
                    </a:lnTo>
                    <a:lnTo>
                      <a:pt x="970" y="95"/>
                    </a:lnTo>
                    <a:lnTo>
                      <a:pt x="986" y="90"/>
                    </a:lnTo>
                    <a:lnTo>
                      <a:pt x="991" y="87"/>
                    </a:lnTo>
                    <a:lnTo>
                      <a:pt x="993" y="83"/>
                    </a:lnTo>
                    <a:lnTo>
                      <a:pt x="993" y="83"/>
                    </a:lnTo>
                    <a:lnTo>
                      <a:pt x="994" y="81"/>
                    </a:lnTo>
                    <a:lnTo>
                      <a:pt x="996" y="80"/>
                    </a:lnTo>
                    <a:lnTo>
                      <a:pt x="997" y="81"/>
                    </a:lnTo>
                    <a:lnTo>
                      <a:pt x="999" y="83"/>
                    </a:lnTo>
                    <a:lnTo>
                      <a:pt x="1000" y="85"/>
                    </a:lnTo>
                    <a:lnTo>
                      <a:pt x="999" y="90"/>
                    </a:lnTo>
                    <a:lnTo>
                      <a:pt x="997" y="93"/>
                    </a:lnTo>
                    <a:lnTo>
                      <a:pt x="993" y="97"/>
                    </a:lnTo>
                    <a:lnTo>
                      <a:pt x="993" y="97"/>
                    </a:lnTo>
                    <a:lnTo>
                      <a:pt x="987" y="100"/>
                    </a:lnTo>
                    <a:lnTo>
                      <a:pt x="981" y="102"/>
                    </a:lnTo>
                    <a:lnTo>
                      <a:pt x="966" y="104"/>
                    </a:lnTo>
                    <a:lnTo>
                      <a:pt x="952" y="107"/>
                    </a:lnTo>
                    <a:lnTo>
                      <a:pt x="940" y="108"/>
                    </a:lnTo>
                    <a:lnTo>
                      <a:pt x="940" y="108"/>
                    </a:lnTo>
                    <a:lnTo>
                      <a:pt x="937" y="110"/>
                    </a:lnTo>
                    <a:lnTo>
                      <a:pt x="937" y="111"/>
                    </a:lnTo>
                    <a:lnTo>
                      <a:pt x="939" y="114"/>
                    </a:lnTo>
                    <a:lnTo>
                      <a:pt x="942" y="117"/>
                    </a:lnTo>
                    <a:lnTo>
                      <a:pt x="960" y="130"/>
                    </a:lnTo>
                    <a:lnTo>
                      <a:pt x="960" y="130"/>
                    </a:lnTo>
                    <a:lnTo>
                      <a:pt x="963" y="132"/>
                    </a:lnTo>
                    <a:lnTo>
                      <a:pt x="963" y="134"/>
                    </a:lnTo>
                    <a:lnTo>
                      <a:pt x="960" y="134"/>
                    </a:lnTo>
                    <a:lnTo>
                      <a:pt x="956" y="134"/>
                    </a:lnTo>
                    <a:lnTo>
                      <a:pt x="944" y="130"/>
                    </a:lnTo>
                    <a:lnTo>
                      <a:pt x="939" y="125"/>
                    </a:lnTo>
                    <a:lnTo>
                      <a:pt x="933" y="121"/>
                    </a:lnTo>
                    <a:lnTo>
                      <a:pt x="933" y="121"/>
                    </a:lnTo>
                    <a:lnTo>
                      <a:pt x="929" y="118"/>
                    </a:lnTo>
                    <a:lnTo>
                      <a:pt x="923" y="115"/>
                    </a:lnTo>
                    <a:lnTo>
                      <a:pt x="916" y="112"/>
                    </a:lnTo>
                    <a:lnTo>
                      <a:pt x="909" y="111"/>
                    </a:lnTo>
                    <a:lnTo>
                      <a:pt x="895" y="110"/>
                    </a:lnTo>
                    <a:lnTo>
                      <a:pt x="883" y="110"/>
                    </a:lnTo>
                    <a:lnTo>
                      <a:pt x="883" y="110"/>
                    </a:lnTo>
                    <a:lnTo>
                      <a:pt x="879" y="111"/>
                    </a:lnTo>
                    <a:lnTo>
                      <a:pt x="876" y="114"/>
                    </a:lnTo>
                    <a:lnTo>
                      <a:pt x="875" y="118"/>
                    </a:lnTo>
                    <a:lnTo>
                      <a:pt x="875" y="124"/>
                    </a:lnTo>
                    <a:lnTo>
                      <a:pt x="876" y="128"/>
                    </a:lnTo>
                    <a:lnTo>
                      <a:pt x="878" y="132"/>
                    </a:lnTo>
                    <a:lnTo>
                      <a:pt x="880" y="135"/>
                    </a:lnTo>
                    <a:lnTo>
                      <a:pt x="883" y="135"/>
                    </a:lnTo>
                    <a:lnTo>
                      <a:pt x="883" y="135"/>
                    </a:lnTo>
                    <a:lnTo>
                      <a:pt x="892" y="137"/>
                    </a:lnTo>
                    <a:lnTo>
                      <a:pt x="899" y="139"/>
                    </a:lnTo>
                    <a:lnTo>
                      <a:pt x="906" y="145"/>
                    </a:lnTo>
                    <a:lnTo>
                      <a:pt x="913" y="155"/>
                    </a:lnTo>
                    <a:lnTo>
                      <a:pt x="913" y="155"/>
                    </a:lnTo>
                    <a:lnTo>
                      <a:pt x="917" y="159"/>
                    </a:lnTo>
                    <a:lnTo>
                      <a:pt x="923" y="164"/>
                    </a:lnTo>
                    <a:lnTo>
                      <a:pt x="933" y="168"/>
                    </a:lnTo>
                    <a:lnTo>
                      <a:pt x="942" y="171"/>
                    </a:lnTo>
                    <a:lnTo>
                      <a:pt x="944" y="172"/>
                    </a:lnTo>
                    <a:lnTo>
                      <a:pt x="944" y="174"/>
                    </a:lnTo>
                    <a:lnTo>
                      <a:pt x="944" y="174"/>
                    </a:lnTo>
                    <a:lnTo>
                      <a:pt x="943" y="176"/>
                    </a:lnTo>
                    <a:lnTo>
                      <a:pt x="940" y="176"/>
                    </a:lnTo>
                    <a:lnTo>
                      <a:pt x="929" y="174"/>
                    </a:lnTo>
                    <a:lnTo>
                      <a:pt x="915" y="169"/>
                    </a:lnTo>
                    <a:lnTo>
                      <a:pt x="902" y="165"/>
                    </a:lnTo>
                    <a:lnTo>
                      <a:pt x="902" y="165"/>
                    </a:lnTo>
                    <a:lnTo>
                      <a:pt x="895" y="165"/>
                    </a:lnTo>
                    <a:lnTo>
                      <a:pt x="889" y="165"/>
                    </a:lnTo>
                    <a:lnTo>
                      <a:pt x="882" y="168"/>
                    </a:lnTo>
                    <a:lnTo>
                      <a:pt x="875" y="169"/>
                    </a:lnTo>
                    <a:lnTo>
                      <a:pt x="869" y="172"/>
                    </a:lnTo>
                    <a:lnTo>
                      <a:pt x="865" y="176"/>
                    </a:lnTo>
                    <a:lnTo>
                      <a:pt x="862" y="179"/>
                    </a:lnTo>
                    <a:lnTo>
                      <a:pt x="861" y="184"/>
                    </a:lnTo>
                    <a:lnTo>
                      <a:pt x="861" y="184"/>
                    </a:lnTo>
                    <a:lnTo>
                      <a:pt x="861" y="188"/>
                    </a:lnTo>
                    <a:lnTo>
                      <a:pt x="863" y="191"/>
                    </a:lnTo>
                    <a:lnTo>
                      <a:pt x="868" y="192"/>
                    </a:lnTo>
                    <a:lnTo>
                      <a:pt x="873" y="192"/>
                    </a:lnTo>
                    <a:lnTo>
                      <a:pt x="886" y="191"/>
                    </a:lnTo>
                    <a:lnTo>
                      <a:pt x="893" y="188"/>
                    </a:lnTo>
                    <a:lnTo>
                      <a:pt x="899" y="185"/>
                    </a:lnTo>
                    <a:lnTo>
                      <a:pt x="899" y="185"/>
                    </a:lnTo>
                    <a:lnTo>
                      <a:pt x="906" y="182"/>
                    </a:lnTo>
                    <a:lnTo>
                      <a:pt x="906" y="182"/>
                    </a:lnTo>
                    <a:lnTo>
                      <a:pt x="906" y="184"/>
                    </a:lnTo>
                    <a:lnTo>
                      <a:pt x="895" y="195"/>
                    </a:lnTo>
                    <a:lnTo>
                      <a:pt x="895" y="195"/>
                    </a:lnTo>
                    <a:lnTo>
                      <a:pt x="893" y="198"/>
                    </a:lnTo>
                    <a:lnTo>
                      <a:pt x="895" y="201"/>
                    </a:lnTo>
                    <a:lnTo>
                      <a:pt x="902" y="205"/>
                    </a:lnTo>
                    <a:lnTo>
                      <a:pt x="910" y="211"/>
                    </a:lnTo>
                    <a:lnTo>
                      <a:pt x="913" y="213"/>
                    </a:lnTo>
                    <a:lnTo>
                      <a:pt x="913" y="216"/>
                    </a:lnTo>
                    <a:lnTo>
                      <a:pt x="913" y="216"/>
                    </a:lnTo>
                    <a:lnTo>
                      <a:pt x="913" y="219"/>
                    </a:lnTo>
                    <a:lnTo>
                      <a:pt x="910" y="221"/>
                    </a:lnTo>
                    <a:lnTo>
                      <a:pt x="907" y="222"/>
                    </a:lnTo>
                    <a:lnTo>
                      <a:pt x="903" y="221"/>
                    </a:lnTo>
                    <a:lnTo>
                      <a:pt x="896" y="219"/>
                    </a:lnTo>
                    <a:lnTo>
                      <a:pt x="893" y="216"/>
                    </a:lnTo>
                    <a:lnTo>
                      <a:pt x="892" y="213"/>
                    </a:lnTo>
                    <a:lnTo>
                      <a:pt x="892" y="213"/>
                    </a:lnTo>
                    <a:lnTo>
                      <a:pt x="889" y="208"/>
                    </a:lnTo>
                    <a:lnTo>
                      <a:pt x="885" y="203"/>
                    </a:lnTo>
                    <a:lnTo>
                      <a:pt x="876" y="201"/>
                    </a:lnTo>
                    <a:lnTo>
                      <a:pt x="865" y="199"/>
                    </a:lnTo>
                    <a:lnTo>
                      <a:pt x="865" y="199"/>
                    </a:lnTo>
                    <a:lnTo>
                      <a:pt x="859" y="201"/>
                    </a:lnTo>
                    <a:lnTo>
                      <a:pt x="855" y="202"/>
                    </a:lnTo>
                    <a:lnTo>
                      <a:pt x="853" y="205"/>
                    </a:lnTo>
                    <a:lnTo>
                      <a:pt x="852" y="208"/>
                    </a:lnTo>
                    <a:lnTo>
                      <a:pt x="853" y="211"/>
                    </a:lnTo>
                    <a:lnTo>
                      <a:pt x="855" y="212"/>
                    </a:lnTo>
                    <a:lnTo>
                      <a:pt x="859" y="215"/>
                    </a:lnTo>
                    <a:lnTo>
                      <a:pt x="862" y="215"/>
                    </a:lnTo>
                    <a:lnTo>
                      <a:pt x="862" y="215"/>
                    </a:lnTo>
                    <a:lnTo>
                      <a:pt x="869" y="218"/>
                    </a:lnTo>
                    <a:lnTo>
                      <a:pt x="870" y="219"/>
                    </a:lnTo>
                    <a:lnTo>
                      <a:pt x="870" y="221"/>
                    </a:lnTo>
                    <a:lnTo>
                      <a:pt x="870" y="222"/>
                    </a:lnTo>
                    <a:lnTo>
                      <a:pt x="869" y="223"/>
                    </a:lnTo>
                    <a:lnTo>
                      <a:pt x="866" y="225"/>
                    </a:lnTo>
                    <a:lnTo>
                      <a:pt x="862" y="225"/>
                    </a:lnTo>
                    <a:lnTo>
                      <a:pt x="862" y="225"/>
                    </a:lnTo>
                    <a:lnTo>
                      <a:pt x="851" y="226"/>
                    </a:lnTo>
                    <a:lnTo>
                      <a:pt x="838" y="231"/>
                    </a:lnTo>
                    <a:lnTo>
                      <a:pt x="832" y="233"/>
                    </a:lnTo>
                    <a:lnTo>
                      <a:pt x="829" y="236"/>
                    </a:lnTo>
                    <a:lnTo>
                      <a:pt x="828" y="239"/>
                    </a:lnTo>
                    <a:lnTo>
                      <a:pt x="829" y="242"/>
                    </a:lnTo>
                    <a:lnTo>
                      <a:pt x="829" y="242"/>
                    </a:lnTo>
                    <a:lnTo>
                      <a:pt x="834" y="245"/>
                    </a:lnTo>
                    <a:lnTo>
                      <a:pt x="841" y="246"/>
                    </a:lnTo>
                    <a:lnTo>
                      <a:pt x="856" y="246"/>
                    </a:lnTo>
                    <a:lnTo>
                      <a:pt x="872" y="246"/>
                    </a:lnTo>
                    <a:lnTo>
                      <a:pt x="878" y="246"/>
                    </a:lnTo>
                    <a:lnTo>
                      <a:pt x="882" y="248"/>
                    </a:lnTo>
                    <a:lnTo>
                      <a:pt x="882" y="248"/>
                    </a:lnTo>
                    <a:lnTo>
                      <a:pt x="888" y="250"/>
                    </a:lnTo>
                    <a:lnTo>
                      <a:pt x="896" y="253"/>
                    </a:lnTo>
                    <a:lnTo>
                      <a:pt x="905" y="252"/>
                    </a:lnTo>
                    <a:lnTo>
                      <a:pt x="907" y="250"/>
                    </a:lnTo>
                    <a:lnTo>
                      <a:pt x="910" y="249"/>
                    </a:lnTo>
                    <a:lnTo>
                      <a:pt x="910" y="249"/>
                    </a:lnTo>
                    <a:lnTo>
                      <a:pt x="912" y="248"/>
                    </a:lnTo>
                    <a:lnTo>
                      <a:pt x="915" y="246"/>
                    </a:lnTo>
                    <a:lnTo>
                      <a:pt x="923" y="245"/>
                    </a:lnTo>
                    <a:lnTo>
                      <a:pt x="943" y="245"/>
                    </a:lnTo>
                    <a:lnTo>
                      <a:pt x="943" y="245"/>
                    </a:lnTo>
                    <a:lnTo>
                      <a:pt x="952" y="246"/>
                    </a:lnTo>
                    <a:lnTo>
                      <a:pt x="957" y="248"/>
                    </a:lnTo>
                    <a:lnTo>
                      <a:pt x="963" y="249"/>
                    </a:lnTo>
                    <a:lnTo>
                      <a:pt x="967" y="253"/>
                    </a:lnTo>
                    <a:lnTo>
                      <a:pt x="967" y="253"/>
                    </a:lnTo>
                    <a:lnTo>
                      <a:pt x="973" y="256"/>
                    </a:lnTo>
                    <a:lnTo>
                      <a:pt x="979" y="256"/>
                    </a:lnTo>
                    <a:lnTo>
                      <a:pt x="986" y="255"/>
                    </a:lnTo>
                    <a:lnTo>
                      <a:pt x="993" y="250"/>
                    </a:lnTo>
                    <a:lnTo>
                      <a:pt x="993" y="250"/>
                    </a:lnTo>
                    <a:lnTo>
                      <a:pt x="1001" y="246"/>
                    </a:lnTo>
                    <a:lnTo>
                      <a:pt x="1010" y="245"/>
                    </a:lnTo>
                    <a:lnTo>
                      <a:pt x="1010" y="245"/>
                    </a:lnTo>
                    <a:lnTo>
                      <a:pt x="1017" y="245"/>
                    </a:lnTo>
                    <a:lnTo>
                      <a:pt x="1020" y="240"/>
                    </a:lnTo>
                    <a:lnTo>
                      <a:pt x="1020" y="236"/>
                    </a:lnTo>
                    <a:lnTo>
                      <a:pt x="1017" y="231"/>
                    </a:lnTo>
                    <a:lnTo>
                      <a:pt x="1017" y="231"/>
                    </a:lnTo>
                    <a:lnTo>
                      <a:pt x="1016" y="229"/>
                    </a:lnTo>
                    <a:lnTo>
                      <a:pt x="1013" y="229"/>
                    </a:lnTo>
                    <a:lnTo>
                      <a:pt x="1007" y="231"/>
                    </a:lnTo>
                    <a:lnTo>
                      <a:pt x="1001" y="232"/>
                    </a:lnTo>
                    <a:lnTo>
                      <a:pt x="1000" y="232"/>
                    </a:lnTo>
                    <a:lnTo>
                      <a:pt x="999" y="231"/>
                    </a:lnTo>
                    <a:lnTo>
                      <a:pt x="999" y="231"/>
                    </a:lnTo>
                    <a:lnTo>
                      <a:pt x="997" y="229"/>
                    </a:lnTo>
                    <a:lnTo>
                      <a:pt x="996" y="226"/>
                    </a:lnTo>
                    <a:lnTo>
                      <a:pt x="989" y="225"/>
                    </a:lnTo>
                    <a:lnTo>
                      <a:pt x="979" y="223"/>
                    </a:lnTo>
                    <a:lnTo>
                      <a:pt x="964" y="225"/>
                    </a:lnTo>
                    <a:lnTo>
                      <a:pt x="964" y="225"/>
                    </a:lnTo>
                    <a:lnTo>
                      <a:pt x="959" y="225"/>
                    </a:lnTo>
                    <a:lnTo>
                      <a:pt x="954" y="223"/>
                    </a:lnTo>
                    <a:lnTo>
                      <a:pt x="953" y="222"/>
                    </a:lnTo>
                    <a:lnTo>
                      <a:pt x="953" y="219"/>
                    </a:lnTo>
                    <a:lnTo>
                      <a:pt x="954" y="218"/>
                    </a:lnTo>
                    <a:lnTo>
                      <a:pt x="957" y="216"/>
                    </a:lnTo>
                    <a:lnTo>
                      <a:pt x="962" y="215"/>
                    </a:lnTo>
                    <a:lnTo>
                      <a:pt x="966" y="215"/>
                    </a:lnTo>
                    <a:lnTo>
                      <a:pt x="966" y="215"/>
                    </a:lnTo>
                    <a:lnTo>
                      <a:pt x="976" y="218"/>
                    </a:lnTo>
                    <a:lnTo>
                      <a:pt x="986" y="218"/>
                    </a:lnTo>
                    <a:lnTo>
                      <a:pt x="997" y="216"/>
                    </a:lnTo>
                    <a:lnTo>
                      <a:pt x="1007" y="213"/>
                    </a:lnTo>
                    <a:lnTo>
                      <a:pt x="1007" y="213"/>
                    </a:lnTo>
                    <a:lnTo>
                      <a:pt x="1011" y="212"/>
                    </a:lnTo>
                    <a:lnTo>
                      <a:pt x="1014" y="211"/>
                    </a:lnTo>
                    <a:lnTo>
                      <a:pt x="1014" y="209"/>
                    </a:lnTo>
                    <a:lnTo>
                      <a:pt x="1014" y="206"/>
                    </a:lnTo>
                    <a:lnTo>
                      <a:pt x="1011" y="202"/>
                    </a:lnTo>
                    <a:lnTo>
                      <a:pt x="1010" y="198"/>
                    </a:lnTo>
                    <a:lnTo>
                      <a:pt x="1010" y="198"/>
                    </a:lnTo>
                    <a:lnTo>
                      <a:pt x="1011" y="196"/>
                    </a:lnTo>
                    <a:lnTo>
                      <a:pt x="1013" y="195"/>
                    </a:lnTo>
                    <a:lnTo>
                      <a:pt x="1020" y="195"/>
                    </a:lnTo>
                    <a:lnTo>
                      <a:pt x="1040" y="196"/>
                    </a:lnTo>
                    <a:lnTo>
                      <a:pt x="1040" y="196"/>
                    </a:lnTo>
                    <a:lnTo>
                      <a:pt x="1045" y="195"/>
                    </a:lnTo>
                    <a:lnTo>
                      <a:pt x="1051" y="194"/>
                    </a:lnTo>
                    <a:lnTo>
                      <a:pt x="1055" y="189"/>
                    </a:lnTo>
                    <a:lnTo>
                      <a:pt x="1061" y="185"/>
                    </a:lnTo>
                    <a:lnTo>
                      <a:pt x="1068" y="174"/>
                    </a:lnTo>
                    <a:lnTo>
                      <a:pt x="1071" y="168"/>
                    </a:lnTo>
                    <a:lnTo>
                      <a:pt x="1073" y="164"/>
                    </a:lnTo>
                    <a:lnTo>
                      <a:pt x="1073" y="164"/>
                    </a:lnTo>
                    <a:lnTo>
                      <a:pt x="1071" y="159"/>
                    </a:lnTo>
                    <a:lnTo>
                      <a:pt x="1068" y="157"/>
                    </a:lnTo>
                    <a:lnTo>
                      <a:pt x="1063" y="155"/>
                    </a:lnTo>
                    <a:lnTo>
                      <a:pt x="1057" y="154"/>
                    </a:lnTo>
                    <a:lnTo>
                      <a:pt x="1043" y="154"/>
                    </a:lnTo>
                    <a:lnTo>
                      <a:pt x="1030" y="154"/>
                    </a:lnTo>
                    <a:lnTo>
                      <a:pt x="1030" y="154"/>
                    </a:lnTo>
                    <a:lnTo>
                      <a:pt x="1026" y="154"/>
                    </a:lnTo>
                    <a:lnTo>
                      <a:pt x="1026" y="152"/>
                    </a:lnTo>
                    <a:lnTo>
                      <a:pt x="1028" y="151"/>
                    </a:lnTo>
                    <a:lnTo>
                      <a:pt x="1033" y="149"/>
                    </a:lnTo>
                    <a:lnTo>
                      <a:pt x="1047" y="147"/>
                    </a:lnTo>
                    <a:lnTo>
                      <a:pt x="1055" y="145"/>
                    </a:lnTo>
                    <a:lnTo>
                      <a:pt x="1065" y="145"/>
                    </a:lnTo>
                    <a:lnTo>
                      <a:pt x="1065" y="145"/>
                    </a:lnTo>
                    <a:lnTo>
                      <a:pt x="1074" y="145"/>
                    </a:lnTo>
                    <a:lnTo>
                      <a:pt x="1080" y="144"/>
                    </a:lnTo>
                    <a:lnTo>
                      <a:pt x="1082" y="142"/>
                    </a:lnTo>
                    <a:lnTo>
                      <a:pt x="1084" y="139"/>
                    </a:lnTo>
                    <a:lnTo>
                      <a:pt x="1084" y="134"/>
                    </a:lnTo>
                    <a:lnTo>
                      <a:pt x="1085" y="132"/>
                    </a:lnTo>
                    <a:lnTo>
                      <a:pt x="1085" y="130"/>
                    </a:lnTo>
                    <a:lnTo>
                      <a:pt x="1085" y="130"/>
                    </a:lnTo>
                    <a:lnTo>
                      <a:pt x="1088" y="130"/>
                    </a:lnTo>
                    <a:lnTo>
                      <a:pt x="1091" y="130"/>
                    </a:lnTo>
                    <a:lnTo>
                      <a:pt x="1098" y="131"/>
                    </a:lnTo>
                    <a:lnTo>
                      <a:pt x="1107" y="132"/>
                    </a:lnTo>
                    <a:lnTo>
                      <a:pt x="1112" y="132"/>
                    </a:lnTo>
                    <a:lnTo>
                      <a:pt x="1117" y="132"/>
                    </a:lnTo>
                    <a:lnTo>
                      <a:pt x="1117" y="132"/>
                    </a:lnTo>
                    <a:lnTo>
                      <a:pt x="1121" y="131"/>
                    </a:lnTo>
                    <a:lnTo>
                      <a:pt x="1124" y="130"/>
                    </a:lnTo>
                    <a:lnTo>
                      <a:pt x="1125" y="124"/>
                    </a:lnTo>
                    <a:lnTo>
                      <a:pt x="1127" y="120"/>
                    </a:lnTo>
                    <a:lnTo>
                      <a:pt x="1128" y="118"/>
                    </a:lnTo>
                    <a:lnTo>
                      <a:pt x="1131" y="118"/>
                    </a:lnTo>
                    <a:lnTo>
                      <a:pt x="1131" y="118"/>
                    </a:lnTo>
                    <a:lnTo>
                      <a:pt x="1137" y="117"/>
                    </a:lnTo>
                    <a:lnTo>
                      <a:pt x="1148" y="111"/>
                    </a:lnTo>
                    <a:lnTo>
                      <a:pt x="1181" y="91"/>
                    </a:lnTo>
                    <a:lnTo>
                      <a:pt x="1181" y="91"/>
                    </a:lnTo>
                    <a:lnTo>
                      <a:pt x="1192" y="87"/>
                    </a:lnTo>
                    <a:lnTo>
                      <a:pt x="1202" y="83"/>
                    </a:lnTo>
                    <a:lnTo>
                      <a:pt x="1218" y="78"/>
                    </a:lnTo>
                    <a:lnTo>
                      <a:pt x="1229" y="74"/>
                    </a:lnTo>
                    <a:lnTo>
                      <a:pt x="1233" y="71"/>
                    </a:lnTo>
                    <a:lnTo>
                      <a:pt x="1235" y="68"/>
                    </a:lnTo>
                    <a:lnTo>
                      <a:pt x="1235" y="68"/>
                    </a:lnTo>
                    <a:lnTo>
                      <a:pt x="1235" y="67"/>
                    </a:lnTo>
                    <a:lnTo>
                      <a:pt x="1233" y="67"/>
                    </a:lnTo>
                    <a:lnTo>
                      <a:pt x="1229" y="66"/>
                    </a:lnTo>
                    <a:lnTo>
                      <a:pt x="1213" y="66"/>
                    </a:lnTo>
                    <a:lnTo>
                      <a:pt x="1198" y="67"/>
                    </a:lnTo>
                    <a:lnTo>
                      <a:pt x="1191" y="67"/>
                    </a:lnTo>
                    <a:lnTo>
                      <a:pt x="1186" y="66"/>
                    </a:lnTo>
                    <a:lnTo>
                      <a:pt x="1186" y="66"/>
                    </a:lnTo>
                    <a:lnTo>
                      <a:pt x="1186" y="66"/>
                    </a:lnTo>
                    <a:lnTo>
                      <a:pt x="1186" y="66"/>
                    </a:lnTo>
                    <a:lnTo>
                      <a:pt x="1189" y="63"/>
                    </a:lnTo>
                    <a:lnTo>
                      <a:pt x="1199" y="60"/>
                    </a:lnTo>
                    <a:lnTo>
                      <a:pt x="1213" y="57"/>
                    </a:lnTo>
                    <a:lnTo>
                      <a:pt x="1225" y="57"/>
                    </a:lnTo>
                    <a:lnTo>
                      <a:pt x="1225" y="57"/>
                    </a:lnTo>
                    <a:lnTo>
                      <a:pt x="1232" y="58"/>
                    </a:lnTo>
                    <a:lnTo>
                      <a:pt x="1242" y="57"/>
                    </a:lnTo>
                    <a:lnTo>
                      <a:pt x="1255" y="51"/>
                    </a:lnTo>
                    <a:lnTo>
                      <a:pt x="1273" y="43"/>
                    </a:lnTo>
                    <a:lnTo>
                      <a:pt x="1273" y="43"/>
                    </a:lnTo>
                    <a:lnTo>
                      <a:pt x="1283" y="38"/>
                    </a:lnTo>
                    <a:lnTo>
                      <a:pt x="1289" y="34"/>
                    </a:lnTo>
                    <a:lnTo>
                      <a:pt x="1292" y="31"/>
                    </a:lnTo>
                    <a:lnTo>
                      <a:pt x="1292" y="30"/>
                    </a:lnTo>
                    <a:lnTo>
                      <a:pt x="1290" y="29"/>
                    </a:lnTo>
                    <a:lnTo>
                      <a:pt x="1286" y="27"/>
                    </a:lnTo>
                    <a:lnTo>
                      <a:pt x="1277" y="27"/>
                    </a:lnTo>
                    <a:lnTo>
                      <a:pt x="1277" y="27"/>
                    </a:lnTo>
                    <a:lnTo>
                      <a:pt x="1269" y="29"/>
                    </a:lnTo>
                    <a:lnTo>
                      <a:pt x="1260" y="27"/>
                    </a:lnTo>
                    <a:lnTo>
                      <a:pt x="1255" y="23"/>
                    </a:lnTo>
                    <a:lnTo>
                      <a:pt x="1253" y="20"/>
                    </a:lnTo>
                    <a:lnTo>
                      <a:pt x="1253" y="17"/>
                    </a:lnTo>
                    <a:lnTo>
                      <a:pt x="1253" y="17"/>
                    </a:lnTo>
                    <a:lnTo>
                      <a:pt x="1252" y="16"/>
                    </a:lnTo>
                    <a:lnTo>
                      <a:pt x="1250" y="14"/>
                    </a:lnTo>
                    <a:lnTo>
                      <a:pt x="1245" y="14"/>
                    </a:lnTo>
                    <a:lnTo>
                      <a:pt x="1238" y="14"/>
                    </a:lnTo>
                    <a:lnTo>
                      <a:pt x="1236" y="14"/>
                    </a:lnTo>
                    <a:lnTo>
                      <a:pt x="1235" y="13"/>
                    </a:lnTo>
                    <a:lnTo>
                      <a:pt x="1235" y="13"/>
                    </a:lnTo>
                    <a:lnTo>
                      <a:pt x="1233" y="11"/>
                    </a:lnTo>
                    <a:lnTo>
                      <a:pt x="1230" y="10"/>
                    </a:lnTo>
                    <a:lnTo>
                      <a:pt x="1223" y="11"/>
                    </a:lnTo>
                    <a:lnTo>
                      <a:pt x="1212" y="13"/>
                    </a:lnTo>
                    <a:lnTo>
                      <a:pt x="1198" y="17"/>
                    </a:lnTo>
                    <a:lnTo>
                      <a:pt x="1198" y="17"/>
                    </a:lnTo>
                    <a:lnTo>
                      <a:pt x="1193" y="20"/>
                    </a:lnTo>
                    <a:lnTo>
                      <a:pt x="1191" y="20"/>
                    </a:lnTo>
                    <a:lnTo>
                      <a:pt x="1191" y="19"/>
                    </a:lnTo>
                    <a:lnTo>
                      <a:pt x="1192" y="17"/>
                    </a:lnTo>
                    <a:lnTo>
                      <a:pt x="1198" y="11"/>
                    </a:lnTo>
                    <a:lnTo>
                      <a:pt x="1205" y="7"/>
                    </a:lnTo>
                    <a:lnTo>
                      <a:pt x="1205" y="7"/>
                    </a:lnTo>
                    <a:lnTo>
                      <a:pt x="1205" y="7"/>
                    </a:lnTo>
                    <a:lnTo>
                      <a:pt x="1205" y="7"/>
                    </a:lnTo>
                    <a:lnTo>
                      <a:pt x="1201" y="6"/>
                    </a:lnTo>
                    <a:lnTo>
                      <a:pt x="1183" y="6"/>
                    </a:lnTo>
                    <a:lnTo>
                      <a:pt x="1162" y="4"/>
                    </a:lnTo>
                    <a:lnTo>
                      <a:pt x="1154" y="3"/>
                    </a:lnTo>
                    <a:lnTo>
                      <a:pt x="1148" y="1"/>
                    </a:lnTo>
                    <a:lnTo>
                      <a:pt x="1148" y="1"/>
                    </a:lnTo>
                    <a:lnTo>
                      <a:pt x="1145" y="0"/>
                    </a:lnTo>
                    <a:lnTo>
                      <a:pt x="1141" y="0"/>
                    </a:lnTo>
                    <a:lnTo>
                      <a:pt x="1134" y="3"/>
                    </a:lnTo>
                    <a:lnTo>
                      <a:pt x="1127" y="6"/>
                    </a:lnTo>
                    <a:lnTo>
                      <a:pt x="1124" y="6"/>
                    </a:lnTo>
                    <a:lnTo>
                      <a:pt x="1119" y="3"/>
                    </a:lnTo>
                    <a:lnTo>
                      <a:pt x="1119" y="3"/>
                    </a:lnTo>
                    <a:lnTo>
                      <a:pt x="1117" y="1"/>
                    </a:lnTo>
                    <a:lnTo>
                      <a:pt x="1111" y="0"/>
                    </a:lnTo>
                    <a:lnTo>
                      <a:pt x="1107" y="0"/>
                    </a:lnTo>
                    <a:lnTo>
                      <a:pt x="1102" y="0"/>
                    </a:lnTo>
                    <a:lnTo>
                      <a:pt x="1098" y="1"/>
                    </a:lnTo>
                    <a:lnTo>
                      <a:pt x="1094" y="4"/>
                    </a:lnTo>
                    <a:lnTo>
                      <a:pt x="1092" y="6"/>
                    </a:lnTo>
                    <a:lnTo>
                      <a:pt x="1092" y="9"/>
                    </a:lnTo>
                    <a:lnTo>
                      <a:pt x="1092" y="9"/>
                    </a:lnTo>
                    <a:lnTo>
                      <a:pt x="1092" y="11"/>
                    </a:lnTo>
                    <a:lnTo>
                      <a:pt x="1091" y="13"/>
                    </a:lnTo>
                    <a:lnTo>
                      <a:pt x="1085" y="11"/>
                    </a:lnTo>
                    <a:lnTo>
                      <a:pt x="1080" y="7"/>
                    </a:lnTo>
                    <a:lnTo>
                      <a:pt x="1080" y="7"/>
                    </a:lnTo>
                    <a:lnTo>
                      <a:pt x="1077" y="6"/>
                    </a:lnTo>
                    <a:lnTo>
                      <a:pt x="1073" y="4"/>
                    </a:lnTo>
                    <a:lnTo>
                      <a:pt x="1063" y="6"/>
                    </a:lnTo>
                    <a:lnTo>
                      <a:pt x="1051" y="6"/>
                    </a:lnTo>
                    <a:lnTo>
                      <a:pt x="1040" y="6"/>
                    </a:lnTo>
                    <a:lnTo>
                      <a:pt x="1040" y="6"/>
                    </a:lnTo>
                    <a:lnTo>
                      <a:pt x="1036" y="6"/>
                    </a:lnTo>
                    <a:lnTo>
                      <a:pt x="1033" y="7"/>
                    </a:lnTo>
                    <a:lnTo>
                      <a:pt x="1028" y="10"/>
                    </a:lnTo>
                    <a:lnTo>
                      <a:pt x="1027" y="13"/>
                    </a:lnTo>
                    <a:lnTo>
                      <a:pt x="1024" y="13"/>
                    </a:lnTo>
                    <a:lnTo>
                      <a:pt x="1020" y="13"/>
                    </a:lnTo>
                    <a:lnTo>
                      <a:pt x="1016" y="11"/>
                    </a:lnTo>
                    <a:lnTo>
                      <a:pt x="1016" y="11"/>
                    </a:lnTo>
                    <a:lnTo>
                      <a:pt x="1010" y="9"/>
                    </a:lnTo>
                    <a:lnTo>
                      <a:pt x="1003" y="7"/>
                    </a:lnTo>
                    <a:lnTo>
                      <a:pt x="993" y="7"/>
                    </a:lnTo>
                    <a:lnTo>
                      <a:pt x="986" y="9"/>
                    </a:lnTo>
                    <a:lnTo>
                      <a:pt x="986" y="9"/>
                    </a:lnTo>
                    <a:lnTo>
                      <a:pt x="986" y="10"/>
                    </a:lnTo>
                    <a:lnTo>
                      <a:pt x="986" y="10"/>
                    </a:lnTo>
                    <a:lnTo>
                      <a:pt x="989" y="11"/>
                    </a:lnTo>
                    <a:lnTo>
                      <a:pt x="987" y="14"/>
                    </a:lnTo>
                    <a:lnTo>
                      <a:pt x="983" y="14"/>
                    </a:lnTo>
                    <a:lnTo>
                      <a:pt x="977" y="14"/>
                    </a:lnTo>
                    <a:lnTo>
                      <a:pt x="977" y="14"/>
                    </a:lnTo>
                    <a:lnTo>
                      <a:pt x="973" y="13"/>
                    </a:lnTo>
                    <a:lnTo>
                      <a:pt x="969" y="14"/>
                    </a:lnTo>
                    <a:lnTo>
                      <a:pt x="967" y="17"/>
                    </a:lnTo>
                    <a:lnTo>
                      <a:pt x="967" y="21"/>
                    </a:lnTo>
                    <a:lnTo>
                      <a:pt x="967" y="21"/>
                    </a:lnTo>
                    <a:lnTo>
                      <a:pt x="967" y="24"/>
                    </a:lnTo>
                    <a:lnTo>
                      <a:pt x="966" y="24"/>
                    </a:lnTo>
                    <a:lnTo>
                      <a:pt x="956" y="24"/>
                    </a:lnTo>
                    <a:lnTo>
                      <a:pt x="946" y="24"/>
                    </a:lnTo>
                    <a:lnTo>
                      <a:pt x="943" y="26"/>
                    </a:lnTo>
                    <a:lnTo>
                      <a:pt x="942" y="27"/>
                    </a:lnTo>
                    <a:lnTo>
                      <a:pt x="942" y="27"/>
                    </a:lnTo>
                    <a:lnTo>
                      <a:pt x="942" y="30"/>
                    </a:lnTo>
                    <a:lnTo>
                      <a:pt x="940" y="33"/>
                    </a:lnTo>
                    <a:lnTo>
                      <a:pt x="935" y="36"/>
                    </a:lnTo>
                    <a:lnTo>
                      <a:pt x="929" y="36"/>
                    </a:lnTo>
                    <a:lnTo>
                      <a:pt x="926" y="34"/>
                    </a:lnTo>
                    <a:lnTo>
                      <a:pt x="922" y="33"/>
                    </a:lnTo>
                    <a:lnTo>
                      <a:pt x="922" y="33"/>
                    </a:lnTo>
                    <a:lnTo>
                      <a:pt x="919" y="30"/>
                    </a:lnTo>
                    <a:lnTo>
                      <a:pt x="913" y="29"/>
                    </a:lnTo>
                    <a:lnTo>
                      <a:pt x="902" y="26"/>
                    </a:lnTo>
                    <a:lnTo>
                      <a:pt x="895" y="27"/>
                    </a:lnTo>
                    <a:lnTo>
                      <a:pt x="893" y="29"/>
                    </a:lnTo>
                    <a:lnTo>
                      <a:pt x="895" y="30"/>
                    </a:lnTo>
                    <a:lnTo>
                      <a:pt x="895" y="30"/>
                    </a:lnTo>
                    <a:lnTo>
                      <a:pt x="896" y="31"/>
                    </a:lnTo>
                    <a:lnTo>
                      <a:pt x="895" y="33"/>
                    </a:lnTo>
                    <a:lnTo>
                      <a:pt x="886" y="34"/>
                    </a:lnTo>
                    <a:lnTo>
                      <a:pt x="879" y="36"/>
                    </a:lnTo>
                    <a:lnTo>
                      <a:pt x="878" y="37"/>
                    </a:lnTo>
                    <a:lnTo>
                      <a:pt x="879" y="38"/>
                    </a:lnTo>
                    <a:lnTo>
                      <a:pt x="879" y="38"/>
                    </a:lnTo>
                    <a:lnTo>
                      <a:pt x="880" y="41"/>
                    </a:lnTo>
                    <a:lnTo>
                      <a:pt x="880" y="44"/>
                    </a:lnTo>
                    <a:lnTo>
                      <a:pt x="879" y="46"/>
                    </a:lnTo>
                    <a:lnTo>
                      <a:pt x="876" y="47"/>
                    </a:lnTo>
                    <a:lnTo>
                      <a:pt x="870" y="48"/>
                    </a:lnTo>
                    <a:lnTo>
                      <a:pt x="869" y="48"/>
                    </a:lnTo>
                    <a:lnTo>
                      <a:pt x="868" y="47"/>
                    </a:lnTo>
                    <a:lnTo>
                      <a:pt x="868" y="47"/>
                    </a:lnTo>
                    <a:lnTo>
                      <a:pt x="868" y="46"/>
                    </a:lnTo>
                    <a:lnTo>
                      <a:pt x="865" y="44"/>
                    </a:lnTo>
                    <a:lnTo>
                      <a:pt x="858" y="41"/>
                    </a:lnTo>
                    <a:lnTo>
                      <a:pt x="851" y="41"/>
                    </a:lnTo>
                    <a:lnTo>
                      <a:pt x="846" y="41"/>
                    </a:lnTo>
                    <a:lnTo>
                      <a:pt x="843" y="43"/>
                    </a:lnTo>
                    <a:lnTo>
                      <a:pt x="843" y="43"/>
                    </a:lnTo>
                    <a:lnTo>
                      <a:pt x="839" y="48"/>
                    </a:lnTo>
                    <a:lnTo>
                      <a:pt x="835" y="53"/>
                    </a:lnTo>
                    <a:lnTo>
                      <a:pt x="834" y="54"/>
                    </a:lnTo>
                    <a:lnTo>
                      <a:pt x="832" y="54"/>
                    </a:lnTo>
                    <a:lnTo>
                      <a:pt x="831" y="53"/>
                    </a:lnTo>
                    <a:lnTo>
                      <a:pt x="831" y="53"/>
                    </a:lnTo>
                    <a:lnTo>
                      <a:pt x="829" y="51"/>
                    </a:lnTo>
                    <a:lnTo>
                      <a:pt x="826" y="51"/>
                    </a:lnTo>
                    <a:lnTo>
                      <a:pt x="818" y="51"/>
                    </a:lnTo>
                    <a:lnTo>
                      <a:pt x="808" y="53"/>
                    </a:lnTo>
                    <a:lnTo>
                      <a:pt x="797" y="56"/>
                    </a:lnTo>
                    <a:lnTo>
                      <a:pt x="797" y="56"/>
                    </a:lnTo>
                    <a:lnTo>
                      <a:pt x="792" y="58"/>
                    </a:lnTo>
                    <a:lnTo>
                      <a:pt x="791" y="60"/>
                    </a:lnTo>
                    <a:lnTo>
                      <a:pt x="791" y="61"/>
                    </a:lnTo>
                    <a:lnTo>
                      <a:pt x="794" y="63"/>
                    </a:lnTo>
                    <a:lnTo>
                      <a:pt x="801" y="63"/>
                    </a:lnTo>
                    <a:lnTo>
                      <a:pt x="805" y="61"/>
                    </a:lnTo>
                    <a:lnTo>
                      <a:pt x="808" y="60"/>
                    </a:lnTo>
                    <a:lnTo>
                      <a:pt x="808" y="60"/>
                    </a:lnTo>
                    <a:close/>
                    <a:moveTo>
                      <a:pt x="987" y="673"/>
                    </a:moveTo>
                    <a:lnTo>
                      <a:pt x="987" y="673"/>
                    </a:lnTo>
                    <a:lnTo>
                      <a:pt x="990" y="673"/>
                    </a:lnTo>
                    <a:lnTo>
                      <a:pt x="991" y="670"/>
                    </a:lnTo>
                    <a:lnTo>
                      <a:pt x="996" y="664"/>
                    </a:lnTo>
                    <a:lnTo>
                      <a:pt x="996" y="662"/>
                    </a:lnTo>
                    <a:lnTo>
                      <a:pt x="996" y="659"/>
                    </a:lnTo>
                    <a:lnTo>
                      <a:pt x="994" y="656"/>
                    </a:lnTo>
                    <a:lnTo>
                      <a:pt x="990" y="656"/>
                    </a:lnTo>
                    <a:lnTo>
                      <a:pt x="990" y="656"/>
                    </a:lnTo>
                    <a:lnTo>
                      <a:pt x="986" y="657"/>
                    </a:lnTo>
                    <a:lnTo>
                      <a:pt x="983" y="659"/>
                    </a:lnTo>
                    <a:lnTo>
                      <a:pt x="981" y="662"/>
                    </a:lnTo>
                    <a:lnTo>
                      <a:pt x="981" y="666"/>
                    </a:lnTo>
                    <a:lnTo>
                      <a:pt x="981" y="669"/>
                    </a:lnTo>
                    <a:lnTo>
                      <a:pt x="983" y="672"/>
                    </a:lnTo>
                    <a:lnTo>
                      <a:pt x="984" y="673"/>
                    </a:lnTo>
                    <a:lnTo>
                      <a:pt x="987" y="673"/>
                    </a:lnTo>
                    <a:lnTo>
                      <a:pt x="987" y="673"/>
                    </a:lnTo>
                    <a:close/>
                    <a:moveTo>
                      <a:pt x="925" y="657"/>
                    </a:moveTo>
                    <a:lnTo>
                      <a:pt x="925" y="657"/>
                    </a:lnTo>
                    <a:lnTo>
                      <a:pt x="930" y="659"/>
                    </a:lnTo>
                    <a:lnTo>
                      <a:pt x="935" y="659"/>
                    </a:lnTo>
                    <a:lnTo>
                      <a:pt x="939" y="657"/>
                    </a:lnTo>
                    <a:lnTo>
                      <a:pt x="943" y="654"/>
                    </a:lnTo>
                    <a:lnTo>
                      <a:pt x="950" y="646"/>
                    </a:lnTo>
                    <a:lnTo>
                      <a:pt x="952" y="643"/>
                    </a:lnTo>
                    <a:lnTo>
                      <a:pt x="952" y="640"/>
                    </a:lnTo>
                    <a:lnTo>
                      <a:pt x="952" y="640"/>
                    </a:lnTo>
                    <a:lnTo>
                      <a:pt x="950" y="639"/>
                    </a:lnTo>
                    <a:lnTo>
                      <a:pt x="946" y="639"/>
                    </a:lnTo>
                    <a:lnTo>
                      <a:pt x="933" y="643"/>
                    </a:lnTo>
                    <a:lnTo>
                      <a:pt x="927" y="647"/>
                    </a:lnTo>
                    <a:lnTo>
                      <a:pt x="923" y="650"/>
                    </a:lnTo>
                    <a:lnTo>
                      <a:pt x="922" y="654"/>
                    </a:lnTo>
                    <a:lnTo>
                      <a:pt x="923" y="656"/>
                    </a:lnTo>
                    <a:lnTo>
                      <a:pt x="925" y="657"/>
                    </a:lnTo>
                    <a:lnTo>
                      <a:pt x="925" y="657"/>
                    </a:lnTo>
                    <a:close/>
                    <a:moveTo>
                      <a:pt x="976" y="619"/>
                    </a:moveTo>
                    <a:lnTo>
                      <a:pt x="976" y="619"/>
                    </a:lnTo>
                    <a:lnTo>
                      <a:pt x="976" y="616"/>
                    </a:lnTo>
                    <a:lnTo>
                      <a:pt x="973" y="615"/>
                    </a:lnTo>
                    <a:lnTo>
                      <a:pt x="966" y="610"/>
                    </a:lnTo>
                    <a:lnTo>
                      <a:pt x="957" y="606"/>
                    </a:lnTo>
                    <a:lnTo>
                      <a:pt x="954" y="603"/>
                    </a:lnTo>
                    <a:lnTo>
                      <a:pt x="954" y="600"/>
                    </a:lnTo>
                    <a:lnTo>
                      <a:pt x="954" y="600"/>
                    </a:lnTo>
                    <a:lnTo>
                      <a:pt x="953" y="598"/>
                    </a:lnTo>
                    <a:lnTo>
                      <a:pt x="952" y="595"/>
                    </a:lnTo>
                    <a:lnTo>
                      <a:pt x="942" y="590"/>
                    </a:lnTo>
                    <a:lnTo>
                      <a:pt x="923" y="582"/>
                    </a:lnTo>
                    <a:lnTo>
                      <a:pt x="923" y="582"/>
                    </a:lnTo>
                    <a:lnTo>
                      <a:pt x="910" y="576"/>
                    </a:lnTo>
                    <a:lnTo>
                      <a:pt x="905" y="573"/>
                    </a:lnTo>
                    <a:lnTo>
                      <a:pt x="903" y="571"/>
                    </a:lnTo>
                    <a:lnTo>
                      <a:pt x="903" y="568"/>
                    </a:lnTo>
                    <a:lnTo>
                      <a:pt x="903" y="568"/>
                    </a:lnTo>
                    <a:lnTo>
                      <a:pt x="902" y="565"/>
                    </a:lnTo>
                    <a:lnTo>
                      <a:pt x="900" y="563"/>
                    </a:lnTo>
                    <a:lnTo>
                      <a:pt x="898" y="563"/>
                    </a:lnTo>
                    <a:lnTo>
                      <a:pt x="895" y="565"/>
                    </a:lnTo>
                    <a:lnTo>
                      <a:pt x="892" y="568"/>
                    </a:lnTo>
                    <a:lnTo>
                      <a:pt x="889" y="571"/>
                    </a:lnTo>
                    <a:lnTo>
                      <a:pt x="886" y="573"/>
                    </a:lnTo>
                    <a:lnTo>
                      <a:pt x="885" y="578"/>
                    </a:lnTo>
                    <a:lnTo>
                      <a:pt x="885" y="578"/>
                    </a:lnTo>
                    <a:lnTo>
                      <a:pt x="883" y="585"/>
                    </a:lnTo>
                    <a:lnTo>
                      <a:pt x="882" y="589"/>
                    </a:lnTo>
                    <a:lnTo>
                      <a:pt x="880" y="593"/>
                    </a:lnTo>
                    <a:lnTo>
                      <a:pt x="880" y="600"/>
                    </a:lnTo>
                    <a:lnTo>
                      <a:pt x="880" y="600"/>
                    </a:lnTo>
                    <a:lnTo>
                      <a:pt x="882" y="605"/>
                    </a:lnTo>
                    <a:lnTo>
                      <a:pt x="880" y="608"/>
                    </a:lnTo>
                    <a:lnTo>
                      <a:pt x="878" y="610"/>
                    </a:lnTo>
                    <a:lnTo>
                      <a:pt x="875" y="613"/>
                    </a:lnTo>
                    <a:lnTo>
                      <a:pt x="869" y="617"/>
                    </a:lnTo>
                    <a:lnTo>
                      <a:pt x="868" y="619"/>
                    </a:lnTo>
                    <a:lnTo>
                      <a:pt x="868" y="622"/>
                    </a:lnTo>
                    <a:lnTo>
                      <a:pt x="868" y="622"/>
                    </a:lnTo>
                    <a:lnTo>
                      <a:pt x="869" y="623"/>
                    </a:lnTo>
                    <a:lnTo>
                      <a:pt x="870" y="625"/>
                    </a:lnTo>
                    <a:lnTo>
                      <a:pt x="875" y="623"/>
                    </a:lnTo>
                    <a:lnTo>
                      <a:pt x="880" y="622"/>
                    </a:lnTo>
                    <a:lnTo>
                      <a:pt x="888" y="620"/>
                    </a:lnTo>
                    <a:lnTo>
                      <a:pt x="888" y="620"/>
                    </a:lnTo>
                    <a:lnTo>
                      <a:pt x="890" y="622"/>
                    </a:lnTo>
                    <a:lnTo>
                      <a:pt x="890" y="623"/>
                    </a:lnTo>
                    <a:lnTo>
                      <a:pt x="890" y="627"/>
                    </a:lnTo>
                    <a:lnTo>
                      <a:pt x="892" y="632"/>
                    </a:lnTo>
                    <a:lnTo>
                      <a:pt x="893" y="633"/>
                    </a:lnTo>
                    <a:lnTo>
                      <a:pt x="896" y="633"/>
                    </a:lnTo>
                    <a:lnTo>
                      <a:pt x="896" y="633"/>
                    </a:lnTo>
                    <a:lnTo>
                      <a:pt x="903" y="633"/>
                    </a:lnTo>
                    <a:lnTo>
                      <a:pt x="912" y="629"/>
                    </a:lnTo>
                    <a:lnTo>
                      <a:pt x="919" y="623"/>
                    </a:lnTo>
                    <a:lnTo>
                      <a:pt x="923" y="619"/>
                    </a:lnTo>
                    <a:lnTo>
                      <a:pt x="923" y="619"/>
                    </a:lnTo>
                    <a:lnTo>
                      <a:pt x="926" y="615"/>
                    </a:lnTo>
                    <a:lnTo>
                      <a:pt x="930" y="613"/>
                    </a:lnTo>
                    <a:lnTo>
                      <a:pt x="936" y="615"/>
                    </a:lnTo>
                    <a:lnTo>
                      <a:pt x="943" y="617"/>
                    </a:lnTo>
                    <a:lnTo>
                      <a:pt x="943" y="617"/>
                    </a:lnTo>
                    <a:lnTo>
                      <a:pt x="947" y="620"/>
                    </a:lnTo>
                    <a:lnTo>
                      <a:pt x="953" y="622"/>
                    </a:lnTo>
                    <a:lnTo>
                      <a:pt x="963" y="623"/>
                    </a:lnTo>
                    <a:lnTo>
                      <a:pt x="972" y="623"/>
                    </a:lnTo>
                    <a:lnTo>
                      <a:pt x="974" y="622"/>
                    </a:lnTo>
                    <a:lnTo>
                      <a:pt x="976" y="619"/>
                    </a:lnTo>
                    <a:lnTo>
                      <a:pt x="976" y="619"/>
                    </a:lnTo>
                    <a:close/>
                    <a:moveTo>
                      <a:pt x="1209" y="556"/>
                    </a:moveTo>
                    <a:lnTo>
                      <a:pt x="1209" y="556"/>
                    </a:lnTo>
                    <a:lnTo>
                      <a:pt x="1212" y="556"/>
                    </a:lnTo>
                    <a:lnTo>
                      <a:pt x="1215" y="558"/>
                    </a:lnTo>
                    <a:lnTo>
                      <a:pt x="1219" y="563"/>
                    </a:lnTo>
                    <a:lnTo>
                      <a:pt x="1225" y="571"/>
                    </a:lnTo>
                    <a:lnTo>
                      <a:pt x="1232" y="579"/>
                    </a:lnTo>
                    <a:lnTo>
                      <a:pt x="1232" y="579"/>
                    </a:lnTo>
                    <a:lnTo>
                      <a:pt x="1240" y="585"/>
                    </a:lnTo>
                    <a:lnTo>
                      <a:pt x="1243" y="585"/>
                    </a:lnTo>
                    <a:lnTo>
                      <a:pt x="1245" y="583"/>
                    </a:lnTo>
                    <a:lnTo>
                      <a:pt x="1247" y="580"/>
                    </a:lnTo>
                    <a:lnTo>
                      <a:pt x="1249" y="575"/>
                    </a:lnTo>
                    <a:lnTo>
                      <a:pt x="1249" y="575"/>
                    </a:lnTo>
                    <a:lnTo>
                      <a:pt x="1250" y="572"/>
                    </a:lnTo>
                    <a:lnTo>
                      <a:pt x="1253" y="571"/>
                    </a:lnTo>
                    <a:lnTo>
                      <a:pt x="1259" y="571"/>
                    </a:lnTo>
                    <a:lnTo>
                      <a:pt x="1263" y="569"/>
                    </a:lnTo>
                    <a:lnTo>
                      <a:pt x="1266" y="568"/>
                    </a:lnTo>
                    <a:lnTo>
                      <a:pt x="1266" y="565"/>
                    </a:lnTo>
                    <a:lnTo>
                      <a:pt x="1266" y="565"/>
                    </a:lnTo>
                    <a:lnTo>
                      <a:pt x="1266" y="562"/>
                    </a:lnTo>
                    <a:lnTo>
                      <a:pt x="1267" y="559"/>
                    </a:lnTo>
                    <a:lnTo>
                      <a:pt x="1273" y="553"/>
                    </a:lnTo>
                    <a:lnTo>
                      <a:pt x="1279" y="548"/>
                    </a:lnTo>
                    <a:lnTo>
                      <a:pt x="1286" y="545"/>
                    </a:lnTo>
                    <a:lnTo>
                      <a:pt x="1286" y="545"/>
                    </a:lnTo>
                    <a:lnTo>
                      <a:pt x="1289" y="543"/>
                    </a:lnTo>
                    <a:lnTo>
                      <a:pt x="1289" y="542"/>
                    </a:lnTo>
                    <a:lnTo>
                      <a:pt x="1287" y="539"/>
                    </a:lnTo>
                    <a:lnTo>
                      <a:pt x="1284" y="538"/>
                    </a:lnTo>
                    <a:lnTo>
                      <a:pt x="1277" y="535"/>
                    </a:lnTo>
                    <a:lnTo>
                      <a:pt x="1267" y="534"/>
                    </a:lnTo>
                    <a:lnTo>
                      <a:pt x="1267" y="534"/>
                    </a:lnTo>
                    <a:lnTo>
                      <a:pt x="1260" y="532"/>
                    </a:lnTo>
                    <a:lnTo>
                      <a:pt x="1257" y="529"/>
                    </a:lnTo>
                    <a:lnTo>
                      <a:pt x="1255" y="525"/>
                    </a:lnTo>
                    <a:lnTo>
                      <a:pt x="1255" y="521"/>
                    </a:lnTo>
                    <a:lnTo>
                      <a:pt x="1255" y="521"/>
                    </a:lnTo>
                    <a:lnTo>
                      <a:pt x="1253" y="519"/>
                    </a:lnTo>
                    <a:lnTo>
                      <a:pt x="1250" y="516"/>
                    </a:lnTo>
                    <a:lnTo>
                      <a:pt x="1243" y="511"/>
                    </a:lnTo>
                    <a:lnTo>
                      <a:pt x="1233" y="507"/>
                    </a:lnTo>
                    <a:lnTo>
                      <a:pt x="1229" y="507"/>
                    </a:lnTo>
                    <a:lnTo>
                      <a:pt x="1226" y="507"/>
                    </a:lnTo>
                    <a:lnTo>
                      <a:pt x="1226" y="507"/>
                    </a:lnTo>
                    <a:lnTo>
                      <a:pt x="1223" y="507"/>
                    </a:lnTo>
                    <a:lnTo>
                      <a:pt x="1220" y="507"/>
                    </a:lnTo>
                    <a:lnTo>
                      <a:pt x="1212" y="502"/>
                    </a:lnTo>
                    <a:lnTo>
                      <a:pt x="1205" y="498"/>
                    </a:lnTo>
                    <a:lnTo>
                      <a:pt x="1198" y="497"/>
                    </a:lnTo>
                    <a:lnTo>
                      <a:pt x="1198" y="497"/>
                    </a:lnTo>
                    <a:lnTo>
                      <a:pt x="1191" y="495"/>
                    </a:lnTo>
                    <a:lnTo>
                      <a:pt x="1183" y="491"/>
                    </a:lnTo>
                    <a:lnTo>
                      <a:pt x="1178" y="485"/>
                    </a:lnTo>
                    <a:lnTo>
                      <a:pt x="1176" y="482"/>
                    </a:lnTo>
                    <a:lnTo>
                      <a:pt x="1176" y="478"/>
                    </a:lnTo>
                    <a:lnTo>
                      <a:pt x="1176" y="478"/>
                    </a:lnTo>
                    <a:lnTo>
                      <a:pt x="1178" y="475"/>
                    </a:lnTo>
                    <a:lnTo>
                      <a:pt x="1179" y="475"/>
                    </a:lnTo>
                    <a:lnTo>
                      <a:pt x="1186" y="475"/>
                    </a:lnTo>
                    <a:lnTo>
                      <a:pt x="1193" y="477"/>
                    </a:lnTo>
                    <a:lnTo>
                      <a:pt x="1196" y="475"/>
                    </a:lnTo>
                    <a:lnTo>
                      <a:pt x="1198" y="474"/>
                    </a:lnTo>
                    <a:lnTo>
                      <a:pt x="1198" y="474"/>
                    </a:lnTo>
                    <a:lnTo>
                      <a:pt x="1199" y="471"/>
                    </a:lnTo>
                    <a:lnTo>
                      <a:pt x="1196" y="470"/>
                    </a:lnTo>
                    <a:lnTo>
                      <a:pt x="1191" y="468"/>
                    </a:lnTo>
                    <a:lnTo>
                      <a:pt x="1183" y="467"/>
                    </a:lnTo>
                    <a:lnTo>
                      <a:pt x="1181" y="467"/>
                    </a:lnTo>
                    <a:lnTo>
                      <a:pt x="1179" y="464"/>
                    </a:lnTo>
                    <a:lnTo>
                      <a:pt x="1179" y="464"/>
                    </a:lnTo>
                    <a:lnTo>
                      <a:pt x="1181" y="461"/>
                    </a:lnTo>
                    <a:lnTo>
                      <a:pt x="1182" y="460"/>
                    </a:lnTo>
                    <a:lnTo>
                      <a:pt x="1185" y="460"/>
                    </a:lnTo>
                    <a:lnTo>
                      <a:pt x="1189" y="457"/>
                    </a:lnTo>
                    <a:lnTo>
                      <a:pt x="1189" y="457"/>
                    </a:lnTo>
                    <a:lnTo>
                      <a:pt x="1191" y="455"/>
                    </a:lnTo>
                    <a:lnTo>
                      <a:pt x="1191" y="454"/>
                    </a:lnTo>
                    <a:lnTo>
                      <a:pt x="1188" y="450"/>
                    </a:lnTo>
                    <a:lnTo>
                      <a:pt x="1185" y="447"/>
                    </a:lnTo>
                    <a:lnTo>
                      <a:pt x="1181" y="444"/>
                    </a:lnTo>
                    <a:lnTo>
                      <a:pt x="1181" y="444"/>
                    </a:lnTo>
                    <a:lnTo>
                      <a:pt x="1179" y="444"/>
                    </a:lnTo>
                    <a:lnTo>
                      <a:pt x="1178" y="444"/>
                    </a:lnTo>
                    <a:lnTo>
                      <a:pt x="1175" y="445"/>
                    </a:lnTo>
                    <a:lnTo>
                      <a:pt x="1172" y="448"/>
                    </a:lnTo>
                    <a:lnTo>
                      <a:pt x="1169" y="450"/>
                    </a:lnTo>
                    <a:lnTo>
                      <a:pt x="1169" y="450"/>
                    </a:lnTo>
                    <a:lnTo>
                      <a:pt x="1168" y="450"/>
                    </a:lnTo>
                    <a:lnTo>
                      <a:pt x="1166" y="448"/>
                    </a:lnTo>
                    <a:lnTo>
                      <a:pt x="1168" y="445"/>
                    </a:lnTo>
                    <a:lnTo>
                      <a:pt x="1172" y="437"/>
                    </a:lnTo>
                    <a:lnTo>
                      <a:pt x="1172" y="437"/>
                    </a:lnTo>
                    <a:lnTo>
                      <a:pt x="1172" y="435"/>
                    </a:lnTo>
                    <a:lnTo>
                      <a:pt x="1171" y="433"/>
                    </a:lnTo>
                    <a:lnTo>
                      <a:pt x="1164" y="430"/>
                    </a:lnTo>
                    <a:lnTo>
                      <a:pt x="1155" y="428"/>
                    </a:lnTo>
                    <a:lnTo>
                      <a:pt x="1146" y="428"/>
                    </a:lnTo>
                    <a:lnTo>
                      <a:pt x="1146" y="428"/>
                    </a:lnTo>
                    <a:lnTo>
                      <a:pt x="1142" y="430"/>
                    </a:lnTo>
                    <a:lnTo>
                      <a:pt x="1138" y="428"/>
                    </a:lnTo>
                    <a:lnTo>
                      <a:pt x="1137" y="425"/>
                    </a:lnTo>
                    <a:lnTo>
                      <a:pt x="1135" y="421"/>
                    </a:lnTo>
                    <a:lnTo>
                      <a:pt x="1135" y="421"/>
                    </a:lnTo>
                    <a:lnTo>
                      <a:pt x="1135" y="420"/>
                    </a:lnTo>
                    <a:lnTo>
                      <a:pt x="1134" y="418"/>
                    </a:lnTo>
                    <a:lnTo>
                      <a:pt x="1128" y="420"/>
                    </a:lnTo>
                    <a:lnTo>
                      <a:pt x="1121" y="423"/>
                    </a:lnTo>
                    <a:lnTo>
                      <a:pt x="1115" y="425"/>
                    </a:lnTo>
                    <a:lnTo>
                      <a:pt x="1115" y="425"/>
                    </a:lnTo>
                    <a:lnTo>
                      <a:pt x="1112" y="427"/>
                    </a:lnTo>
                    <a:lnTo>
                      <a:pt x="1111" y="427"/>
                    </a:lnTo>
                    <a:lnTo>
                      <a:pt x="1107" y="424"/>
                    </a:lnTo>
                    <a:lnTo>
                      <a:pt x="1107" y="423"/>
                    </a:lnTo>
                    <a:lnTo>
                      <a:pt x="1107" y="421"/>
                    </a:lnTo>
                    <a:lnTo>
                      <a:pt x="1109" y="420"/>
                    </a:lnTo>
                    <a:lnTo>
                      <a:pt x="1109" y="420"/>
                    </a:lnTo>
                    <a:lnTo>
                      <a:pt x="1115" y="418"/>
                    </a:lnTo>
                    <a:lnTo>
                      <a:pt x="1119" y="415"/>
                    </a:lnTo>
                    <a:lnTo>
                      <a:pt x="1122" y="413"/>
                    </a:lnTo>
                    <a:lnTo>
                      <a:pt x="1124" y="410"/>
                    </a:lnTo>
                    <a:lnTo>
                      <a:pt x="1122" y="407"/>
                    </a:lnTo>
                    <a:lnTo>
                      <a:pt x="1122" y="407"/>
                    </a:lnTo>
                    <a:lnTo>
                      <a:pt x="1121" y="406"/>
                    </a:lnTo>
                    <a:lnTo>
                      <a:pt x="1118" y="404"/>
                    </a:lnTo>
                    <a:lnTo>
                      <a:pt x="1111" y="403"/>
                    </a:lnTo>
                    <a:lnTo>
                      <a:pt x="1104" y="404"/>
                    </a:lnTo>
                    <a:lnTo>
                      <a:pt x="1101" y="406"/>
                    </a:lnTo>
                    <a:lnTo>
                      <a:pt x="1098" y="408"/>
                    </a:lnTo>
                    <a:lnTo>
                      <a:pt x="1098" y="408"/>
                    </a:lnTo>
                    <a:lnTo>
                      <a:pt x="1097" y="410"/>
                    </a:lnTo>
                    <a:lnTo>
                      <a:pt x="1094" y="410"/>
                    </a:lnTo>
                    <a:lnTo>
                      <a:pt x="1091" y="408"/>
                    </a:lnTo>
                    <a:lnTo>
                      <a:pt x="1088" y="406"/>
                    </a:lnTo>
                    <a:lnTo>
                      <a:pt x="1082" y="400"/>
                    </a:lnTo>
                    <a:lnTo>
                      <a:pt x="1081" y="396"/>
                    </a:lnTo>
                    <a:lnTo>
                      <a:pt x="1080" y="393"/>
                    </a:lnTo>
                    <a:lnTo>
                      <a:pt x="1080" y="393"/>
                    </a:lnTo>
                    <a:lnTo>
                      <a:pt x="1080" y="391"/>
                    </a:lnTo>
                    <a:lnTo>
                      <a:pt x="1077" y="390"/>
                    </a:lnTo>
                    <a:lnTo>
                      <a:pt x="1070" y="390"/>
                    </a:lnTo>
                    <a:lnTo>
                      <a:pt x="1065" y="388"/>
                    </a:lnTo>
                    <a:lnTo>
                      <a:pt x="1063" y="387"/>
                    </a:lnTo>
                    <a:lnTo>
                      <a:pt x="1060" y="386"/>
                    </a:lnTo>
                    <a:lnTo>
                      <a:pt x="1060" y="381"/>
                    </a:lnTo>
                    <a:lnTo>
                      <a:pt x="1060" y="381"/>
                    </a:lnTo>
                    <a:lnTo>
                      <a:pt x="1060" y="378"/>
                    </a:lnTo>
                    <a:lnTo>
                      <a:pt x="1057" y="376"/>
                    </a:lnTo>
                    <a:lnTo>
                      <a:pt x="1053" y="373"/>
                    </a:lnTo>
                    <a:lnTo>
                      <a:pt x="1047" y="371"/>
                    </a:lnTo>
                    <a:lnTo>
                      <a:pt x="1036" y="369"/>
                    </a:lnTo>
                    <a:lnTo>
                      <a:pt x="1026" y="369"/>
                    </a:lnTo>
                    <a:lnTo>
                      <a:pt x="1026" y="369"/>
                    </a:lnTo>
                    <a:lnTo>
                      <a:pt x="1020" y="370"/>
                    </a:lnTo>
                    <a:lnTo>
                      <a:pt x="1014" y="373"/>
                    </a:lnTo>
                    <a:lnTo>
                      <a:pt x="1010" y="377"/>
                    </a:lnTo>
                    <a:lnTo>
                      <a:pt x="1008" y="380"/>
                    </a:lnTo>
                    <a:lnTo>
                      <a:pt x="1008" y="381"/>
                    </a:lnTo>
                    <a:lnTo>
                      <a:pt x="1008" y="381"/>
                    </a:lnTo>
                    <a:lnTo>
                      <a:pt x="1008" y="384"/>
                    </a:lnTo>
                    <a:lnTo>
                      <a:pt x="1007" y="386"/>
                    </a:lnTo>
                    <a:lnTo>
                      <a:pt x="1004" y="386"/>
                    </a:lnTo>
                    <a:lnTo>
                      <a:pt x="1001" y="383"/>
                    </a:lnTo>
                    <a:lnTo>
                      <a:pt x="999" y="378"/>
                    </a:lnTo>
                    <a:lnTo>
                      <a:pt x="999" y="378"/>
                    </a:lnTo>
                    <a:lnTo>
                      <a:pt x="997" y="377"/>
                    </a:lnTo>
                    <a:lnTo>
                      <a:pt x="994" y="377"/>
                    </a:lnTo>
                    <a:lnTo>
                      <a:pt x="987" y="380"/>
                    </a:lnTo>
                    <a:lnTo>
                      <a:pt x="979" y="384"/>
                    </a:lnTo>
                    <a:lnTo>
                      <a:pt x="972" y="387"/>
                    </a:lnTo>
                    <a:lnTo>
                      <a:pt x="972" y="387"/>
                    </a:lnTo>
                    <a:lnTo>
                      <a:pt x="970" y="386"/>
                    </a:lnTo>
                    <a:lnTo>
                      <a:pt x="970" y="384"/>
                    </a:lnTo>
                    <a:lnTo>
                      <a:pt x="972" y="376"/>
                    </a:lnTo>
                    <a:lnTo>
                      <a:pt x="973" y="367"/>
                    </a:lnTo>
                    <a:lnTo>
                      <a:pt x="973" y="363"/>
                    </a:lnTo>
                    <a:lnTo>
                      <a:pt x="973" y="360"/>
                    </a:lnTo>
                    <a:lnTo>
                      <a:pt x="973" y="360"/>
                    </a:lnTo>
                    <a:lnTo>
                      <a:pt x="967" y="351"/>
                    </a:lnTo>
                    <a:lnTo>
                      <a:pt x="964" y="347"/>
                    </a:lnTo>
                    <a:lnTo>
                      <a:pt x="962" y="340"/>
                    </a:lnTo>
                    <a:lnTo>
                      <a:pt x="962" y="340"/>
                    </a:lnTo>
                    <a:lnTo>
                      <a:pt x="959" y="337"/>
                    </a:lnTo>
                    <a:lnTo>
                      <a:pt x="956" y="336"/>
                    </a:lnTo>
                    <a:lnTo>
                      <a:pt x="952" y="334"/>
                    </a:lnTo>
                    <a:lnTo>
                      <a:pt x="946" y="334"/>
                    </a:lnTo>
                    <a:lnTo>
                      <a:pt x="937" y="336"/>
                    </a:lnTo>
                    <a:lnTo>
                      <a:pt x="933" y="339"/>
                    </a:lnTo>
                    <a:lnTo>
                      <a:pt x="930" y="340"/>
                    </a:lnTo>
                    <a:lnTo>
                      <a:pt x="930" y="340"/>
                    </a:lnTo>
                    <a:lnTo>
                      <a:pt x="927" y="343"/>
                    </a:lnTo>
                    <a:lnTo>
                      <a:pt x="923" y="344"/>
                    </a:lnTo>
                    <a:lnTo>
                      <a:pt x="915" y="346"/>
                    </a:lnTo>
                    <a:lnTo>
                      <a:pt x="905" y="349"/>
                    </a:lnTo>
                    <a:lnTo>
                      <a:pt x="900" y="351"/>
                    </a:lnTo>
                    <a:lnTo>
                      <a:pt x="896" y="354"/>
                    </a:lnTo>
                    <a:lnTo>
                      <a:pt x="896" y="354"/>
                    </a:lnTo>
                    <a:lnTo>
                      <a:pt x="893" y="359"/>
                    </a:lnTo>
                    <a:lnTo>
                      <a:pt x="892" y="361"/>
                    </a:lnTo>
                    <a:lnTo>
                      <a:pt x="892" y="366"/>
                    </a:lnTo>
                    <a:lnTo>
                      <a:pt x="893" y="369"/>
                    </a:lnTo>
                    <a:lnTo>
                      <a:pt x="898" y="374"/>
                    </a:lnTo>
                    <a:lnTo>
                      <a:pt x="900" y="377"/>
                    </a:lnTo>
                    <a:lnTo>
                      <a:pt x="900" y="377"/>
                    </a:lnTo>
                    <a:lnTo>
                      <a:pt x="902" y="378"/>
                    </a:lnTo>
                    <a:lnTo>
                      <a:pt x="900" y="381"/>
                    </a:lnTo>
                    <a:lnTo>
                      <a:pt x="896" y="384"/>
                    </a:lnTo>
                    <a:lnTo>
                      <a:pt x="892" y="388"/>
                    </a:lnTo>
                    <a:lnTo>
                      <a:pt x="890" y="390"/>
                    </a:lnTo>
                    <a:lnTo>
                      <a:pt x="892" y="393"/>
                    </a:lnTo>
                    <a:lnTo>
                      <a:pt x="892" y="393"/>
                    </a:lnTo>
                    <a:lnTo>
                      <a:pt x="898" y="396"/>
                    </a:lnTo>
                    <a:lnTo>
                      <a:pt x="903" y="397"/>
                    </a:lnTo>
                    <a:lnTo>
                      <a:pt x="907" y="400"/>
                    </a:lnTo>
                    <a:lnTo>
                      <a:pt x="909" y="401"/>
                    </a:lnTo>
                    <a:lnTo>
                      <a:pt x="909" y="404"/>
                    </a:lnTo>
                    <a:lnTo>
                      <a:pt x="909" y="404"/>
                    </a:lnTo>
                    <a:lnTo>
                      <a:pt x="909" y="407"/>
                    </a:lnTo>
                    <a:lnTo>
                      <a:pt x="906" y="408"/>
                    </a:lnTo>
                    <a:lnTo>
                      <a:pt x="902" y="407"/>
                    </a:lnTo>
                    <a:lnTo>
                      <a:pt x="898" y="406"/>
                    </a:lnTo>
                    <a:lnTo>
                      <a:pt x="888" y="400"/>
                    </a:lnTo>
                    <a:lnTo>
                      <a:pt x="885" y="397"/>
                    </a:lnTo>
                    <a:lnTo>
                      <a:pt x="882" y="394"/>
                    </a:lnTo>
                    <a:lnTo>
                      <a:pt x="882" y="394"/>
                    </a:lnTo>
                    <a:lnTo>
                      <a:pt x="880" y="388"/>
                    </a:lnTo>
                    <a:lnTo>
                      <a:pt x="880" y="383"/>
                    </a:lnTo>
                    <a:lnTo>
                      <a:pt x="880" y="378"/>
                    </a:lnTo>
                    <a:lnTo>
                      <a:pt x="879" y="373"/>
                    </a:lnTo>
                    <a:lnTo>
                      <a:pt x="879" y="373"/>
                    </a:lnTo>
                    <a:lnTo>
                      <a:pt x="876" y="369"/>
                    </a:lnTo>
                    <a:lnTo>
                      <a:pt x="878" y="364"/>
                    </a:lnTo>
                    <a:lnTo>
                      <a:pt x="882" y="357"/>
                    </a:lnTo>
                    <a:lnTo>
                      <a:pt x="888" y="350"/>
                    </a:lnTo>
                    <a:lnTo>
                      <a:pt x="888" y="350"/>
                    </a:lnTo>
                    <a:lnTo>
                      <a:pt x="893" y="344"/>
                    </a:lnTo>
                    <a:lnTo>
                      <a:pt x="899" y="341"/>
                    </a:lnTo>
                    <a:lnTo>
                      <a:pt x="902" y="340"/>
                    </a:lnTo>
                    <a:lnTo>
                      <a:pt x="903" y="336"/>
                    </a:lnTo>
                    <a:lnTo>
                      <a:pt x="903" y="336"/>
                    </a:lnTo>
                    <a:lnTo>
                      <a:pt x="902" y="334"/>
                    </a:lnTo>
                    <a:lnTo>
                      <a:pt x="898" y="333"/>
                    </a:lnTo>
                    <a:lnTo>
                      <a:pt x="890" y="333"/>
                    </a:lnTo>
                    <a:lnTo>
                      <a:pt x="880" y="334"/>
                    </a:lnTo>
                    <a:lnTo>
                      <a:pt x="870" y="336"/>
                    </a:lnTo>
                    <a:lnTo>
                      <a:pt x="861" y="340"/>
                    </a:lnTo>
                    <a:lnTo>
                      <a:pt x="849" y="344"/>
                    </a:lnTo>
                    <a:lnTo>
                      <a:pt x="841" y="351"/>
                    </a:lnTo>
                    <a:lnTo>
                      <a:pt x="841" y="351"/>
                    </a:lnTo>
                    <a:lnTo>
                      <a:pt x="834" y="360"/>
                    </a:lnTo>
                    <a:lnTo>
                      <a:pt x="828" y="369"/>
                    </a:lnTo>
                    <a:lnTo>
                      <a:pt x="825" y="377"/>
                    </a:lnTo>
                    <a:lnTo>
                      <a:pt x="824" y="386"/>
                    </a:lnTo>
                    <a:lnTo>
                      <a:pt x="824" y="393"/>
                    </a:lnTo>
                    <a:lnTo>
                      <a:pt x="824" y="400"/>
                    </a:lnTo>
                    <a:lnTo>
                      <a:pt x="825" y="407"/>
                    </a:lnTo>
                    <a:lnTo>
                      <a:pt x="825" y="407"/>
                    </a:lnTo>
                    <a:lnTo>
                      <a:pt x="826" y="410"/>
                    </a:lnTo>
                    <a:lnTo>
                      <a:pt x="829" y="410"/>
                    </a:lnTo>
                    <a:lnTo>
                      <a:pt x="839" y="411"/>
                    </a:lnTo>
                    <a:lnTo>
                      <a:pt x="849" y="413"/>
                    </a:lnTo>
                    <a:lnTo>
                      <a:pt x="859" y="414"/>
                    </a:lnTo>
                    <a:lnTo>
                      <a:pt x="859" y="414"/>
                    </a:lnTo>
                    <a:lnTo>
                      <a:pt x="865" y="417"/>
                    </a:lnTo>
                    <a:lnTo>
                      <a:pt x="866" y="418"/>
                    </a:lnTo>
                    <a:lnTo>
                      <a:pt x="866" y="420"/>
                    </a:lnTo>
                    <a:lnTo>
                      <a:pt x="862" y="421"/>
                    </a:lnTo>
                    <a:lnTo>
                      <a:pt x="856" y="421"/>
                    </a:lnTo>
                    <a:lnTo>
                      <a:pt x="856" y="421"/>
                    </a:lnTo>
                    <a:lnTo>
                      <a:pt x="841" y="420"/>
                    </a:lnTo>
                    <a:lnTo>
                      <a:pt x="834" y="420"/>
                    </a:lnTo>
                    <a:lnTo>
                      <a:pt x="832" y="421"/>
                    </a:lnTo>
                    <a:lnTo>
                      <a:pt x="832" y="423"/>
                    </a:lnTo>
                    <a:lnTo>
                      <a:pt x="832" y="423"/>
                    </a:lnTo>
                    <a:lnTo>
                      <a:pt x="834" y="425"/>
                    </a:lnTo>
                    <a:lnTo>
                      <a:pt x="835" y="428"/>
                    </a:lnTo>
                    <a:lnTo>
                      <a:pt x="843" y="434"/>
                    </a:lnTo>
                    <a:lnTo>
                      <a:pt x="853" y="438"/>
                    </a:lnTo>
                    <a:lnTo>
                      <a:pt x="859" y="440"/>
                    </a:lnTo>
                    <a:lnTo>
                      <a:pt x="863" y="438"/>
                    </a:lnTo>
                    <a:lnTo>
                      <a:pt x="863" y="438"/>
                    </a:lnTo>
                    <a:lnTo>
                      <a:pt x="870" y="437"/>
                    </a:lnTo>
                    <a:lnTo>
                      <a:pt x="873" y="437"/>
                    </a:lnTo>
                    <a:lnTo>
                      <a:pt x="876" y="438"/>
                    </a:lnTo>
                    <a:lnTo>
                      <a:pt x="879" y="442"/>
                    </a:lnTo>
                    <a:lnTo>
                      <a:pt x="879" y="442"/>
                    </a:lnTo>
                    <a:lnTo>
                      <a:pt x="882" y="444"/>
                    </a:lnTo>
                    <a:lnTo>
                      <a:pt x="885" y="445"/>
                    </a:lnTo>
                    <a:lnTo>
                      <a:pt x="892" y="447"/>
                    </a:lnTo>
                    <a:lnTo>
                      <a:pt x="912" y="447"/>
                    </a:lnTo>
                    <a:lnTo>
                      <a:pt x="912" y="447"/>
                    </a:lnTo>
                    <a:lnTo>
                      <a:pt x="922" y="448"/>
                    </a:lnTo>
                    <a:lnTo>
                      <a:pt x="932" y="451"/>
                    </a:lnTo>
                    <a:lnTo>
                      <a:pt x="947" y="454"/>
                    </a:lnTo>
                    <a:lnTo>
                      <a:pt x="947" y="454"/>
                    </a:lnTo>
                    <a:lnTo>
                      <a:pt x="952" y="454"/>
                    </a:lnTo>
                    <a:lnTo>
                      <a:pt x="957" y="452"/>
                    </a:lnTo>
                    <a:lnTo>
                      <a:pt x="962" y="450"/>
                    </a:lnTo>
                    <a:lnTo>
                      <a:pt x="963" y="447"/>
                    </a:lnTo>
                    <a:lnTo>
                      <a:pt x="963" y="447"/>
                    </a:lnTo>
                    <a:lnTo>
                      <a:pt x="966" y="445"/>
                    </a:lnTo>
                    <a:lnTo>
                      <a:pt x="969" y="445"/>
                    </a:lnTo>
                    <a:lnTo>
                      <a:pt x="980" y="448"/>
                    </a:lnTo>
                    <a:lnTo>
                      <a:pt x="991" y="451"/>
                    </a:lnTo>
                    <a:lnTo>
                      <a:pt x="1000" y="451"/>
                    </a:lnTo>
                    <a:lnTo>
                      <a:pt x="1000" y="451"/>
                    </a:lnTo>
                    <a:lnTo>
                      <a:pt x="1003" y="451"/>
                    </a:lnTo>
                    <a:lnTo>
                      <a:pt x="1003" y="450"/>
                    </a:lnTo>
                    <a:lnTo>
                      <a:pt x="1003" y="447"/>
                    </a:lnTo>
                    <a:lnTo>
                      <a:pt x="1001" y="444"/>
                    </a:lnTo>
                    <a:lnTo>
                      <a:pt x="997" y="441"/>
                    </a:lnTo>
                    <a:lnTo>
                      <a:pt x="997" y="441"/>
                    </a:lnTo>
                    <a:lnTo>
                      <a:pt x="996" y="440"/>
                    </a:lnTo>
                    <a:lnTo>
                      <a:pt x="996" y="435"/>
                    </a:lnTo>
                    <a:lnTo>
                      <a:pt x="997" y="434"/>
                    </a:lnTo>
                    <a:lnTo>
                      <a:pt x="999" y="433"/>
                    </a:lnTo>
                    <a:lnTo>
                      <a:pt x="1001" y="434"/>
                    </a:lnTo>
                    <a:lnTo>
                      <a:pt x="1001" y="434"/>
                    </a:lnTo>
                    <a:lnTo>
                      <a:pt x="1013" y="438"/>
                    </a:lnTo>
                    <a:lnTo>
                      <a:pt x="1017" y="442"/>
                    </a:lnTo>
                    <a:lnTo>
                      <a:pt x="1020" y="445"/>
                    </a:lnTo>
                    <a:lnTo>
                      <a:pt x="1020" y="445"/>
                    </a:lnTo>
                    <a:lnTo>
                      <a:pt x="1023" y="448"/>
                    </a:lnTo>
                    <a:lnTo>
                      <a:pt x="1026" y="450"/>
                    </a:lnTo>
                    <a:lnTo>
                      <a:pt x="1027" y="451"/>
                    </a:lnTo>
                    <a:lnTo>
                      <a:pt x="1028" y="454"/>
                    </a:lnTo>
                    <a:lnTo>
                      <a:pt x="1028" y="454"/>
                    </a:lnTo>
                    <a:lnTo>
                      <a:pt x="1030" y="455"/>
                    </a:lnTo>
                    <a:lnTo>
                      <a:pt x="1033" y="458"/>
                    </a:lnTo>
                    <a:lnTo>
                      <a:pt x="1041" y="461"/>
                    </a:lnTo>
                    <a:lnTo>
                      <a:pt x="1050" y="465"/>
                    </a:lnTo>
                    <a:lnTo>
                      <a:pt x="1051" y="468"/>
                    </a:lnTo>
                    <a:lnTo>
                      <a:pt x="1053" y="470"/>
                    </a:lnTo>
                    <a:lnTo>
                      <a:pt x="1053" y="470"/>
                    </a:lnTo>
                    <a:lnTo>
                      <a:pt x="1053" y="472"/>
                    </a:lnTo>
                    <a:lnTo>
                      <a:pt x="1050" y="474"/>
                    </a:lnTo>
                    <a:lnTo>
                      <a:pt x="1043" y="477"/>
                    </a:lnTo>
                    <a:lnTo>
                      <a:pt x="1037" y="481"/>
                    </a:lnTo>
                    <a:lnTo>
                      <a:pt x="1037" y="482"/>
                    </a:lnTo>
                    <a:lnTo>
                      <a:pt x="1037" y="484"/>
                    </a:lnTo>
                    <a:lnTo>
                      <a:pt x="1037" y="484"/>
                    </a:lnTo>
                    <a:lnTo>
                      <a:pt x="1040" y="485"/>
                    </a:lnTo>
                    <a:lnTo>
                      <a:pt x="1043" y="485"/>
                    </a:lnTo>
                    <a:lnTo>
                      <a:pt x="1050" y="482"/>
                    </a:lnTo>
                    <a:lnTo>
                      <a:pt x="1055" y="478"/>
                    </a:lnTo>
                    <a:lnTo>
                      <a:pt x="1063" y="477"/>
                    </a:lnTo>
                    <a:lnTo>
                      <a:pt x="1063" y="477"/>
                    </a:lnTo>
                    <a:lnTo>
                      <a:pt x="1065" y="477"/>
                    </a:lnTo>
                    <a:lnTo>
                      <a:pt x="1067" y="479"/>
                    </a:lnTo>
                    <a:lnTo>
                      <a:pt x="1071" y="485"/>
                    </a:lnTo>
                    <a:lnTo>
                      <a:pt x="1074" y="491"/>
                    </a:lnTo>
                    <a:lnTo>
                      <a:pt x="1075" y="492"/>
                    </a:lnTo>
                    <a:lnTo>
                      <a:pt x="1077" y="492"/>
                    </a:lnTo>
                    <a:lnTo>
                      <a:pt x="1077" y="492"/>
                    </a:lnTo>
                    <a:lnTo>
                      <a:pt x="1081" y="491"/>
                    </a:lnTo>
                    <a:lnTo>
                      <a:pt x="1084" y="491"/>
                    </a:lnTo>
                    <a:lnTo>
                      <a:pt x="1090" y="494"/>
                    </a:lnTo>
                    <a:lnTo>
                      <a:pt x="1095" y="499"/>
                    </a:lnTo>
                    <a:lnTo>
                      <a:pt x="1101" y="508"/>
                    </a:lnTo>
                    <a:lnTo>
                      <a:pt x="1101" y="508"/>
                    </a:lnTo>
                    <a:lnTo>
                      <a:pt x="1104" y="512"/>
                    </a:lnTo>
                    <a:lnTo>
                      <a:pt x="1105" y="516"/>
                    </a:lnTo>
                    <a:lnTo>
                      <a:pt x="1104" y="525"/>
                    </a:lnTo>
                    <a:lnTo>
                      <a:pt x="1102" y="531"/>
                    </a:lnTo>
                    <a:lnTo>
                      <a:pt x="1101" y="535"/>
                    </a:lnTo>
                    <a:lnTo>
                      <a:pt x="1101" y="535"/>
                    </a:lnTo>
                    <a:lnTo>
                      <a:pt x="1102" y="536"/>
                    </a:lnTo>
                    <a:lnTo>
                      <a:pt x="1105" y="538"/>
                    </a:lnTo>
                    <a:lnTo>
                      <a:pt x="1111" y="538"/>
                    </a:lnTo>
                    <a:lnTo>
                      <a:pt x="1119" y="536"/>
                    </a:lnTo>
                    <a:lnTo>
                      <a:pt x="1128" y="534"/>
                    </a:lnTo>
                    <a:lnTo>
                      <a:pt x="1128" y="534"/>
                    </a:lnTo>
                    <a:lnTo>
                      <a:pt x="1131" y="532"/>
                    </a:lnTo>
                    <a:lnTo>
                      <a:pt x="1135" y="532"/>
                    </a:lnTo>
                    <a:lnTo>
                      <a:pt x="1141" y="535"/>
                    </a:lnTo>
                    <a:lnTo>
                      <a:pt x="1146" y="541"/>
                    </a:lnTo>
                    <a:lnTo>
                      <a:pt x="1152" y="545"/>
                    </a:lnTo>
                    <a:lnTo>
                      <a:pt x="1152" y="545"/>
                    </a:lnTo>
                    <a:lnTo>
                      <a:pt x="1154" y="548"/>
                    </a:lnTo>
                    <a:lnTo>
                      <a:pt x="1152" y="551"/>
                    </a:lnTo>
                    <a:lnTo>
                      <a:pt x="1148" y="553"/>
                    </a:lnTo>
                    <a:lnTo>
                      <a:pt x="1142" y="556"/>
                    </a:lnTo>
                    <a:lnTo>
                      <a:pt x="1132" y="558"/>
                    </a:lnTo>
                    <a:lnTo>
                      <a:pt x="1129" y="558"/>
                    </a:lnTo>
                    <a:lnTo>
                      <a:pt x="1129" y="556"/>
                    </a:lnTo>
                    <a:lnTo>
                      <a:pt x="1129" y="556"/>
                    </a:lnTo>
                    <a:lnTo>
                      <a:pt x="1129" y="555"/>
                    </a:lnTo>
                    <a:lnTo>
                      <a:pt x="1127" y="551"/>
                    </a:lnTo>
                    <a:lnTo>
                      <a:pt x="1124" y="548"/>
                    </a:lnTo>
                    <a:lnTo>
                      <a:pt x="1118" y="545"/>
                    </a:lnTo>
                    <a:lnTo>
                      <a:pt x="1111" y="542"/>
                    </a:lnTo>
                    <a:lnTo>
                      <a:pt x="1104" y="541"/>
                    </a:lnTo>
                    <a:lnTo>
                      <a:pt x="1097" y="541"/>
                    </a:lnTo>
                    <a:lnTo>
                      <a:pt x="1088" y="542"/>
                    </a:lnTo>
                    <a:lnTo>
                      <a:pt x="1088" y="542"/>
                    </a:lnTo>
                    <a:lnTo>
                      <a:pt x="1082" y="545"/>
                    </a:lnTo>
                    <a:lnTo>
                      <a:pt x="1080" y="548"/>
                    </a:lnTo>
                    <a:lnTo>
                      <a:pt x="1078" y="552"/>
                    </a:lnTo>
                    <a:lnTo>
                      <a:pt x="1078" y="556"/>
                    </a:lnTo>
                    <a:lnTo>
                      <a:pt x="1081" y="563"/>
                    </a:lnTo>
                    <a:lnTo>
                      <a:pt x="1084" y="569"/>
                    </a:lnTo>
                    <a:lnTo>
                      <a:pt x="1084" y="569"/>
                    </a:lnTo>
                    <a:lnTo>
                      <a:pt x="1084" y="572"/>
                    </a:lnTo>
                    <a:lnTo>
                      <a:pt x="1082" y="575"/>
                    </a:lnTo>
                    <a:lnTo>
                      <a:pt x="1078" y="576"/>
                    </a:lnTo>
                    <a:lnTo>
                      <a:pt x="1074" y="578"/>
                    </a:lnTo>
                    <a:lnTo>
                      <a:pt x="1068" y="579"/>
                    </a:lnTo>
                    <a:lnTo>
                      <a:pt x="1061" y="579"/>
                    </a:lnTo>
                    <a:lnTo>
                      <a:pt x="1054" y="579"/>
                    </a:lnTo>
                    <a:lnTo>
                      <a:pt x="1047" y="576"/>
                    </a:lnTo>
                    <a:lnTo>
                      <a:pt x="1047" y="576"/>
                    </a:lnTo>
                    <a:lnTo>
                      <a:pt x="1041" y="575"/>
                    </a:lnTo>
                    <a:lnTo>
                      <a:pt x="1037" y="575"/>
                    </a:lnTo>
                    <a:lnTo>
                      <a:pt x="1034" y="575"/>
                    </a:lnTo>
                    <a:lnTo>
                      <a:pt x="1031" y="576"/>
                    </a:lnTo>
                    <a:lnTo>
                      <a:pt x="1030" y="579"/>
                    </a:lnTo>
                    <a:lnTo>
                      <a:pt x="1028" y="580"/>
                    </a:lnTo>
                    <a:lnTo>
                      <a:pt x="1026" y="580"/>
                    </a:lnTo>
                    <a:lnTo>
                      <a:pt x="1026" y="580"/>
                    </a:lnTo>
                    <a:lnTo>
                      <a:pt x="1023" y="582"/>
                    </a:lnTo>
                    <a:lnTo>
                      <a:pt x="1020" y="583"/>
                    </a:lnTo>
                    <a:lnTo>
                      <a:pt x="1016" y="588"/>
                    </a:lnTo>
                    <a:lnTo>
                      <a:pt x="1014" y="592"/>
                    </a:lnTo>
                    <a:lnTo>
                      <a:pt x="1013" y="595"/>
                    </a:lnTo>
                    <a:lnTo>
                      <a:pt x="1014" y="598"/>
                    </a:lnTo>
                    <a:lnTo>
                      <a:pt x="1016" y="600"/>
                    </a:lnTo>
                    <a:lnTo>
                      <a:pt x="1016" y="600"/>
                    </a:lnTo>
                    <a:lnTo>
                      <a:pt x="1018" y="603"/>
                    </a:lnTo>
                    <a:lnTo>
                      <a:pt x="1023" y="605"/>
                    </a:lnTo>
                    <a:lnTo>
                      <a:pt x="1031" y="605"/>
                    </a:lnTo>
                    <a:lnTo>
                      <a:pt x="1041" y="603"/>
                    </a:lnTo>
                    <a:lnTo>
                      <a:pt x="1051" y="602"/>
                    </a:lnTo>
                    <a:lnTo>
                      <a:pt x="1051" y="602"/>
                    </a:lnTo>
                    <a:lnTo>
                      <a:pt x="1064" y="603"/>
                    </a:lnTo>
                    <a:lnTo>
                      <a:pt x="1065" y="603"/>
                    </a:lnTo>
                    <a:lnTo>
                      <a:pt x="1067" y="599"/>
                    </a:lnTo>
                    <a:lnTo>
                      <a:pt x="1067" y="599"/>
                    </a:lnTo>
                    <a:lnTo>
                      <a:pt x="1068" y="598"/>
                    </a:lnTo>
                    <a:lnTo>
                      <a:pt x="1071" y="596"/>
                    </a:lnTo>
                    <a:lnTo>
                      <a:pt x="1077" y="595"/>
                    </a:lnTo>
                    <a:lnTo>
                      <a:pt x="1084" y="596"/>
                    </a:lnTo>
                    <a:lnTo>
                      <a:pt x="1091" y="598"/>
                    </a:lnTo>
                    <a:lnTo>
                      <a:pt x="1091" y="598"/>
                    </a:lnTo>
                    <a:lnTo>
                      <a:pt x="1094" y="599"/>
                    </a:lnTo>
                    <a:lnTo>
                      <a:pt x="1097" y="602"/>
                    </a:lnTo>
                    <a:lnTo>
                      <a:pt x="1100" y="606"/>
                    </a:lnTo>
                    <a:lnTo>
                      <a:pt x="1104" y="612"/>
                    </a:lnTo>
                    <a:lnTo>
                      <a:pt x="1107" y="613"/>
                    </a:lnTo>
                    <a:lnTo>
                      <a:pt x="1109" y="615"/>
                    </a:lnTo>
                    <a:lnTo>
                      <a:pt x="1109" y="615"/>
                    </a:lnTo>
                    <a:lnTo>
                      <a:pt x="1114" y="616"/>
                    </a:lnTo>
                    <a:lnTo>
                      <a:pt x="1115" y="617"/>
                    </a:lnTo>
                    <a:lnTo>
                      <a:pt x="1117" y="619"/>
                    </a:lnTo>
                    <a:lnTo>
                      <a:pt x="1117" y="622"/>
                    </a:lnTo>
                    <a:lnTo>
                      <a:pt x="1117" y="629"/>
                    </a:lnTo>
                    <a:lnTo>
                      <a:pt x="1117" y="632"/>
                    </a:lnTo>
                    <a:lnTo>
                      <a:pt x="1119" y="635"/>
                    </a:lnTo>
                    <a:lnTo>
                      <a:pt x="1119" y="635"/>
                    </a:lnTo>
                    <a:lnTo>
                      <a:pt x="1122" y="637"/>
                    </a:lnTo>
                    <a:lnTo>
                      <a:pt x="1127" y="639"/>
                    </a:lnTo>
                    <a:lnTo>
                      <a:pt x="1138" y="640"/>
                    </a:lnTo>
                    <a:lnTo>
                      <a:pt x="1149" y="643"/>
                    </a:lnTo>
                    <a:lnTo>
                      <a:pt x="1154" y="644"/>
                    </a:lnTo>
                    <a:lnTo>
                      <a:pt x="1158" y="647"/>
                    </a:lnTo>
                    <a:lnTo>
                      <a:pt x="1158" y="647"/>
                    </a:lnTo>
                    <a:lnTo>
                      <a:pt x="1168" y="654"/>
                    </a:lnTo>
                    <a:lnTo>
                      <a:pt x="1183" y="663"/>
                    </a:lnTo>
                    <a:lnTo>
                      <a:pt x="1199" y="667"/>
                    </a:lnTo>
                    <a:lnTo>
                      <a:pt x="1205" y="667"/>
                    </a:lnTo>
                    <a:lnTo>
                      <a:pt x="1208" y="666"/>
                    </a:lnTo>
                    <a:lnTo>
                      <a:pt x="1208" y="666"/>
                    </a:lnTo>
                    <a:lnTo>
                      <a:pt x="1208" y="664"/>
                    </a:lnTo>
                    <a:lnTo>
                      <a:pt x="1208" y="663"/>
                    </a:lnTo>
                    <a:lnTo>
                      <a:pt x="1205" y="657"/>
                    </a:lnTo>
                    <a:lnTo>
                      <a:pt x="1199" y="650"/>
                    </a:lnTo>
                    <a:lnTo>
                      <a:pt x="1192" y="643"/>
                    </a:lnTo>
                    <a:lnTo>
                      <a:pt x="1178" y="630"/>
                    </a:lnTo>
                    <a:lnTo>
                      <a:pt x="1171" y="626"/>
                    </a:lnTo>
                    <a:lnTo>
                      <a:pt x="1165" y="623"/>
                    </a:lnTo>
                    <a:lnTo>
                      <a:pt x="1165" y="623"/>
                    </a:lnTo>
                    <a:lnTo>
                      <a:pt x="1164" y="623"/>
                    </a:lnTo>
                    <a:lnTo>
                      <a:pt x="1164" y="622"/>
                    </a:lnTo>
                    <a:lnTo>
                      <a:pt x="1168" y="620"/>
                    </a:lnTo>
                    <a:lnTo>
                      <a:pt x="1179" y="622"/>
                    </a:lnTo>
                    <a:lnTo>
                      <a:pt x="1185" y="625"/>
                    </a:lnTo>
                    <a:lnTo>
                      <a:pt x="1189" y="627"/>
                    </a:lnTo>
                    <a:lnTo>
                      <a:pt x="1189" y="627"/>
                    </a:lnTo>
                    <a:lnTo>
                      <a:pt x="1201" y="635"/>
                    </a:lnTo>
                    <a:lnTo>
                      <a:pt x="1206" y="637"/>
                    </a:lnTo>
                    <a:lnTo>
                      <a:pt x="1213" y="639"/>
                    </a:lnTo>
                    <a:lnTo>
                      <a:pt x="1219" y="639"/>
                    </a:lnTo>
                    <a:lnTo>
                      <a:pt x="1223" y="637"/>
                    </a:lnTo>
                    <a:lnTo>
                      <a:pt x="1229" y="635"/>
                    </a:lnTo>
                    <a:lnTo>
                      <a:pt x="1233" y="630"/>
                    </a:lnTo>
                    <a:lnTo>
                      <a:pt x="1233" y="630"/>
                    </a:lnTo>
                    <a:lnTo>
                      <a:pt x="1236" y="627"/>
                    </a:lnTo>
                    <a:lnTo>
                      <a:pt x="1236" y="623"/>
                    </a:lnTo>
                    <a:lnTo>
                      <a:pt x="1235" y="622"/>
                    </a:lnTo>
                    <a:lnTo>
                      <a:pt x="1232" y="620"/>
                    </a:lnTo>
                    <a:lnTo>
                      <a:pt x="1228" y="617"/>
                    </a:lnTo>
                    <a:lnTo>
                      <a:pt x="1225" y="615"/>
                    </a:lnTo>
                    <a:lnTo>
                      <a:pt x="1225" y="612"/>
                    </a:lnTo>
                    <a:lnTo>
                      <a:pt x="1225" y="612"/>
                    </a:lnTo>
                    <a:lnTo>
                      <a:pt x="1223" y="605"/>
                    </a:lnTo>
                    <a:lnTo>
                      <a:pt x="1220" y="598"/>
                    </a:lnTo>
                    <a:lnTo>
                      <a:pt x="1215" y="592"/>
                    </a:lnTo>
                    <a:lnTo>
                      <a:pt x="1212" y="590"/>
                    </a:lnTo>
                    <a:lnTo>
                      <a:pt x="1208" y="590"/>
                    </a:lnTo>
                    <a:lnTo>
                      <a:pt x="1208" y="590"/>
                    </a:lnTo>
                    <a:lnTo>
                      <a:pt x="1203" y="589"/>
                    </a:lnTo>
                    <a:lnTo>
                      <a:pt x="1199" y="588"/>
                    </a:lnTo>
                    <a:lnTo>
                      <a:pt x="1188" y="580"/>
                    </a:lnTo>
                    <a:lnTo>
                      <a:pt x="1183" y="576"/>
                    </a:lnTo>
                    <a:lnTo>
                      <a:pt x="1181" y="572"/>
                    </a:lnTo>
                    <a:lnTo>
                      <a:pt x="1179" y="569"/>
                    </a:lnTo>
                    <a:lnTo>
                      <a:pt x="1182" y="566"/>
                    </a:lnTo>
                    <a:lnTo>
                      <a:pt x="1182" y="566"/>
                    </a:lnTo>
                    <a:lnTo>
                      <a:pt x="1185" y="565"/>
                    </a:lnTo>
                    <a:lnTo>
                      <a:pt x="1185" y="562"/>
                    </a:lnTo>
                    <a:lnTo>
                      <a:pt x="1185" y="559"/>
                    </a:lnTo>
                    <a:lnTo>
                      <a:pt x="1183" y="553"/>
                    </a:lnTo>
                    <a:lnTo>
                      <a:pt x="1185" y="551"/>
                    </a:lnTo>
                    <a:lnTo>
                      <a:pt x="1186" y="548"/>
                    </a:lnTo>
                    <a:lnTo>
                      <a:pt x="1186" y="548"/>
                    </a:lnTo>
                    <a:lnTo>
                      <a:pt x="1189" y="546"/>
                    </a:lnTo>
                    <a:lnTo>
                      <a:pt x="1192" y="546"/>
                    </a:lnTo>
                    <a:lnTo>
                      <a:pt x="1196" y="549"/>
                    </a:lnTo>
                    <a:lnTo>
                      <a:pt x="1203" y="553"/>
                    </a:lnTo>
                    <a:lnTo>
                      <a:pt x="1206" y="555"/>
                    </a:lnTo>
                    <a:lnTo>
                      <a:pt x="1209" y="556"/>
                    </a:lnTo>
                    <a:lnTo>
                      <a:pt x="1209" y="556"/>
                    </a:lnTo>
                    <a:close/>
                    <a:moveTo>
                      <a:pt x="1058" y="522"/>
                    </a:moveTo>
                    <a:lnTo>
                      <a:pt x="1058" y="522"/>
                    </a:lnTo>
                    <a:lnTo>
                      <a:pt x="1061" y="521"/>
                    </a:lnTo>
                    <a:lnTo>
                      <a:pt x="1064" y="519"/>
                    </a:lnTo>
                    <a:lnTo>
                      <a:pt x="1065" y="514"/>
                    </a:lnTo>
                    <a:lnTo>
                      <a:pt x="1064" y="507"/>
                    </a:lnTo>
                    <a:lnTo>
                      <a:pt x="1061" y="501"/>
                    </a:lnTo>
                    <a:lnTo>
                      <a:pt x="1061" y="501"/>
                    </a:lnTo>
                    <a:lnTo>
                      <a:pt x="1057" y="498"/>
                    </a:lnTo>
                    <a:lnTo>
                      <a:pt x="1053" y="497"/>
                    </a:lnTo>
                    <a:lnTo>
                      <a:pt x="1047" y="495"/>
                    </a:lnTo>
                    <a:lnTo>
                      <a:pt x="1040" y="495"/>
                    </a:lnTo>
                    <a:lnTo>
                      <a:pt x="1040" y="495"/>
                    </a:lnTo>
                    <a:lnTo>
                      <a:pt x="1034" y="498"/>
                    </a:lnTo>
                    <a:lnTo>
                      <a:pt x="1027" y="504"/>
                    </a:lnTo>
                    <a:lnTo>
                      <a:pt x="1026" y="508"/>
                    </a:lnTo>
                    <a:lnTo>
                      <a:pt x="1024" y="512"/>
                    </a:lnTo>
                    <a:lnTo>
                      <a:pt x="1024" y="516"/>
                    </a:lnTo>
                    <a:lnTo>
                      <a:pt x="1026" y="521"/>
                    </a:lnTo>
                    <a:lnTo>
                      <a:pt x="1026" y="521"/>
                    </a:lnTo>
                    <a:lnTo>
                      <a:pt x="1030" y="524"/>
                    </a:lnTo>
                    <a:lnTo>
                      <a:pt x="1033" y="526"/>
                    </a:lnTo>
                    <a:lnTo>
                      <a:pt x="1037" y="526"/>
                    </a:lnTo>
                    <a:lnTo>
                      <a:pt x="1041" y="526"/>
                    </a:lnTo>
                    <a:lnTo>
                      <a:pt x="1051" y="524"/>
                    </a:lnTo>
                    <a:lnTo>
                      <a:pt x="1058" y="522"/>
                    </a:lnTo>
                    <a:lnTo>
                      <a:pt x="1058" y="522"/>
                    </a:lnTo>
                    <a:close/>
                    <a:moveTo>
                      <a:pt x="970" y="337"/>
                    </a:moveTo>
                    <a:lnTo>
                      <a:pt x="970" y="337"/>
                    </a:lnTo>
                    <a:lnTo>
                      <a:pt x="969" y="340"/>
                    </a:lnTo>
                    <a:lnTo>
                      <a:pt x="970" y="343"/>
                    </a:lnTo>
                    <a:lnTo>
                      <a:pt x="973" y="347"/>
                    </a:lnTo>
                    <a:lnTo>
                      <a:pt x="977" y="350"/>
                    </a:lnTo>
                    <a:lnTo>
                      <a:pt x="979" y="353"/>
                    </a:lnTo>
                    <a:lnTo>
                      <a:pt x="980" y="357"/>
                    </a:lnTo>
                    <a:lnTo>
                      <a:pt x="980" y="357"/>
                    </a:lnTo>
                    <a:lnTo>
                      <a:pt x="980" y="360"/>
                    </a:lnTo>
                    <a:lnTo>
                      <a:pt x="983" y="364"/>
                    </a:lnTo>
                    <a:lnTo>
                      <a:pt x="986" y="366"/>
                    </a:lnTo>
                    <a:lnTo>
                      <a:pt x="989" y="367"/>
                    </a:lnTo>
                    <a:lnTo>
                      <a:pt x="993" y="369"/>
                    </a:lnTo>
                    <a:lnTo>
                      <a:pt x="996" y="369"/>
                    </a:lnTo>
                    <a:lnTo>
                      <a:pt x="1000" y="367"/>
                    </a:lnTo>
                    <a:lnTo>
                      <a:pt x="1004" y="364"/>
                    </a:lnTo>
                    <a:lnTo>
                      <a:pt x="1004" y="364"/>
                    </a:lnTo>
                    <a:lnTo>
                      <a:pt x="1008" y="363"/>
                    </a:lnTo>
                    <a:lnTo>
                      <a:pt x="1014" y="363"/>
                    </a:lnTo>
                    <a:lnTo>
                      <a:pt x="1027" y="363"/>
                    </a:lnTo>
                    <a:lnTo>
                      <a:pt x="1038" y="361"/>
                    </a:lnTo>
                    <a:lnTo>
                      <a:pt x="1041" y="361"/>
                    </a:lnTo>
                    <a:lnTo>
                      <a:pt x="1043" y="359"/>
                    </a:lnTo>
                    <a:lnTo>
                      <a:pt x="1043" y="359"/>
                    </a:lnTo>
                    <a:lnTo>
                      <a:pt x="1041" y="356"/>
                    </a:lnTo>
                    <a:lnTo>
                      <a:pt x="1037" y="351"/>
                    </a:lnTo>
                    <a:lnTo>
                      <a:pt x="1026" y="344"/>
                    </a:lnTo>
                    <a:lnTo>
                      <a:pt x="1013" y="340"/>
                    </a:lnTo>
                    <a:lnTo>
                      <a:pt x="1007" y="339"/>
                    </a:lnTo>
                    <a:lnTo>
                      <a:pt x="1001" y="339"/>
                    </a:lnTo>
                    <a:lnTo>
                      <a:pt x="1001" y="339"/>
                    </a:lnTo>
                    <a:lnTo>
                      <a:pt x="997" y="339"/>
                    </a:lnTo>
                    <a:lnTo>
                      <a:pt x="993" y="337"/>
                    </a:lnTo>
                    <a:lnTo>
                      <a:pt x="983" y="336"/>
                    </a:lnTo>
                    <a:lnTo>
                      <a:pt x="976" y="334"/>
                    </a:lnTo>
                    <a:lnTo>
                      <a:pt x="972" y="334"/>
                    </a:lnTo>
                    <a:lnTo>
                      <a:pt x="970" y="337"/>
                    </a:lnTo>
                    <a:lnTo>
                      <a:pt x="970" y="337"/>
                    </a:lnTo>
                    <a:close/>
                    <a:moveTo>
                      <a:pt x="1236" y="942"/>
                    </a:moveTo>
                    <a:lnTo>
                      <a:pt x="1236" y="942"/>
                    </a:lnTo>
                    <a:lnTo>
                      <a:pt x="1239" y="945"/>
                    </a:lnTo>
                    <a:lnTo>
                      <a:pt x="1243" y="949"/>
                    </a:lnTo>
                    <a:lnTo>
                      <a:pt x="1259" y="955"/>
                    </a:lnTo>
                    <a:lnTo>
                      <a:pt x="1273" y="959"/>
                    </a:lnTo>
                    <a:lnTo>
                      <a:pt x="1279" y="959"/>
                    </a:lnTo>
                    <a:lnTo>
                      <a:pt x="1280" y="959"/>
                    </a:lnTo>
                    <a:lnTo>
                      <a:pt x="1280" y="957"/>
                    </a:lnTo>
                    <a:lnTo>
                      <a:pt x="1280" y="957"/>
                    </a:lnTo>
                    <a:lnTo>
                      <a:pt x="1280" y="956"/>
                    </a:lnTo>
                    <a:lnTo>
                      <a:pt x="1279" y="955"/>
                    </a:lnTo>
                    <a:lnTo>
                      <a:pt x="1275" y="950"/>
                    </a:lnTo>
                    <a:lnTo>
                      <a:pt x="1259" y="945"/>
                    </a:lnTo>
                    <a:lnTo>
                      <a:pt x="1243" y="942"/>
                    </a:lnTo>
                    <a:lnTo>
                      <a:pt x="1238" y="942"/>
                    </a:lnTo>
                    <a:lnTo>
                      <a:pt x="1238" y="942"/>
                    </a:lnTo>
                    <a:lnTo>
                      <a:pt x="1236" y="942"/>
                    </a:lnTo>
                    <a:lnTo>
                      <a:pt x="1236" y="942"/>
                    </a:lnTo>
                    <a:close/>
                    <a:moveTo>
                      <a:pt x="1417" y="984"/>
                    </a:moveTo>
                    <a:lnTo>
                      <a:pt x="1417" y="984"/>
                    </a:lnTo>
                    <a:lnTo>
                      <a:pt x="1415" y="986"/>
                    </a:lnTo>
                    <a:lnTo>
                      <a:pt x="1415" y="986"/>
                    </a:lnTo>
                    <a:lnTo>
                      <a:pt x="1413" y="984"/>
                    </a:lnTo>
                    <a:lnTo>
                      <a:pt x="1414" y="980"/>
                    </a:lnTo>
                    <a:lnTo>
                      <a:pt x="1414" y="979"/>
                    </a:lnTo>
                    <a:lnTo>
                      <a:pt x="1417" y="976"/>
                    </a:lnTo>
                    <a:lnTo>
                      <a:pt x="1417" y="976"/>
                    </a:lnTo>
                    <a:lnTo>
                      <a:pt x="1418" y="973"/>
                    </a:lnTo>
                    <a:lnTo>
                      <a:pt x="1417" y="972"/>
                    </a:lnTo>
                    <a:lnTo>
                      <a:pt x="1414" y="972"/>
                    </a:lnTo>
                    <a:lnTo>
                      <a:pt x="1410" y="973"/>
                    </a:lnTo>
                    <a:lnTo>
                      <a:pt x="1410" y="973"/>
                    </a:lnTo>
                    <a:lnTo>
                      <a:pt x="1408" y="973"/>
                    </a:lnTo>
                    <a:lnTo>
                      <a:pt x="1407" y="972"/>
                    </a:lnTo>
                    <a:lnTo>
                      <a:pt x="1405" y="967"/>
                    </a:lnTo>
                    <a:lnTo>
                      <a:pt x="1407" y="960"/>
                    </a:lnTo>
                    <a:lnTo>
                      <a:pt x="1408" y="959"/>
                    </a:lnTo>
                    <a:lnTo>
                      <a:pt x="1411" y="957"/>
                    </a:lnTo>
                    <a:lnTo>
                      <a:pt x="1411" y="957"/>
                    </a:lnTo>
                    <a:lnTo>
                      <a:pt x="1411" y="956"/>
                    </a:lnTo>
                    <a:lnTo>
                      <a:pt x="1411" y="955"/>
                    </a:lnTo>
                    <a:lnTo>
                      <a:pt x="1405" y="952"/>
                    </a:lnTo>
                    <a:lnTo>
                      <a:pt x="1400" y="952"/>
                    </a:lnTo>
                    <a:lnTo>
                      <a:pt x="1398" y="952"/>
                    </a:lnTo>
                    <a:lnTo>
                      <a:pt x="1398" y="953"/>
                    </a:lnTo>
                    <a:lnTo>
                      <a:pt x="1398" y="953"/>
                    </a:lnTo>
                    <a:lnTo>
                      <a:pt x="1397" y="955"/>
                    </a:lnTo>
                    <a:lnTo>
                      <a:pt x="1395" y="956"/>
                    </a:lnTo>
                    <a:lnTo>
                      <a:pt x="1391" y="956"/>
                    </a:lnTo>
                    <a:lnTo>
                      <a:pt x="1387" y="953"/>
                    </a:lnTo>
                    <a:lnTo>
                      <a:pt x="1384" y="950"/>
                    </a:lnTo>
                    <a:lnTo>
                      <a:pt x="1384" y="950"/>
                    </a:lnTo>
                    <a:lnTo>
                      <a:pt x="1381" y="948"/>
                    </a:lnTo>
                    <a:lnTo>
                      <a:pt x="1378" y="946"/>
                    </a:lnTo>
                    <a:lnTo>
                      <a:pt x="1376" y="943"/>
                    </a:lnTo>
                    <a:lnTo>
                      <a:pt x="1376" y="942"/>
                    </a:lnTo>
                    <a:lnTo>
                      <a:pt x="1377" y="942"/>
                    </a:lnTo>
                    <a:lnTo>
                      <a:pt x="1377" y="942"/>
                    </a:lnTo>
                    <a:lnTo>
                      <a:pt x="1377" y="940"/>
                    </a:lnTo>
                    <a:lnTo>
                      <a:pt x="1376" y="939"/>
                    </a:lnTo>
                    <a:lnTo>
                      <a:pt x="1371" y="938"/>
                    </a:lnTo>
                    <a:lnTo>
                      <a:pt x="1367" y="939"/>
                    </a:lnTo>
                    <a:lnTo>
                      <a:pt x="1366" y="940"/>
                    </a:lnTo>
                    <a:lnTo>
                      <a:pt x="1364" y="942"/>
                    </a:lnTo>
                    <a:lnTo>
                      <a:pt x="1364" y="942"/>
                    </a:lnTo>
                    <a:lnTo>
                      <a:pt x="1363" y="943"/>
                    </a:lnTo>
                    <a:lnTo>
                      <a:pt x="1363" y="943"/>
                    </a:lnTo>
                    <a:lnTo>
                      <a:pt x="1361" y="940"/>
                    </a:lnTo>
                    <a:lnTo>
                      <a:pt x="1361" y="936"/>
                    </a:lnTo>
                    <a:lnTo>
                      <a:pt x="1366" y="930"/>
                    </a:lnTo>
                    <a:lnTo>
                      <a:pt x="1366" y="930"/>
                    </a:lnTo>
                    <a:lnTo>
                      <a:pt x="1370" y="925"/>
                    </a:lnTo>
                    <a:lnTo>
                      <a:pt x="1371" y="920"/>
                    </a:lnTo>
                    <a:lnTo>
                      <a:pt x="1373" y="916"/>
                    </a:lnTo>
                    <a:lnTo>
                      <a:pt x="1377" y="912"/>
                    </a:lnTo>
                    <a:lnTo>
                      <a:pt x="1377" y="912"/>
                    </a:lnTo>
                    <a:lnTo>
                      <a:pt x="1378" y="911"/>
                    </a:lnTo>
                    <a:lnTo>
                      <a:pt x="1380" y="909"/>
                    </a:lnTo>
                    <a:lnTo>
                      <a:pt x="1378" y="908"/>
                    </a:lnTo>
                    <a:lnTo>
                      <a:pt x="1374" y="906"/>
                    </a:lnTo>
                    <a:lnTo>
                      <a:pt x="1370" y="908"/>
                    </a:lnTo>
                    <a:lnTo>
                      <a:pt x="1370" y="908"/>
                    </a:lnTo>
                    <a:lnTo>
                      <a:pt x="1366" y="909"/>
                    </a:lnTo>
                    <a:lnTo>
                      <a:pt x="1363" y="913"/>
                    </a:lnTo>
                    <a:lnTo>
                      <a:pt x="1353" y="923"/>
                    </a:lnTo>
                    <a:lnTo>
                      <a:pt x="1346" y="935"/>
                    </a:lnTo>
                    <a:lnTo>
                      <a:pt x="1344" y="939"/>
                    </a:lnTo>
                    <a:lnTo>
                      <a:pt x="1343" y="943"/>
                    </a:lnTo>
                    <a:lnTo>
                      <a:pt x="1343" y="943"/>
                    </a:lnTo>
                    <a:lnTo>
                      <a:pt x="1343" y="949"/>
                    </a:lnTo>
                    <a:lnTo>
                      <a:pt x="1341" y="953"/>
                    </a:lnTo>
                    <a:lnTo>
                      <a:pt x="1340" y="957"/>
                    </a:lnTo>
                    <a:lnTo>
                      <a:pt x="1339" y="957"/>
                    </a:lnTo>
                    <a:lnTo>
                      <a:pt x="1336" y="959"/>
                    </a:lnTo>
                    <a:lnTo>
                      <a:pt x="1336" y="959"/>
                    </a:lnTo>
                    <a:lnTo>
                      <a:pt x="1331" y="959"/>
                    </a:lnTo>
                    <a:lnTo>
                      <a:pt x="1327" y="962"/>
                    </a:lnTo>
                    <a:lnTo>
                      <a:pt x="1326" y="965"/>
                    </a:lnTo>
                    <a:lnTo>
                      <a:pt x="1326" y="966"/>
                    </a:lnTo>
                    <a:lnTo>
                      <a:pt x="1327" y="967"/>
                    </a:lnTo>
                    <a:lnTo>
                      <a:pt x="1327" y="967"/>
                    </a:lnTo>
                    <a:lnTo>
                      <a:pt x="1327" y="969"/>
                    </a:lnTo>
                    <a:lnTo>
                      <a:pt x="1327" y="972"/>
                    </a:lnTo>
                    <a:lnTo>
                      <a:pt x="1323" y="977"/>
                    </a:lnTo>
                    <a:lnTo>
                      <a:pt x="1320" y="983"/>
                    </a:lnTo>
                    <a:lnTo>
                      <a:pt x="1320" y="984"/>
                    </a:lnTo>
                    <a:lnTo>
                      <a:pt x="1323" y="987"/>
                    </a:lnTo>
                    <a:lnTo>
                      <a:pt x="1323" y="987"/>
                    </a:lnTo>
                    <a:lnTo>
                      <a:pt x="1327" y="989"/>
                    </a:lnTo>
                    <a:lnTo>
                      <a:pt x="1334" y="987"/>
                    </a:lnTo>
                    <a:lnTo>
                      <a:pt x="1340" y="987"/>
                    </a:lnTo>
                    <a:lnTo>
                      <a:pt x="1347" y="987"/>
                    </a:lnTo>
                    <a:lnTo>
                      <a:pt x="1347" y="987"/>
                    </a:lnTo>
                    <a:lnTo>
                      <a:pt x="1358" y="987"/>
                    </a:lnTo>
                    <a:lnTo>
                      <a:pt x="1364" y="986"/>
                    </a:lnTo>
                    <a:lnTo>
                      <a:pt x="1370" y="983"/>
                    </a:lnTo>
                    <a:lnTo>
                      <a:pt x="1370" y="983"/>
                    </a:lnTo>
                    <a:lnTo>
                      <a:pt x="1373" y="982"/>
                    </a:lnTo>
                    <a:lnTo>
                      <a:pt x="1374" y="982"/>
                    </a:lnTo>
                    <a:lnTo>
                      <a:pt x="1377" y="983"/>
                    </a:lnTo>
                    <a:lnTo>
                      <a:pt x="1380" y="986"/>
                    </a:lnTo>
                    <a:lnTo>
                      <a:pt x="1381" y="987"/>
                    </a:lnTo>
                    <a:lnTo>
                      <a:pt x="1384" y="987"/>
                    </a:lnTo>
                    <a:lnTo>
                      <a:pt x="1384" y="987"/>
                    </a:lnTo>
                    <a:lnTo>
                      <a:pt x="1387" y="987"/>
                    </a:lnTo>
                    <a:lnTo>
                      <a:pt x="1387" y="987"/>
                    </a:lnTo>
                    <a:lnTo>
                      <a:pt x="1385" y="990"/>
                    </a:lnTo>
                    <a:lnTo>
                      <a:pt x="1383" y="994"/>
                    </a:lnTo>
                    <a:lnTo>
                      <a:pt x="1381" y="999"/>
                    </a:lnTo>
                    <a:lnTo>
                      <a:pt x="1381" y="999"/>
                    </a:lnTo>
                    <a:lnTo>
                      <a:pt x="1381" y="1000"/>
                    </a:lnTo>
                    <a:lnTo>
                      <a:pt x="1383" y="1000"/>
                    </a:lnTo>
                    <a:lnTo>
                      <a:pt x="1385" y="999"/>
                    </a:lnTo>
                    <a:lnTo>
                      <a:pt x="1394" y="993"/>
                    </a:lnTo>
                    <a:lnTo>
                      <a:pt x="1394" y="993"/>
                    </a:lnTo>
                    <a:lnTo>
                      <a:pt x="1398" y="992"/>
                    </a:lnTo>
                    <a:lnTo>
                      <a:pt x="1403" y="992"/>
                    </a:lnTo>
                    <a:lnTo>
                      <a:pt x="1404" y="994"/>
                    </a:lnTo>
                    <a:lnTo>
                      <a:pt x="1404" y="997"/>
                    </a:lnTo>
                    <a:lnTo>
                      <a:pt x="1404" y="997"/>
                    </a:lnTo>
                    <a:lnTo>
                      <a:pt x="1404" y="999"/>
                    </a:lnTo>
                    <a:lnTo>
                      <a:pt x="1405" y="1000"/>
                    </a:lnTo>
                    <a:lnTo>
                      <a:pt x="1411" y="1003"/>
                    </a:lnTo>
                    <a:lnTo>
                      <a:pt x="1418" y="1003"/>
                    </a:lnTo>
                    <a:lnTo>
                      <a:pt x="1422" y="1002"/>
                    </a:lnTo>
                    <a:lnTo>
                      <a:pt x="1424" y="999"/>
                    </a:lnTo>
                    <a:lnTo>
                      <a:pt x="1424" y="999"/>
                    </a:lnTo>
                    <a:lnTo>
                      <a:pt x="1425" y="996"/>
                    </a:lnTo>
                    <a:lnTo>
                      <a:pt x="1425" y="993"/>
                    </a:lnTo>
                    <a:lnTo>
                      <a:pt x="1424" y="987"/>
                    </a:lnTo>
                    <a:lnTo>
                      <a:pt x="1420" y="984"/>
                    </a:lnTo>
                    <a:lnTo>
                      <a:pt x="1418" y="983"/>
                    </a:lnTo>
                    <a:lnTo>
                      <a:pt x="1417" y="984"/>
                    </a:lnTo>
                    <a:lnTo>
                      <a:pt x="1417" y="984"/>
                    </a:lnTo>
                    <a:close/>
                    <a:moveTo>
                      <a:pt x="131" y="854"/>
                    </a:moveTo>
                    <a:lnTo>
                      <a:pt x="131" y="854"/>
                    </a:lnTo>
                    <a:lnTo>
                      <a:pt x="129" y="855"/>
                    </a:lnTo>
                    <a:lnTo>
                      <a:pt x="128" y="858"/>
                    </a:lnTo>
                    <a:lnTo>
                      <a:pt x="129" y="864"/>
                    </a:lnTo>
                    <a:lnTo>
                      <a:pt x="132" y="869"/>
                    </a:lnTo>
                    <a:lnTo>
                      <a:pt x="136" y="876"/>
                    </a:lnTo>
                    <a:lnTo>
                      <a:pt x="142" y="882"/>
                    </a:lnTo>
                    <a:lnTo>
                      <a:pt x="148" y="886"/>
                    </a:lnTo>
                    <a:lnTo>
                      <a:pt x="152" y="889"/>
                    </a:lnTo>
                    <a:lnTo>
                      <a:pt x="156" y="889"/>
                    </a:lnTo>
                    <a:lnTo>
                      <a:pt x="156" y="889"/>
                    </a:lnTo>
                    <a:lnTo>
                      <a:pt x="156" y="888"/>
                    </a:lnTo>
                    <a:lnTo>
                      <a:pt x="156" y="885"/>
                    </a:lnTo>
                    <a:lnTo>
                      <a:pt x="154" y="879"/>
                    </a:lnTo>
                    <a:lnTo>
                      <a:pt x="151" y="872"/>
                    </a:lnTo>
                    <a:lnTo>
                      <a:pt x="148" y="865"/>
                    </a:lnTo>
                    <a:lnTo>
                      <a:pt x="148" y="865"/>
                    </a:lnTo>
                    <a:lnTo>
                      <a:pt x="148" y="858"/>
                    </a:lnTo>
                    <a:lnTo>
                      <a:pt x="145" y="854"/>
                    </a:lnTo>
                    <a:lnTo>
                      <a:pt x="142" y="852"/>
                    </a:lnTo>
                    <a:lnTo>
                      <a:pt x="139" y="852"/>
                    </a:lnTo>
                    <a:lnTo>
                      <a:pt x="136" y="852"/>
                    </a:lnTo>
                    <a:lnTo>
                      <a:pt x="131" y="854"/>
                    </a:lnTo>
                    <a:lnTo>
                      <a:pt x="131" y="854"/>
                    </a:lnTo>
                    <a:close/>
                    <a:moveTo>
                      <a:pt x="1303" y="1016"/>
                    </a:moveTo>
                    <a:lnTo>
                      <a:pt x="1303" y="1016"/>
                    </a:lnTo>
                    <a:lnTo>
                      <a:pt x="1302" y="1016"/>
                    </a:lnTo>
                    <a:lnTo>
                      <a:pt x="1302" y="1016"/>
                    </a:lnTo>
                    <a:lnTo>
                      <a:pt x="1302" y="1013"/>
                    </a:lnTo>
                    <a:lnTo>
                      <a:pt x="1303" y="1006"/>
                    </a:lnTo>
                    <a:lnTo>
                      <a:pt x="1303" y="1006"/>
                    </a:lnTo>
                    <a:lnTo>
                      <a:pt x="1303" y="1004"/>
                    </a:lnTo>
                    <a:lnTo>
                      <a:pt x="1302" y="1004"/>
                    </a:lnTo>
                    <a:lnTo>
                      <a:pt x="1299" y="1006"/>
                    </a:lnTo>
                    <a:lnTo>
                      <a:pt x="1294" y="1009"/>
                    </a:lnTo>
                    <a:lnTo>
                      <a:pt x="1292" y="1012"/>
                    </a:lnTo>
                    <a:lnTo>
                      <a:pt x="1292" y="1012"/>
                    </a:lnTo>
                    <a:lnTo>
                      <a:pt x="1290" y="1014"/>
                    </a:lnTo>
                    <a:lnTo>
                      <a:pt x="1287" y="1017"/>
                    </a:lnTo>
                    <a:lnTo>
                      <a:pt x="1284" y="1019"/>
                    </a:lnTo>
                    <a:lnTo>
                      <a:pt x="1284" y="1021"/>
                    </a:lnTo>
                    <a:lnTo>
                      <a:pt x="1284" y="1021"/>
                    </a:lnTo>
                    <a:lnTo>
                      <a:pt x="1283" y="1026"/>
                    </a:lnTo>
                    <a:lnTo>
                      <a:pt x="1283" y="1026"/>
                    </a:lnTo>
                    <a:lnTo>
                      <a:pt x="1280" y="1027"/>
                    </a:lnTo>
                    <a:lnTo>
                      <a:pt x="1277" y="1027"/>
                    </a:lnTo>
                    <a:lnTo>
                      <a:pt x="1277" y="1027"/>
                    </a:lnTo>
                    <a:lnTo>
                      <a:pt x="1270" y="1029"/>
                    </a:lnTo>
                    <a:lnTo>
                      <a:pt x="1262" y="1029"/>
                    </a:lnTo>
                    <a:lnTo>
                      <a:pt x="1253" y="1026"/>
                    </a:lnTo>
                    <a:lnTo>
                      <a:pt x="1250" y="1024"/>
                    </a:lnTo>
                    <a:lnTo>
                      <a:pt x="1249" y="1023"/>
                    </a:lnTo>
                    <a:lnTo>
                      <a:pt x="1249" y="1023"/>
                    </a:lnTo>
                    <a:lnTo>
                      <a:pt x="1247" y="1021"/>
                    </a:lnTo>
                    <a:lnTo>
                      <a:pt x="1246" y="1020"/>
                    </a:lnTo>
                    <a:lnTo>
                      <a:pt x="1240" y="1016"/>
                    </a:lnTo>
                    <a:lnTo>
                      <a:pt x="1235" y="1013"/>
                    </a:lnTo>
                    <a:lnTo>
                      <a:pt x="1232" y="1012"/>
                    </a:lnTo>
                    <a:lnTo>
                      <a:pt x="1232" y="1009"/>
                    </a:lnTo>
                    <a:lnTo>
                      <a:pt x="1232" y="1009"/>
                    </a:lnTo>
                    <a:lnTo>
                      <a:pt x="1230" y="1004"/>
                    </a:lnTo>
                    <a:lnTo>
                      <a:pt x="1228" y="1000"/>
                    </a:lnTo>
                    <a:lnTo>
                      <a:pt x="1226" y="997"/>
                    </a:lnTo>
                    <a:lnTo>
                      <a:pt x="1229" y="992"/>
                    </a:lnTo>
                    <a:lnTo>
                      <a:pt x="1229" y="992"/>
                    </a:lnTo>
                    <a:lnTo>
                      <a:pt x="1230" y="990"/>
                    </a:lnTo>
                    <a:lnTo>
                      <a:pt x="1232" y="987"/>
                    </a:lnTo>
                    <a:lnTo>
                      <a:pt x="1232" y="986"/>
                    </a:lnTo>
                    <a:lnTo>
                      <a:pt x="1230" y="984"/>
                    </a:lnTo>
                    <a:lnTo>
                      <a:pt x="1226" y="984"/>
                    </a:lnTo>
                    <a:lnTo>
                      <a:pt x="1222" y="987"/>
                    </a:lnTo>
                    <a:lnTo>
                      <a:pt x="1222" y="987"/>
                    </a:lnTo>
                    <a:lnTo>
                      <a:pt x="1220" y="989"/>
                    </a:lnTo>
                    <a:lnTo>
                      <a:pt x="1218" y="989"/>
                    </a:lnTo>
                    <a:lnTo>
                      <a:pt x="1216" y="989"/>
                    </a:lnTo>
                    <a:lnTo>
                      <a:pt x="1216" y="987"/>
                    </a:lnTo>
                    <a:lnTo>
                      <a:pt x="1216" y="983"/>
                    </a:lnTo>
                    <a:lnTo>
                      <a:pt x="1218" y="982"/>
                    </a:lnTo>
                    <a:lnTo>
                      <a:pt x="1220" y="980"/>
                    </a:lnTo>
                    <a:lnTo>
                      <a:pt x="1220" y="980"/>
                    </a:lnTo>
                    <a:lnTo>
                      <a:pt x="1228" y="977"/>
                    </a:lnTo>
                    <a:lnTo>
                      <a:pt x="1235" y="975"/>
                    </a:lnTo>
                    <a:lnTo>
                      <a:pt x="1238" y="972"/>
                    </a:lnTo>
                    <a:lnTo>
                      <a:pt x="1239" y="969"/>
                    </a:lnTo>
                    <a:lnTo>
                      <a:pt x="1238" y="965"/>
                    </a:lnTo>
                    <a:lnTo>
                      <a:pt x="1236" y="960"/>
                    </a:lnTo>
                    <a:lnTo>
                      <a:pt x="1236" y="960"/>
                    </a:lnTo>
                    <a:lnTo>
                      <a:pt x="1235" y="957"/>
                    </a:lnTo>
                    <a:lnTo>
                      <a:pt x="1232" y="956"/>
                    </a:lnTo>
                    <a:lnTo>
                      <a:pt x="1223" y="955"/>
                    </a:lnTo>
                    <a:lnTo>
                      <a:pt x="1215" y="955"/>
                    </a:lnTo>
                    <a:lnTo>
                      <a:pt x="1203" y="957"/>
                    </a:lnTo>
                    <a:lnTo>
                      <a:pt x="1182" y="965"/>
                    </a:lnTo>
                    <a:lnTo>
                      <a:pt x="1166" y="972"/>
                    </a:lnTo>
                    <a:lnTo>
                      <a:pt x="1166" y="972"/>
                    </a:lnTo>
                    <a:lnTo>
                      <a:pt x="1156" y="979"/>
                    </a:lnTo>
                    <a:lnTo>
                      <a:pt x="1148" y="989"/>
                    </a:lnTo>
                    <a:lnTo>
                      <a:pt x="1138" y="997"/>
                    </a:lnTo>
                    <a:lnTo>
                      <a:pt x="1135" y="1000"/>
                    </a:lnTo>
                    <a:lnTo>
                      <a:pt x="1132" y="1002"/>
                    </a:lnTo>
                    <a:lnTo>
                      <a:pt x="1132" y="1002"/>
                    </a:lnTo>
                    <a:lnTo>
                      <a:pt x="1131" y="1000"/>
                    </a:lnTo>
                    <a:lnTo>
                      <a:pt x="1131" y="999"/>
                    </a:lnTo>
                    <a:lnTo>
                      <a:pt x="1135" y="994"/>
                    </a:lnTo>
                    <a:lnTo>
                      <a:pt x="1142" y="989"/>
                    </a:lnTo>
                    <a:lnTo>
                      <a:pt x="1146" y="984"/>
                    </a:lnTo>
                    <a:lnTo>
                      <a:pt x="1146" y="984"/>
                    </a:lnTo>
                    <a:lnTo>
                      <a:pt x="1148" y="982"/>
                    </a:lnTo>
                    <a:lnTo>
                      <a:pt x="1148" y="979"/>
                    </a:lnTo>
                    <a:lnTo>
                      <a:pt x="1148" y="977"/>
                    </a:lnTo>
                    <a:lnTo>
                      <a:pt x="1149" y="977"/>
                    </a:lnTo>
                    <a:lnTo>
                      <a:pt x="1149" y="977"/>
                    </a:lnTo>
                    <a:lnTo>
                      <a:pt x="1152" y="977"/>
                    </a:lnTo>
                    <a:lnTo>
                      <a:pt x="1154" y="975"/>
                    </a:lnTo>
                    <a:lnTo>
                      <a:pt x="1159" y="969"/>
                    </a:lnTo>
                    <a:lnTo>
                      <a:pt x="1166" y="962"/>
                    </a:lnTo>
                    <a:lnTo>
                      <a:pt x="1172" y="956"/>
                    </a:lnTo>
                    <a:lnTo>
                      <a:pt x="1172" y="956"/>
                    </a:lnTo>
                    <a:lnTo>
                      <a:pt x="1178" y="953"/>
                    </a:lnTo>
                    <a:lnTo>
                      <a:pt x="1183" y="953"/>
                    </a:lnTo>
                    <a:lnTo>
                      <a:pt x="1186" y="953"/>
                    </a:lnTo>
                    <a:lnTo>
                      <a:pt x="1188" y="952"/>
                    </a:lnTo>
                    <a:lnTo>
                      <a:pt x="1189" y="950"/>
                    </a:lnTo>
                    <a:lnTo>
                      <a:pt x="1189" y="950"/>
                    </a:lnTo>
                    <a:lnTo>
                      <a:pt x="1191" y="948"/>
                    </a:lnTo>
                    <a:lnTo>
                      <a:pt x="1192" y="945"/>
                    </a:lnTo>
                    <a:lnTo>
                      <a:pt x="1201" y="936"/>
                    </a:lnTo>
                    <a:lnTo>
                      <a:pt x="1201" y="936"/>
                    </a:lnTo>
                    <a:lnTo>
                      <a:pt x="1206" y="935"/>
                    </a:lnTo>
                    <a:lnTo>
                      <a:pt x="1218" y="933"/>
                    </a:lnTo>
                    <a:lnTo>
                      <a:pt x="1250" y="932"/>
                    </a:lnTo>
                    <a:lnTo>
                      <a:pt x="1302" y="932"/>
                    </a:lnTo>
                    <a:lnTo>
                      <a:pt x="1302" y="932"/>
                    </a:lnTo>
                    <a:lnTo>
                      <a:pt x="1309" y="930"/>
                    </a:lnTo>
                    <a:lnTo>
                      <a:pt x="1317" y="926"/>
                    </a:lnTo>
                    <a:lnTo>
                      <a:pt x="1324" y="920"/>
                    </a:lnTo>
                    <a:lnTo>
                      <a:pt x="1330" y="913"/>
                    </a:lnTo>
                    <a:lnTo>
                      <a:pt x="1330" y="913"/>
                    </a:lnTo>
                    <a:lnTo>
                      <a:pt x="1334" y="911"/>
                    </a:lnTo>
                    <a:lnTo>
                      <a:pt x="1339" y="908"/>
                    </a:lnTo>
                    <a:lnTo>
                      <a:pt x="1344" y="908"/>
                    </a:lnTo>
                    <a:lnTo>
                      <a:pt x="1351" y="908"/>
                    </a:lnTo>
                    <a:lnTo>
                      <a:pt x="1351" y="908"/>
                    </a:lnTo>
                    <a:lnTo>
                      <a:pt x="1356" y="908"/>
                    </a:lnTo>
                    <a:lnTo>
                      <a:pt x="1360" y="906"/>
                    </a:lnTo>
                    <a:lnTo>
                      <a:pt x="1366" y="902"/>
                    </a:lnTo>
                    <a:lnTo>
                      <a:pt x="1374" y="893"/>
                    </a:lnTo>
                    <a:lnTo>
                      <a:pt x="1374" y="893"/>
                    </a:lnTo>
                    <a:lnTo>
                      <a:pt x="1377" y="892"/>
                    </a:lnTo>
                    <a:lnTo>
                      <a:pt x="1377" y="889"/>
                    </a:lnTo>
                    <a:lnTo>
                      <a:pt x="1376" y="888"/>
                    </a:lnTo>
                    <a:lnTo>
                      <a:pt x="1373" y="888"/>
                    </a:lnTo>
                    <a:lnTo>
                      <a:pt x="1373" y="888"/>
                    </a:lnTo>
                    <a:lnTo>
                      <a:pt x="1367" y="885"/>
                    </a:lnTo>
                    <a:lnTo>
                      <a:pt x="1366" y="883"/>
                    </a:lnTo>
                    <a:lnTo>
                      <a:pt x="1368" y="882"/>
                    </a:lnTo>
                    <a:lnTo>
                      <a:pt x="1368" y="882"/>
                    </a:lnTo>
                    <a:lnTo>
                      <a:pt x="1371" y="882"/>
                    </a:lnTo>
                    <a:lnTo>
                      <a:pt x="1374" y="881"/>
                    </a:lnTo>
                    <a:lnTo>
                      <a:pt x="1376" y="878"/>
                    </a:lnTo>
                    <a:lnTo>
                      <a:pt x="1378" y="874"/>
                    </a:lnTo>
                    <a:lnTo>
                      <a:pt x="1378" y="874"/>
                    </a:lnTo>
                    <a:lnTo>
                      <a:pt x="1378" y="869"/>
                    </a:lnTo>
                    <a:lnTo>
                      <a:pt x="1377" y="868"/>
                    </a:lnTo>
                    <a:lnTo>
                      <a:pt x="1374" y="865"/>
                    </a:lnTo>
                    <a:lnTo>
                      <a:pt x="1370" y="861"/>
                    </a:lnTo>
                    <a:lnTo>
                      <a:pt x="1370" y="861"/>
                    </a:lnTo>
                    <a:lnTo>
                      <a:pt x="1367" y="858"/>
                    </a:lnTo>
                    <a:lnTo>
                      <a:pt x="1364" y="858"/>
                    </a:lnTo>
                    <a:lnTo>
                      <a:pt x="1363" y="858"/>
                    </a:lnTo>
                    <a:lnTo>
                      <a:pt x="1361" y="859"/>
                    </a:lnTo>
                    <a:lnTo>
                      <a:pt x="1357" y="862"/>
                    </a:lnTo>
                    <a:lnTo>
                      <a:pt x="1354" y="862"/>
                    </a:lnTo>
                    <a:lnTo>
                      <a:pt x="1353" y="862"/>
                    </a:lnTo>
                    <a:lnTo>
                      <a:pt x="1353" y="862"/>
                    </a:lnTo>
                    <a:lnTo>
                      <a:pt x="1350" y="862"/>
                    </a:lnTo>
                    <a:lnTo>
                      <a:pt x="1350" y="861"/>
                    </a:lnTo>
                    <a:lnTo>
                      <a:pt x="1351" y="858"/>
                    </a:lnTo>
                    <a:lnTo>
                      <a:pt x="1353" y="854"/>
                    </a:lnTo>
                    <a:lnTo>
                      <a:pt x="1353" y="852"/>
                    </a:lnTo>
                    <a:lnTo>
                      <a:pt x="1351" y="849"/>
                    </a:lnTo>
                    <a:lnTo>
                      <a:pt x="1351" y="849"/>
                    </a:lnTo>
                    <a:lnTo>
                      <a:pt x="1346" y="848"/>
                    </a:lnTo>
                    <a:lnTo>
                      <a:pt x="1340" y="849"/>
                    </a:lnTo>
                    <a:lnTo>
                      <a:pt x="1333" y="852"/>
                    </a:lnTo>
                    <a:lnTo>
                      <a:pt x="1326" y="856"/>
                    </a:lnTo>
                    <a:lnTo>
                      <a:pt x="1326" y="856"/>
                    </a:lnTo>
                    <a:lnTo>
                      <a:pt x="1321" y="859"/>
                    </a:lnTo>
                    <a:lnTo>
                      <a:pt x="1319" y="859"/>
                    </a:lnTo>
                    <a:lnTo>
                      <a:pt x="1316" y="859"/>
                    </a:lnTo>
                    <a:lnTo>
                      <a:pt x="1311" y="862"/>
                    </a:lnTo>
                    <a:lnTo>
                      <a:pt x="1311" y="862"/>
                    </a:lnTo>
                    <a:lnTo>
                      <a:pt x="1309" y="865"/>
                    </a:lnTo>
                    <a:lnTo>
                      <a:pt x="1307" y="865"/>
                    </a:lnTo>
                    <a:lnTo>
                      <a:pt x="1306" y="865"/>
                    </a:lnTo>
                    <a:lnTo>
                      <a:pt x="1304" y="864"/>
                    </a:lnTo>
                    <a:lnTo>
                      <a:pt x="1304" y="859"/>
                    </a:lnTo>
                    <a:lnTo>
                      <a:pt x="1307" y="856"/>
                    </a:lnTo>
                    <a:lnTo>
                      <a:pt x="1307" y="856"/>
                    </a:lnTo>
                    <a:lnTo>
                      <a:pt x="1310" y="855"/>
                    </a:lnTo>
                    <a:lnTo>
                      <a:pt x="1311" y="855"/>
                    </a:lnTo>
                    <a:lnTo>
                      <a:pt x="1314" y="855"/>
                    </a:lnTo>
                    <a:lnTo>
                      <a:pt x="1316" y="852"/>
                    </a:lnTo>
                    <a:lnTo>
                      <a:pt x="1316" y="852"/>
                    </a:lnTo>
                    <a:lnTo>
                      <a:pt x="1319" y="851"/>
                    </a:lnTo>
                    <a:lnTo>
                      <a:pt x="1321" y="851"/>
                    </a:lnTo>
                    <a:lnTo>
                      <a:pt x="1326" y="849"/>
                    </a:lnTo>
                    <a:lnTo>
                      <a:pt x="1331" y="847"/>
                    </a:lnTo>
                    <a:lnTo>
                      <a:pt x="1331" y="847"/>
                    </a:lnTo>
                    <a:lnTo>
                      <a:pt x="1337" y="844"/>
                    </a:lnTo>
                    <a:lnTo>
                      <a:pt x="1341" y="844"/>
                    </a:lnTo>
                    <a:lnTo>
                      <a:pt x="1346" y="842"/>
                    </a:lnTo>
                    <a:lnTo>
                      <a:pt x="1348" y="841"/>
                    </a:lnTo>
                    <a:lnTo>
                      <a:pt x="1348" y="841"/>
                    </a:lnTo>
                    <a:lnTo>
                      <a:pt x="1348" y="838"/>
                    </a:lnTo>
                    <a:lnTo>
                      <a:pt x="1347" y="835"/>
                    </a:lnTo>
                    <a:lnTo>
                      <a:pt x="1343" y="832"/>
                    </a:lnTo>
                    <a:lnTo>
                      <a:pt x="1337" y="832"/>
                    </a:lnTo>
                    <a:lnTo>
                      <a:pt x="1337" y="832"/>
                    </a:lnTo>
                    <a:lnTo>
                      <a:pt x="1334" y="832"/>
                    </a:lnTo>
                    <a:lnTo>
                      <a:pt x="1331" y="832"/>
                    </a:lnTo>
                    <a:lnTo>
                      <a:pt x="1327" y="828"/>
                    </a:lnTo>
                    <a:lnTo>
                      <a:pt x="1323" y="825"/>
                    </a:lnTo>
                    <a:lnTo>
                      <a:pt x="1320" y="825"/>
                    </a:lnTo>
                    <a:lnTo>
                      <a:pt x="1319" y="825"/>
                    </a:lnTo>
                    <a:lnTo>
                      <a:pt x="1319" y="825"/>
                    </a:lnTo>
                    <a:lnTo>
                      <a:pt x="1316" y="827"/>
                    </a:lnTo>
                    <a:lnTo>
                      <a:pt x="1314" y="825"/>
                    </a:lnTo>
                    <a:lnTo>
                      <a:pt x="1313" y="824"/>
                    </a:lnTo>
                    <a:lnTo>
                      <a:pt x="1309" y="824"/>
                    </a:lnTo>
                    <a:lnTo>
                      <a:pt x="1309" y="824"/>
                    </a:lnTo>
                    <a:lnTo>
                      <a:pt x="1306" y="825"/>
                    </a:lnTo>
                    <a:lnTo>
                      <a:pt x="1303" y="824"/>
                    </a:lnTo>
                    <a:lnTo>
                      <a:pt x="1300" y="821"/>
                    </a:lnTo>
                    <a:lnTo>
                      <a:pt x="1297" y="817"/>
                    </a:lnTo>
                    <a:lnTo>
                      <a:pt x="1297" y="817"/>
                    </a:lnTo>
                    <a:lnTo>
                      <a:pt x="1294" y="811"/>
                    </a:lnTo>
                    <a:lnTo>
                      <a:pt x="1287" y="804"/>
                    </a:lnTo>
                    <a:lnTo>
                      <a:pt x="1279" y="800"/>
                    </a:lnTo>
                    <a:lnTo>
                      <a:pt x="1270" y="795"/>
                    </a:lnTo>
                    <a:lnTo>
                      <a:pt x="1270" y="795"/>
                    </a:lnTo>
                    <a:lnTo>
                      <a:pt x="1266" y="794"/>
                    </a:lnTo>
                    <a:lnTo>
                      <a:pt x="1266" y="792"/>
                    </a:lnTo>
                    <a:lnTo>
                      <a:pt x="1266" y="791"/>
                    </a:lnTo>
                    <a:lnTo>
                      <a:pt x="1269" y="790"/>
                    </a:lnTo>
                    <a:lnTo>
                      <a:pt x="1273" y="791"/>
                    </a:lnTo>
                    <a:lnTo>
                      <a:pt x="1273" y="791"/>
                    </a:lnTo>
                    <a:lnTo>
                      <a:pt x="1275" y="792"/>
                    </a:lnTo>
                    <a:lnTo>
                      <a:pt x="1276" y="792"/>
                    </a:lnTo>
                    <a:lnTo>
                      <a:pt x="1280" y="791"/>
                    </a:lnTo>
                    <a:lnTo>
                      <a:pt x="1283" y="787"/>
                    </a:lnTo>
                    <a:lnTo>
                      <a:pt x="1286" y="784"/>
                    </a:lnTo>
                    <a:lnTo>
                      <a:pt x="1286" y="784"/>
                    </a:lnTo>
                    <a:lnTo>
                      <a:pt x="1286" y="781"/>
                    </a:lnTo>
                    <a:lnTo>
                      <a:pt x="1284" y="780"/>
                    </a:lnTo>
                    <a:lnTo>
                      <a:pt x="1279" y="777"/>
                    </a:lnTo>
                    <a:lnTo>
                      <a:pt x="1279" y="777"/>
                    </a:lnTo>
                    <a:lnTo>
                      <a:pt x="1277" y="775"/>
                    </a:lnTo>
                    <a:lnTo>
                      <a:pt x="1276" y="774"/>
                    </a:lnTo>
                    <a:lnTo>
                      <a:pt x="1277" y="768"/>
                    </a:lnTo>
                    <a:lnTo>
                      <a:pt x="1277" y="768"/>
                    </a:lnTo>
                    <a:lnTo>
                      <a:pt x="1276" y="765"/>
                    </a:lnTo>
                    <a:lnTo>
                      <a:pt x="1272" y="763"/>
                    </a:lnTo>
                    <a:lnTo>
                      <a:pt x="1269" y="760"/>
                    </a:lnTo>
                    <a:lnTo>
                      <a:pt x="1266" y="757"/>
                    </a:lnTo>
                    <a:lnTo>
                      <a:pt x="1266" y="757"/>
                    </a:lnTo>
                    <a:lnTo>
                      <a:pt x="1266" y="754"/>
                    </a:lnTo>
                    <a:lnTo>
                      <a:pt x="1263" y="753"/>
                    </a:lnTo>
                    <a:lnTo>
                      <a:pt x="1262" y="750"/>
                    </a:lnTo>
                    <a:lnTo>
                      <a:pt x="1260" y="747"/>
                    </a:lnTo>
                    <a:lnTo>
                      <a:pt x="1260" y="747"/>
                    </a:lnTo>
                    <a:lnTo>
                      <a:pt x="1260" y="746"/>
                    </a:lnTo>
                    <a:lnTo>
                      <a:pt x="1257" y="741"/>
                    </a:lnTo>
                    <a:lnTo>
                      <a:pt x="1256" y="738"/>
                    </a:lnTo>
                    <a:lnTo>
                      <a:pt x="1255" y="736"/>
                    </a:lnTo>
                    <a:lnTo>
                      <a:pt x="1255" y="736"/>
                    </a:lnTo>
                    <a:lnTo>
                      <a:pt x="1253" y="731"/>
                    </a:lnTo>
                    <a:lnTo>
                      <a:pt x="1249" y="727"/>
                    </a:lnTo>
                    <a:lnTo>
                      <a:pt x="1245" y="721"/>
                    </a:lnTo>
                    <a:lnTo>
                      <a:pt x="1243" y="717"/>
                    </a:lnTo>
                    <a:lnTo>
                      <a:pt x="1243" y="717"/>
                    </a:lnTo>
                    <a:lnTo>
                      <a:pt x="1242" y="714"/>
                    </a:lnTo>
                    <a:lnTo>
                      <a:pt x="1240" y="711"/>
                    </a:lnTo>
                    <a:lnTo>
                      <a:pt x="1238" y="707"/>
                    </a:lnTo>
                    <a:lnTo>
                      <a:pt x="1235" y="703"/>
                    </a:lnTo>
                    <a:lnTo>
                      <a:pt x="1235" y="703"/>
                    </a:lnTo>
                    <a:lnTo>
                      <a:pt x="1233" y="700"/>
                    </a:lnTo>
                    <a:lnTo>
                      <a:pt x="1232" y="700"/>
                    </a:lnTo>
                    <a:lnTo>
                      <a:pt x="1230" y="703"/>
                    </a:lnTo>
                    <a:lnTo>
                      <a:pt x="1228" y="709"/>
                    </a:lnTo>
                    <a:lnTo>
                      <a:pt x="1228" y="709"/>
                    </a:lnTo>
                    <a:lnTo>
                      <a:pt x="1226" y="713"/>
                    </a:lnTo>
                    <a:lnTo>
                      <a:pt x="1223" y="716"/>
                    </a:lnTo>
                    <a:lnTo>
                      <a:pt x="1220" y="717"/>
                    </a:lnTo>
                    <a:lnTo>
                      <a:pt x="1220" y="720"/>
                    </a:lnTo>
                    <a:lnTo>
                      <a:pt x="1220" y="720"/>
                    </a:lnTo>
                    <a:lnTo>
                      <a:pt x="1222" y="723"/>
                    </a:lnTo>
                    <a:lnTo>
                      <a:pt x="1222" y="726"/>
                    </a:lnTo>
                    <a:lnTo>
                      <a:pt x="1219" y="728"/>
                    </a:lnTo>
                    <a:lnTo>
                      <a:pt x="1219" y="728"/>
                    </a:lnTo>
                    <a:lnTo>
                      <a:pt x="1218" y="731"/>
                    </a:lnTo>
                    <a:lnTo>
                      <a:pt x="1218" y="734"/>
                    </a:lnTo>
                    <a:lnTo>
                      <a:pt x="1218" y="737"/>
                    </a:lnTo>
                    <a:lnTo>
                      <a:pt x="1215" y="738"/>
                    </a:lnTo>
                    <a:lnTo>
                      <a:pt x="1215" y="738"/>
                    </a:lnTo>
                    <a:lnTo>
                      <a:pt x="1213" y="738"/>
                    </a:lnTo>
                    <a:lnTo>
                      <a:pt x="1212" y="740"/>
                    </a:lnTo>
                    <a:lnTo>
                      <a:pt x="1212" y="743"/>
                    </a:lnTo>
                    <a:lnTo>
                      <a:pt x="1210" y="746"/>
                    </a:lnTo>
                    <a:lnTo>
                      <a:pt x="1209" y="744"/>
                    </a:lnTo>
                    <a:lnTo>
                      <a:pt x="1209" y="744"/>
                    </a:lnTo>
                    <a:lnTo>
                      <a:pt x="1206" y="741"/>
                    </a:lnTo>
                    <a:lnTo>
                      <a:pt x="1203" y="741"/>
                    </a:lnTo>
                    <a:lnTo>
                      <a:pt x="1201" y="743"/>
                    </a:lnTo>
                    <a:lnTo>
                      <a:pt x="1201" y="746"/>
                    </a:lnTo>
                    <a:lnTo>
                      <a:pt x="1201" y="746"/>
                    </a:lnTo>
                    <a:lnTo>
                      <a:pt x="1199" y="747"/>
                    </a:lnTo>
                    <a:lnTo>
                      <a:pt x="1198" y="748"/>
                    </a:lnTo>
                    <a:lnTo>
                      <a:pt x="1193" y="753"/>
                    </a:lnTo>
                    <a:lnTo>
                      <a:pt x="1188" y="754"/>
                    </a:lnTo>
                    <a:lnTo>
                      <a:pt x="1183" y="754"/>
                    </a:lnTo>
                    <a:lnTo>
                      <a:pt x="1183" y="754"/>
                    </a:lnTo>
                    <a:lnTo>
                      <a:pt x="1181" y="753"/>
                    </a:lnTo>
                    <a:lnTo>
                      <a:pt x="1179" y="750"/>
                    </a:lnTo>
                    <a:lnTo>
                      <a:pt x="1178" y="747"/>
                    </a:lnTo>
                    <a:lnTo>
                      <a:pt x="1176" y="747"/>
                    </a:lnTo>
                    <a:lnTo>
                      <a:pt x="1175" y="747"/>
                    </a:lnTo>
                    <a:lnTo>
                      <a:pt x="1175" y="747"/>
                    </a:lnTo>
                    <a:lnTo>
                      <a:pt x="1174" y="748"/>
                    </a:lnTo>
                    <a:lnTo>
                      <a:pt x="1174" y="747"/>
                    </a:lnTo>
                    <a:lnTo>
                      <a:pt x="1172" y="744"/>
                    </a:lnTo>
                    <a:lnTo>
                      <a:pt x="1169" y="741"/>
                    </a:lnTo>
                    <a:lnTo>
                      <a:pt x="1168" y="740"/>
                    </a:lnTo>
                    <a:lnTo>
                      <a:pt x="1166" y="740"/>
                    </a:lnTo>
                    <a:lnTo>
                      <a:pt x="1166" y="740"/>
                    </a:lnTo>
                    <a:lnTo>
                      <a:pt x="1162" y="740"/>
                    </a:lnTo>
                    <a:lnTo>
                      <a:pt x="1159" y="738"/>
                    </a:lnTo>
                    <a:lnTo>
                      <a:pt x="1158" y="737"/>
                    </a:lnTo>
                    <a:lnTo>
                      <a:pt x="1158" y="734"/>
                    </a:lnTo>
                    <a:lnTo>
                      <a:pt x="1158" y="734"/>
                    </a:lnTo>
                    <a:lnTo>
                      <a:pt x="1158" y="733"/>
                    </a:lnTo>
                    <a:lnTo>
                      <a:pt x="1156" y="730"/>
                    </a:lnTo>
                    <a:lnTo>
                      <a:pt x="1154" y="727"/>
                    </a:lnTo>
                    <a:lnTo>
                      <a:pt x="1151" y="726"/>
                    </a:lnTo>
                    <a:lnTo>
                      <a:pt x="1151" y="724"/>
                    </a:lnTo>
                    <a:lnTo>
                      <a:pt x="1151" y="723"/>
                    </a:lnTo>
                    <a:lnTo>
                      <a:pt x="1151" y="723"/>
                    </a:lnTo>
                    <a:lnTo>
                      <a:pt x="1152" y="720"/>
                    </a:lnTo>
                    <a:lnTo>
                      <a:pt x="1152" y="716"/>
                    </a:lnTo>
                    <a:lnTo>
                      <a:pt x="1151" y="711"/>
                    </a:lnTo>
                    <a:lnTo>
                      <a:pt x="1149" y="704"/>
                    </a:lnTo>
                    <a:lnTo>
                      <a:pt x="1149" y="704"/>
                    </a:lnTo>
                    <a:lnTo>
                      <a:pt x="1149" y="700"/>
                    </a:lnTo>
                    <a:lnTo>
                      <a:pt x="1152" y="696"/>
                    </a:lnTo>
                    <a:lnTo>
                      <a:pt x="1154" y="694"/>
                    </a:lnTo>
                    <a:lnTo>
                      <a:pt x="1155" y="691"/>
                    </a:lnTo>
                    <a:lnTo>
                      <a:pt x="1155" y="691"/>
                    </a:lnTo>
                    <a:lnTo>
                      <a:pt x="1154" y="689"/>
                    </a:lnTo>
                    <a:lnTo>
                      <a:pt x="1152" y="689"/>
                    </a:lnTo>
                    <a:lnTo>
                      <a:pt x="1149" y="689"/>
                    </a:lnTo>
                    <a:lnTo>
                      <a:pt x="1146" y="690"/>
                    </a:lnTo>
                    <a:lnTo>
                      <a:pt x="1146" y="690"/>
                    </a:lnTo>
                    <a:lnTo>
                      <a:pt x="1144" y="691"/>
                    </a:lnTo>
                    <a:lnTo>
                      <a:pt x="1142" y="690"/>
                    </a:lnTo>
                    <a:lnTo>
                      <a:pt x="1141" y="687"/>
                    </a:lnTo>
                    <a:lnTo>
                      <a:pt x="1138" y="687"/>
                    </a:lnTo>
                    <a:lnTo>
                      <a:pt x="1138" y="687"/>
                    </a:lnTo>
                    <a:lnTo>
                      <a:pt x="1132" y="687"/>
                    </a:lnTo>
                    <a:lnTo>
                      <a:pt x="1127" y="686"/>
                    </a:lnTo>
                    <a:lnTo>
                      <a:pt x="1121" y="684"/>
                    </a:lnTo>
                    <a:lnTo>
                      <a:pt x="1119" y="683"/>
                    </a:lnTo>
                    <a:lnTo>
                      <a:pt x="1118" y="680"/>
                    </a:lnTo>
                    <a:lnTo>
                      <a:pt x="1118" y="680"/>
                    </a:lnTo>
                    <a:lnTo>
                      <a:pt x="1117" y="677"/>
                    </a:lnTo>
                    <a:lnTo>
                      <a:pt x="1115" y="676"/>
                    </a:lnTo>
                    <a:lnTo>
                      <a:pt x="1112" y="674"/>
                    </a:lnTo>
                    <a:lnTo>
                      <a:pt x="1111" y="672"/>
                    </a:lnTo>
                    <a:lnTo>
                      <a:pt x="1111" y="672"/>
                    </a:lnTo>
                    <a:lnTo>
                      <a:pt x="1108" y="669"/>
                    </a:lnTo>
                    <a:lnTo>
                      <a:pt x="1107" y="667"/>
                    </a:lnTo>
                    <a:lnTo>
                      <a:pt x="1104" y="667"/>
                    </a:lnTo>
                    <a:lnTo>
                      <a:pt x="1102" y="666"/>
                    </a:lnTo>
                    <a:lnTo>
                      <a:pt x="1102" y="666"/>
                    </a:lnTo>
                    <a:lnTo>
                      <a:pt x="1102" y="663"/>
                    </a:lnTo>
                    <a:lnTo>
                      <a:pt x="1101" y="660"/>
                    </a:lnTo>
                    <a:lnTo>
                      <a:pt x="1100" y="660"/>
                    </a:lnTo>
                    <a:lnTo>
                      <a:pt x="1097" y="659"/>
                    </a:lnTo>
                    <a:lnTo>
                      <a:pt x="1097" y="659"/>
                    </a:lnTo>
                    <a:lnTo>
                      <a:pt x="1094" y="659"/>
                    </a:lnTo>
                    <a:lnTo>
                      <a:pt x="1091" y="656"/>
                    </a:lnTo>
                    <a:lnTo>
                      <a:pt x="1088" y="654"/>
                    </a:lnTo>
                    <a:lnTo>
                      <a:pt x="1085" y="653"/>
                    </a:lnTo>
                    <a:lnTo>
                      <a:pt x="1085" y="653"/>
                    </a:lnTo>
                    <a:lnTo>
                      <a:pt x="1080" y="653"/>
                    </a:lnTo>
                    <a:lnTo>
                      <a:pt x="1075" y="654"/>
                    </a:lnTo>
                    <a:lnTo>
                      <a:pt x="1068" y="659"/>
                    </a:lnTo>
                    <a:lnTo>
                      <a:pt x="1068" y="659"/>
                    </a:lnTo>
                    <a:lnTo>
                      <a:pt x="1065" y="659"/>
                    </a:lnTo>
                    <a:lnTo>
                      <a:pt x="1061" y="657"/>
                    </a:lnTo>
                    <a:lnTo>
                      <a:pt x="1057" y="656"/>
                    </a:lnTo>
                    <a:lnTo>
                      <a:pt x="1054" y="656"/>
                    </a:lnTo>
                    <a:lnTo>
                      <a:pt x="1054" y="656"/>
                    </a:lnTo>
                    <a:lnTo>
                      <a:pt x="1053" y="657"/>
                    </a:lnTo>
                    <a:lnTo>
                      <a:pt x="1050" y="656"/>
                    </a:lnTo>
                    <a:lnTo>
                      <a:pt x="1047" y="654"/>
                    </a:lnTo>
                    <a:lnTo>
                      <a:pt x="1041" y="652"/>
                    </a:lnTo>
                    <a:lnTo>
                      <a:pt x="1041" y="652"/>
                    </a:lnTo>
                    <a:lnTo>
                      <a:pt x="1027" y="650"/>
                    </a:lnTo>
                    <a:lnTo>
                      <a:pt x="1023" y="650"/>
                    </a:lnTo>
                    <a:lnTo>
                      <a:pt x="1020" y="652"/>
                    </a:lnTo>
                    <a:lnTo>
                      <a:pt x="1020" y="652"/>
                    </a:lnTo>
                    <a:lnTo>
                      <a:pt x="1018" y="654"/>
                    </a:lnTo>
                    <a:lnTo>
                      <a:pt x="1016" y="656"/>
                    </a:lnTo>
                    <a:lnTo>
                      <a:pt x="1014" y="659"/>
                    </a:lnTo>
                    <a:lnTo>
                      <a:pt x="1013" y="663"/>
                    </a:lnTo>
                    <a:lnTo>
                      <a:pt x="1013" y="663"/>
                    </a:lnTo>
                    <a:lnTo>
                      <a:pt x="1016" y="667"/>
                    </a:lnTo>
                    <a:lnTo>
                      <a:pt x="1018" y="670"/>
                    </a:lnTo>
                    <a:lnTo>
                      <a:pt x="1021" y="672"/>
                    </a:lnTo>
                    <a:lnTo>
                      <a:pt x="1024" y="674"/>
                    </a:lnTo>
                    <a:lnTo>
                      <a:pt x="1024" y="674"/>
                    </a:lnTo>
                    <a:lnTo>
                      <a:pt x="1024" y="677"/>
                    </a:lnTo>
                    <a:lnTo>
                      <a:pt x="1023" y="679"/>
                    </a:lnTo>
                    <a:lnTo>
                      <a:pt x="1021" y="680"/>
                    </a:lnTo>
                    <a:lnTo>
                      <a:pt x="1020" y="683"/>
                    </a:lnTo>
                    <a:lnTo>
                      <a:pt x="1020" y="683"/>
                    </a:lnTo>
                    <a:lnTo>
                      <a:pt x="1018" y="686"/>
                    </a:lnTo>
                    <a:lnTo>
                      <a:pt x="1017" y="687"/>
                    </a:lnTo>
                    <a:lnTo>
                      <a:pt x="1016" y="689"/>
                    </a:lnTo>
                    <a:lnTo>
                      <a:pt x="1014" y="690"/>
                    </a:lnTo>
                    <a:lnTo>
                      <a:pt x="1014" y="690"/>
                    </a:lnTo>
                    <a:lnTo>
                      <a:pt x="1016" y="691"/>
                    </a:lnTo>
                    <a:lnTo>
                      <a:pt x="1017" y="693"/>
                    </a:lnTo>
                    <a:lnTo>
                      <a:pt x="1018" y="696"/>
                    </a:lnTo>
                    <a:lnTo>
                      <a:pt x="1020" y="699"/>
                    </a:lnTo>
                    <a:lnTo>
                      <a:pt x="1020" y="699"/>
                    </a:lnTo>
                    <a:lnTo>
                      <a:pt x="1021" y="703"/>
                    </a:lnTo>
                    <a:lnTo>
                      <a:pt x="1023" y="706"/>
                    </a:lnTo>
                    <a:lnTo>
                      <a:pt x="1026" y="709"/>
                    </a:lnTo>
                    <a:lnTo>
                      <a:pt x="1026" y="713"/>
                    </a:lnTo>
                    <a:lnTo>
                      <a:pt x="1026" y="713"/>
                    </a:lnTo>
                    <a:lnTo>
                      <a:pt x="1026" y="718"/>
                    </a:lnTo>
                    <a:lnTo>
                      <a:pt x="1024" y="720"/>
                    </a:lnTo>
                    <a:lnTo>
                      <a:pt x="1020" y="721"/>
                    </a:lnTo>
                    <a:lnTo>
                      <a:pt x="1020" y="721"/>
                    </a:lnTo>
                    <a:lnTo>
                      <a:pt x="1018" y="723"/>
                    </a:lnTo>
                    <a:lnTo>
                      <a:pt x="1018" y="726"/>
                    </a:lnTo>
                    <a:lnTo>
                      <a:pt x="1017" y="728"/>
                    </a:lnTo>
                    <a:lnTo>
                      <a:pt x="1016" y="733"/>
                    </a:lnTo>
                    <a:lnTo>
                      <a:pt x="1016" y="733"/>
                    </a:lnTo>
                    <a:lnTo>
                      <a:pt x="1008" y="741"/>
                    </a:lnTo>
                    <a:lnTo>
                      <a:pt x="1008" y="744"/>
                    </a:lnTo>
                    <a:lnTo>
                      <a:pt x="1010" y="747"/>
                    </a:lnTo>
                    <a:lnTo>
                      <a:pt x="1010" y="747"/>
                    </a:lnTo>
                    <a:lnTo>
                      <a:pt x="1021" y="755"/>
                    </a:lnTo>
                    <a:lnTo>
                      <a:pt x="1028" y="760"/>
                    </a:lnTo>
                    <a:lnTo>
                      <a:pt x="1034" y="767"/>
                    </a:lnTo>
                    <a:lnTo>
                      <a:pt x="1034" y="767"/>
                    </a:lnTo>
                    <a:lnTo>
                      <a:pt x="1037" y="775"/>
                    </a:lnTo>
                    <a:lnTo>
                      <a:pt x="1038" y="784"/>
                    </a:lnTo>
                    <a:lnTo>
                      <a:pt x="1038" y="794"/>
                    </a:lnTo>
                    <a:lnTo>
                      <a:pt x="1037" y="802"/>
                    </a:lnTo>
                    <a:lnTo>
                      <a:pt x="1037" y="802"/>
                    </a:lnTo>
                    <a:lnTo>
                      <a:pt x="1037" y="805"/>
                    </a:lnTo>
                    <a:lnTo>
                      <a:pt x="1034" y="808"/>
                    </a:lnTo>
                    <a:lnTo>
                      <a:pt x="1028" y="814"/>
                    </a:lnTo>
                    <a:lnTo>
                      <a:pt x="1021" y="818"/>
                    </a:lnTo>
                    <a:lnTo>
                      <a:pt x="1014" y="824"/>
                    </a:lnTo>
                    <a:lnTo>
                      <a:pt x="1014" y="824"/>
                    </a:lnTo>
                    <a:lnTo>
                      <a:pt x="1008" y="829"/>
                    </a:lnTo>
                    <a:lnTo>
                      <a:pt x="1001" y="832"/>
                    </a:lnTo>
                    <a:lnTo>
                      <a:pt x="993" y="832"/>
                    </a:lnTo>
                    <a:lnTo>
                      <a:pt x="993" y="832"/>
                    </a:lnTo>
                    <a:lnTo>
                      <a:pt x="991" y="834"/>
                    </a:lnTo>
                    <a:lnTo>
                      <a:pt x="990" y="834"/>
                    </a:lnTo>
                    <a:lnTo>
                      <a:pt x="990" y="838"/>
                    </a:lnTo>
                    <a:lnTo>
                      <a:pt x="993" y="842"/>
                    </a:lnTo>
                    <a:lnTo>
                      <a:pt x="997" y="848"/>
                    </a:lnTo>
                    <a:lnTo>
                      <a:pt x="997" y="848"/>
                    </a:lnTo>
                    <a:lnTo>
                      <a:pt x="1000" y="852"/>
                    </a:lnTo>
                    <a:lnTo>
                      <a:pt x="1000" y="856"/>
                    </a:lnTo>
                    <a:lnTo>
                      <a:pt x="1000" y="859"/>
                    </a:lnTo>
                    <a:lnTo>
                      <a:pt x="1001" y="864"/>
                    </a:lnTo>
                    <a:lnTo>
                      <a:pt x="1001" y="864"/>
                    </a:lnTo>
                    <a:lnTo>
                      <a:pt x="1003" y="869"/>
                    </a:lnTo>
                    <a:lnTo>
                      <a:pt x="1003" y="874"/>
                    </a:lnTo>
                    <a:lnTo>
                      <a:pt x="1003" y="879"/>
                    </a:lnTo>
                    <a:lnTo>
                      <a:pt x="1006" y="883"/>
                    </a:lnTo>
                    <a:lnTo>
                      <a:pt x="1006" y="883"/>
                    </a:lnTo>
                    <a:lnTo>
                      <a:pt x="1007" y="888"/>
                    </a:lnTo>
                    <a:lnTo>
                      <a:pt x="1007" y="891"/>
                    </a:lnTo>
                    <a:lnTo>
                      <a:pt x="1006" y="893"/>
                    </a:lnTo>
                    <a:lnTo>
                      <a:pt x="1001" y="896"/>
                    </a:lnTo>
                    <a:lnTo>
                      <a:pt x="1001" y="896"/>
                    </a:lnTo>
                    <a:lnTo>
                      <a:pt x="1000" y="899"/>
                    </a:lnTo>
                    <a:lnTo>
                      <a:pt x="1001" y="901"/>
                    </a:lnTo>
                    <a:lnTo>
                      <a:pt x="1003" y="902"/>
                    </a:lnTo>
                    <a:lnTo>
                      <a:pt x="1004" y="905"/>
                    </a:lnTo>
                    <a:lnTo>
                      <a:pt x="1004" y="905"/>
                    </a:lnTo>
                    <a:lnTo>
                      <a:pt x="1004" y="908"/>
                    </a:lnTo>
                    <a:lnTo>
                      <a:pt x="1003" y="908"/>
                    </a:lnTo>
                    <a:lnTo>
                      <a:pt x="997" y="905"/>
                    </a:lnTo>
                    <a:lnTo>
                      <a:pt x="997" y="905"/>
                    </a:lnTo>
                    <a:lnTo>
                      <a:pt x="996" y="903"/>
                    </a:lnTo>
                    <a:lnTo>
                      <a:pt x="994" y="903"/>
                    </a:lnTo>
                    <a:lnTo>
                      <a:pt x="991" y="906"/>
                    </a:lnTo>
                    <a:lnTo>
                      <a:pt x="989" y="911"/>
                    </a:lnTo>
                    <a:lnTo>
                      <a:pt x="989" y="915"/>
                    </a:lnTo>
                    <a:lnTo>
                      <a:pt x="989" y="915"/>
                    </a:lnTo>
                    <a:lnTo>
                      <a:pt x="989" y="915"/>
                    </a:lnTo>
                    <a:lnTo>
                      <a:pt x="987" y="915"/>
                    </a:lnTo>
                    <a:lnTo>
                      <a:pt x="983" y="913"/>
                    </a:lnTo>
                    <a:lnTo>
                      <a:pt x="979" y="911"/>
                    </a:lnTo>
                    <a:lnTo>
                      <a:pt x="974" y="909"/>
                    </a:lnTo>
                    <a:lnTo>
                      <a:pt x="974" y="909"/>
                    </a:lnTo>
                    <a:lnTo>
                      <a:pt x="974" y="909"/>
                    </a:lnTo>
                    <a:lnTo>
                      <a:pt x="973" y="906"/>
                    </a:lnTo>
                    <a:lnTo>
                      <a:pt x="973" y="902"/>
                    </a:lnTo>
                    <a:lnTo>
                      <a:pt x="969" y="898"/>
                    </a:lnTo>
                    <a:lnTo>
                      <a:pt x="969" y="898"/>
                    </a:lnTo>
                    <a:lnTo>
                      <a:pt x="962" y="893"/>
                    </a:lnTo>
                    <a:lnTo>
                      <a:pt x="959" y="891"/>
                    </a:lnTo>
                    <a:lnTo>
                      <a:pt x="957" y="888"/>
                    </a:lnTo>
                    <a:lnTo>
                      <a:pt x="957" y="888"/>
                    </a:lnTo>
                    <a:lnTo>
                      <a:pt x="956" y="883"/>
                    </a:lnTo>
                    <a:lnTo>
                      <a:pt x="952" y="881"/>
                    </a:lnTo>
                    <a:lnTo>
                      <a:pt x="949" y="876"/>
                    </a:lnTo>
                    <a:lnTo>
                      <a:pt x="947" y="875"/>
                    </a:lnTo>
                    <a:lnTo>
                      <a:pt x="947" y="874"/>
                    </a:lnTo>
                    <a:lnTo>
                      <a:pt x="947" y="874"/>
                    </a:lnTo>
                    <a:lnTo>
                      <a:pt x="947" y="861"/>
                    </a:lnTo>
                    <a:lnTo>
                      <a:pt x="947" y="854"/>
                    </a:lnTo>
                    <a:lnTo>
                      <a:pt x="946" y="848"/>
                    </a:lnTo>
                    <a:lnTo>
                      <a:pt x="946" y="848"/>
                    </a:lnTo>
                    <a:lnTo>
                      <a:pt x="944" y="845"/>
                    </a:lnTo>
                    <a:lnTo>
                      <a:pt x="944" y="842"/>
                    </a:lnTo>
                    <a:lnTo>
                      <a:pt x="947" y="835"/>
                    </a:lnTo>
                    <a:lnTo>
                      <a:pt x="947" y="835"/>
                    </a:lnTo>
                    <a:lnTo>
                      <a:pt x="947" y="832"/>
                    </a:lnTo>
                    <a:lnTo>
                      <a:pt x="946" y="829"/>
                    </a:lnTo>
                    <a:lnTo>
                      <a:pt x="943" y="827"/>
                    </a:lnTo>
                    <a:lnTo>
                      <a:pt x="939" y="825"/>
                    </a:lnTo>
                    <a:lnTo>
                      <a:pt x="939" y="825"/>
                    </a:lnTo>
                    <a:lnTo>
                      <a:pt x="927" y="825"/>
                    </a:lnTo>
                    <a:lnTo>
                      <a:pt x="915" y="824"/>
                    </a:lnTo>
                    <a:lnTo>
                      <a:pt x="915" y="824"/>
                    </a:lnTo>
                    <a:lnTo>
                      <a:pt x="903" y="824"/>
                    </a:lnTo>
                    <a:lnTo>
                      <a:pt x="900" y="822"/>
                    </a:lnTo>
                    <a:lnTo>
                      <a:pt x="898" y="821"/>
                    </a:lnTo>
                    <a:lnTo>
                      <a:pt x="898" y="821"/>
                    </a:lnTo>
                    <a:lnTo>
                      <a:pt x="890" y="817"/>
                    </a:lnTo>
                    <a:lnTo>
                      <a:pt x="883" y="812"/>
                    </a:lnTo>
                    <a:lnTo>
                      <a:pt x="876" y="811"/>
                    </a:lnTo>
                    <a:lnTo>
                      <a:pt x="876" y="811"/>
                    </a:lnTo>
                    <a:lnTo>
                      <a:pt x="869" y="808"/>
                    </a:lnTo>
                    <a:lnTo>
                      <a:pt x="863" y="805"/>
                    </a:lnTo>
                    <a:lnTo>
                      <a:pt x="861" y="801"/>
                    </a:lnTo>
                    <a:lnTo>
                      <a:pt x="859" y="798"/>
                    </a:lnTo>
                    <a:lnTo>
                      <a:pt x="859" y="798"/>
                    </a:lnTo>
                    <a:lnTo>
                      <a:pt x="856" y="797"/>
                    </a:lnTo>
                    <a:lnTo>
                      <a:pt x="852" y="794"/>
                    </a:lnTo>
                    <a:lnTo>
                      <a:pt x="848" y="792"/>
                    </a:lnTo>
                    <a:lnTo>
                      <a:pt x="843" y="790"/>
                    </a:lnTo>
                    <a:lnTo>
                      <a:pt x="843" y="790"/>
                    </a:lnTo>
                    <a:lnTo>
                      <a:pt x="841" y="788"/>
                    </a:lnTo>
                    <a:lnTo>
                      <a:pt x="836" y="787"/>
                    </a:lnTo>
                    <a:lnTo>
                      <a:pt x="826" y="785"/>
                    </a:lnTo>
                    <a:lnTo>
                      <a:pt x="826" y="785"/>
                    </a:lnTo>
                    <a:lnTo>
                      <a:pt x="822" y="784"/>
                    </a:lnTo>
                    <a:lnTo>
                      <a:pt x="816" y="781"/>
                    </a:lnTo>
                    <a:lnTo>
                      <a:pt x="811" y="778"/>
                    </a:lnTo>
                    <a:lnTo>
                      <a:pt x="805" y="777"/>
                    </a:lnTo>
                    <a:lnTo>
                      <a:pt x="805" y="777"/>
                    </a:lnTo>
                    <a:lnTo>
                      <a:pt x="799" y="778"/>
                    </a:lnTo>
                    <a:lnTo>
                      <a:pt x="792" y="781"/>
                    </a:lnTo>
                    <a:lnTo>
                      <a:pt x="781" y="784"/>
                    </a:lnTo>
                    <a:lnTo>
                      <a:pt x="781" y="784"/>
                    </a:lnTo>
                    <a:lnTo>
                      <a:pt x="781" y="784"/>
                    </a:lnTo>
                    <a:lnTo>
                      <a:pt x="781" y="781"/>
                    </a:lnTo>
                    <a:lnTo>
                      <a:pt x="784" y="777"/>
                    </a:lnTo>
                    <a:lnTo>
                      <a:pt x="784" y="777"/>
                    </a:lnTo>
                    <a:lnTo>
                      <a:pt x="784" y="773"/>
                    </a:lnTo>
                    <a:lnTo>
                      <a:pt x="781" y="768"/>
                    </a:lnTo>
                    <a:lnTo>
                      <a:pt x="777" y="755"/>
                    </a:lnTo>
                    <a:lnTo>
                      <a:pt x="777" y="755"/>
                    </a:lnTo>
                    <a:lnTo>
                      <a:pt x="775" y="751"/>
                    </a:lnTo>
                    <a:lnTo>
                      <a:pt x="772" y="746"/>
                    </a:lnTo>
                    <a:lnTo>
                      <a:pt x="769" y="743"/>
                    </a:lnTo>
                    <a:lnTo>
                      <a:pt x="765" y="743"/>
                    </a:lnTo>
                    <a:lnTo>
                      <a:pt x="765" y="743"/>
                    </a:lnTo>
                    <a:lnTo>
                      <a:pt x="760" y="743"/>
                    </a:lnTo>
                    <a:lnTo>
                      <a:pt x="754" y="741"/>
                    </a:lnTo>
                    <a:lnTo>
                      <a:pt x="747" y="738"/>
                    </a:lnTo>
                    <a:lnTo>
                      <a:pt x="747" y="738"/>
                    </a:lnTo>
                    <a:lnTo>
                      <a:pt x="745" y="734"/>
                    </a:lnTo>
                    <a:lnTo>
                      <a:pt x="745" y="726"/>
                    </a:lnTo>
                    <a:lnTo>
                      <a:pt x="745" y="716"/>
                    </a:lnTo>
                    <a:lnTo>
                      <a:pt x="747" y="707"/>
                    </a:lnTo>
                    <a:lnTo>
                      <a:pt x="747" y="707"/>
                    </a:lnTo>
                    <a:lnTo>
                      <a:pt x="748" y="700"/>
                    </a:lnTo>
                    <a:lnTo>
                      <a:pt x="752" y="693"/>
                    </a:lnTo>
                    <a:lnTo>
                      <a:pt x="755" y="686"/>
                    </a:lnTo>
                    <a:lnTo>
                      <a:pt x="757" y="681"/>
                    </a:lnTo>
                    <a:lnTo>
                      <a:pt x="757" y="681"/>
                    </a:lnTo>
                    <a:lnTo>
                      <a:pt x="758" y="677"/>
                    </a:lnTo>
                    <a:lnTo>
                      <a:pt x="761" y="674"/>
                    </a:lnTo>
                    <a:lnTo>
                      <a:pt x="768" y="672"/>
                    </a:lnTo>
                    <a:lnTo>
                      <a:pt x="768" y="672"/>
                    </a:lnTo>
                    <a:lnTo>
                      <a:pt x="769" y="672"/>
                    </a:lnTo>
                    <a:lnTo>
                      <a:pt x="771" y="669"/>
                    </a:lnTo>
                    <a:lnTo>
                      <a:pt x="772" y="666"/>
                    </a:lnTo>
                    <a:lnTo>
                      <a:pt x="772" y="662"/>
                    </a:lnTo>
                    <a:lnTo>
                      <a:pt x="774" y="660"/>
                    </a:lnTo>
                    <a:lnTo>
                      <a:pt x="775" y="659"/>
                    </a:lnTo>
                    <a:lnTo>
                      <a:pt x="775" y="659"/>
                    </a:lnTo>
                    <a:lnTo>
                      <a:pt x="778" y="659"/>
                    </a:lnTo>
                    <a:lnTo>
                      <a:pt x="779" y="657"/>
                    </a:lnTo>
                    <a:lnTo>
                      <a:pt x="782" y="652"/>
                    </a:lnTo>
                    <a:lnTo>
                      <a:pt x="782" y="652"/>
                    </a:lnTo>
                    <a:lnTo>
                      <a:pt x="784" y="650"/>
                    </a:lnTo>
                    <a:lnTo>
                      <a:pt x="785" y="649"/>
                    </a:lnTo>
                    <a:lnTo>
                      <a:pt x="787" y="649"/>
                    </a:lnTo>
                    <a:lnTo>
                      <a:pt x="785" y="647"/>
                    </a:lnTo>
                    <a:lnTo>
                      <a:pt x="785" y="647"/>
                    </a:lnTo>
                    <a:lnTo>
                      <a:pt x="784" y="644"/>
                    </a:lnTo>
                    <a:lnTo>
                      <a:pt x="785" y="643"/>
                    </a:lnTo>
                    <a:lnTo>
                      <a:pt x="794" y="643"/>
                    </a:lnTo>
                    <a:lnTo>
                      <a:pt x="794" y="643"/>
                    </a:lnTo>
                    <a:lnTo>
                      <a:pt x="799" y="642"/>
                    </a:lnTo>
                    <a:lnTo>
                      <a:pt x="806" y="640"/>
                    </a:lnTo>
                    <a:lnTo>
                      <a:pt x="811" y="637"/>
                    </a:lnTo>
                    <a:lnTo>
                      <a:pt x="812" y="635"/>
                    </a:lnTo>
                    <a:lnTo>
                      <a:pt x="812" y="632"/>
                    </a:lnTo>
                    <a:lnTo>
                      <a:pt x="812" y="632"/>
                    </a:lnTo>
                    <a:lnTo>
                      <a:pt x="811" y="629"/>
                    </a:lnTo>
                    <a:lnTo>
                      <a:pt x="808" y="627"/>
                    </a:lnTo>
                    <a:lnTo>
                      <a:pt x="799" y="626"/>
                    </a:lnTo>
                    <a:lnTo>
                      <a:pt x="792" y="626"/>
                    </a:lnTo>
                    <a:lnTo>
                      <a:pt x="789" y="625"/>
                    </a:lnTo>
                    <a:lnTo>
                      <a:pt x="788" y="623"/>
                    </a:lnTo>
                    <a:lnTo>
                      <a:pt x="788" y="623"/>
                    </a:lnTo>
                    <a:lnTo>
                      <a:pt x="788" y="620"/>
                    </a:lnTo>
                    <a:lnTo>
                      <a:pt x="784" y="619"/>
                    </a:lnTo>
                    <a:lnTo>
                      <a:pt x="775" y="616"/>
                    </a:lnTo>
                    <a:lnTo>
                      <a:pt x="767" y="615"/>
                    </a:lnTo>
                    <a:lnTo>
                      <a:pt x="764" y="613"/>
                    </a:lnTo>
                    <a:lnTo>
                      <a:pt x="764" y="612"/>
                    </a:lnTo>
                    <a:lnTo>
                      <a:pt x="764" y="612"/>
                    </a:lnTo>
                    <a:lnTo>
                      <a:pt x="765" y="610"/>
                    </a:lnTo>
                    <a:lnTo>
                      <a:pt x="768" y="610"/>
                    </a:lnTo>
                    <a:lnTo>
                      <a:pt x="778" y="612"/>
                    </a:lnTo>
                    <a:lnTo>
                      <a:pt x="799" y="617"/>
                    </a:lnTo>
                    <a:lnTo>
                      <a:pt x="799" y="617"/>
                    </a:lnTo>
                    <a:lnTo>
                      <a:pt x="809" y="620"/>
                    </a:lnTo>
                    <a:lnTo>
                      <a:pt x="819" y="620"/>
                    </a:lnTo>
                    <a:lnTo>
                      <a:pt x="819" y="620"/>
                    </a:lnTo>
                    <a:lnTo>
                      <a:pt x="821" y="620"/>
                    </a:lnTo>
                    <a:lnTo>
                      <a:pt x="822" y="619"/>
                    </a:lnTo>
                    <a:lnTo>
                      <a:pt x="824" y="615"/>
                    </a:lnTo>
                    <a:lnTo>
                      <a:pt x="822" y="610"/>
                    </a:lnTo>
                    <a:lnTo>
                      <a:pt x="822" y="608"/>
                    </a:lnTo>
                    <a:lnTo>
                      <a:pt x="822" y="608"/>
                    </a:lnTo>
                    <a:lnTo>
                      <a:pt x="824" y="606"/>
                    </a:lnTo>
                    <a:lnTo>
                      <a:pt x="826" y="606"/>
                    </a:lnTo>
                    <a:lnTo>
                      <a:pt x="832" y="609"/>
                    </a:lnTo>
                    <a:lnTo>
                      <a:pt x="839" y="610"/>
                    </a:lnTo>
                    <a:lnTo>
                      <a:pt x="843" y="612"/>
                    </a:lnTo>
                    <a:lnTo>
                      <a:pt x="846" y="610"/>
                    </a:lnTo>
                    <a:lnTo>
                      <a:pt x="846" y="610"/>
                    </a:lnTo>
                    <a:lnTo>
                      <a:pt x="849" y="609"/>
                    </a:lnTo>
                    <a:lnTo>
                      <a:pt x="852" y="608"/>
                    </a:lnTo>
                    <a:lnTo>
                      <a:pt x="858" y="600"/>
                    </a:lnTo>
                    <a:lnTo>
                      <a:pt x="863" y="593"/>
                    </a:lnTo>
                    <a:lnTo>
                      <a:pt x="869" y="588"/>
                    </a:lnTo>
                    <a:lnTo>
                      <a:pt x="869" y="588"/>
                    </a:lnTo>
                    <a:lnTo>
                      <a:pt x="872" y="585"/>
                    </a:lnTo>
                    <a:lnTo>
                      <a:pt x="872" y="583"/>
                    </a:lnTo>
                    <a:lnTo>
                      <a:pt x="870" y="582"/>
                    </a:lnTo>
                    <a:lnTo>
                      <a:pt x="865" y="579"/>
                    </a:lnTo>
                    <a:lnTo>
                      <a:pt x="856" y="579"/>
                    </a:lnTo>
                    <a:lnTo>
                      <a:pt x="856" y="579"/>
                    </a:lnTo>
                    <a:lnTo>
                      <a:pt x="848" y="579"/>
                    </a:lnTo>
                    <a:lnTo>
                      <a:pt x="841" y="578"/>
                    </a:lnTo>
                    <a:lnTo>
                      <a:pt x="835" y="575"/>
                    </a:lnTo>
                    <a:lnTo>
                      <a:pt x="829" y="571"/>
                    </a:lnTo>
                    <a:lnTo>
                      <a:pt x="829" y="571"/>
                    </a:lnTo>
                    <a:lnTo>
                      <a:pt x="825" y="566"/>
                    </a:lnTo>
                    <a:lnTo>
                      <a:pt x="824" y="563"/>
                    </a:lnTo>
                    <a:lnTo>
                      <a:pt x="826" y="562"/>
                    </a:lnTo>
                    <a:lnTo>
                      <a:pt x="831" y="562"/>
                    </a:lnTo>
                    <a:lnTo>
                      <a:pt x="831" y="562"/>
                    </a:lnTo>
                    <a:lnTo>
                      <a:pt x="838" y="565"/>
                    </a:lnTo>
                    <a:lnTo>
                      <a:pt x="846" y="569"/>
                    </a:lnTo>
                    <a:lnTo>
                      <a:pt x="855" y="575"/>
                    </a:lnTo>
                    <a:lnTo>
                      <a:pt x="862" y="578"/>
                    </a:lnTo>
                    <a:lnTo>
                      <a:pt x="862" y="578"/>
                    </a:lnTo>
                    <a:lnTo>
                      <a:pt x="865" y="576"/>
                    </a:lnTo>
                    <a:lnTo>
                      <a:pt x="868" y="575"/>
                    </a:lnTo>
                    <a:lnTo>
                      <a:pt x="875" y="571"/>
                    </a:lnTo>
                    <a:lnTo>
                      <a:pt x="886" y="559"/>
                    </a:lnTo>
                    <a:lnTo>
                      <a:pt x="886" y="559"/>
                    </a:lnTo>
                    <a:lnTo>
                      <a:pt x="888" y="558"/>
                    </a:lnTo>
                    <a:lnTo>
                      <a:pt x="888" y="556"/>
                    </a:lnTo>
                    <a:lnTo>
                      <a:pt x="885" y="555"/>
                    </a:lnTo>
                    <a:lnTo>
                      <a:pt x="878" y="551"/>
                    </a:lnTo>
                    <a:lnTo>
                      <a:pt x="878" y="551"/>
                    </a:lnTo>
                    <a:lnTo>
                      <a:pt x="876" y="549"/>
                    </a:lnTo>
                    <a:lnTo>
                      <a:pt x="876" y="548"/>
                    </a:lnTo>
                    <a:lnTo>
                      <a:pt x="879" y="546"/>
                    </a:lnTo>
                    <a:lnTo>
                      <a:pt x="889" y="545"/>
                    </a:lnTo>
                    <a:lnTo>
                      <a:pt x="889" y="545"/>
                    </a:lnTo>
                    <a:lnTo>
                      <a:pt x="893" y="546"/>
                    </a:lnTo>
                    <a:lnTo>
                      <a:pt x="896" y="548"/>
                    </a:lnTo>
                    <a:lnTo>
                      <a:pt x="900" y="552"/>
                    </a:lnTo>
                    <a:lnTo>
                      <a:pt x="900" y="552"/>
                    </a:lnTo>
                    <a:lnTo>
                      <a:pt x="903" y="553"/>
                    </a:lnTo>
                    <a:lnTo>
                      <a:pt x="907" y="552"/>
                    </a:lnTo>
                    <a:lnTo>
                      <a:pt x="917" y="551"/>
                    </a:lnTo>
                    <a:lnTo>
                      <a:pt x="917" y="551"/>
                    </a:lnTo>
                    <a:lnTo>
                      <a:pt x="919" y="551"/>
                    </a:lnTo>
                    <a:lnTo>
                      <a:pt x="919" y="549"/>
                    </a:lnTo>
                    <a:lnTo>
                      <a:pt x="917" y="546"/>
                    </a:lnTo>
                    <a:lnTo>
                      <a:pt x="913" y="542"/>
                    </a:lnTo>
                    <a:lnTo>
                      <a:pt x="907" y="539"/>
                    </a:lnTo>
                    <a:lnTo>
                      <a:pt x="907" y="539"/>
                    </a:lnTo>
                    <a:lnTo>
                      <a:pt x="906" y="538"/>
                    </a:lnTo>
                    <a:lnTo>
                      <a:pt x="905" y="536"/>
                    </a:lnTo>
                    <a:lnTo>
                      <a:pt x="905" y="535"/>
                    </a:lnTo>
                    <a:lnTo>
                      <a:pt x="906" y="535"/>
                    </a:lnTo>
                    <a:lnTo>
                      <a:pt x="907" y="534"/>
                    </a:lnTo>
                    <a:lnTo>
                      <a:pt x="910" y="534"/>
                    </a:lnTo>
                    <a:lnTo>
                      <a:pt x="910" y="535"/>
                    </a:lnTo>
                    <a:lnTo>
                      <a:pt x="910" y="535"/>
                    </a:lnTo>
                    <a:lnTo>
                      <a:pt x="913" y="538"/>
                    </a:lnTo>
                    <a:lnTo>
                      <a:pt x="916" y="539"/>
                    </a:lnTo>
                    <a:lnTo>
                      <a:pt x="919" y="542"/>
                    </a:lnTo>
                    <a:lnTo>
                      <a:pt x="922" y="545"/>
                    </a:lnTo>
                    <a:lnTo>
                      <a:pt x="922" y="545"/>
                    </a:lnTo>
                    <a:lnTo>
                      <a:pt x="925" y="549"/>
                    </a:lnTo>
                    <a:lnTo>
                      <a:pt x="927" y="549"/>
                    </a:lnTo>
                    <a:lnTo>
                      <a:pt x="936" y="545"/>
                    </a:lnTo>
                    <a:lnTo>
                      <a:pt x="936" y="545"/>
                    </a:lnTo>
                    <a:lnTo>
                      <a:pt x="940" y="543"/>
                    </a:lnTo>
                    <a:lnTo>
                      <a:pt x="944" y="541"/>
                    </a:lnTo>
                    <a:lnTo>
                      <a:pt x="950" y="534"/>
                    </a:lnTo>
                    <a:lnTo>
                      <a:pt x="950" y="534"/>
                    </a:lnTo>
                    <a:lnTo>
                      <a:pt x="953" y="532"/>
                    </a:lnTo>
                    <a:lnTo>
                      <a:pt x="954" y="532"/>
                    </a:lnTo>
                    <a:lnTo>
                      <a:pt x="957" y="531"/>
                    </a:lnTo>
                    <a:lnTo>
                      <a:pt x="960" y="528"/>
                    </a:lnTo>
                    <a:lnTo>
                      <a:pt x="960" y="528"/>
                    </a:lnTo>
                    <a:lnTo>
                      <a:pt x="960" y="525"/>
                    </a:lnTo>
                    <a:lnTo>
                      <a:pt x="962" y="524"/>
                    </a:lnTo>
                    <a:lnTo>
                      <a:pt x="960" y="518"/>
                    </a:lnTo>
                    <a:lnTo>
                      <a:pt x="956" y="514"/>
                    </a:lnTo>
                    <a:lnTo>
                      <a:pt x="952" y="511"/>
                    </a:lnTo>
                    <a:lnTo>
                      <a:pt x="952" y="511"/>
                    </a:lnTo>
                    <a:lnTo>
                      <a:pt x="949" y="508"/>
                    </a:lnTo>
                    <a:lnTo>
                      <a:pt x="949" y="505"/>
                    </a:lnTo>
                    <a:lnTo>
                      <a:pt x="949" y="502"/>
                    </a:lnTo>
                    <a:lnTo>
                      <a:pt x="946" y="499"/>
                    </a:lnTo>
                    <a:lnTo>
                      <a:pt x="946" y="499"/>
                    </a:lnTo>
                    <a:lnTo>
                      <a:pt x="943" y="497"/>
                    </a:lnTo>
                    <a:lnTo>
                      <a:pt x="942" y="494"/>
                    </a:lnTo>
                    <a:lnTo>
                      <a:pt x="943" y="492"/>
                    </a:lnTo>
                    <a:lnTo>
                      <a:pt x="947" y="492"/>
                    </a:lnTo>
                    <a:lnTo>
                      <a:pt x="947" y="492"/>
                    </a:lnTo>
                    <a:lnTo>
                      <a:pt x="952" y="492"/>
                    </a:lnTo>
                    <a:lnTo>
                      <a:pt x="956" y="492"/>
                    </a:lnTo>
                    <a:lnTo>
                      <a:pt x="960" y="489"/>
                    </a:lnTo>
                    <a:lnTo>
                      <a:pt x="963" y="487"/>
                    </a:lnTo>
                    <a:lnTo>
                      <a:pt x="963" y="487"/>
                    </a:lnTo>
                    <a:lnTo>
                      <a:pt x="963" y="485"/>
                    </a:lnTo>
                    <a:lnTo>
                      <a:pt x="963" y="484"/>
                    </a:lnTo>
                    <a:lnTo>
                      <a:pt x="960" y="481"/>
                    </a:lnTo>
                    <a:lnTo>
                      <a:pt x="957" y="479"/>
                    </a:lnTo>
                    <a:lnTo>
                      <a:pt x="957" y="478"/>
                    </a:lnTo>
                    <a:lnTo>
                      <a:pt x="959" y="477"/>
                    </a:lnTo>
                    <a:lnTo>
                      <a:pt x="959" y="477"/>
                    </a:lnTo>
                    <a:lnTo>
                      <a:pt x="962" y="475"/>
                    </a:lnTo>
                    <a:lnTo>
                      <a:pt x="960" y="472"/>
                    </a:lnTo>
                    <a:lnTo>
                      <a:pt x="957" y="471"/>
                    </a:lnTo>
                    <a:lnTo>
                      <a:pt x="953" y="470"/>
                    </a:lnTo>
                    <a:lnTo>
                      <a:pt x="953" y="470"/>
                    </a:lnTo>
                    <a:lnTo>
                      <a:pt x="949" y="470"/>
                    </a:lnTo>
                    <a:lnTo>
                      <a:pt x="944" y="468"/>
                    </a:lnTo>
                    <a:lnTo>
                      <a:pt x="942" y="465"/>
                    </a:lnTo>
                    <a:lnTo>
                      <a:pt x="942" y="461"/>
                    </a:lnTo>
                    <a:lnTo>
                      <a:pt x="942" y="461"/>
                    </a:lnTo>
                    <a:lnTo>
                      <a:pt x="940" y="460"/>
                    </a:lnTo>
                    <a:lnTo>
                      <a:pt x="939" y="460"/>
                    </a:lnTo>
                    <a:lnTo>
                      <a:pt x="935" y="458"/>
                    </a:lnTo>
                    <a:lnTo>
                      <a:pt x="929" y="458"/>
                    </a:lnTo>
                    <a:lnTo>
                      <a:pt x="923" y="457"/>
                    </a:lnTo>
                    <a:lnTo>
                      <a:pt x="923" y="457"/>
                    </a:lnTo>
                    <a:lnTo>
                      <a:pt x="916" y="455"/>
                    </a:lnTo>
                    <a:lnTo>
                      <a:pt x="909" y="454"/>
                    </a:lnTo>
                    <a:lnTo>
                      <a:pt x="898" y="454"/>
                    </a:lnTo>
                    <a:lnTo>
                      <a:pt x="898" y="454"/>
                    </a:lnTo>
                    <a:lnTo>
                      <a:pt x="896" y="455"/>
                    </a:lnTo>
                    <a:lnTo>
                      <a:pt x="896" y="457"/>
                    </a:lnTo>
                    <a:lnTo>
                      <a:pt x="895" y="462"/>
                    </a:lnTo>
                    <a:lnTo>
                      <a:pt x="896" y="467"/>
                    </a:lnTo>
                    <a:lnTo>
                      <a:pt x="898" y="470"/>
                    </a:lnTo>
                    <a:lnTo>
                      <a:pt x="899" y="470"/>
                    </a:lnTo>
                    <a:lnTo>
                      <a:pt x="899" y="470"/>
                    </a:lnTo>
                    <a:lnTo>
                      <a:pt x="903" y="471"/>
                    </a:lnTo>
                    <a:lnTo>
                      <a:pt x="905" y="474"/>
                    </a:lnTo>
                    <a:lnTo>
                      <a:pt x="906" y="475"/>
                    </a:lnTo>
                    <a:lnTo>
                      <a:pt x="905" y="478"/>
                    </a:lnTo>
                    <a:lnTo>
                      <a:pt x="905" y="478"/>
                    </a:lnTo>
                    <a:lnTo>
                      <a:pt x="902" y="479"/>
                    </a:lnTo>
                    <a:lnTo>
                      <a:pt x="902" y="482"/>
                    </a:lnTo>
                    <a:lnTo>
                      <a:pt x="903" y="484"/>
                    </a:lnTo>
                    <a:lnTo>
                      <a:pt x="902" y="485"/>
                    </a:lnTo>
                    <a:lnTo>
                      <a:pt x="902" y="485"/>
                    </a:lnTo>
                    <a:lnTo>
                      <a:pt x="899" y="484"/>
                    </a:lnTo>
                    <a:lnTo>
                      <a:pt x="895" y="485"/>
                    </a:lnTo>
                    <a:lnTo>
                      <a:pt x="892" y="487"/>
                    </a:lnTo>
                    <a:lnTo>
                      <a:pt x="890" y="492"/>
                    </a:lnTo>
                    <a:lnTo>
                      <a:pt x="890" y="492"/>
                    </a:lnTo>
                    <a:lnTo>
                      <a:pt x="889" y="502"/>
                    </a:lnTo>
                    <a:lnTo>
                      <a:pt x="886" y="505"/>
                    </a:lnTo>
                    <a:lnTo>
                      <a:pt x="883" y="508"/>
                    </a:lnTo>
                    <a:lnTo>
                      <a:pt x="883" y="508"/>
                    </a:lnTo>
                    <a:lnTo>
                      <a:pt x="882" y="508"/>
                    </a:lnTo>
                    <a:lnTo>
                      <a:pt x="880" y="508"/>
                    </a:lnTo>
                    <a:lnTo>
                      <a:pt x="879" y="504"/>
                    </a:lnTo>
                    <a:lnTo>
                      <a:pt x="879" y="499"/>
                    </a:lnTo>
                    <a:lnTo>
                      <a:pt x="878" y="498"/>
                    </a:lnTo>
                    <a:lnTo>
                      <a:pt x="876" y="498"/>
                    </a:lnTo>
                    <a:lnTo>
                      <a:pt x="876" y="498"/>
                    </a:lnTo>
                    <a:lnTo>
                      <a:pt x="875" y="498"/>
                    </a:lnTo>
                    <a:lnTo>
                      <a:pt x="873" y="499"/>
                    </a:lnTo>
                    <a:lnTo>
                      <a:pt x="870" y="504"/>
                    </a:lnTo>
                    <a:lnTo>
                      <a:pt x="872" y="508"/>
                    </a:lnTo>
                    <a:lnTo>
                      <a:pt x="872" y="509"/>
                    </a:lnTo>
                    <a:lnTo>
                      <a:pt x="873" y="511"/>
                    </a:lnTo>
                    <a:lnTo>
                      <a:pt x="873" y="511"/>
                    </a:lnTo>
                    <a:lnTo>
                      <a:pt x="876" y="512"/>
                    </a:lnTo>
                    <a:lnTo>
                      <a:pt x="878" y="514"/>
                    </a:lnTo>
                    <a:lnTo>
                      <a:pt x="880" y="521"/>
                    </a:lnTo>
                    <a:lnTo>
                      <a:pt x="880" y="521"/>
                    </a:lnTo>
                    <a:lnTo>
                      <a:pt x="880" y="522"/>
                    </a:lnTo>
                    <a:lnTo>
                      <a:pt x="879" y="522"/>
                    </a:lnTo>
                    <a:lnTo>
                      <a:pt x="876" y="524"/>
                    </a:lnTo>
                    <a:lnTo>
                      <a:pt x="872" y="525"/>
                    </a:lnTo>
                    <a:lnTo>
                      <a:pt x="870" y="526"/>
                    </a:lnTo>
                    <a:lnTo>
                      <a:pt x="869" y="528"/>
                    </a:lnTo>
                    <a:lnTo>
                      <a:pt x="869" y="528"/>
                    </a:lnTo>
                    <a:lnTo>
                      <a:pt x="866" y="531"/>
                    </a:lnTo>
                    <a:lnTo>
                      <a:pt x="865" y="528"/>
                    </a:lnTo>
                    <a:lnTo>
                      <a:pt x="862" y="525"/>
                    </a:lnTo>
                    <a:lnTo>
                      <a:pt x="859" y="521"/>
                    </a:lnTo>
                    <a:lnTo>
                      <a:pt x="859" y="521"/>
                    </a:lnTo>
                    <a:lnTo>
                      <a:pt x="852" y="514"/>
                    </a:lnTo>
                    <a:lnTo>
                      <a:pt x="849" y="508"/>
                    </a:lnTo>
                    <a:lnTo>
                      <a:pt x="849" y="504"/>
                    </a:lnTo>
                    <a:lnTo>
                      <a:pt x="849" y="504"/>
                    </a:lnTo>
                    <a:lnTo>
                      <a:pt x="849" y="501"/>
                    </a:lnTo>
                    <a:lnTo>
                      <a:pt x="851" y="499"/>
                    </a:lnTo>
                    <a:lnTo>
                      <a:pt x="856" y="497"/>
                    </a:lnTo>
                    <a:lnTo>
                      <a:pt x="856" y="497"/>
                    </a:lnTo>
                    <a:lnTo>
                      <a:pt x="858" y="497"/>
                    </a:lnTo>
                    <a:lnTo>
                      <a:pt x="858" y="494"/>
                    </a:lnTo>
                    <a:lnTo>
                      <a:pt x="855" y="487"/>
                    </a:lnTo>
                    <a:lnTo>
                      <a:pt x="855" y="487"/>
                    </a:lnTo>
                    <a:lnTo>
                      <a:pt x="855" y="482"/>
                    </a:lnTo>
                    <a:lnTo>
                      <a:pt x="852" y="481"/>
                    </a:lnTo>
                    <a:lnTo>
                      <a:pt x="849" y="479"/>
                    </a:lnTo>
                    <a:lnTo>
                      <a:pt x="845" y="475"/>
                    </a:lnTo>
                    <a:lnTo>
                      <a:pt x="845" y="475"/>
                    </a:lnTo>
                    <a:lnTo>
                      <a:pt x="841" y="471"/>
                    </a:lnTo>
                    <a:lnTo>
                      <a:pt x="836" y="470"/>
                    </a:lnTo>
                    <a:lnTo>
                      <a:pt x="832" y="470"/>
                    </a:lnTo>
                    <a:lnTo>
                      <a:pt x="829" y="472"/>
                    </a:lnTo>
                    <a:lnTo>
                      <a:pt x="829" y="472"/>
                    </a:lnTo>
                    <a:lnTo>
                      <a:pt x="828" y="475"/>
                    </a:lnTo>
                    <a:lnTo>
                      <a:pt x="828" y="478"/>
                    </a:lnTo>
                    <a:lnTo>
                      <a:pt x="826" y="481"/>
                    </a:lnTo>
                    <a:lnTo>
                      <a:pt x="824" y="484"/>
                    </a:lnTo>
                    <a:lnTo>
                      <a:pt x="824" y="484"/>
                    </a:lnTo>
                    <a:lnTo>
                      <a:pt x="821" y="487"/>
                    </a:lnTo>
                    <a:lnTo>
                      <a:pt x="819" y="491"/>
                    </a:lnTo>
                    <a:lnTo>
                      <a:pt x="819" y="494"/>
                    </a:lnTo>
                    <a:lnTo>
                      <a:pt x="818" y="495"/>
                    </a:lnTo>
                    <a:lnTo>
                      <a:pt x="816" y="497"/>
                    </a:lnTo>
                    <a:lnTo>
                      <a:pt x="816" y="497"/>
                    </a:lnTo>
                    <a:lnTo>
                      <a:pt x="815" y="495"/>
                    </a:lnTo>
                    <a:lnTo>
                      <a:pt x="815" y="494"/>
                    </a:lnTo>
                    <a:lnTo>
                      <a:pt x="814" y="488"/>
                    </a:lnTo>
                    <a:lnTo>
                      <a:pt x="814" y="481"/>
                    </a:lnTo>
                    <a:lnTo>
                      <a:pt x="812" y="478"/>
                    </a:lnTo>
                    <a:lnTo>
                      <a:pt x="811" y="477"/>
                    </a:lnTo>
                    <a:lnTo>
                      <a:pt x="811" y="477"/>
                    </a:lnTo>
                    <a:lnTo>
                      <a:pt x="809" y="475"/>
                    </a:lnTo>
                    <a:lnTo>
                      <a:pt x="809" y="474"/>
                    </a:lnTo>
                    <a:lnTo>
                      <a:pt x="811" y="471"/>
                    </a:lnTo>
                    <a:lnTo>
                      <a:pt x="814" y="470"/>
                    </a:lnTo>
                    <a:lnTo>
                      <a:pt x="814" y="470"/>
                    </a:lnTo>
                    <a:lnTo>
                      <a:pt x="816" y="468"/>
                    </a:lnTo>
                    <a:lnTo>
                      <a:pt x="819" y="467"/>
                    </a:lnTo>
                    <a:lnTo>
                      <a:pt x="819" y="465"/>
                    </a:lnTo>
                    <a:lnTo>
                      <a:pt x="818" y="464"/>
                    </a:lnTo>
                    <a:lnTo>
                      <a:pt x="818" y="464"/>
                    </a:lnTo>
                    <a:lnTo>
                      <a:pt x="814" y="462"/>
                    </a:lnTo>
                    <a:lnTo>
                      <a:pt x="809" y="461"/>
                    </a:lnTo>
                    <a:lnTo>
                      <a:pt x="801" y="457"/>
                    </a:lnTo>
                    <a:lnTo>
                      <a:pt x="801" y="457"/>
                    </a:lnTo>
                    <a:lnTo>
                      <a:pt x="798" y="458"/>
                    </a:lnTo>
                    <a:lnTo>
                      <a:pt x="795" y="460"/>
                    </a:lnTo>
                    <a:lnTo>
                      <a:pt x="792" y="461"/>
                    </a:lnTo>
                    <a:lnTo>
                      <a:pt x="789" y="461"/>
                    </a:lnTo>
                    <a:lnTo>
                      <a:pt x="789" y="461"/>
                    </a:lnTo>
                    <a:lnTo>
                      <a:pt x="788" y="458"/>
                    </a:lnTo>
                    <a:lnTo>
                      <a:pt x="788" y="454"/>
                    </a:lnTo>
                    <a:lnTo>
                      <a:pt x="789" y="447"/>
                    </a:lnTo>
                    <a:lnTo>
                      <a:pt x="789" y="447"/>
                    </a:lnTo>
                    <a:lnTo>
                      <a:pt x="791" y="445"/>
                    </a:lnTo>
                    <a:lnTo>
                      <a:pt x="794" y="445"/>
                    </a:lnTo>
                    <a:lnTo>
                      <a:pt x="797" y="445"/>
                    </a:lnTo>
                    <a:lnTo>
                      <a:pt x="799" y="444"/>
                    </a:lnTo>
                    <a:lnTo>
                      <a:pt x="799" y="444"/>
                    </a:lnTo>
                    <a:lnTo>
                      <a:pt x="799" y="442"/>
                    </a:lnTo>
                    <a:lnTo>
                      <a:pt x="799" y="441"/>
                    </a:lnTo>
                    <a:lnTo>
                      <a:pt x="795" y="438"/>
                    </a:lnTo>
                    <a:lnTo>
                      <a:pt x="791" y="437"/>
                    </a:lnTo>
                    <a:lnTo>
                      <a:pt x="789" y="435"/>
                    </a:lnTo>
                    <a:lnTo>
                      <a:pt x="789" y="433"/>
                    </a:lnTo>
                    <a:lnTo>
                      <a:pt x="789" y="433"/>
                    </a:lnTo>
                    <a:lnTo>
                      <a:pt x="789" y="431"/>
                    </a:lnTo>
                    <a:lnTo>
                      <a:pt x="788" y="430"/>
                    </a:lnTo>
                    <a:lnTo>
                      <a:pt x="784" y="427"/>
                    </a:lnTo>
                    <a:lnTo>
                      <a:pt x="775" y="424"/>
                    </a:lnTo>
                    <a:lnTo>
                      <a:pt x="775" y="424"/>
                    </a:lnTo>
                    <a:lnTo>
                      <a:pt x="774" y="424"/>
                    </a:lnTo>
                    <a:lnTo>
                      <a:pt x="774" y="423"/>
                    </a:lnTo>
                    <a:lnTo>
                      <a:pt x="775" y="418"/>
                    </a:lnTo>
                    <a:lnTo>
                      <a:pt x="775" y="414"/>
                    </a:lnTo>
                    <a:lnTo>
                      <a:pt x="775" y="410"/>
                    </a:lnTo>
                    <a:lnTo>
                      <a:pt x="775" y="410"/>
                    </a:lnTo>
                    <a:lnTo>
                      <a:pt x="772" y="407"/>
                    </a:lnTo>
                    <a:lnTo>
                      <a:pt x="767" y="401"/>
                    </a:lnTo>
                    <a:lnTo>
                      <a:pt x="761" y="397"/>
                    </a:lnTo>
                    <a:lnTo>
                      <a:pt x="758" y="397"/>
                    </a:lnTo>
                    <a:lnTo>
                      <a:pt x="755" y="396"/>
                    </a:lnTo>
                    <a:lnTo>
                      <a:pt x="755" y="396"/>
                    </a:lnTo>
                    <a:lnTo>
                      <a:pt x="751" y="396"/>
                    </a:lnTo>
                    <a:lnTo>
                      <a:pt x="750" y="393"/>
                    </a:lnTo>
                    <a:lnTo>
                      <a:pt x="750" y="390"/>
                    </a:lnTo>
                    <a:lnTo>
                      <a:pt x="751" y="388"/>
                    </a:lnTo>
                    <a:lnTo>
                      <a:pt x="751" y="388"/>
                    </a:lnTo>
                    <a:lnTo>
                      <a:pt x="754" y="388"/>
                    </a:lnTo>
                    <a:lnTo>
                      <a:pt x="755" y="387"/>
                    </a:lnTo>
                    <a:lnTo>
                      <a:pt x="762" y="380"/>
                    </a:lnTo>
                    <a:lnTo>
                      <a:pt x="762" y="380"/>
                    </a:lnTo>
                    <a:lnTo>
                      <a:pt x="767" y="376"/>
                    </a:lnTo>
                    <a:lnTo>
                      <a:pt x="768" y="373"/>
                    </a:lnTo>
                    <a:lnTo>
                      <a:pt x="768" y="371"/>
                    </a:lnTo>
                    <a:lnTo>
                      <a:pt x="765" y="370"/>
                    </a:lnTo>
                    <a:lnTo>
                      <a:pt x="765" y="370"/>
                    </a:lnTo>
                    <a:lnTo>
                      <a:pt x="762" y="369"/>
                    </a:lnTo>
                    <a:lnTo>
                      <a:pt x="761" y="367"/>
                    </a:lnTo>
                    <a:lnTo>
                      <a:pt x="762" y="366"/>
                    </a:lnTo>
                    <a:lnTo>
                      <a:pt x="767" y="364"/>
                    </a:lnTo>
                    <a:lnTo>
                      <a:pt x="767" y="364"/>
                    </a:lnTo>
                    <a:lnTo>
                      <a:pt x="779" y="367"/>
                    </a:lnTo>
                    <a:lnTo>
                      <a:pt x="787" y="369"/>
                    </a:lnTo>
                    <a:lnTo>
                      <a:pt x="791" y="367"/>
                    </a:lnTo>
                    <a:lnTo>
                      <a:pt x="791" y="367"/>
                    </a:lnTo>
                    <a:lnTo>
                      <a:pt x="797" y="361"/>
                    </a:lnTo>
                    <a:lnTo>
                      <a:pt x="802" y="353"/>
                    </a:lnTo>
                    <a:lnTo>
                      <a:pt x="815" y="336"/>
                    </a:lnTo>
                    <a:lnTo>
                      <a:pt x="815" y="336"/>
                    </a:lnTo>
                    <a:lnTo>
                      <a:pt x="816" y="333"/>
                    </a:lnTo>
                    <a:lnTo>
                      <a:pt x="816" y="332"/>
                    </a:lnTo>
                    <a:lnTo>
                      <a:pt x="815" y="330"/>
                    </a:lnTo>
                    <a:lnTo>
                      <a:pt x="814" y="329"/>
                    </a:lnTo>
                    <a:lnTo>
                      <a:pt x="806" y="327"/>
                    </a:lnTo>
                    <a:lnTo>
                      <a:pt x="798" y="329"/>
                    </a:lnTo>
                    <a:lnTo>
                      <a:pt x="798" y="329"/>
                    </a:lnTo>
                    <a:lnTo>
                      <a:pt x="789" y="327"/>
                    </a:lnTo>
                    <a:lnTo>
                      <a:pt x="784" y="326"/>
                    </a:lnTo>
                    <a:lnTo>
                      <a:pt x="778" y="324"/>
                    </a:lnTo>
                    <a:lnTo>
                      <a:pt x="771" y="323"/>
                    </a:lnTo>
                    <a:lnTo>
                      <a:pt x="771" y="323"/>
                    </a:lnTo>
                    <a:lnTo>
                      <a:pt x="762" y="323"/>
                    </a:lnTo>
                    <a:lnTo>
                      <a:pt x="752" y="324"/>
                    </a:lnTo>
                    <a:lnTo>
                      <a:pt x="742" y="326"/>
                    </a:lnTo>
                    <a:lnTo>
                      <a:pt x="738" y="327"/>
                    </a:lnTo>
                    <a:lnTo>
                      <a:pt x="738" y="327"/>
                    </a:lnTo>
                    <a:lnTo>
                      <a:pt x="737" y="329"/>
                    </a:lnTo>
                    <a:lnTo>
                      <a:pt x="738" y="330"/>
                    </a:lnTo>
                    <a:lnTo>
                      <a:pt x="740" y="333"/>
                    </a:lnTo>
                    <a:lnTo>
                      <a:pt x="741" y="334"/>
                    </a:lnTo>
                    <a:lnTo>
                      <a:pt x="742" y="337"/>
                    </a:lnTo>
                    <a:lnTo>
                      <a:pt x="742" y="337"/>
                    </a:lnTo>
                    <a:lnTo>
                      <a:pt x="741" y="339"/>
                    </a:lnTo>
                    <a:lnTo>
                      <a:pt x="741" y="339"/>
                    </a:lnTo>
                    <a:lnTo>
                      <a:pt x="738" y="337"/>
                    </a:lnTo>
                    <a:lnTo>
                      <a:pt x="734" y="336"/>
                    </a:lnTo>
                    <a:lnTo>
                      <a:pt x="733" y="336"/>
                    </a:lnTo>
                    <a:lnTo>
                      <a:pt x="733" y="336"/>
                    </a:lnTo>
                    <a:lnTo>
                      <a:pt x="731" y="339"/>
                    </a:lnTo>
                    <a:lnTo>
                      <a:pt x="731" y="341"/>
                    </a:lnTo>
                    <a:lnTo>
                      <a:pt x="733" y="347"/>
                    </a:lnTo>
                    <a:lnTo>
                      <a:pt x="733" y="354"/>
                    </a:lnTo>
                    <a:lnTo>
                      <a:pt x="733" y="354"/>
                    </a:lnTo>
                    <a:lnTo>
                      <a:pt x="733" y="363"/>
                    </a:lnTo>
                    <a:lnTo>
                      <a:pt x="734" y="367"/>
                    </a:lnTo>
                    <a:lnTo>
                      <a:pt x="738" y="373"/>
                    </a:lnTo>
                    <a:lnTo>
                      <a:pt x="738" y="373"/>
                    </a:lnTo>
                    <a:lnTo>
                      <a:pt x="740" y="377"/>
                    </a:lnTo>
                    <a:lnTo>
                      <a:pt x="741" y="381"/>
                    </a:lnTo>
                    <a:lnTo>
                      <a:pt x="741" y="391"/>
                    </a:lnTo>
                    <a:lnTo>
                      <a:pt x="741" y="391"/>
                    </a:lnTo>
                    <a:lnTo>
                      <a:pt x="740" y="396"/>
                    </a:lnTo>
                    <a:lnTo>
                      <a:pt x="737" y="398"/>
                    </a:lnTo>
                    <a:lnTo>
                      <a:pt x="731" y="400"/>
                    </a:lnTo>
                    <a:lnTo>
                      <a:pt x="731" y="400"/>
                    </a:lnTo>
                    <a:lnTo>
                      <a:pt x="731" y="401"/>
                    </a:lnTo>
                    <a:lnTo>
                      <a:pt x="731" y="403"/>
                    </a:lnTo>
                    <a:lnTo>
                      <a:pt x="733" y="404"/>
                    </a:lnTo>
                    <a:lnTo>
                      <a:pt x="735" y="407"/>
                    </a:lnTo>
                    <a:lnTo>
                      <a:pt x="735" y="410"/>
                    </a:lnTo>
                    <a:lnTo>
                      <a:pt x="735" y="410"/>
                    </a:lnTo>
                    <a:lnTo>
                      <a:pt x="735" y="411"/>
                    </a:lnTo>
                    <a:lnTo>
                      <a:pt x="734" y="411"/>
                    </a:lnTo>
                    <a:lnTo>
                      <a:pt x="730" y="411"/>
                    </a:lnTo>
                    <a:lnTo>
                      <a:pt x="727" y="408"/>
                    </a:lnTo>
                    <a:lnTo>
                      <a:pt x="723" y="408"/>
                    </a:lnTo>
                    <a:lnTo>
                      <a:pt x="723" y="408"/>
                    </a:lnTo>
                    <a:lnTo>
                      <a:pt x="720" y="411"/>
                    </a:lnTo>
                    <a:lnTo>
                      <a:pt x="718" y="417"/>
                    </a:lnTo>
                    <a:lnTo>
                      <a:pt x="717" y="421"/>
                    </a:lnTo>
                    <a:lnTo>
                      <a:pt x="718" y="424"/>
                    </a:lnTo>
                    <a:lnTo>
                      <a:pt x="720" y="425"/>
                    </a:lnTo>
                    <a:lnTo>
                      <a:pt x="720" y="425"/>
                    </a:lnTo>
                    <a:lnTo>
                      <a:pt x="724" y="430"/>
                    </a:lnTo>
                    <a:lnTo>
                      <a:pt x="724" y="431"/>
                    </a:lnTo>
                    <a:lnTo>
                      <a:pt x="723" y="434"/>
                    </a:lnTo>
                    <a:lnTo>
                      <a:pt x="723" y="434"/>
                    </a:lnTo>
                    <a:lnTo>
                      <a:pt x="720" y="438"/>
                    </a:lnTo>
                    <a:lnTo>
                      <a:pt x="718" y="442"/>
                    </a:lnTo>
                    <a:lnTo>
                      <a:pt x="720" y="447"/>
                    </a:lnTo>
                    <a:lnTo>
                      <a:pt x="724" y="452"/>
                    </a:lnTo>
                    <a:lnTo>
                      <a:pt x="724" y="452"/>
                    </a:lnTo>
                    <a:lnTo>
                      <a:pt x="731" y="455"/>
                    </a:lnTo>
                    <a:lnTo>
                      <a:pt x="740" y="458"/>
                    </a:lnTo>
                    <a:lnTo>
                      <a:pt x="748" y="460"/>
                    </a:lnTo>
                    <a:lnTo>
                      <a:pt x="755" y="464"/>
                    </a:lnTo>
                    <a:lnTo>
                      <a:pt x="755" y="464"/>
                    </a:lnTo>
                    <a:lnTo>
                      <a:pt x="758" y="467"/>
                    </a:lnTo>
                    <a:lnTo>
                      <a:pt x="758" y="467"/>
                    </a:lnTo>
                    <a:lnTo>
                      <a:pt x="755" y="468"/>
                    </a:lnTo>
                    <a:lnTo>
                      <a:pt x="755" y="470"/>
                    </a:lnTo>
                    <a:lnTo>
                      <a:pt x="755" y="471"/>
                    </a:lnTo>
                    <a:lnTo>
                      <a:pt x="755" y="471"/>
                    </a:lnTo>
                    <a:lnTo>
                      <a:pt x="757" y="474"/>
                    </a:lnTo>
                    <a:lnTo>
                      <a:pt x="755" y="475"/>
                    </a:lnTo>
                    <a:lnTo>
                      <a:pt x="754" y="478"/>
                    </a:lnTo>
                    <a:lnTo>
                      <a:pt x="751" y="481"/>
                    </a:lnTo>
                    <a:lnTo>
                      <a:pt x="751" y="484"/>
                    </a:lnTo>
                    <a:lnTo>
                      <a:pt x="751" y="484"/>
                    </a:lnTo>
                    <a:lnTo>
                      <a:pt x="751" y="487"/>
                    </a:lnTo>
                    <a:lnTo>
                      <a:pt x="752" y="487"/>
                    </a:lnTo>
                    <a:lnTo>
                      <a:pt x="758" y="478"/>
                    </a:lnTo>
                    <a:lnTo>
                      <a:pt x="758" y="478"/>
                    </a:lnTo>
                    <a:lnTo>
                      <a:pt x="760" y="477"/>
                    </a:lnTo>
                    <a:lnTo>
                      <a:pt x="761" y="475"/>
                    </a:lnTo>
                    <a:lnTo>
                      <a:pt x="762" y="477"/>
                    </a:lnTo>
                    <a:lnTo>
                      <a:pt x="764" y="478"/>
                    </a:lnTo>
                    <a:lnTo>
                      <a:pt x="765" y="482"/>
                    </a:lnTo>
                    <a:lnTo>
                      <a:pt x="765" y="488"/>
                    </a:lnTo>
                    <a:lnTo>
                      <a:pt x="765" y="488"/>
                    </a:lnTo>
                    <a:lnTo>
                      <a:pt x="764" y="491"/>
                    </a:lnTo>
                    <a:lnTo>
                      <a:pt x="761" y="492"/>
                    </a:lnTo>
                    <a:lnTo>
                      <a:pt x="758" y="494"/>
                    </a:lnTo>
                    <a:lnTo>
                      <a:pt x="754" y="497"/>
                    </a:lnTo>
                    <a:lnTo>
                      <a:pt x="754" y="497"/>
                    </a:lnTo>
                    <a:lnTo>
                      <a:pt x="751" y="501"/>
                    </a:lnTo>
                    <a:lnTo>
                      <a:pt x="747" y="504"/>
                    </a:lnTo>
                    <a:lnTo>
                      <a:pt x="744" y="504"/>
                    </a:lnTo>
                    <a:lnTo>
                      <a:pt x="738" y="504"/>
                    </a:lnTo>
                    <a:lnTo>
                      <a:pt x="738" y="504"/>
                    </a:lnTo>
                    <a:lnTo>
                      <a:pt x="737" y="504"/>
                    </a:lnTo>
                    <a:lnTo>
                      <a:pt x="735" y="505"/>
                    </a:lnTo>
                    <a:lnTo>
                      <a:pt x="735" y="508"/>
                    </a:lnTo>
                    <a:lnTo>
                      <a:pt x="737" y="514"/>
                    </a:lnTo>
                    <a:lnTo>
                      <a:pt x="738" y="519"/>
                    </a:lnTo>
                    <a:lnTo>
                      <a:pt x="738" y="519"/>
                    </a:lnTo>
                    <a:lnTo>
                      <a:pt x="740" y="524"/>
                    </a:lnTo>
                    <a:lnTo>
                      <a:pt x="738" y="525"/>
                    </a:lnTo>
                    <a:lnTo>
                      <a:pt x="735" y="526"/>
                    </a:lnTo>
                    <a:lnTo>
                      <a:pt x="730" y="525"/>
                    </a:lnTo>
                    <a:lnTo>
                      <a:pt x="730" y="525"/>
                    </a:lnTo>
                    <a:lnTo>
                      <a:pt x="725" y="524"/>
                    </a:lnTo>
                    <a:lnTo>
                      <a:pt x="721" y="521"/>
                    </a:lnTo>
                    <a:lnTo>
                      <a:pt x="720" y="516"/>
                    </a:lnTo>
                    <a:lnTo>
                      <a:pt x="721" y="512"/>
                    </a:lnTo>
                    <a:lnTo>
                      <a:pt x="721" y="512"/>
                    </a:lnTo>
                    <a:lnTo>
                      <a:pt x="725" y="504"/>
                    </a:lnTo>
                    <a:lnTo>
                      <a:pt x="725" y="501"/>
                    </a:lnTo>
                    <a:lnTo>
                      <a:pt x="724" y="499"/>
                    </a:lnTo>
                    <a:lnTo>
                      <a:pt x="724" y="499"/>
                    </a:lnTo>
                    <a:lnTo>
                      <a:pt x="720" y="499"/>
                    </a:lnTo>
                    <a:lnTo>
                      <a:pt x="714" y="499"/>
                    </a:lnTo>
                    <a:lnTo>
                      <a:pt x="708" y="498"/>
                    </a:lnTo>
                    <a:lnTo>
                      <a:pt x="705" y="494"/>
                    </a:lnTo>
                    <a:lnTo>
                      <a:pt x="705" y="494"/>
                    </a:lnTo>
                    <a:lnTo>
                      <a:pt x="704" y="492"/>
                    </a:lnTo>
                    <a:lnTo>
                      <a:pt x="707" y="491"/>
                    </a:lnTo>
                    <a:lnTo>
                      <a:pt x="717" y="492"/>
                    </a:lnTo>
                    <a:lnTo>
                      <a:pt x="717" y="492"/>
                    </a:lnTo>
                    <a:lnTo>
                      <a:pt x="721" y="492"/>
                    </a:lnTo>
                    <a:lnTo>
                      <a:pt x="723" y="489"/>
                    </a:lnTo>
                    <a:lnTo>
                      <a:pt x="723" y="487"/>
                    </a:lnTo>
                    <a:lnTo>
                      <a:pt x="724" y="487"/>
                    </a:lnTo>
                    <a:lnTo>
                      <a:pt x="725" y="487"/>
                    </a:lnTo>
                    <a:lnTo>
                      <a:pt x="725" y="487"/>
                    </a:lnTo>
                    <a:lnTo>
                      <a:pt x="735" y="488"/>
                    </a:lnTo>
                    <a:lnTo>
                      <a:pt x="740" y="487"/>
                    </a:lnTo>
                    <a:lnTo>
                      <a:pt x="744" y="485"/>
                    </a:lnTo>
                    <a:lnTo>
                      <a:pt x="744" y="485"/>
                    </a:lnTo>
                    <a:lnTo>
                      <a:pt x="745" y="482"/>
                    </a:lnTo>
                    <a:lnTo>
                      <a:pt x="745" y="479"/>
                    </a:lnTo>
                    <a:lnTo>
                      <a:pt x="744" y="475"/>
                    </a:lnTo>
                    <a:lnTo>
                      <a:pt x="740" y="471"/>
                    </a:lnTo>
                    <a:lnTo>
                      <a:pt x="737" y="471"/>
                    </a:lnTo>
                    <a:lnTo>
                      <a:pt x="735" y="471"/>
                    </a:lnTo>
                    <a:lnTo>
                      <a:pt x="735" y="471"/>
                    </a:lnTo>
                    <a:lnTo>
                      <a:pt x="727" y="472"/>
                    </a:lnTo>
                    <a:lnTo>
                      <a:pt x="724" y="472"/>
                    </a:lnTo>
                    <a:lnTo>
                      <a:pt x="723" y="471"/>
                    </a:lnTo>
                    <a:lnTo>
                      <a:pt x="723" y="470"/>
                    </a:lnTo>
                    <a:lnTo>
                      <a:pt x="723" y="470"/>
                    </a:lnTo>
                    <a:lnTo>
                      <a:pt x="723" y="468"/>
                    </a:lnTo>
                    <a:lnTo>
                      <a:pt x="724" y="468"/>
                    </a:lnTo>
                    <a:lnTo>
                      <a:pt x="727" y="467"/>
                    </a:lnTo>
                    <a:lnTo>
                      <a:pt x="731" y="468"/>
                    </a:lnTo>
                    <a:lnTo>
                      <a:pt x="735" y="467"/>
                    </a:lnTo>
                    <a:lnTo>
                      <a:pt x="735" y="467"/>
                    </a:lnTo>
                    <a:lnTo>
                      <a:pt x="737" y="467"/>
                    </a:lnTo>
                    <a:lnTo>
                      <a:pt x="737" y="465"/>
                    </a:lnTo>
                    <a:lnTo>
                      <a:pt x="735" y="464"/>
                    </a:lnTo>
                    <a:lnTo>
                      <a:pt x="731" y="461"/>
                    </a:lnTo>
                    <a:lnTo>
                      <a:pt x="725" y="461"/>
                    </a:lnTo>
                    <a:lnTo>
                      <a:pt x="725" y="461"/>
                    </a:lnTo>
                    <a:lnTo>
                      <a:pt x="721" y="462"/>
                    </a:lnTo>
                    <a:lnTo>
                      <a:pt x="717" y="462"/>
                    </a:lnTo>
                    <a:lnTo>
                      <a:pt x="713" y="461"/>
                    </a:lnTo>
                    <a:lnTo>
                      <a:pt x="708" y="458"/>
                    </a:lnTo>
                    <a:lnTo>
                      <a:pt x="708" y="458"/>
                    </a:lnTo>
                    <a:lnTo>
                      <a:pt x="703" y="454"/>
                    </a:lnTo>
                    <a:lnTo>
                      <a:pt x="698" y="452"/>
                    </a:lnTo>
                    <a:lnTo>
                      <a:pt x="696" y="452"/>
                    </a:lnTo>
                    <a:lnTo>
                      <a:pt x="693" y="454"/>
                    </a:lnTo>
                    <a:lnTo>
                      <a:pt x="691" y="458"/>
                    </a:lnTo>
                    <a:lnTo>
                      <a:pt x="690" y="462"/>
                    </a:lnTo>
                    <a:lnTo>
                      <a:pt x="690" y="462"/>
                    </a:lnTo>
                    <a:lnTo>
                      <a:pt x="688" y="467"/>
                    </a:lnTo>
                    <a:lnTo>
                      <a:pt x="687" y="470"/>
                    </a:lnTo>
                    <a:lnTo>
                      <a:pt x="684" y="471"/>
                    </a:lnTo>
                    <a:lnTo>
                      <a:pt x="681" y="471"/>
                    </a:lnTo>
                    <a:lnTo>
                      <a:pt x="677" y="471"/>
                    </a:lnTo>
                    <a:lnTo>
                      <a:pt x="676" y="472"/>
                    </a:lnTo>
                    <a:lnTo>
                      <a:pt x="673" y="472"/>
                    </a:lnTo>
                    <a:lnTo>
                      <a:pt x="673" y="472"/>
                    </a:lnTo>
                    <a:lnTo>
                      <a:pt x="673" y="475"/>
                    </a:lnTo>
                    <a:lnTo>
                      <a:pt x="673" y="477"/>
                    </a:lnTo>
                    <a:lnTo>
                      <a:pt x="676" y="478"/>
                    </a:lnTo>
                    <a:lnTo>
                      <a:pt x="681" y="481"/>
                    </a:lnTo>
                    <a:lnTo>
                      <a:pt x="687" y="481"/>
                    </a:lnTo>
                    <a:lnTo>
                      <a:pt x="687" y="481"/>
                    </a:lnTo>
                    <a:lnTo>
                      <a:pt x="694" y="482"/>
                    </a:lnTo>
                    <a:lnTo>
                      <a:pt x="698" y="487"/>
                    </a:lnTo>
                    <a:lnTo>
                      <a:pt x="701" y="489"/>
                    </a:lnTo>
                    <a:lnTo>
                      <a:pt x="701" y="489"/>
                    </a:lnTo>
                    <a:lnTo>
                      <a:pt x="700" y="491"/>
                    </a:lnTo>
                    <a:lnTo>
                      <a:pt x="700" y="491"/>
                    </a:lnTo>
                    <a:lnTo>
                      <a:pt x="697" y="491"/>
                    </a:lnTo>
                    <a:lnTo>
                      <a:pt x="696" y="494"/>
                    </a:lnTo>
                    <a:lnTo>
                      <a:pt x="694" y="495"/>
                    </a:lnTo>
                    <a:lnTo>
                      <a:pt x="693" y="495"/>
                    </a:lnTo>
                    <a:lnTo>
                      <a:pt x="693" y="495"/>
                    </a:lnTo>
                    <a:lnTo>
                      <a:pt x="688" y="494"/>
                    </a:lnTo>
                    <a:lnTo>
                      <a:pt x="686" y="494"/>
                    </a:lnTo>
                    <a:lnTo>
                      <a:pt x="684" y="497"/>
                    </a:lnTo>
                    <a:lnTo>
                      <a:pt x="686" y="499"/>
                    </a:lnTo>
                    <a:lnTo>
                      <a:pt x="686" y="499"/>
                    </a:lnTo>
                    <a:lnTo>
                      <a:pt x="687" y="502"/>
                    </a:lnTo>
                    <a:lnTo>
                      <a:pt x="687" y="504"/>
                    </a:lnTo>
                    <a:lnTo>
                      <a:pt x="686" y="507"/>
                    </a:lnTo>
                    <a:lnTo>
                      <a:pt x="684" y="509"/>
                    </a:lnTo>
                    <a:lnTo>
                      <a:pt x="684" y="509"/>
                    </a:lnTo>
                    <a:lnTo>
                      <a:pt x="684" y="511"/>
                    </a:lnTo>
                    <a:lnTo>
                      <a:pt x="684" y="511"/>
                    </a:lnTo>
                    <a:lnTo>
                      <a:pt x="680" y="511"/>
                    </a:lnTo>
                    <a:lnTo>
                      <a:pt x="670" y="509"/>
                    </a:lnTo>
                    <a:lnTo>
                      <a:pt x="670" y="509"/>
                    </a:lnTo>
                    <a:lnTo>
                      <a:pt x="663" y="509"/>
                    </a:lnTo>
                    <a:lnTo>
                      <a:pt x="656" y="509"/>
                    </a:lnTo>
                    <a:lnTo>
                      <a:pt x="639" y="512"/>
                    </a:lnTo>
                    <a:lnTo>
                      <a:pt x="639" y="512"/>
                    </a:lnTo>
                    <a:lnTo>
                      <a:pt x="632" y="514"/>
                    </a:lnTo>
                    <a:lnTo>
                      <a:pt x="623" y="512"/>
                    </a:lnTo>
                    <a:lnTo>
                      <a:pt x="617" y="509"/>
                    </a:lnTo>
                    <a:lnTo>
                      <a:pt x="613" y="507"/>
                    </a:lnTo>
                    <a:lnTo>
                      <a:pt x="613" y="507"/>
                    </a:lnTo>
                    <a:lnTo>
                      <a:pt x="610" y="504"/>
                    </a:lnTo>
                    <a:lnTo>
                      <a:pt x="606" y="504"/>
                    </a:lnTo>
                    <a:lnTo>
                      <a:pt x="596" y="502"/>
                    </a:lnTo>
                    <a:lnTo>
                      <a:pt x="596" y="502"/>
                    </a:lnTo>
                    <a:lnTo>
                      <a:pt x="592" y="502"/>
                    </a:lnTo>
                    <a:lnTo>
                      <a:pt x="590" y="499"/>
                    </a:lnTo>
                    <a:lnTo>
                      <a:pt x="587" y="497"/>
                    </a:lnTo>
                    <a:lnTo>
                      <a:pt x="582" y="495"/>
                    </a:lnTo>
                    <a:lnTo>
                      <a:pt x="582" y="495"/>
                    </a:lnTo>
                    <a:lnTo>
                      <a:pt x="579" y="495"/>
                    </a:lnTo>
                    <a:lnTo>
                      <a:pt x="577" y="494"/>
                    </a:lnTo>
                    <a:lnTo>
                      <a:pt x="575" y="491"/>
                    </a:lnTo>
                    <a:lnTo>
                      <a:pt x="573" y="482"/>
                    </a:lnTo>
                    <a:lnTo>
                      <a:pt x="573" y="482"/>
                    </a:lnTo>
                    <a:lnTo>
                      <a:pt x="573" y="481"/>
                    </a:lnTo>
                    <a:lnTo>
                      <a:pt x="570" y="481"/>
                    </a:lnTo>
                    <a:lnTo>
                      <a:pt x="563" y="479"/>
                    </a:lnTo>
                    <a:lnTo>
                      <a:pt x="555" y="481"/>
                    </a:lnTo>
                    <a:lnTo>
                      <a:pt x="548" y="484"/>
                    </a:lnTo>
                    <a:lnTo>
                      <a:pt x="548" y="484"/>
                    </a:lnTo>
                    <a:lnTo>
                      <a:pt x="542" y="487"/>
                    </a:lnTo>
                    <a:lnTo>
                      <a:pt x="535" y="488"/>
                    </a:lnTo>
                    <a:lnTo>
                      <a:pt x="528" y="489"/>
                    </a:lnTo>
                    <a:lnTo>
                      <a:pt x="526" y="492"/>
                    </a:lnTo>
                    <a:lnTo>
                      <a:pt x="523" y="494"/>
                    </a:lnTo>
                    <a:lnTo>
                      <a:pt x="523" y="494"/>
                    </a:lnTo>
                    <a:lnTo>
                      <a:pt x="523" y="498"/>
                    </a:lnTo>
                    <a:lnTo>
                      <a:pt x="525" y="501"/>
                    </a:lnTo>
                    <a:lnTo>
                      <a:pt x="528" y="501"/>
                    </a:lnTo>
                    <a:lnTo>
                      <a:pt x="531" y="501"/>
                    </a:lnTo>
                    <a:lnTo>
                      <a:pt x="531" y="501"/>
                    </a:lnTo>
                    <a:lnTo>
                      <a:pt x="535" y="499"/>
                    </a:lnTo>
                    <a:lnTo>
                      <a:pt x="536" y="498"/>
                    </a:lnTo>
                    <a:lnTo>
                      <a:pt x="540" y="497"/>
                    </a:lnTo>
                    <a:lnTo>
                      <a:pt x="546" y="497"/>
                    </a:lnTo>
                    <a:lnTo>
                      <a:pt x="546" y="497"/>
                    </a:lnTo>
                    <a:lnTo>
                      <a:pt x="549" y="497"/>
                    </a:lnTo>
                    <a:lnTo>
                      <a:pt x="553" y="495"/>
                    </a:lnTo>
                    <a:lnTo>
                      <a:pt x="559" y="492"/>
                    </a:lnTo>
                    <a:lnTo>
                      <a:pt x="563" y="489"/>
                    </a:lnTo>
                    <a:lnTo>
                      <a:pt x="566" y="489"/>
                    </a:lnTo>
                    <a:lnTo>
                      <a:pt x="567" y="489"/>
                    </a:lnTo>
                    <a:lnTo>
                      <a:pt x="567" y="489"/>
                    </a:lnTo>
                    <a:lnTo>
                      <a:pt x="567" y="492"/>
                    </a:lnTo>
                    <a:lnTo>
                      <a:pt x="566" y="494"/>
                    </a:lnTo>
                    <a:lnTo>
                      <a:pt x="559" y="498"/>
                    </a:lnTo>
                    <a:lnTo>
                      <a:pt x="549" y="502"/>
                    </a:lnTo>
                    <a:lnTo>
                      <a:pt x="540" y="504"/>
                    </a:lnTo>
                    <a:lnTo>
                      <a:pt x="540" y="504"/>
                    </a:lnTo>
                    <a:lnTo>
                      <a:pt x="538" y="505"/>
                    </a:lnTo>
                    <a:lnTo>
                      <a:pt x="536" y="507"/>
                    </a:lnTo>
                    <a:lnTo>
                      <a:pt x="535" y="508"/>
                    </a:lnTo>
                    <a:lnTo>
                      <a:pt x="535" y="511"/>
                    </a:lnTo>
                    <a:lnTo>
                      <a:pt x="538" y="516"/>
                    </a:lnTo>
                    <a:lnTo>
                      <a:pt x="543" y="526"/>
                    </a:lnTo>
                    <a:lnTo>
                      <a:pt x="543" y="526"/>
                    </a:lnTo>
                    <a:lnTo>
                      <a:pt x="545" y="529"/>
                    </a:lnTo>
                    <a:lnTo>
                      <a:pt x="546" y="532"/>
                    </a:lnTo>
                    <a:lnTo>
                      <a:pt x="545" y="534"/>
                    </a:lnTo>
                    <a:lnTo>
                      <a:pt x="545" y="535"/>
                    </a:lnTo>
                    <a:lnTo>
                      <a:pt x="540" y="535"/>
                    </a:lnTo>
                    <a:lnTo>
                      <a:pt x="539" y="536"/>
                    </a:lnTo>
                    <a:lnTo>
                      <a:pt x="539" y="538"/>
                    </a:lnTo>
                    <a:lnTo>
                      <a:pt x="539" y="538"/>
                    </a:lnTo>
                    <a:lnTo>
                      <a:pt x="538" y="539"/>
                    </a:lnTo>
                    <a:lnTo>
                      <a:pt x="536" y="541"/>
                    </a:lnTo>
                    <a:lnTo>
                      <a:pt x="532" y="539"/>
                    </a:lnTo>
                    <a:lnTo>
                      <a:pt x="528" y="536"/>
                    </a:lnTo>
                    <a:lnTo>
                      <a:pt x="528" y="535"/>
                    </a:lnTo>
                    <a:lnTo>
                      <a:pt x="529" y="534"/>
                    </a:lnTo>
                    <a:lnTo>
                      <a:pt x="529" y="534"/>
                    </a:lnTo>
                    <a:lnTo>
                      <a:pt x="532" y="532"/>
                    </a:lnTo>
                    <a:lnTo>
                      <a:pt x="532" y="528"/>
                    </a:lnTo>
                    <a:lnTo>
                      <a:pt x="531" y="524"/>
                    </a:lnTo>
                    <a:lnTo>
                      <a:pt x="528" y="521"/>
                    </a:lnTo>
                    <a:lnTo>
                      <a:pt x="528" y="521"/>
                    </a:lnTo>
                    <a:lnTo>
                      <a:pt x="523" y="519"/>
                    </a:lnTo>
                    <a:lnTo>
                      <a:pt x="521" y="518"/>
                    </a:lnTo>
                    <a:lnTo>
                      <a:pt x="519" y="518"/>
                    </a:lnTo>
                    <a:lnTo>
                      <a:pt x="519" y="516"/>
                    </a:lnTo>
                    <a:lnTo>
                      <a:pt x="519" y="516"/>
                    </a:lnTo>
                    <a:lnTo>
                      <a:pt x="518" y="514"/>
                    </a:lnTo>
                    <a:lnTo>
                      <a:pt x="516" y="514"/>
                    </a:lnTo>
                    <a:lnTo>
                      <a:pt x="512" y="514"/>
                    </a:lnTo>
                    <a:lnTo>
                      <a:pt x="508" y="512"/>
                    </a:lnTo>
                    <a:lnTo>
                      <a:pt x="508" y="512"/>
                    </a:lnTo>
                    <a:lnTo>
                      <a:pt x="502" y="508"/>
                    </a:lnTo>
                    <a:lnTo>
                      <a:pt x="498" y="508"/>
                    </a:lnTo>
                    <a:lnTo>
                      <a:pt x="494" y="509"/>
                    </a:lnTo>
                    <a:lnTo>
                      <a:pt x="494" y="509"/>
                    </a:lnTo>
                    <a:lnTo>
                      <a:pt x="489" y="511"/>
                    </a:lnTo>
                    <a:lnTo>
                      <a:pt x="482" y="512"/>
                    </a:lnTo>
                    <a:lnTo>
                      <a:pt x="465" y="514"/>
                    </a:lnTo>
                    <a:lnTo>
                      <a:pt x="465" y="514"/>
                    </a:lnTo>
                    <a:lnTo>
                      <a:pt x="451" y="515"/>
                    </a:lnTo>
                    <a:lnTo>
                      <a:pt x="437" y="515"/>
                    </a:lnTo>
                    <a:lnTo>
                      <a:pt x="425" y="514"/>
                    </a:lnTo>
                    <a:lnTo>
                      <a:pt x="420" y="512"/>
                    </a:lnTo>
                    <a:lnTo>
                      <a:pt x="417" y="511"/>
                    </a:lnTo>
                    <a:lnTo>
                      <a:pt x="417" y="511"/>
                    </a:lnTo>
                    <a:lnTo>
                      <a:pt x="417" y="508"/>
                    </a:lnTo>
                    <a:lnTo>
                      <a:pt x="417" y="507"/>
                    </a:lnTo>
                    <a:lnTo>
                      <a:pt x="422" y="502"/>
                    </a:lnTo>
                    <a:lnTo>
                      <a:pt x="430" y="499"/>
                    </a:lnTo>
                    <a:lnTo>
                      <a:pt x="435" y="498"/>
                    </a:lnTo>
                    <a:lnTo>
                      <a:pt x="435" y="498"/>
                    </a:lnTo>
                    <a:lnTo>
                      <a:pt x="438" y="498"/>
                    </a:lnTo>
                    <a:lnTo>
                      <a:pt x="437" y="495"/>
                    </a:lnTo>
                    <a:lnTo>
                      <a:pt x="434" y="491"/>
                    </a:lnTo>
                    <a:lnTo>
                      <a:pt x="430" y="487"/>
                    </a:lnTo>
                    <a:lnTo>
                      <a:pt x="430" y="487"/>
                    </a:lnTo>
                    <a:lnTo>
                      <a:pt x="422" y="482"/>
                    </a:lnTo>
                    <a:lnTo>
                      <a:pt x="412" y="479"/>
                    </a:lnTo>
                    <a:lnTo>
                      <a:pt x="407" y="478"/>
                    </a:lnTo>
                    <a:lnTo>
                      <a:pt x="404" y="478"/>
                    </a:lnTo>
                    <a:lnTo>
                      <a:pt x="404" y="479"/>
                    </a:lnTo>
                    <a:lnTo>
                      <a:pt x="404" y="479"/>
                    </a:lnTo>
                    <a:lnTo>
                      <a:pt x="402" y="481"/>
                    </a:lnTo>
                    <a:lnTo>
                      <a:pt x="401" y="481"/>
                    </a:lnTo>
                    <a:lnTo>
                      <a:pt x="397" y="481"/>
                    </a:lnTo>
                    <a:lnTo>
                      <a:pt x="380" y="478"/>
                    </a:lnTo>
                    <a:lnTo>
                      <a:pt x="380" y="478"/>
                    </a:lnTo>
                    <a:lnTo>
                      <a:pt x="371" y="475"/>
                    </a:lnTo>
                    <a:lnTo>
                      <a:pt x="367" y="472"/>
                    </a:lnTo>
                    <a:lnTo>
                      <a:pt x="361" y="471"/>
                    </a:lnTo>
                    <a:lnTo>
                      <a:pt x="357" y="470"/>
                    </a:lnTo>
                    <a:lnTo>
                      <a:pt x="357" y="470"/>
                    </a:lnTo>
                    <a:lnTo>
                      <a:pt x="350" y="470"/>
                    </a:lnTo>
                    <a:lnTo>
                      <a:pt x="341" y="468"/>
                    </a:lnTo>
                    <a:lnTo>
                      <a:pt x="333" y="464"/>
                    </a:lnTo>
                    <a:lnTo>
                      <a:pt x="326" y="460"/>
                    </a:lnTo>
                    <a:lnTo>
                      <a:pt x="326" y="460"/>
                    </a:lnTo>
                    <a:lnTo>
                      <a:pt x="321" y="457"/>
                    </a:lnTo>
                    <a:lnTo>
                      <a:pt x="316" y="455"/>
                    </a:lnTo>
                    <a:lnTo>
                      <a:pt x="304" y="454"/>
                    </a:lnTo>
                    <a:lnTo>
                      <a:pt x="294" y="457"/>
                    </a:lnTo>
                    <a:lnTo>
                      <a:pt x="290" y="458"/>
                    </a:lnTo>
                    <a:lnTo>
                      <a:pt x="289" y="461"/>
                    </a:lnTo>
                    <a:lnTo>
                      <a:pt x="289" y="461"/>
                    </a:lnTo>
                    <a:lnTo>
                      <a:pt x="286" y="465"/>
                    </a:lnTo>
                    <a:lnTo>
                      <a:pt x="282" y="467"/>
                    </a:lnTo>
                    <a:lnTo>
                      <a:pt x="276" y="468"/>
                    </a:lnTo>
                    <a:lnTo>
                      <a:pt x="270" y="468"/>
                    </a:lnTo>
                    <a:lnTo>
                      <a:pt x="270" y="468"/>
                    </a:lnTo>
                    <a:lnTo>
                      <a:pt x="269" y="467"/>
                    </a:lnTo>
                    <a:lnTo>
                      <a:pt x="267" y="467"/>
                    </a:lnTo>
                    <a:lnTo>
                      <a:pt x="269" y="462"/>
                    </a:lnTo>
                    <a:lnTo>
                      <a:pt x="272" y="460"/>
                    </a:lnTo>
                    <a:lnTo>
                      <a:pt x="272" y="458"/>
                    </a:lnTo>
                    <a:lnTo>
                      <a:pt x="272" y="457"/>
                    </a:lnTo>
                    <a:lnTo>
                      <a:pt x="272" y="457"/>
                    </a:lnTo>
                    <a:lnTo>
                      <a:pt x="269" y="455"/>
                    </a:lnTo>
                    <a:lnTo>
                      <a:pt x="269" y="451"/>
                    </a:lnTo>
                    <a:lnTo>
                      <a:pt x="269" y="447"/>
                    </a:lnTo>
                    <a:lnTo>
                      <a:pt x="267" y="445"/>
                    </a:lnTo>
                    <a:lnTo>
                      <a:pt x="266" y="445"/>
                    </a:lnTo>
                    <a:lnTo>
                      <a:pt x="266" y="445"/>
                    </a:lnTo>
                    <a:lnTo>
                      <a:pt x="263" y="445"/>
                    </a:lnTo>
                    <a:lnTo>
                      <a:pt x="262" y="448"/>
                    </a:lnTo>
                    <a:lnTo>
                      <a:pt x="257" y="457"/>
                    </a:lnTo>
                    <a:lnTo>
                      <a:pt x="252" y="464"/>
                    </a:lnTo>
                    <a:lnTo>
                      <a:pt x="247" y="467"/>
                    </a:lnTo>
                    <a:lnTo>
                      <a:pt x="245" y="468"/>
                    </a:lnTo>
                    <a:lnTo>
                      <a:pt x="245" y="468"/>
                    </a:lnTo>
                    <a:lnTo>
                      <a:pt x="240" y="467"/>
                    </a:lnTo>
                    <a:lnTo>
                      <a:pt x="237" y="464"/>
                    </a:lnTo>
                    <a:lnTo>
                      <a:pt x="232" y="454"/>
                    </a:lnTo>
                    <a:lnTo>
                      <a:pt x="226" y="444"/>
                    </a:lnTo>
                    <a:lnTo>
                      <a:pt x="223" y="438"/>
                    </a:lnTo>
                    <a:lnTo>
                      <a:pt x="220" y="435"/>
                    </a:lnTo>
                    <a:lnTo>
                      <a:pt x="220" y="435"/>
                    </a:lnTo>
                    <a:lnTo>
                      <a:pt x="213" y="433"/>
                    </a:lnTo>
                    <a:lnTo>
                      <a:pt x="209" y="431"/>
                    </a:lnTo>
                    <a:lnTo>
                      <a:pt x="208" y="431"/>
                    </a:lnTo>
                    <a:lnTo>
                      <a:pt x="208" y="433"/>
                    </a:lnTo>
                    <a:lnTo>
                      <a:pt x="210" y="438"/>
                    </a:lnTo>
                    <a:lnTo>
                      <a:pt x="210" y="438"/>
                    </a:lnTo>
                    <a:lnTo>
                      <a:pt x="212" y="441"/>
                    </a:lnTo>
                    <a:lnTo>
                      <a:pt x="212" y="442"/>
                    </a:lnTo>
                    <a:lnTo>
                      <a:pt x="212" y="444"/>
                    </a:lnTo>
                    <a:lnTo>
                      <a:pt x="210" y="444"/>
                    </a:lnTo>
                    <a:lnTo>
                      <a:pt x="206" y="445"/>
                    </a:lnTo>
                    <a:lnTo>
                      <a:pt x="205" y="445"/>
                    </a:lnTo>
                    <a:lnTo>
                      <a:pt x="205" y="448"/>
                    </a:lnTo>
                    <a:lnTo>
                      <a:pt x="205" y="448"/>
                    </a:lnTo>
                    <a:lnTo>
                      <a:pt x="205" y="450"/>
                    </a:lnTo>
                    <a:lnTo>
                      <a:pt x="203" y="452"/>
                    </a:lnTo>
                    <a:lnTo>
                      <a:pt x="199" y="457"/>
                    </a:lnTo>
                    <a:lnTo>
                      <a:pt x="195" y="458"/>
                    </a:lnTo>
                    <a:lnTo>
                      <a:pt x="193" y="460"/>
                    </a:lnTo>
                    <a:lnTo>
                      <a:pt x="193" y="458"/>
                    </a:lnTo>
                    <a:lnTo>
                      <a:pt x="193" y="458"/>
                    </a:lnTo>
                    <a:lnTo>
                      <a:pt x="192" y="455"/>
                    </a:lnTo>
                    <a:lnTo>
                      <a:pt x="188" y="454"/>
                    </a:lnTo>
                    <a:lnTo>
                      <a:pt x="183" y="455"/>
                    </a:lnTo>
                    <a:lnTo>
                      <a:pt x="178" y="461"/>
                    </a:lnTo>
                    <a:lnTo>
                      <a:pt x="178" y="461"/>
                    </a:lnTo>
                    <a:lnTo>
                      <a:pt x="171" y="467"/>
                    </a:lnTo>
                    <a:lnTo>
                      <a:pt x="166" y="468"/>
                    </a:lnTo>
                    <a:lnTo>
                      <a:pt x="163" y="468"/>
                    </a:lnTo>
                    <a:lnTo>
                      <a:pt x="162" y="465"/>
                    </a:lnTo>
                    <a:lnTo>
                      <a:pt x="162" y="465"/>
                    </a:lnTo>
                    <a:lnTo>
                      <a:pt x="161" y="465"/>
                    </a:lnTo>
                    <a:lnTo>
                      <a:pt x="158" y="465"/>
                    </a:lnTo>
                    <a:lnTo>
                      <a:pt x="149" y="470"/>
                    </a:lnTo>
                    <a:lnTo>
                      <a:pt x="141" y="475"/>
                    </a:lnTo>
                    <a:lnTo>
                      <a:pt x="138" y="477"/>
                    </a:lnTo>
                    <a:lnTo>
                      <a:pt x="136" y="479"/>
                    </a:lnTo>
                    <a:lnTo>
                      <a:pt x="136" y="479"/>
                    </a:lnTo>
                    <a:lnTo>
                      <a:pt x="136" y="482"/>
                    </a:lnTo>
                    <a:lnTo>
                      <a:pt x="135" y="484"/>
                    </a:lnTo>
                    <a:lnTo>
                      <a:pt x="131" y="485"/>
                    </a:lnTo>
                    <a:lnTo>
                      <a:pt x="126" y="487"/>
                    </a:lnTo>
                    <a:lnTo>
                      <a:pt x="126" y="487"/>
                    </a:lnTo>
                    <a:lnTo>
                      <a:pt x="124" y="485"/>
                    </a:lnTo>
                    <a:lnTo>
                      <a:pt x="124" y="482"/>
                    </a:lnTo>
                    <a:lnTo>
                      <a:pt x="126" y="479"/>
                    </a:lnTo>
                    <a:lnTo>
                      <a:pt x="131" y="477"/>
                    </a:lnTo>
                    <a:lnTo>
                      <a:pt x="131" y="477"/>
                    </a:lnTo>
                    <a:lnTo>
                      <a:pt x="145" y="468"/>
                    </a:lnTo>
                    <a:lnTo>
                      <a:pt x="154" y="462"/>
                    </a:lnTo>
                    <a:lnTo>
                      <a:pt x="161" y="460"/>
                    </a:lnTo>
                    <a:lnTo>
                      <a:pt x="161" y="460"/>
                    </a:lnTo>
                    <a:lnTo>
                      <a:pt x="169" y="458"/>
                    </a:lnTo>
                    <a:lnTo>
                      <a:pt x="176" y="454"/>
                    </a:lnTo>
                    <a:lnTo>
                      <a:pt x="183" y="451"/>
                    </a:lnTo>
                    <a:lnTo>
                      <a:pt x="186" y="450"/>
                    </a:lnTo>
                    <a:lnTo>
                      <a:pt x="186" y="447"/>
                    </a:lnTo>
                    <a:lnTo>
                      <a:pt x="186" y="447"/>
                    </a:lnTo>
                    <a:lnTo>
                      <a:pt x="186" y="447"/>
                    </a:lnTo>
                    <a:lnTo>
                      <a:pt x="185" y="445"/>
                    </a:lnTo>
                    <a:lnTo>
                      <a:pt x="182" y="445"/>
                    </a:lnTo>
                    <a:lnTo>
                      <a:pt x="178" y="445"/>
                    </a:lnTo>
                    <a:lnTo>
                      <a:pt x="172" y="445"/>
                    </a:lnTo>
                    <a:lnTo>
                      <a:pt x="172" y="445"/>
                    </a:lnTo>
                    <a:lnTo>
                      <a:pt x="168" y="445"/>
                    </a:lnTo>
                    <a:lnTo>
                      <a:pt x="162" y="448"/>
                    </a:lnTo>
                    <a:lnTo>
                      <a:pt x="148" y="455"/>
                    </a:lnTo>
                    <a:lnTo>
                      <a:pt x="148" y="455"/>
                    </a:lnTo>
                    <a:lnTo>
                      <a:pt x="141" y="458"/>
                    </a:lnTo>
                    <a:lnTo>
                      <a:pt x="134" y="460"/>
                    </a:lnTo>
                    <a:lnTo>
                      <a:pt x="129" y="461"/>
                    </a:lnTo>
                    <a:lnTo>
                      <a:pt x="129" y="462"/>
                    </a:lnTo>
                    <a:lnTo>
                      <a:pt x="129" y="464"/>
                    </a:lnTo>
                    <a:lnTo>
                      <a:pt x="129" y="464"/>
                    </a:lnTo>
                    <a:lnTo>
                      <a:pt x="129" y="465"/>
                    </a:lnTo>
                    <a:lnTo>
                      <a:pt x="129" y="467"/>
                    </a:lnTo>
                    <a:lnTo>
                      <a:pt x="126" y="467"/>
                    </a:lnTo>
                    <a:lnTo>
                      <a:pt x="121" y="465"/>
                    </a:lnTo>
                    <a:lnTo>
                      <a:pt x="119" y="465"/>
                    </a:lnTo>
                    <a:lnTo>
                      <a:pt x="118" y="467"/>
                    </a:lnTo>
                    <a:lnTo>
                      <a:pt x="118" y="467"/>
                    </a:lnTo>
                    <a:lnTo>
                      <a:pt x="117" y="468"/>
                    </a:lnTo>
                    <a:lnTo>
                      <a:pt x="114" y="468"/>
                    </a:lnTo>
                    <a:lnTo>
                      <a:pt x="114" y="467"/>
                    </a:lnTo>
                    <a:lnTo>
                      <a:pt x="115" y="464"/>
                    </a:lnTo>
                    <a:lnTo>
                      <a:pt x="115" y="464"/>
                    </a:lnTo>
                    <a:lnTo>
                      <a:pt x="115" y="464"/>
                    </a:lnTo>
                    <a:lnTo>
                      <a:pt x="115" y="462"/>
                    </a:lnTo>
                    <a:lnTo>
                      <a:pt x="112" y="461"/>
                    </a:lnTo>
                    <a:lnTo>
                      <a:pt x="108" y="460"/>
                    </a:lnTo>
                    <a:lnTo>
                      <a:pt x="107" y="460"/>
                    </a:lnTo>
                    <a:lnTo>
                      <a:pt x="107" y="461"/>
                    </a:lnTo>
                    <a:lnTo>
                      <a:pt x="107" y="461"/>
                    </a:lnTo>
                    <a:lnTo>
                      <a:pt x="105" y="462"/>
                    </a:lnTo>
                    <a:lnTo>
                      <a:pt x="104" y="465"/>
                    </a:lnTo>
                    <a:lnTo>
                      <a:pt x="101" y="467"/>
                    </a:lnTo>
                    <a:lnTo>
                      <a:pt x="95" y="467"/>
                    </a:lnTo>
                    <a:lnTo>
                      <a:pt x="95" y="467"/>
                    </a:lnTo>
                    <a:lnTo>
                      <a:pt x="90" y="468"/>
                    </a:lnTo>
                    <a:lnTo>
                      <a:pt x="84" y="470"/>
                    </a:lnTo>
                    <a:lnTo>
                      <a:pt x="82" y="474"/>
                    </a:lnTo>
                    <a:lnTo>
                      <a:pt x="82" y="475"/>
                    </a:lnTo>
                    <a:lnTo>
                      <a:pt x="84" y="477"/>
                    </a:lnTo>
                    <a:lnTo>
                      <a:pt x="84" y="477"/>
                    </a:lnTo>
                    <a:lnTo>
                      <a:pt x="91" y="482"/>
                    </a:lnTo>
                    <a:lnTo>
                      <a:pt x="91" y="484"/>
                    </a:lnTo>
                    <a:lnTo>
                      <a:pt x="91" y="487"/>
                    </a:lnTo>
                    <a:lnTo>
                      <a:pt x="91" y="487"/>
                    </a:lnTo>
                    <a:lnTo>
                      <a:pt x="90" y="487"/>
                    </a:lnTo>
                    <a:lnTo>
                      <a:pt x="87" y="487"/>
                    </a:lnTo>
                    <a:lnTo>
                      <a:pt x="82" y="484"/>
                    </a:lnTo>
                    <a:lnTo>
                      <a:pt x="75" y="481"/>
                    </a:lnTo>
                    <a:lnTo>
                      <a:pt x="71" y="479"/>
                    </a:lnTo>
                    <a:lnTo>
                      <a:pt x="67" y="479"/>
                    </a:lnTo>
                    <a:lnTo>
                      <a:pt x="67" y="479"/>
                    </a:lnTo>
                    <a:lnTo>
                      <a:pt x="61" y="479"/>
                    </a:lnTo>
                    <a:lnTo>
                      <a:pt x="55" y="478"/>
                    </a:lnTo>
                    <a:lnTo>
                      <a:pt x="43" y="472"/>
                    </a:lnTo>
                    <a:lnTo>
                      <a:pt x="33" y="467"/>
                    </a:lnTo>
                    <a:lnTo>
                      <a:pt x="30" y="464"/>
                    </a:lnTo>
                    <a:lnTo>
                      <a:pt x="28" y="462"/>
                    </a:lnTo>
                    <a:lnTo>
                      <a:pt x="28" y="462"/>
                    </a:lnTo>
                    <a:lnTo>
                      <a:pt x="28" y="461"/>
                    </a:lnTo>
                    <a:lnTo>
                      <a:pt x="25" y="461"/>
                    </a:lnTo>
                    <a:lnTo>
                      <a:pt x="18" y="461"/>
                    </a:lnTo>
                    <a:lnTo>
                      <a:pt x="0" y="460"/>
                    </a:lnTo>
                    <a:lnTo>
                      <a:pt x="0" y="706"/>
                    </a:lnTo>
                    <a:lnTo>
                      <a:pt x="0" y="706"/>
                    </a:lnTo>
                    <a:lnTo>
                      <a:pt x="3" y="707"/>
                    </a:lnTo>
                    <a:lnTo>
                      <a:pt x="6" y="709"/>
                    </a:lnTo>
                    <a:lnTo>
                      <a:pt x="8" y="707"/>
                    </a:lnTo>
                    <a:lnTo>
                      <a:pt x="8" y="707"/>
                    </a:lnTo>
                    <a:lnTo>
                      <a:pt x="10" y="706"/>
                    </a:lnTo>
                    <a:lnTo>
                      <a:pt x="13" y="707"/>
                    </a:lnTo>
                    <a:lnTo>
                      <a:pt x="17" y="706"/>
                    </a:lnTo>
                    <a:lnTo>
                      <a:pt x="23" y="704"/>
                    </a:lnTo>
                    <a:lnTo>
                      <a:pt x="23" y="704"/>
                    </a:lnTo>
                    <a:lnTo>
                      <a:pt x="25" y="704"/>
                    </a:lnTo>
                    <a:lnTo>
                      <a:pt x="27" y="704"/>
                    </a:lnTo>
                    <a:lnTo>
                      <a:pt x="31" y="706"/>
                    </a:lnTo>
                    <a:lnTo>
                      <a:pt x="33" y="710"/>
                    </a:lnTo>
                    <a:lnTo>
                      <a:pt x="34" y="713"/>
                    </a:lnTo>
                    <a:lnTo>
                      <a:pt x="34" y="713"/>
                    </a:lnTo>
                    <a:lnTo>
                      <a:pt x="35" y="716"/>
                    </a:lnTo>
                    <a:lnTo>
                      <a:pt x="40" y="720"/>
                    </a:lnTo>
                    <a:lnTo>
                      <a:pt x="45" y="724"/>
                    </a:lnTo>
                    <a:lnTo>
                      <a:pt x="50" y="728"/>
                    </a:lnTo>
                    <a:lnTo>
                      <a:pt x="50" y="728"/>
                    </a:lnTo>
                    <a:lnTo>
                      <a:pt x="55" y="737"/>
                    </a:lnTo>
                    <a:lnTo>
                      <a:pt x="58" y="738"/>
                    </a:lnTo>
                    <a:lnTo>
                      <a:pt x="62" y="737"/>
                    </a:lnTo>
                    <a:lnTo>
                      <a:pt x="62" y="737"/>
                    </a:lnTo>
                    <a:lnTo>
                      <a:pt x="71" y="733"/>
                    </a:lnTo>
                    <a:lnTo>
                      <a:pt x="75" y="730"/>
                    </a:lnTo>
                    <a:lnTo>
                      <a:pt x="77" y="727"/>
                    </a:lnTo>
                    <a:lnTo>
                      <a:pt x="77" y="726"/>
                    </a:lnTo>
                    <a:lnTo>
                      <a:pt x="77" y="726"/>
                    </a:lnTo>
                    <a:lnTo>
                      <a:pt x="78" y="723"/>
                    </a:lnTo>
                    <a:lnTo>
                      <a:pt x="80" y="721"/>
                    </a:lnTo>
                    <a:lnTo>
                      <a:pt x="88" y="720"/>
                    </a:lnTo>
                    <a:lnTo>
                      <a:pt x="95" y="721"/>
                    </a:lnTo>
                    <a:lnTo>
                      <a:pt x="98" y="724"/>
                    </a:lnTo>
                    <a:lnTo>
                      <a:pt x="98" y="727"/>
                    </a:lnTo>
                    <a:lnTo>
                      <a:pt x="98" y="727"/>
                    </a:lnTo>
                    <a:lnTo>
                      <a:pt x="99" y="730"/>
                    </a:lnTo>
                    <a:lnTo>
                      <a:pt x="102" y="733"/>
                    </a:lnTo>
                    <a:lnTo>
                      <a:pt x="111" y="741"/>
                    </a:lnTo>
                    <a:lnTo>
                      <a:pt x="122" y="751"/>
                    </a:lnTo>
                    <a:lnTo>
                      <a:pt x="128" y="758"/>
                    </a:lnTo>
                    <a:lnTo>
                      <a:pt x="134" y="765"/>
                    </a:lnTo>
                    <a:lnTo>
                      <a:pt x="134" y="765"/>
                    </a:lnTo>
                    <a:lnTo>
                      <a:pt x="141" y="780"/>
                    </a:lnTo>
                    <a:lnTo>
                      <a:pt x="145" y="788"/>
                    </a:lnTo>
                    <a:lnTo>
                      <a:pt x="151" y="794"/>
                    </a:lnTo>
                    <a:lnTo>
                      <a:pt x="162" y="800"/>
                    </a:lnTo>
                    <a:lnTo>
                      <a:pt x="162" y="800"/>
                    </a:lnTo>
                    <a:lnTo>
                      <a:pt x="172" y="804"/>
                    </a:lnTo>
                    <a:lnTo>
                      <a:pt x="176" y="808"/>
                    </a:lnTo>
                    <a:lnTo>
                      <a:pt x="178" y="812"/>
                    </a:lnTo>
                    <a:lnTo>
                      <a:pt x="176" y="817"/>
                    </a:lnTo>
                    <a:lnTo>
                      <a:pt x="176" y="817"/>
                    </a:lnTo>
                    <a:lnTo>
                      <a:pt x="176" y="818"/>
                    </a:lnTo>
                    <a:lnTo>
                      <a:pt x="178" y="821"/>
                    </a:lnTo>
                    <a:lnTo>
                      <a:pt x="181" y="824"/>
                    </a:lnTo>
                    <a:lnTo>
                      <a:pt x="182" y="828"/>
                    </a:lnTo>
                    <a:lnTo>
                      <a:pt x="182" y="829"/>
                    </a:lnTo>
                    <a:lnTo>
                      <a:pt x="181" y="831"/>
                    </a:lnTo>
                    <a:lnTo>
                      <a:pt x="181" y="831"/>
                    </a:lnTo>
                    <a:lnTo>
                      <a:pt x="169" y="839"/>
                    </a:lnTo>
                    <a:lnTo>
                      <a:pt x="169" y="839"/>
                    </a:lnTo>
                    <a:lnTo>
                      <a:pt x="169" y="841"/>
                    </a:lnTo>
                    <a:lnTo>
                      <a:pt x="171" y="844"/>
                    </a:lnTo>
                    <a:lnTo>
                      <a:pt x="176" y="847"/>
                    </a:lnTo>
                    <a:lnTo>
                      <a:pt x="176" y="847"/>
                    </a:lnTo>
                    <a:lnTo>
                      <a:pt x="176" y="848"/>
                    </a:lnTo>
                    <a:lnTo>
                      <a:pt x="176" y="849"/>
                    </a:lnTo>
                    <a:lnTo>
                      <a:pt x="173" y="851"/>
                    </a:lnTo>
                    <a:lnTo>
                      <a:pt x="171" y="852"/>
                    </a:lnTo>
                    <a:lnTo>
                      <a:pt x="171" y="852"/>
                    </a:lnTo>
                    <a:lnTo>
                      <a:pt x="172" y="854"/>
                    </a:lnTo>
                    <a:lnTo>
                      <a:pt x="172" y="854"/>
                    </a:lnTo>
                    <a:lnTo>
                      <a:pt x="173" y="856"/>
                    </a:lnTo>
                    <a:lnTo>
                      <a:pt x="173" y="859"/>
                    </a:lnTo>
                    <a:lnTo>
                      <a:pt x="173" y="862"/>
                    </a:lnTo>
                    <a:lnTo>
                      <a:pt x="175" y="866"/>
                    </a:lnTo>
                    <a:lnTo>
                      <a:pt x="175" y="866"/>
                    </a:lnTo>
                    <a:lnTo>
                      <a:pt x="178" y="868"/>
                    </a:lnTo>
                    <a:lnTo>
                      <a:pt x="181" y="868"/>
                    </a:lnTo>
                    <a:lnTo>
                      <a:pt x="185" y="868"/>
                    </a:lnTo>
                    <a:lnTo>
                      <a:pt x="188" y="865"/>
                    </a:lnTo>
                    <a:lnTo>
                      <a:pt x="188" y="865"/>
                    </a:lnTo>
                    <a:lnTo>
                      <a:pt x="191" y="865"/>
                    </a:lnTo>
                    <a:lnTo>
                      <a:pt x="192" y="866"/>
                    </a:lnTo>
                    <a:lnTo>
                      <a:pt x="193" y="871"/>
                    </a:lnTo>
                    <a:lnTo>
                      <a:pt x="192" y="875"/>
                    </a:lnTo>
                    <a:lnTo>
                      <a:pt x="192" y="875"/>
                    </a:lnTo>
                    <a:lnTo>
                      <a:pt x="191" y="878"/>
                    </a:lnTo>
                    <a:lnTo>
                      <a:pt x="193" y="881"/>
                    </a:lnTo>
                    <a:lnTo>
                      <a:pt x="196" y="882"/>
                    </a:lnTo>
                    <a:lnTo>
                      <a:pt x="199" y="879"/>
                    </a:lnTo>
                    <a:lnTo>
                      <a:pt x="199" y="879"/>
                    </a:lnTo>
                    <a:lnTo>
                      <a:pt x="200" y="879"/>
                    </a:lnTo>
                    <a:lnTo>
                      <a:pt x="202" y="879"/>
                    </a:lnTo>
                    <a:lnTo>
                      <a:pt x="205" y="882"/>
                    </a:lnTo>
                    <a:lnTo>
                      <a:pt x="212" y="888"/>
                    </a:lnTo>
                    <a:lnTo>
                      <a:pt x="212" y="888"/>
                    </a:lnTo>
                    <a:lnTo>
                      <a:pt x="213" y="889"/>
                    </a:lnTo>
                    <a:lnTo>
                      <a:pt x="215" y="892"/>
                    </a:lnTo>
                    <a:lnTo>
                      <a:pt x="215" y="895"/>
                    </a:lnTo>
                    <a:lnTo>
                      <a:pt x="213" y="895"/>
                    </a:lnTo>
                    <a:lnTo>
                      <a:pt x="213" y="895"/>
                    </a:lnTo>
                    <a:lnTo>
                      <a:pt x="210" y="895"/>
                    </a:lnTo>
                    <a:lnTo>
                      <a:pt x="210" y="896"/>
                    </a:lnTo>
                    <a:lnTo>
                      <a:pt x="209" y="899"/>
                    </a:lnTo>
                    <a:lnTo>
                      <a:pt x="209" y="903"/>
                    </a:lnTo>
                    <a:lnTo>
                      <a:pt x="212" y="905"/>
                    </a:lnTo>
                    <a:lnTo>
                      <a:pt x="212" y="905"/>
                    </a:lnTo>
                    <a:lnTo>
                      <a:pt x="215" y="906"/>
                    </a:lnTo>
                    <a:lnTo>
                      <a:pt x="215" y="908"/>
                    </a:lnTo>
                    <a:lnTo>
                      <a:pt x="216" y="913"/>
                    </a:lnTo>
                    <a:lnTo>
                      <a:pt x="216" y="913"/>
                    </a:lnTo>
                    <a:lnTo>
                      <a:pt x="218" y="916"/>
                    </a:lnTo>
                    <a:lnTo>
                      <a:pt x="222" y="918"/>
                    </a:lnTo>
                    <a:lnTo>
                      <a:pt x="227" y="919"/>
                    </a:lnTo>
                    <a:lnTo>
                      <a:pt x="233" y="919"/>
                    </a:lnTo>
                    <a:lnTo>
                      <a:pt x="233" y="919"/>
                    </a:lnTo>
                    <a:lnTo>
                      <a:pt x="236" y="919"/>
                    </a:lnTo>
                    <a:lnTo>
                      <a:pt x="239" y="920"/>
                    </a:lnTo>
                    <a:lnTo>
                      <a:pt x="243" y="926"/>
                    </a:lnTo>
                    <a:lnTo>
                      <a:pt x="243" y="926"/>
                    </a:lnTo>
                    <a:lnTo>
                      <a:pt x="246" y="929"/>
                    </a:lnTo>
                    <a:lnTo>
                      <a:pt x="250" y="930"/>
                    </a:lnTo>
                    <a:lnTo>
                      <a:pt x="255" y="932"/>
                    </a:lnTo>
                    <a:lnTo>
                      <a:pt x="257" y="930"/>
                    </a:lnTo>
                    <a:lnTo>
                      <a:pt x="257" y="930"/>
                    </a:lnTo>
                    <a:lnTo>
                      <a:pt x="260" y="930"/>
                    </a:lnTo>
                    <a:lnTo>
                      <a:pt x="262" y="933"/>
                    </a:lnTo>
                    <a:lnTo>
                      <a:pt x="263" y="940"/>
                    </a:lnTo>
                    <a:lnTo>
                      <a:pt x="263" y="940"/>
                    </a:lnTo>
                    <a:lnTo>
                      <a:pt x="264" y="943"/>
                    </a:lnTo>
                    <a:lnTo>
                      <a:pt x="269" y="943"/>
                    </a:lnTo>
                    <a:lnTo>
                      <a:pt x="276" y="942"/>
                    </a:lnTo>
                    <a:lnTo>
                      <a:pt x="276" y="942"/>
                    </a:lnTo>
                    <a:lnTo>
                      <a:pt x="279" y="943"/>
                    </a:lnTo>
                    <a:lnTo>
                      <a:pt x="282" y="945"/>
                    </a:lnTo>
                    <a:lnTo>
                      <a:pt x="283" y="946"/>
                    </a:lnTo>
                    <a:lnTo>
                      <a:pt x="286" y="946"/>
                    </a:lnTo>
                    <a:lnTo>
                      <a:pt x="286" y="946"/>
                    </a:lnTo>
                    <a:lnTo>
                      <a:pt x="287" y="946"/>
                    </a:lnTo>
                    <a:lnTo>
                      <a:pt x="289" y="948"/>
                    </a:lnTo>
                    <a:lnTo>
                      <a:pt x="292" y="950"/>
                    </a:lnTo>
                    <a:lnTo>
                      <a:pt x="297" y="962"/>
                    </a:lnTo>
                    <a:lnTo>
                      <a:pt x="740" y="959"/>
                    </a:lnTo>
                    <a:lnTo>
                      <a:pt x="740" y="959"/>
                    </a:lnTo>
                    <a:lnTo>
                      <a:pt x="741" y="955"/>
                    </a:lnTo>
                    <a:lnTo>
                      <a:pt x="742" y="952"/>
                    </a:lnTo>
                    <a:lnTo>
                      <a:pt x="744" y="952"/>
                    </a:lnTo>
                    <a:lnTo>
                      <a:pt x="745" y="952"/>
                    </a:lnTo>
                    <a:lnTo>
                      <a:pt x="745" y="952"/>
                    </a:lnTo>
                    <a:lnTo>
                      <a:pt x="748" y="955"/>
                    </a:lnTo>
                    <a:lnTo>
                      <a:pt x="748" y="959"/>
                    </a:lnTo>
                    <a:lnTo>
                      <a:pt x="748" y="962"/>
                    </a:lnTo>
                    <a:lnTo>
                      <a:pt x="752" y="965"/>
                    </a:lnTo>
                    <a:lnTo>
                      <a:pt x="752" y="965"/>
                    </a:lnTo>
                    <a:lnTo>
                      <a:pt x="760" y="969"/>
                    </a:lnTo>
                    <a:lnTo>
                      <a:pt x="762" y="969"/>
                    </a:lnTo>
                    <a:lnTo>
                      <a:pt x="765" y="969"/>
                    </a:lnTo>
                    <a:lnTo>
                      <a:pt x="765" y="969"/>
                    </a:lnTo>
                    <a:lnTo>
                      <a:pt x="772" y="966"/>
                    </a:lnTo>
                    <a:lnTo>
                      <a:pt x="777" y="966"/>
                    </a:lnTo>
                    <a:lnTo>
                      <a:pt x="781" y="970"/>
                    </a:lnTo>
                    <a:lnTo>
                      <a:pt x="781" y="970"/>
                    </a:lnTo>
                    <a:lnTo>
                      <a:pt x="784" y="973"/>
                    </a:lnTo>
                    <a:lnTo>
                      <a:pt x="788" y="973"/>
                    </a:lnTo>
                    <a:lnTo>
                      <a:pt x="791" y="973"/>
                    </a:lnTo>
                    <a:lnTo>
                      <a:pt x="794" y="975"/>
                    </a:lnTo>
                    <a:lnTo>
                      <a:pt x="794" y="975"/>
                    </a:lnTo>
                    <a:lnTo>
                      <a:pt x="797" y="977"/>
                    </a:lnTo>
                    <a:lnTo>
                      <a:pt x="799" y="980"/>
                    </a:lnTo>
                    <a:lnTo>
                      <a:pt x="804" y="980"/>
                    </a:lnTo>
                    <a:lnTo>
                      <a:pt x="808" y="977"/>
                    </a:lnTo>
                    <a:lnTo>
                      <a:pt x="808" y="977"/>
                    </a:lnTo>
                    <a:lnTo>
                      <a:pt x="809" y="976"/>
                    </a:lnTo>
                    <a:lnTo>
                      <a:pt x="811" y="976"/>
                    </a:lnTo>
                    <a:lnTo>
                      <a:pt x="818" y="976"/>
                    </a:lnTo>
                    <a:lnTo>
                      <a:pt x="831" y="980"/>
                    </a:lnTo>
                    <a:lnTo>
                      <a:pt x="831" y="980"/>
                    </a:lnTo>
                    <a:lnTo>
                      <a:pt x="836" y="975"/>
                    </a:lnTo>
                    <a:lnTo>
                      <a:pt x="841" y="969"/>
                    </a:lnTo>
                    <a:lnTo>
                      <a:pt x="846" y="963"/>
                    </a:lnTo>
                    <a:lnTo>
                      <a:pt x="849" y="962"/>
                    </a:lnTo>
                    <a:lnTo>
                      <a:pt x="851" y="960"/>
                    </a:lnTo>
                    <a:lnTo>
                      <a:pt x="851" y="960"/>
                    </a:lnTo>
                    <a:lnTo>
                      <a:pt x="861" y="962"/>
                    </a:lnTo>
                    <a:lnTo>
                      <a:pt x="870" y="963"/>
                    </a:lnTo>
                    <a:lnTo>
                      <a:pt x="876" y="966"/>
                    </a:lnTo>
                    <a:lnTo>
                      <a:pt x="880" y="967"/>
                    </a:lnTo>
                    <a:lnTo>
                      <a:pt x="883" y="972"/>
                    </a:lnTo>
                    <a:lnTo>
                      <a:pt x="885" y="975"/>
                    </a:lnTo>
                    <a:lnTo>
                      <a:pt x="885" y="975"/>
                    </a:lnTo>
                    <a:lnTo>
                      <a:pt x="886" y="979"/>
                    </a:lnTo>
                    <a:lnTo>
                      <a:pt x="889" y="980"/>
                    </a:lnTo>
                    <a:lnTo>
                      <a:pt x="893" y="982"/>
                    </a:lnTo>
                    <a:lnTo>
                      <a:pt x="899" y="982"/>
                    </a:lnTo>
                    <a:lnTo>
                      <a:pt x="902" y="984"/>
                    </a:lnTo>
                    <a:lnTo>
                      <a:pt x="902" y="987"/>
                    </a:lnTo>
                    <a:lnTo>
                      <a:pt x="902" y="987"/>
                    </a:lnTo>
                    <a:lnTo>
                      <a:pt x="905" y="994"/>
                    </a:lnTo>
                    <a:lnTo>
                      <a:pt x="907" y="1000"/>
                    </a:lnTo>
                    <a:lnTo>
                      <a:pt x="910" y="1006"/>
                    </a:lnTo>
                    <a:lnTo>
                      <a:pt x="912" y="1010"/>
                    </a:lnTo>
                    <a:lnTo>
                      <a:pt x="912" y="1010"/>
                    </a:lnTo>
                    <a:lnTo>
                      <a:pt x="920" y="1016"/>
                    </a:lnTo>
                    <a:lnTo>
                      <a:pt x="920" y="1016"/>
                    </a:lnTo>
                    <a:lnTo>
                      <a:pt x="925" y="1016"/>
                    </a:lnTo>
                    <a:lnTo>
                      <a:pt x="932" y="1016"/>
                    </a:lnTo>
                    <a:lnTo>
                      <a:pt x="944" y="1019"/>
                    </a:lnTo>
                    <a:lnTo>
                      <a:pt x="944" y="1019"/>
                    </a:lnTo>
                    <a:lnTo>
                      <a:pt x="949" y="1020"/>
                    </a:lnTo>
                    <a:lnTo>
                      <a:pt x="953" y="1020"/>
                    </a:lnTo>
                    <a:lnTo>
                      <a:pt x="962" y="1020"/>
                    </a:lnTo>
                    <a:lnTo>
                      <a:pt x="966" y="1020"/>
                    </a:lnTo>
                    <a:lnTo>
                      <a:pt x="970" y="1021"/>
                    </a:lnTo>
                    <a:lnTo>
                      <a:pt x="973" y="1023"/>
                    </a:lnTo>
                    <a:lnTo>
                      <a:pt x="974" y="1027"/>
                    </a:lnTo>
                    <a:lnTo>
                      <a:pt x="974" y="1027"/>
                    </a:lnTo>
                    <a:lnTo>
                      <a:pt x="980" y="1036"/>
                    </a:lnTo>
                    <a:lnTo>
                      <a:pt x="984" y="1043"/>
                    </a:lnTo>
                    <a:lnTo>
                      <a:pt x="984" y="1046"/>
                    </a:lnTo>
                    <a:lnTo>
                      <a:pt x="984" y="1047"/>
                    </a:lnTo>
                    <a:lnTo>
                      <a:pt x="984" y="1049"/>
                    </a:lnTo>
                    <a:lnTo>
                      <a:pt x="980" y="1049"/>
                    </a:lnTo>
                    <a:lnTo>
                      <a:pt x="980" y="1049"/>
                    </a:lnTo>
                    <a:lnTo>
                      <a:pt x="977" y="1049"/>
                    </a:lnTo>
                    <a:lnTo>
                      <a:pt x="973" y="1047"/>
                    </a:lnTo>
                    <a:lnTo>
                      <a:pt x="966" y="1044"/>
                    </a:lnTo>
                    <a:lnTo>
                      <a:pt x="962" y="1041"/>
                    </a:lnTo>
                    <a:lnTo>
                      <a:pt x="960" y="1043"/>
                    </a:lnTo>
                    <a:lnTo>
                      <a:pt x="960" y="1044"/>
                    </a:lnTo>
                    <a:lnTo>
                      <a:pt x="960" y="1044"/>
                    </a:lnTo>
                    <a:lnTo>
                      <a:pt x="960" y="1049"/>
                    </a:lnTo>
                    <a:lnTo>
                      <a:pt x="957" y="1050"/>
                    </a:lnTo>
                    <a:lnTo>
                      <a:pt x="956" y="1053"/>
                    </a:lnTo>
                    <a:lnTo>
                      <a:pt x="954" y="1058"/>
                    </a:lnTo>
                    <a:lnTo>
                      <a:pt x="954" y="1058"/>
                    </a:lnTo>
                    <a:lnTo>
                      <a:pt x="954" y="1067"/>
                    </a:lnTo>
                    <a:lnTo>
                      <a:pt x="950" y="1076"/>
                    </a:lnTo>
                    <a:lnTo>
                      <a:pt x="947" y="1081"/>
                    </a:lnTo>
                    <a:lnTo>
                      <a:pt x="946" y="1083"/>
                    </a:lnTo>
                    <a:lnTo>
                      <a:pt x="943" y="1083"/>
                    </a:lnTo>
                    <a:lnTo>
                      <a:pt x="943" y="1083"/>
                    </a:lnTo>
                    <a:lnTo>
                      <a:pt x="943" y="1083"/>
                    </a:lnTo>
                    <a:lnTo>
                      <a:pt x="943" y="1083"/>
                    </a:lnTo>
                    <a:lnTo>
                      <a:pt x="943" y="1090"/>
                    </a:lnTo>
                    <a:lnTo>
                      <a:pt x="944" y="1093"/>
                    </a:lnTo>
                    <a:lnTo>
                      <a:pt x="946" y="1095"/>
                    </a:lnTo>
                    <a:lnTo>
                      <a:pt x="946" y="1095"/>
                    </a:lnTo>
                    <a:lnTo>
                      <a:pt x="956" y="1088"/>
                    </a:lnTo>
                    <a:lnTo>
                      <a:pt x="960" y="1087"/>
                    </a:lnTo>
                    <a:lnTo>
                      <a:pt x="966" y="1085"/>
                    </a:lnTo>
                    <a:lnTo>
                      <a:pt x="966" y="1085"/>
                    </a:lnTo>
                    <a:lnTo>
                      <a:pt x="973" y="1087"/>
                    </a:lnTo>
                    <a:lnTo>
                      <a:pt x="977" y="1088"/>
                    </a:lnTo>
                    <a:lnTo>
                      <a:pt x="981" y="1090"/>
                    </a:lnTo>
                    <a:lnTo>
                      <a:pt x="986" y="1087"/>
                    </a:lnTo>
                    <a:lnTo>
                      <a:pt x="986" y="1087"/>
                    </a:lnTo>
                    <a:lnTo>
                      <a:pt x="993" y="1083"/>
                    </a:lnTo>
                    <a:lnTo>
                      <a:pt x="996" y="1083"/>
                    </a:lnTo>
                    <a:lnTo>
                      <a:pt x="996" y="1084"/>
                    </a:lnTo>
                    <a:lnTo>
                      <a:pt x="996" y="1084"/>
                    </a:lnTo>
                    <a:lnTo>
                      <a:pt x="996" y="1085"/>
                    </a:lnTo>
                    <a:lnTo>
                      <a:pt x="996" y="1085"/>
                    </a:lnTo>
                    <a:lnTo>
                      <a:pt x="1000" y="1084"/>
                    </a:lnTo>
                    <a:lnTo>
                      <a:pt x="1001" y="1081"/>
                    </a:lnTo>
                    <a:lnTo>
                      <a:pt x="1001" y="1081"/>
                    </a:lnTo>
                    <a:lnTo>
                      <a:pt x="1000" y="1076"/>
                    </a:lnTo>
                    <a:lnTo>
                      <a:pt x="1000" y="1076"/>
                    </a:lnTo>
                    <a:lnTo>
                      <a:pt x="993" y="1076"/>
                    </a:lnTo>
                    <a:lnTo>
                      <a:pt x="990" y="1074"/>
                    </a:lnTo>
                    <a:lnTo>
                      <a:pt x="989" y="1071"/>
                    </a:lnTo>
                    <a:lnTo>
                      <a:pt x="989" y="1071"/>
                    </a:lnTo>
                    <a:lnTo>
                      <a:pt x="989" y="1070"/>
                    </a:lnTo>
                    <a:lnTo>
                      <a:pt x="990" y="1067"/>
                    </a:lnTo>
                    <a:lnTo>
                      <a:pt x="1000" y="1063"/>
                    </a:lnTo>
                    <a:lnTo>
                      <a:pt x="1011" y="1060"/>
                    </a:lnTo>
                    <a:lnTo>
                      <a:pt x="1021" y="1058"/>
                    </a:lnTo>
                    <a:lnTo>
                      <a:pt x="1021" y="1058"/>
                    </a:lnTo>
                    <a:lnTo>
                      <a:pt x="1028" y="1058"/>
                    </a:lnTo>
                    <a:lnTo>
                      <a:pt x="1034" y="1057"/>
                    </a:lnTo>
                    <a:lnTo>
                      <a:pt x="1040" y="1056"/>
                    </a:lnTo>
                    <a:lnTo>
                      <a:pt x="1041" y="1056"/>
                    </a:lnTo>
                    <a:lnTo>
                      <a:pt x="1043" y="1057"/>
                    </a:lnTo>
                    <a:lnTo>
                      <a:pt x="1043" y="1057"/>
                    </a:lnTo>
                    <a:lnTo>
                      <a:pt x="1055" y="1047"/>
                    </a:lnTo>
                    <a:lnTo>
                      <a:pt x="1061" y="1043"/>
                    </a:lnTo>
                    <a:lnTo>
                      <a:pt x="1065" y="1041"/>
                    </a:lnTo>
                    <a:lnTo>
                      <a:pt x="1065" y="1041"/>
                    </a:lnTo>
                    <a:lnTo>
                      <a:pt x="1119" y="1041"/>
                    </a:lnTo>
                    <a:lnTo>
                      <a:pt x="1119" y="1041"/>
                    </a:lnTo>
                    <a:lnTo>
                      <a:pt x="1129" y="1034"/>
                    </a:lnTo>
                    <a:lnTo>
                      <a:pt x="1135" y="1027"/>
                    </a:lnTo>
                    <a:lnTo>
                      <a:pt x="1138" y="1024"/>
                    </a:lnTo>
                    <a:lnTo>
                      <a:pt x="1139" y="1020"/>
                    </a:lnTo>
                    <a:lnTo>
                      <a:pt x="1139" y="1020"/>
                    </a:lnTo>
                    <a:lnTo>
                      <a:pt x="1142" y="1010"/>
                    </a:lnTo>
                    <a:lnTo>
                      <a:pt x="1148" y="1000"/>
                    </a:lnTo>
                    <a:lnTo>
                      <a:pt x="1155" y="993"/>
                    </a:lnTo>
                    <a:lnTo>
                      <a:pt x="1158" y="990"/>
                    </a:lnTo>
                    <a:lnTo>
                      <a:pt x="1161" y="992"/>
                    </a:lnTo>
                    <a:lnTo>
                      <a:pt x="1161" y="992"/>
                    </a:lnTo>
                    <a:lnTo>
                      <a:pt x="1162" y="993"/>
                    </a:lnTo>
                    <a:lnTo>
                      <a:pt x="1166" y="994"/>
                    </a:lnTo>
                    <a:lnTo>
                      <a:pt x="1174" y="994"/>
                    </a:lnTo>
                    <a:lnTo>
                      <a:pt x="1179" y="996"/>
                    </a:lnTo>
                    <a:lnTo>
                      <a:pt x="1181" y="996"/>
                    </a:lnTo>
                    <a:lnTo>
                      <a:pt x="1182" y="997"/>
                    </a:lnTo>
                    <a:lnTo>
                      <a:pt x="1182" y="997"/>
                    </a:lnTo>
                    <a:lnTo>
                      <a:pt x="1181" y="1003"/>
                    </a:lnTo>
                    <a:lnTo>
                      <a:pt x="1182" y="1013"/>
                    </a:lnTo>
                    <a:lnTo>
                      <a:pt x="1182" y="1019"/>
                    </a:lnTo>
                    <a:lnTo>
                      <a:pt x="1185" y="1026"/>
                    </a:lnTo>
                    <a:lnTo>
                      <a:pt x="1189" y="1034"/>
                    </a:lnTo>
                    <a:lnTo>
                      <a:pt x="1195" y="1043"/>
                    </a:lnTo>
                    <a:lnTo>
                      <a:pt x="1195" y="1043"/>
                    </a:lnTo>
                    <a:lnTo>
                      <a:pt x="1205" y="1037"/>
                    </a:lnTo>
                    <a:lnTo>
                      <a:pt x="1209" y="1036"/>
                    </a:lnTo>
                    <a:lnTo>
                      <a:pt x="1212" y="1036"/>
                    </a:lnTo>
                    <a:lnTo>
                      <a:pt x="1212" y="1036"/>
                    </a:lnTo>
                    <a:lnTo>
                      <a:pt x="1218" y="1034"/>
                    </a:lnTo>
                    <a:lnTo>
                      <a:pt x="1222" y="1030"/>
                    </a:lnTo>
                    <a:lnTo>
                      <a:pt x="1228" y="1026"/>
                    </a:lnTo>
                    <a:lnTo>
                      <a:pt x="1230" y="1021"/>
                    </a:lnTo>
                    <a:lnTo>
                      <a:pt x="1230" y="1021"/>
                    </a:lnTo>
                    <a:lnTo>
                      <a:pt x="1232" y="1020"/>
                    </a:lnTo>
                    <a:lnTo>
                      <a:pt x="1233" y="1020"/>
                    </a:lnTo>
                    <a:lnTo>
                      <a:pt x="1235" y="1023"/>
                    </a:lnTo>
                    <a:lnTo>
                      <a:pt x="1235" y="1026"/>
                    </a:lnTo>
                    <a:lnTo>
                      <a:pt x="1233" y="1027"/>
                    </a:lnTo>
                    <a:lnTo>
                      <a:pt x="1232" y="1029"/>
                    </a:lnTo>
                    <a:lnTo>
                      <a:pt x="1232" y="1029"/>
                    </a:lnTo>
                    <a:lnTo>
                      <a:pt x="1230" y="1029"/>
                    </a:lnTo>
                    <a:lnTo>
                      <a:pt x="1230" y="1030"/>
                    </a:lnTo>
                    <a:lnTo>
                      <a:pt x="1233" y="1031"/>
                    </a:lnTo>
                    <a:lnTo>
                      <a:pt x="1239" y="1034"/>
                    </a:lnTo>
                    <a:lnTo>
                      <a:pt x="1246" y="1034"/>
                    </a:lnTo>
                    <a:lnTo>
                      <a:pt x="1246" y="1034"/>
                    </a:lnTo>
                    <a:lnTo>
                      <a:pt x="1249" y="1034"/>
                    </a:lnTo>
                    <a:lnTo>
                      <a:pt x="1246" y="1036"/>
                    </a:lnTo>
                    <a:lnTo>
                      <a:pt x="1240" y="1037"/>
                    </a:lnTo>
                    <a:lnTo>
                      <a:pt x="1235" y="1037"/>
                    </a:lnTo>
                    <a:lnTo>
                      <a:pt x="1235" y="1037"/>
                    </a:lnTo>
                    <a:lnTo>
                      <a:pt x="1229" y="1037"/>
                    </a:lnTo>
                    <a:lnTo>
                      <a:pt x="1225" y="1039"/>
                    </a:lnTo>
                    <a:lnTo>
                      <a:pt x="1220" y="1043"/>
                    </a:lnTo>
                    <a:lnTo>
                      <a:pt x="1213" y="1049"/>
                    </a:lnTo>
                    <a:lnTo>
                      <a:pt x="1213" y="1049"/>
                    </a:lnTo>
                    <a:lnTo>
                      <a:pt x="1208" y="1054"/>
                    </a:lnTo>
                    <a:lnTo>
                      <a:pt x="1206" y="1058"/>
                    </a:lnTo>
                    <a:lnTo>
                      <a:pt x="1208" y="1063"/>
                    </a:lnTo>
                    <a:lnTo>
                      <a:pt x="1212" y="1066"/>
                    </a:lnTo>
                    <a:lnTo>
                      <a:pt x="1212" y="1066"/>
                    </a:lnTo>
                    <a:lnTo>
                      <a:pt x="1216" y="1068"/>
                    </a:lnTo>
                    <a:lnTo>
                      <a:pt x="1222" y="1068"/>
                    </a:lnTo>
                    <a:lnTo>
                      <a:pt x="1228" y="1066"/>
                    </a:lnTo>
                    <a:lnTo>
                      <a:pt x="1233" y="1061"/>
                    </a:lnTo>
                    <a:lnTo>
                      <a:pt x="1233" y="1061"/>
                    </a:lnTo>
                    <a:lnTo>
                      <a:pt x="1238" y="1057"/>
                    </a:lnTo>
                    <a:lnTo>
                      <a:pt x="1240" y="1053"/>
                    </a:lnTo>
                    <a:lnTo>
                      <a:pt x="1243" y="1050"/>
                    </a:lnTo>
                    <a:lnTo>
                      <a:pt x="1247" y="1049"/>
                    </a:lnTo>
                    <a:lnTo>
                      <a:pt x="1247" y="1049"/>
                    </a:lnTo>
                    <a:lnTo>
                      <a:pt x="1256" y="1047"/>
                    </a:lnTo>
                    <a:lnTo>
                      <a:pt x="1266" y="1046"/>
                    </a:lnTo>
                    <a:lnTo>
                      <a:pt x="1284" y="1039"/>
                    </a:lnTo>
                    <a:lnTo>
                      <a:pt x="1284" y="1039"/>
                    </a:lnTo>
                    <a:lnTo>
                      <a:pt x="1289" y="1037"/>
                    </a:lnTo>
                    <a:lnTo>
                      <a:pt x="1290" y="1036"/>
                    </a:lnTo>
                    <a:lnTo>
                      <a:pt x="1289" y="1033"/>
                    </a:lnTo>
                    <a:lnTo>
                      <a:pt x="1289" y="1030"/>
                    </a:lnTo>
                    <a:lnTo>
                      <a:pt x="1289" y="1030"/>
                    </a:lnTo>
                    <a:lnTo>
                      <a:pt x="1289" y="1030"/>
                    </a:lnTo>
                    <a:lnTo>
                      <a:pt x="1290" y="1029"/>
                    </a:lnTo>
                    <a:lnTo>
                      <a:pt x="1297" y="1027"/>
                    </a:lnTo>
                    <a:lnTo>
                      <a:pt x="1304" y="1026"/>
                    </a:lnTo>
                    <a:lnTo>
                      <a:pt x="1310" y="1023"/>
                    </a:lnTo>
                    <a:lnTo>
                      <a:pt x="1310" y="1023"/>
                    </a:lnTo>
                    <a:lnTo>
                      <a:pt x="1311" y="1020"/>
                    </a:lnTo>
                    <a:lnTo>
                      <a:pt x="1310" y="1017"/>
                    </a:lnTo>
                    <a:lnTo>
                      <a:pt x="1307" y="1017"/>
                    </a:lnTo>
                    <a:lnTo>
                      <a:pt x="1303" y="1016"/>
                    </a:lnTo>
                    <a:lnTo>
                      <a:pt x="1303" y="1016"/>
                    </a:lnTo>
                    <a:close/>
                    <a:moveTo>
                      <a:pt x="378" y="555"/>
                    </a:moveTo>
                    <a:lnTo>
                      <a:pt x="378" y="555"/>
                    </a:lnTo>
                    <a:lnTo>
                      <a:pt x="371" y="562"/>
                    </a:lnTo>
                    <a:lnTo>
                      <a:pt x="367" y="566"/>
                    </a:lnTo>
                    <a:lnTo>
                      <a:pt x="361" y="568"/>
                    </a:lnTo>
                    <a:lnTo>
                      <a:pt x="356" y="568"/>
                    </a:lnTo>
                    <a:lnTo>
                      <a:pt x="356" y="568"/>
                    </a:lnTo>
                    <a:lnTo>
                      <a:pt x="350" y="566"/>
                    </a:lnTo>
                    <a:lnTo>
                      <a:pt x="346" y="568"/>
                    </a:lnTo>
                    <a:lnTo>
                      <a:pt x="343" y="571"/>
                    </a:lnTo>
                    <a:lnTo>
                      <a:pt x="346" y="573"/>
                    </a:lnTo>
                    <a:lnTo>
                      <a:pt x="346" y="573"/>
                    </a:lnTo>
                    <a:lnTo>
                      <a:pt x="347" y="576"/>
                    </a:lnTo>
                    <a:lnTo>
                      <a:pt x="348" y="578"/>
                    </a:lnTo>
                    <a:lnTo>
                      <a:pt x="346" y="580"/>
                    </a:lnTo>
                    <a:lnTo>
                      <a:pt x="340" y="582"/>
                    </a:lnTo>
                    <a:lnTo>
                      <a:pt x="340" y="582"/>
                    </a:lnTo>
                    <a:lnTo>
                      <a:pt x="333" y="585"/>
                    </a:lnTo>
                    <a:lnTo>
                      <a:pt x="327" y="588"/>
                    </a:lnTo>
                    <a:lnTo>
                      <a:pt x="323" y="590"/>
                    </a:lnTo>
                    <a:lnTo>
                      <a:pt x="320" y="590"/>
                    </a:lnTo>
                    <a:lnTo>
                      <a:pt x="320" y="590"/>
                    </a:lnTo>
                    <a:lnTo>
                      <a:pt x="320" y="590"/>
                    </a:lnTo>
                    <a:lnTo>
                      <a:pt x="321" y="588"/>
                    </a:lnTo>
                    <a:lnTo>
                      <a:pt x="326" y="582"/>
                    </a:lnTo>
                    <a:lnTo>
                      <a:pt x="331" y="576"/>
                    </a:lnTo>
                    <a:lnTo>
                      <a:pt x="333" y="573"/>
                    </a:lnTo>
                    <a:lnTo>
                      <a:pt x="331" y="572"/>
                    </a:lnTo>
                    <a:lnTo>
                      <a:pt x="331" y="572"/>
                    </a:lnTo>
                    <a:lnTo>
                      <a:pt x="328" y="571"/>
                    </a:lnTo>
                    <a:lnTo>
                      <a:pt x="326" y="571"/>
                    </a:lnTo>
                    <a:lnTo>
                      <a:pt x="320" y="573"/>
                    </a:lnTo>
                    <a:lnTo>
                      <a:pt x="314" y="579"/>
                    </a:lnTo>
                    <a:lnTo>
                      <a:pt x="313" y="583"/>
                    </a:lnTo>
                    <a:lnTo>
                      <a:pt x="313" y="583"/>
                    </a:lnTo>
                    <a:lnTo>
                      <a:pt x="311" y="586"/>
                    </a:lnTo>
                    <a:lnTo>
                      <a:pt x="307" y="588"/>
                    </a:lnTo>
                    <a:lnTo>
                      <a:pt x="299" y="588"/>
                    </a:lnTo>
                    <a:lnTo>
                      <a:pt x="299" y="588"/>
                    </a:lnTo>
                    <a:lnTo>
                      <a:pt x="294" y="586"/>
                    </a:lnTo>
                    <a:lnTo>
                      <a:pt x="290" y="585"/>
                    </a:lnTo>
                    <a:lnTo>
                      <a:pt x="289" y="583"/>
                    </a:lnTo>
                    <a:lnTo>
                      <a:pt x="292" y="582"/>
                    </a:lnTo>
                    <a:lnTo>
                      <a:pt x="292" y="582"/>
                    </a:lnTo>
                    <a:lnTo>
                      <a:pt x="293" y="580"/>
                    </a:lnTo>
                    <a:lnTo>
                      <a:pt x="294" y="578"/>
                    </a:lnTo>
                    <a:lnTo>
                      <a:pt x="296" y="575"/>
                    </a:lnTo>
                    <a:lnTo>
                      <a:pt x="300" y="572"/>
                    </a:lnTo>
                    <a:lnTo>
                      <a:pt x="300" y="572"/>
                    </a:lnTo>
                    <a:lnTo>
                      <a:pt x="301" y="572"/>
                    </a:lnTo>
                    <a:lnTo>
                      <a:pt x="303" y="571"/>
                    </a:lnTo>
                    <a:lnTo>
                      <a:pt x="303" y="568"/>
                    </a:lnTo>
                    <a:lnTo>
                      <a:pt x="301" y="565"/>
                    </a:lnTo>
                    <a:lnTo>
                      <a:pt x="301" y="562"/>
                    </a:lnTo>
                    <a:lnTo>
                      <a:pt x="301" y="562"/>
                    </a:lnTo>
                    <a:lnTo>
                      <a:pt x="303" y="562"/>
                    </a:lnTo>
                    <a:lnTo>
                      <a:pt x="304" y="562"/>
                    </a:lnTo>
                    <a:lnTo>
                      <a:pt x="310" y="562"/>
                    </a:lnTo>
                    <a:lnTo>
                      <a:pt x="316" y="562"/>
                    </a:lnTo>
                    <a:lnTo>
                      <a:pt x="317" y="561"/>
                    </a:lnTo>
                    <a:lnTo>
                      <a:pt x="319" y="559"/>
                    </a:lnTo>
                    <a:lnTo>
                      <a:pt x="319" y="559"/>
                    </a:lnTo>
                    <a:lnTo>
                      <a:pt x="319" y="558"/>
                    </a:lnTo>
                    <a:lnTo>
                      <a:pt x="316" y="556"/>
                    </a:lnTo>
                    <a:lnTo>
                      <a:pt x="310" y="552"/>
                    </a:lnTo>
                    <a:lnTo>
                      <a:pt x="304" y="552"/>
                    </a:lnTo>
                    <a:lnTo>
                      <a:pt x="299" y="552"/>
                    </a:lnTo>
                    <a:lnTo>
                      <a:pt x="299" y="552"/>
                    </a:lnTo>
                    <a:lnTo>
                      <a:pt x="293" y="556"/>
                    </a:lnTo>
                    <a:lnTo>
                      <a:pt x="286" y="559"/>
                    </a:lnTo>
                    <a:lnTo>
                      <a:pt x="277" y="561"/>
                    </a:lnTo>
                    <a:lnTo>
                      <a:pt x="273" y="559"/>
                    </a:lnTo>
                    <a:lnTo>
                      <a:pt x="267" y="558"/>
                    </a:lnTo>
                    <a:lnTo>
                      <a:pt x="267" y="558"/>
                    </a:lnTo>
                    <a:lnTo>
                      <a:pt x="267" y="558"/>
                    </a:lnTo>
                    <a:lnTo>
                      <a:pt x="267" y="556"/>
                    </a:lnTo>
                    <a:lnTo>
                      <a:pt x="272" y="556"/>
                    </a:lnTo>
                    <a:lnTo>
                      <a:pt x="284" y="553"/>
                    </a:lnTo>
                    <a:lnTo>
                      <a:pt x="300" y="549"/>
                    </a:lnTo>
                    <a:lnTo>
                      <a:pt x="306" y="548"/>
                    </a:lnTo>
                    <a:lnTo>
                      <a:pt x="310" y="545"/>
                    </a:lnTo>
                    <a:lnTo>
                      <a:pt x="310" y="545"/>
                    </a:lnTo>
                    <a:lnTo>
                      <a:pt x="313" y="543"/>
                    </a:lnTo>
                    <a:lnTo>
                      <a:pt x="319" y="541"/>
                    </a:lnTo>
                    <a:lnTo>
                      <a:pt x="331" y="536"/>
                    </a:lnTo>
                    <a:lnTo>
                      <a:pt x="343" y="535"/>
                    </a:lnTo>
                    <a:lnTo>
                      <a:pt x="347" y="536"/>
                    </a:lnTo>
                    <a:lnTo>
                      <a:pt x="350" y="538"/>
                    </a:lnTo>
                    <a:lnTo>
                      <a:pt x="350" y="538"/>
                    </a:lnTo>
                    <a:lnTo>
                      <a:pt x="350" y="539"/>
                    </a:lnTo>
                    <a:lnTo>
                      <a:pt x="348" y="542"/>
                    </a:lnTo>
                    <a:lnTo>
                      <a:pt x="343" y="545"/>
                    </a:lnTo>
                    <a:lnTo>
                      <a:pt x="340" y="548"/>
                    </a:lnTo>
                    <a:lnTo>
                      <a:pt x="340" y="551"/>
                    </a:lnTo>
                    <a:lnTo>
                      <a:pt x="341" y="552"/>
                    </a:lnTo>
                    <a:lnTo>
                      <a:pt x="341" y="552"/>
                    </a:lnTo>
                    <a:lnTo>
                      <a:pt x="350" y="555"/>
                    </a:lnTo>
                    <a:lnTo>
                      <a:pt x="357" y="553"/>
                    </a:lnTo>
                    <a:lnTo>
                      <a:pt x="364" y="552"/>
                    </a:lnTo>
                    <a:lnTo>
                      <a:pt x="368" y="548"/>
                    </a:lnTo>
                    <a:lnTo>
                      <a:pt x="368" y="548"/>
                    </a:lnTo>
                    <a:lnTo>
                      <a:pt x="371" y="546"/>
                    </a:lnTo>
                    <a:lnTo>
                      <a:pt x="373" y="545"/>
                    </a:lnTo>
                    <a:lnTo>
                      <a:pt x="378" y="545"/>
                    </a:lnTo>
                    <a:lnTo>
                      <a:pt x="380" y="546"/>
                    </a:lnTo>
                    <a:lnTo>
                      <a:pt x="381" y="549"/>
                    </a:lnTo>
                    <a:lnTo>
                      <a:pt x="380" y="552"/>
                    </a:lnTo>
                    <a:lnTo>
                      <a:pt x="378" y="555"/>
                    </a:lnTo>
                    <a:lnTo>
                      <a:pt x="378" y="555"/>
                    </a:lnTo>
                    <a:close/>
                    <a:moveTo>
                      <a:pt x="468" y="670"/>
                    </a:moveTo>
                    <a:lnTo>
                      <a:pt x="468" y="670"/>
                    </a:lnTo>
                    <a:lnTo>
                      <a:pt x="461" y="674"/>
                    </a:lnTo>
                    <a:lnTo>
                      <a:pt x="458" y="677"/>
                    </a:lnTo>
                    <a:lnTo>
                      <a:pt x="448" y="679"/>
                    </a:lnTo>
                    <a:lnTo>
                      <a:pt x="448" y="679"/>
                    </a:lnTo>
                    <a:lnTo>
                      <a:pt x="445" y="680"/>
                    </a:lnTo>
                    <a:lnTo>
                      <a:pt x="444" y="681"/>
                    </a:lnTo>
                    <a:lnTo>
                      <a:pt x="442" y="684"/>
                    </a:lnTo>
                    <a:lnTo>
                      <a:pt x="439" y="689"/>
                    </a:lnTo>
                    <a:lnTo>
                      <a:pt x="438" y="690"/>
                    </a:lnTo>
                    <a:lnTo>
                      <a:pt x="434" y="690"/>
                    </a:lnTo>
                    <a:lnTo>
                      <a:pt x="434" y="690"/>
                    </a:lnTo>
                    <a:lnTo>
                      <a:pt x="424" y="691"/>
                    </a:lnTo>
                    <a:lnTo>
                      <a:pt x="410" y="691"/>
                    </a:lnTo>
                    <a:lnTo>
                      <a:pt x="398" y="690"/>
                    </a:lnTo>
                    <a:lnTo>
                      <a:pt x="394" y="689"/>
                    </a:lnTo>
                    <a:lnTo>
                      <a:pt x="391" y="686"/>
                    </a:lnTo>
                    <a:lnTo>
                      <a:pt x="391" y="686"/>
                    </a:lnTo>
                    <a:lnTo>
                      <a:pt x="391" y="686"/>
                    </a:lnTo>
                    <a:lnTo>
                      <a:pt x="393" y="684"/>
                    </a:lnTo>
                    <a:lnTo>
                      <a:pt x="398" y="684"/>
                    </a:lnTo>
                    <a:lnTo>
                      <a:pt x="404" y="683"/>
                    </a:lnTo>
                    <a:lnTo>
                      <a:pt x="407" y="683"/>
                    </a:lnTo>
                    <a:lnTo>
                      <a:pt x="407" y="680"/>
                    </a:lnTo>
                    <a:lnTo>
                      <a:pt x="407" y="680"/>
                    </a:lnTo>
                    <a:lnTo>
                      <a:pt x="408" y="677"/>
                    </a:lnTo>
                    <a:lnTo>
                      <a:pt x="411" y="673"/>
                    </a:lnTo>
                    <a:lnTo>
                      <a:pt x="415" y="670"/>
                    </a:lnTo>
                    <a:lnTo>
                      <a:pt x="420" y="669"/>
                    </a:lnTo>
                    <a:lnTo>
                      <a:pt x="420" y="669"/>
                    </a:lnTo>
                    <a:lnTo>
                      <a:pt x="422" y="667"/>
                    </a:lnTo>
                    <a:lnTo>
                      <a:pt x="424" y="667"/>
                    </a:lnTo>
                    <a:lnTo>
                      <a:pt x="424" y="664"/>
                    </a:lnTo>
                    <a:lnTo>
                      <a:pt x="424" y="663"/>
                    </a:lnTo>
                    <a:lnTo>
                      <a:pt x="421" y="657"/>
                    </a:lnTo>
                    <a:lnTo>
                      <a:pt x="415" y="653"/>
                    </a:lnTo>
                    <a:lnTo>
                      <a:pt x="415" y="653"/>
                    </a:lnTo>
                    <a:lnTo>
                      <a:pt x="412" y="652"/>
                    </a:lnTo>
                    <a:lnTo>
                      <a:pt x="412" y="650"/>
                    </a:lnTo>
                    <a:lnTo>
                      <a:pt x="415" y="649"/>
                    </a:lnTo>
                    <a:lnTo>
                      <a:pt x="420" y="647"/>
                    </a:lnTo>
                    <a:lnTo>
                      <a:pt x="425" y="647"/>
                    </a:lnTo>
                    <a:lnTo>
                      <a:pt x="430" y="649"/>
                    </a:lnTo>
                    <a:lnTo>
                      <a:pt x="435" y="650"/>
                    </a:lnTo>
                    <a:lnTo>
                      <a:pt x="438" y="653"/>
                    </a:lnTo>
                    <a:lnTo>
                      <a:pt x="438" y="653"/>
                    </a:lnTo>
                    <a:lnTo>
                      <a:pt x="444" y="659"/>
                    </a:lnTo>
                    <a:lnTo>
                      <a:pt x="451" y="663"/>
                    </a:lnTo>
                    <a:lnTo>
                      <a:pt x="457" y="664"/>
                    </a:lnTo>
                    <a:lnTo>
                      <a:pt x="459" y="664"/>
                    </a:lnTo>
                    <a:lnTo>
                      <a:pt x="462" y="662"/>
                    </a:lnTo>
                    <a:lnTo>
                      <a:pt x="462" y="662"/>
                    </a:lnTo>
                    <a:lnTo>
                      <a:pt x="472" y="656"/>
                    </a:lnTo>
                    <a:lnTo>
                      <a:pt x="486" y="649"/>
                    </a:lnTo>
                    <a:lnTo>
                      <a:pt x="501" y="644"/>
                    </a:lnTo>
                    <a:lnTo>
                      <a:pt x="505" y="644"/>
                    </a:lnTo>
                    <a:lnTo>
                      <a:pt x="506" y="644"/>
                    </a:lnTo>
                    <a:lnTo>
                      <a:pt x="506" y="646"/>
                    </a:lnTo>
                    <a:lnTo>
                      <a:pt x="506" y="646"/>
                    </a:lnTo>
                    <a:lnTo>
                      <a:pt x="505" y="649"/>
                    </a:lnTo>
                    <a:lnTo>
                      <a:pt x="502" y="652"/>
                    </a:lnTo>
                    <a:lnTo>
                      <a:pt x="491" y="657"/>
                    </a:lnTo>
                    <a:lnTo>
                      <a:pt x="478" y="663"/>
                    </a:lnTo>
                    <a:lnTo>
                      <a:pt x="472" y="666"/>
                    </a:lnTo>
                    <a:lnTo>
                      <a:pt x="468" y="670"/>
                    </a:lnTo>
                    <a:lnTo>
                      <a:pt x="468" y="670"/>
                    </a:lnTo>
                    <a:close/>
                    <a:moveTo>
                      <a:pt x="715" y="928"/>
                    </a:moveTo>
                    <a:lnTo>
                      <a:pt x="715" y="928"/>
                    </a:lnTo>
                    <a:lnTo>
                      <a:pt x="713" y="928"/>
                    </a:lnTo>
                    <a:lnTo>
                      <a:pt x="711" y="925"/>
                    </a:lnTo>
                    <a:lnTo>
                      <a:pt x="711" y="918"/>
                    </a:lnTo>
                    <a:lnTo>
                      <a:pt x="710" y="912"/>
                    </a:lnTo>
                    <a:lnTo>
                      <a:pt x="708" y="908"/>
                    </a:lnTo>
                    <a:lnTo>
                      <a:pt x="705" y="903"/>
                    </a:lnTo>
                    <a:lnTo>
                      <a:pt x="701" y="899"/>
                    </a:lnTo>
                    <a:lnTo>
                      <a:pt x="701" y="899"/>
                    </a:lnTo>
                    <a:lnTo>
                      <a:pt x="696" y="896"/>
                    </a:lnTo>
                    <a:lnTo>
                      <a:pt x="691" y="892"/>
                    </a:lnTo>
                    <a:lnTo>
                      <a:pt x="683" y="882"/>
                    </a:lnTo>
                    <a:lnTo>
                      <a:pt x="678" y="872"/>
                    </a:lnTo>
                    <a:lnTo>
                      <a:pt x="677" y="864"/>
                    </a:lnTo>
                    <a:lnTo>
                      <a:pt x="677" y="864"/>
                    </a:lnTo>
                    <a:lnTo>
                      <a:pt x="678" y="861"/>
                    </a:lnTo>
                    <a:lnTo>
                      <a:pt x="680" y="858"/>
                    </a:lnTo>
                    <a:lnTo>
                      <a:pt x="683" y="856"/>
                    </a:lnTo>
                    <a:lnTo>
                      <a:pt x="686" y="855"/>
                    </a:lnTo>
                    <a:lnTo>
                      <a:pt x="688" y="854"/>
                    </a:lnTo>
                    <a:lnTo>
                      <a:pt x="691" y="855"/>
                    </a:lnTo>
                    <a:lnTo>
                      <a:pt x="696" y="855"/>
                    </a:lnTo>
                    <a:lnTo>
                      <a:pt x="697" y="858"/>
                    </a:lnTo>
                    <a:lnTo>
                      <a:pt x="697" y="858"/>
                    </a:lnTo>
                    <a:lnTo>
                      <a:pt x="703" y="866"/>
                    </a:lnTo>
                    <a:lnTo>
                      <a:pt x="707" y="879"/>
                    </a:lnTo>
                    <a:lnTo>
                      <a:pt x="713" y="893"/>
                    </a:lnTo>
                    <a:lnTo>
                      <a:pt x="717" y="903"/>
                    </a:lnTo>
                    <a:lnTo>
                      <a:pt x="717" y="903"/>
                    </a:lnTo>
                    <a:lnTo>
                      <a:pt x="720" y="911"/>
                    </a:lnTo>
                    <a:lnTo>
                      <a:pt x="720" y="919"/>
                    </a:lnTo>
                    <a:lnTo>
                      <a:pt x="718" y="925"/>
                    </a:lnTo>
                    <a:lnTo>
                      <a:pt x="717" y="928"/>
                    </a:lnTo>
                    <a:lnTo>
                      <a:pt x="715" y="928"/>
                    </a:lnTo>
                    <a:lnTo>
                      <a:pt x="715" y="928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49" name="United States">
                <a:extLst>
                  <a:ext uri="{FF2B5EF4-FFF2-40B4-BE49-F238E27FC236}">
                    <a16:creationId xmlns:a16="http://schemas.microsoft.com/office/drawing/2014/main" id="{2DACF306-0287-762A-B8EB-EDAC3F273F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0223" y="2223244"/>
                <a:ext cx="2410568" cy="1633681"/>
              </a:xfrm>
              <a:custGeom>
                <a:avLst/>
                <a:gdLst/>
                <a:ahLst/>
                <a:cxnLst>
                  <a:cxn ang="0">
                    <a:pos x="505" y="322"/>
                  </a:cxn>
                  <a:cxn ang="0">
                    <a:pos x="425" y="47"/>
                  </a:cxn>
                  <a:cxn ang="0">
                    <a:pos x="249" y="24"/>
                  </a:cxn>
                  <a:cxn ang="0">
                    <a:pos x="196" y="7"/>
                  </a:cxn>
                  <a:cxn ang="0">
                    <a:pos x="121" y="27"/>
                  </a:cxn>
                  <a:cxn ang="0">
                    <a:pos x="33" y="91"/>
                  </a:cxn>
                  <a:cxn ang="0">
                    <a:pos x="117" y="142"/>
                  </a:cxn>
                  <a:cxn ang="0">
                    <a:pos x="31" y="150"/>
                  </a:cxn>
                  <a:cxn ang="0">
                    <a:pos x="67" y="191"/>
                  </a:cxn>
                  <a:cxn ang="0">
                    <a:pos x="88" y="216"/>
                  </a:cxn>
                  <a:cxn ang="0">
                    <a:pos x="33" y="258"/>
                  </a:cxn>
                  <a:cxn ang="0">
                    <a:pos x="85" y="306"/>
                  </a:cxn>
                  <a:cxn ang="0">
                    <a:pos x="134" y="335"/>
                  </a:cxn>
                  <a:cxn ang="0">
                    <a:pos x="161" y="366"/>
                  </a:cxn>
                  <a:cxn ang="0">
                    <a:pos x="98" y="413"/>
                  </a:cxn>
                  <a:cxn ang="0">
                    <a:pos x="189" y="366"/>
                  </a:cxn>
                  <a:cxn ang="0">
                    <a:pos x="225" y="317"/>
                  </a:cxn>
                  <a:cxn ang="0">
                    <a:pos x="292" y="279"/>
                  </a:cxn>
                  <a:cxn ang="0">
                    <a:pos x="265" y="323"/>
                  </a:cxn>
                  <a:cxn ang="0">
                    <a:pos x="327" y="279"/>
                  </a:cxn>
                  <a:cxn ang="0">
                    <a:pos x="358" y="295"/>
                  </a:cxn>
                  <a:cxn ang="0">
                    <a:pos x="461" y="307"/>
                  </a:cxn>
                  <a:cxn ang="0">
                    <a:pos x="526" y="346"/>
                  </a:cxn>
                  <a:cxn ang="0">
                    <a:pos x="511" y="357"/>
                  </a:cxn>
                  <a:cxn ang="0">
                    <a:pos x="538" y="369"/>
                  </a:cxn>
                  <a:cxn ang="0">
                    <a:pos x="542" y="381"/>
                  </a:cxn>
                  <a:cxn ang="0">
                    <a:pos x="565" y="384"/>
                  </a:cxn>
                  <a:cxn ang="0">
                    <a:pos x="562" y="426"/>
                  </a:cxn>
                  <a:cxn ang="0">
                    <a:pos x="600" y="426"/>
                  </a:cxn>
                  <a:cxn ang="0">
                    <a:pos x="10" y="455"/>
                  </a:cxn>
                  <a:cxn ang="0">
                    <a:pos x="226" y="359"/>
                  </a:cxn>
                  <a:cxn ang="0">
                    <a:pos x="243" y="353"/>
                  </a:cxn>
                  <a:cxn ang="0">
                    <a:pos x="36" y="299"/>
                  </a:cxn>
                  <a:cxn ang="0">
                    <a:pos x="186" y="1070"/>
                  </a:cxn>
                  <a:cxn ang="0">
                    <a:pos x="156" y="1063"/>
                  </a:cxn>
                  <a:cxn ang="0">
                    <a:pos x="1569" y="616"/>
                  </a:cxn>
                  <a:cxn ang="0">
                    <a:pos x="1393" y="697"/>
                  </a:cxn>
                  <a:cxn ang="0">
                    <a:pos x="1374" y="653"/>
                  </a:cxn>
                  <a:cxn ang="0">
                    <a:pos x="1323" y="630"/>
                  </a:cxn>
                  <a:cxn ang="0">
                    <a:pos x="1293" y="632"/>
                  </a:cxn>
                  <a:cxn ang="0">
                    <a:pos x="1302" y="602"/>
                  </a:cxn>
                  <a:cxn ang="0">
                    <a:pos x="1225" y="588"/>
                  </a:cxn>
                  <a:cxn ang="0">
                    <a:pos x="1196" y="558"/>
                  </a:cxn>
                  <a:cxn ang="0">
                    <a:pos x="727" y="582"/>
                  </a:cxn>
                  <a:cxn ang="0">
                    <a:pos x="718" y="603"/>
                  </a:cxn>
                  <a:cxn ang="0">
                    <a:pos x="714" y="743"/>
                  </a:cxn>
                  <a:cxn ang="0">
                    <a:pos x="768" y="830"/>
                  </a:cxn>
                  <a:cxn ang="0">
                    <a:pos x="1001" y="888"/>
                  </a:cxn>
                  <a:cxn ang="0">
                    <a:pos x="1102" y="952"/>
                  </a:cxn>
                  <a:cxn ang="0">
                    <a:pos x="1138" y="950"/>
                  </a:cxn>
                  <a:cxn ang="0">
                    <a:pos x="1202" y="913"/>
                  </a:cxn>
                  <a:cxn ang="0">
                    <a:pos x="1265" y="926"/>
                  </a:cxn>
                  <a:cxn ang="0">
                    <a:pos x="1296" y="908"/>
                  </a:cxn>
                  <a:cxn ang="0">
                    <a:pos x="1374" y="955"/>
                  </a:cxn>
                  <a:cxn ang="0">
                    <a:pos x="1407" y="945"/>
                  </a:cxn>
                  <a:cxn ang="0">
                    <a:pos x="1450" y="840"/>
                  </a:cxn>
                  <a:cxn ang="0">
                    <a:pos x="1482" y="798"/>
                  </a:cxn>
                  <a:cxn ang="0">
                    <a:pos x="1478" y="736"/>
                  </a:cxn>
                  <a:cxn ang="0">
                    <a:pos x="1492" y="741"/>
                  </a:cxn>
                  <a:cxn ang="0">
                    <a:pos x="1521" y="709"/>
                  </a:cxn>
                  <a:cxn ang="0">
                    <a:pos x="1568" y="665"/>
                  </a:cxn>
                  <a:cxn ang="0">
                    <a:pos x="1616" y="586"/>
                  </a:cxn>
                </a:cxnLst>
                <a:rect l="0" t="0" r="r" b="b"/>
                <a:pathLst>
                  <a:path w="1629" h="1104">
                    <a:moveTo>
                      <a:pt x="610" y="406"/>
                    </a:moveTo>
                    <a:lnTo>
                      <a:pt x="610" y="406"/>
                    </a:lnTo>
                    <a:lnTo>
                      <a:pt x="612" y="401"/>
                    </a:lnTo>
                    <a:lnTo>
                      <a:pt x="610" y="397"/>
                    </a:lnTo>
                    <a:lnTo>
                      <a:pt x="606" y="393"/>
                    </a:lnTo>
                    <a:lnTo>
                      <a:pt x="596" y="389"/>
                    </a:lnTo>
                    <a:lnTo>
                      <a:pt x="596" y="389"/>
                    </a:lnTo>
                    <a:lnTo>
                      <a:pt x="585" y="383"/>
                    </a:lnTo>
                    <a:lnTo>
                      <a:pt x="579" y="377"/>
                    </a:lnTo>
                    <a:lnTo>
                      <a:pt x="575" y="369"/>
                    </a:lnTo>
                    <a:lnTo>
                      <a:pt x="568" y="354"/>
                    </a:lnTo>
                    <a:lnTo>
                      <a:pt x="568" y="354"/>
                    </a:lnTo>
                    <a:lnTo>
                      <a:pt x="562" y="347"/>
                    </a:lnTo>
                    <a:lnTo>
                      <a:pt x="556" y="340"/>
                    </a:lnTo>
                    <a:lnTo>
                      <a:pt x="545" y="330"/>
                    </a:lnTo>
                    <a:lnTo>
                      <a:pt x="536" y="322"/>
                    </a:lnTo>
                    <a:lnTo>
                      <a:pt x="533" y="319"/>
                    </a:lnTo>
                    <a:lnTo>
                      <a:pt x="532" y="316"/>
                    </a:lnTo>
                    <a:lnTo>
                      <a:pt x="532" y="316"/>
                    </a:lnTo>
                    <a:lnTo>
                      <a:pt x="532" y="313"/>
                    </a:lnTo>
                    <a:lnTo>
                      <a:pt x="529" y="310"/>
                    </a:lnTo>
                    <a:lnTo>
                      <a:pt x="522" y="309"/>
                    </a:lnTo>
                    <a:lnTo>
                      <a:pt x="514" y="310"/>
                    </a:lnTo>
                    <a:lnTo>
                      <a:pt x="512" y="312"/>
                    </a:lnTo>
                    <a:lnTo>
                      <a:pt x="511" y="315"/>
                    </a:lnTo>
                    <a:lnTo>
                      <a:pt x="511" y="315"/>
                    </a:lnTo>
                    <a:lnTo>
                      <a:pt x="511" y="316"/>
                    </a:lnTo>
                    <a:lnTo>
                      <a:pt x="509" y="319"/>
                    </a:lnTo>
                    <a:lnTo>
                      <a:pt x="505" y="322"/>
                    </a:lnTo>
                    <a:lnTo>
                      <a:pt x="496" y="326"/>
                    </a:lnTo>
                    <a:lnTo>
                      <a:pt x="496" y="326"/>
                    </a:lnTo>
                    <a:lnTo>
                      <a:pt x="492" y="327"/>
                    </a:lnTo>
                    <a:lnTo>
                      <a:pt x="489" y="326"/>
                    </a:lnTo>
                    <a:lnTo>
                      <a:pt x="484" y="317"/>
                    </a:lnTo>
                    <a:lnTo>
                      <a:pt x="484" y="317"/>
                    </a:lnTo>
                    <a:lnTo>
                      <a:pt x="479" y="313"/>
                    </a:lnTo>
                    <a:lnTo>
                      <a:pt x="474" y="309"/>
                    </a:lnTo>
                    <a:lnTo>
                      <a:pt x="469" y="305"/>
                    </a:lnTo>
                    <a:lnTo>
                      <a:pt x="468" y="302"/>
                    </a:lnTo>
                    <a:lnTo>
                      <a:pt x="468" y="302"/>
                    </a:lnTo>
                    <a:lnTo>
                      <a:pt x="467" y="299"/>
                    </a:lnTo>
                    <a:lnTo>
                      <a:pt x="465" y="295"/>
                    </a:lnTo>
                    <a:lnTo>
                      <a:pt x="461" y="293"/>
                    </a:lnTo>
                    <a:lnTo>
                      <a:pt x="459" y="293"/>
                    </a:lnTo>
                    <a:lnTo>
                      <a:pt x="457" y="293"/>
                    </a:lnTo>
                    <a:lnTo>
                      <a:pt x="457" y="293"/>
                    </a:lnTo>
                    <a:lnTo>
                      <a:pt x="451" y="295"/>
                    </a:lnTo>
                    <a:lnTo>
                      <a:pt x="447" y="296"/>
                    </a:lnTo>
                    <a:lnTo>
                      <a:pt x="444" y="295"/>
                    </a:lnTo>
                    <a:lnTo>
                      <a:pt x="442" y="296"/>
                    </a:lnTo>
                    <a:lnTo>
                      <a:pt x="442" y="296"/>
                    </a:lnTo>
                    <a:lnTo>
                      <a:pt x="440" y="298"/>
                    </a:lnTo>
                    <a:lnTo>
                      <a:pt x="437" y="296"/>
                    </a:lnTo>
                    <a:lnTo>
                      <a:pt x="434" y="295"/>
                    </a:lnTo>
                    <a:lnTo>
                      <a:pt x="434" y="49"/>
                    </a:lnTo>
                    <a:lnTo>
                      <a:pt x="434" y="49"/>
                    </a:lnTo>
                    <a:lnTo>
                      <a:pt x="425" y="47"/>
                    </a:lnTo>
                    <a:lnTo>
                      <a:pt x="425" y="47"/>
                    </a:lnTo>
                    <a:lnTo>
                      <a:pt x="408" y="40"/>
                    </a:lnTo>
                    <a:lnTo>
                      <a:pt x="400" y="39"/>
                    </a:lnTo>
                    <a:lnTo>
                      <a:pt x="393" y="39"/>
                    </a:lnTo>
                    <a:lnTo>
                      <a:pt x="393" y="39"/>
                    </a:lnTo>
                    <a:lnTo>
                      <a:pt x="376" y="40"/>
                    </a:lnTo>
                    <a:lnTo>
                      <a:pt x="368" y="40"/>
                    </a:lnTo>
                    <a:lnTo>
                      <a:pt x="361" y="39"/>
                    </a:lnTo>
                    <a:lnTo>
                      <a:pt x="361" y="39"/>
                    </a:lnTo>
                    <a:lnTo>
                      <a:pt x="357" y="37"/>
                    </a:lnTo>
                    <a:lnTo>
                      <a:pt x="351" y="36"/>
                    </a:lnTo>
                    <a:lnTo>
                      <a:pt x="344" y="34"/>
                    </a:lnTo>
                    <a:lnTo>
                      <a:pt x="337" y="36"/>
                    </a:lnTo>
                    <a:lnTo>
                      <a:pt x="337" y="36"/>
                    </a:lnTo>
                    <a:lnTo>
                      <a:pt x="329" y="36"/>
                    </a:lnTo>
                    <a:lnTo>
                      <a:pt x="320" y="33"/>
                    </a:lnTo>
                    <a:lnTo>
                      <a:pt x="313" y="29"/>
                    </a:lnTo>
                    <a:lnTo>
                      <a:pt x="303" y="26"/>
                    </a:lnTo>
                    <a:lnTo>
                      <a:pt x="303" y="26"/>
                    </a:lnTo>
                    <a:lnTo>
                      <a:pt x="290" y="24"/>
                    </a:lnTo>
                    <a:lnTo>
                      <a:pt x="279" y="26"/>
                    </a:lnTo>
                    <a:lnTo>
                      <a:pt x="267" y="27"/>
                    </a:lnTo>
                    <a:lnTo>
                      <a:pt x="262" y="29"/>
                    </a:lnTo>
                    <a:lnTo>
                      <a:pt x="262" y="29"/>
                    </a:lnTo>
                    <a:lnTo>
                      <a:pt x="259" y="29"/>
                    </a:lnTo>
                    <a:lnTo>
                      <a:pt x="257" y="27"/>
                    </a:lnTo>
                    <a:lnTo>
                      <a:pt x="255" y="24"/>
                    </a:lnTo>
                    <a:lnTo>
                      <a:pt x="252" y="24"/>
                    </a:lnTo>
                    <a:lnTo>
                      <a:pt x="252" y="24"/>
                    </a:lnTo>
                    <a:lnTo>
                      <a:pt x="249" y="24"/>
                    </a:lnTo>
                    <a:lnTo>
                      <a:pt x="248" y="22"/>
                    </a:lnTo>
                    <a:lnTo>
                      <a:pt x="248" y="19"/>
                    </a:lnTo>
                    <a:lnTo>
                      <a:pt x="246" y="16"/>
                    </a:lnTo>
                    <a:lnTo>
                      <a:pt x="246" y="16"/>
                    </a:lnTo>
                    <a:lnTo>
                      <a:pt x="245" y="14"/>
                    </a:lnTo>
                    <a:lnTo>
                      <a:pt x="242" y="13"/>
                    </a:lnTo>
                    <a:lnTo>
                      <a:pt x="233" y="13"/>
                    </a:lnTo>
                    <a:lnTo>
                      <a:pt x="219" y="16"/>
                    </a:lnTo>
                    <a:lnTo>
                      <a:pt x="219" y="16"/>
                    </a:lnTo>
                    <a:lnTo>
                      <a:pt x="215" y="16"/>
                    </a:lnTo>
                    <a:lnTo>
                      <a:pt x="212" y="14"/>
                    </a:lnTo>
                    <a:lnTo>
                      <a:pt x="211" y="12"/>
                    </a:lnTo>
                    <a:lnTo>
                      <a:pt x="211" y="10"/>
                    </a:lnTo>
                    <a:lnTo>
                      <a:pt x="211" y="10"/>
                    </a:lnTo>
                    <a:lnTo>
                      <a:pt x="211" y="9"/>
                    </a:lnTo>
                    <a:lnTo>
                      <a:pt x="208" y="7"/>
                    </a:lnTo>
                    <a:lnTo>
                      <a:pt x="205" y="9"/>
                    </a:lnTo>
                    <a:lnTo>
                      <a:pt x="202" y="12"/>
                    </a:lnTo>
                    <a:lnTo>
                      <a:pt x="202" y="12"/>
                    </a:lnTo>
                    <a:lnTo>
                      <a:pt x="201" y="14"/>
                    </a:lnTo>
                    <a:lnTo>
                      <a:pt x="196" y="16"/>
                    </a:lnTo>
                    <a:lnTo>
                      <a:pt x="193" y="16"/>
                    </a:lnTo>
                    <a:lnTo>
                      <a:pt x="191" y="14"/>
                    </a:lnTo>
                    <a:lnTo>
                      <a:pt x="191" y="14"/>
                    </a:lnTo>
                    <a:lnTo>
                      <a:pt x="189" y="13"/>
                    </a:lnTo>
                    <a:lnTo>
                      <a:pt x="189" y="12"/>
                    </a:lnTo>
                    <a:lnTo>
                      <a:pt x="192" y="10"/>
                    </a:lnTo>
                    <a:lnTo>
                      <a:pt x="195" y="9"/>
                    </a:lnTo>
                    <a:lnTo>
                      <a:pt x="196" y="7"/>
                    </a:lnTo>
                    <a:lnTo>
                      <a:pt x="196" y="7"/>
                    </a:lnTo>
                    <a:lnTo>
                      <a:pt x="195" y="4"/>
                    </a:lnTo>
                    <a:lnTo>
                      <a:pt x="192" y="3"/>
                    </a:lnTo>
                    <a:lnTo>
                      <a:pt x="184" y="0"/>
                    </a:lnTo>
                    <a:lnTo>
                      <a:pt x="184" y="0"/>
                    </a:lnTo>
                    <a:lnTo>
                      <a:pt x="181" y="2"/>
                    </a:lnTo>
                    <a:lnTo>
                      <a:pt x="176" y="3"/>
                    </a:lnTo>
                    <a:lnTo>
                      <a:pt x="166" y="12"/>
                    </a:lnTo>
                    <a:lnTo>
                      <a:pt x="166" y="12"/>
                    </a:lnTo>
                    <a:lnTo>
                      <a:pt x="161" y="14"/>
                    </a:lnTo>
                    <a:lnTo>
                      <a:pt x="154" y="17"/>
                    </a:lnTo>
                    <a:lnTo>
                      <a:pt x="148" y="17"/>
                    </a:lnTo>
                    <a:lnTo>
                      <a:pt x="142" y="16"/>
                    </a:lnTo>
                    <a:lnTo>
                      <a:pt x="142" y="16"/>
                    </a:lnTo>
                    <a:lnTo>
                      <a:pt x="137" y="16"/>
                    </a:lnTo>
                    <a:lnTo>
                      <a:pt x="131" y="17"/>
                    </a:lnTo>
                    <a:lnTo>
                      <a:pt x="128" y="19"/>
                    </a:lnTo>
                    <a:lnTo>
                      <a:pt x="127" y="22"/>
                    </a:lnTo>
                    <a:lnTo>
                      <a:pt x="127" y="22"/>
                    </a:lnTo>
                    <a:lnTo>
                      <a:pt x="128" y="23"/>
                    </a:lnTo>
                    <a:lnTo>
                      <a:pt x="131" y="24"/>
                    </a:lnTo>
                    <a:lnTo>
                      <a:pt x="132" y="27"/>
                    </a:lnTo>
                    <a:lnTo>
                      <a:pt x="131" y="30"/>
                    </a:lnTo>
                    <a:lnTo>
                      <a:pt x="131" y="30"/>
                    </a:lnTo>
                    <a:lnTo>
                      <a:pt x="128" y="30"/>
                    </a:lnTo>
                    <a:lnTo>
                      <a:pt x="127" y="30"/>
                    </a:lnTo>
                    <a:lnTo>
                      <a:pt x="124" y="29"/>
                    </a:lnTo>
                    <a:lnTo>
                      <a:pt x="122" y="27"/>
                    </a:lnTo>
                    <a:lnTo>
                      <a:pt x="121" y="27"/>
                    </a:lnTo>
                    <a:lnTo>
                      <a:pt x="118" y="29"/>
                    </a:lnTo>
                    <a:lnTo>
                      <a:pt x="118" y="29"/>
                    </a:lnTo>
                    <a:lnTo>
                      <a:pt x="114" y="31"/>
                    </a:lnTo>
                    <a:lnTo>
                      <a:pt x="107" y="33"/>
                    </a:lnTo>
                    <a:lnTo>
                      <a:pt x="95" y="33"/>
                    </a:lnTo>
                    <a:lnTo>
                      <a:pt x="95" y="33"/>
                    </a:lnTo>
                    <a:lnTo>
                      <a:pt x="91" y="34"/>
                    </a:lnTo>
                    <a:lnTo>
                      <a:pt x="85" y="39"/>
                    </a:lnTo>
                    <a:lnTo>
                      <a:pt x="77" y="49"/>
                    </a:lnTo>
                    <a:lnTo>
                      <a:pt x="77" y="49"/>
                    </a:lnTo>
                    <a:lnTo>
                      <a:pt x="75" y="51"/>
                    </a:lnTo>
                    <a:lnTo>
                      <a:pt x="75" y="54"/>
                    </a:lnTo>
                    <a:lnTo>
                      <a:pt x="74" y="59"/>
                    </a:lnTo>
                    <a:lnTo>
                      <a:pt x="70" y="66"/>
                    </a:lnTo>
                    <a:lnTo>
                      <a:pt x="70" y="66"/>
                    </a:lnTo>
                    <a:lnTo>
                      <a:pt x="65" y="68"/>
                    </a:lnTo>
                    <a:lnTo>
                      <a:pt x="60" y="71"/>
                    </a:lnTo>
                    <a:lnTo>
                      <a:pt x="47" y="73"/>
                    </a:lnTo>
                    <a:lnTo>
                      <a:pt x="36" y="74"/>
                    </a:lnTo>
                    <a:lnTo>
                      <a:pt x="28" y="73"/>
                    </a:lnTo>
                    <a:lnTo>
                      <a:pt x="28" y="73"/>
                    </a:lnTo>
                    <a:lnTo>
                      <a:pt x="27" y="74"/>
                    </a:lnTo>
                    <a:lnTo>
                      <a:pt x="26" y="77"/>
                    </a:lnTo>
                    <a:lnTo>
                      <a:pt x="26" y="80"/>
                    </a:lnTo>
                    <a:lnTo>
                      <a:pt x="24" y="83"/>
                    </a:lnTo>
                    <a:lnTo>
                      <a:pt x="24" y="83"/>
                    </a:lnTo>
                    <a:lnTo>
                      <a:pt x="24" y="86"/>
                    </a:lnTo>
                    <a:lnTo>
                      <a:pt x="27" y="88"/>
                    </a:lnTo>
                    <a:lnTo>
                      <a:pt x="33" y="91"/>
                    </a:lnTo>
                    <a:lnTo>
                      <a:pt x="43" y="94"/>
                    </a:lnTo>
                    <a:lnTo>
                      <a:pt x="43" y="94"/>
                    </a:lnTo>
                    <a:lnTo>
                      <a:pt x="48" y="97"/>
                    </a:lnTo>
                    <a:lnTo>
                      <a:pt x="53" y="100"/>
                    </a:lnTo>
                    <a:lnTo>
                      <a:pt x="60" y="108"/>
                    </a:lnTo>
                    <a:lnTo>
                      <a:pt x="65" y="117"/>
                    </a:lnTo>
                    <a:lnTo>
                      <a:pt x="68" y="123"/>
                    </a:lnTo>
                    <a:lnTo>
                      <a:pt x="68" y="123"/>
                    </a:lnTo>
                    <a:lnTo>
                      <a:pt x="70" y="124"/>
                    </a:lnTo>
                    <a:lnTo>
                      <a:pt x="73" y="124"/>
                    </a:lnTo>
                    <a:lnTo>
                      <a:pt x="80" y="124"/>
                    </a:lnTo>
                    <a:lnTo>
                      <a:pt x="88" y="123"/>
                    </a:lnTo>
                    <a:lnTo>
                      <a:pt x="95" y="123"/>
                    </a:lnTo>
                    <a:lnTo>
                      <a:pt x="95" y="123"/>
                    </a:lnTo>
                    <a:lnTo>
                      <a:pt x="98" y="124"/>
                    </a:lnTo>
                    <a:lnTo>
                      <a:pt x="98" y="125"/>
                    </a:lnTo>
                    <a:lnTo>
                      <a:pt x="100" y="130"/>
                    </a:lnTo>
                    <a:lnTo>
                      <a:pt x="98" y="134"/>
                    </a:lnTo>
                    <a:lnTo>
                      <a:pt x="100" y="135"/>
                    </a:lnTo>
                    <a:lnTo>
                      <a:pt x="101" y="137"/>
                    </a:lnTo>
                    <a:lnTo>
                      <a:pt x="101" y="137"/>
                    </a:lnTo>
                    <a:lnTo>
                      <a:pt x="107" y="138"/>
                    </a:lnTo>
                    <a:lnTo>
                      <a:pt x="111" y="138"/>
                    </a:lnTo>
                    <a:lnTo>
                      <a:pt x="115" y="138"/>
                    </a:lnTo>
                    <a:lnTo>
                      <a:pt x="117" y="140"/>
                    </a:lnTo>
                    <a:lnTo>
                      <a:pt x="118" y="141"/>
                    </a:lnTo>
                    <a:lnTo>
                      <a:pt x="118" y="141"/>
                    </a:lnTo>
                    <a:lnTo>
                      <a:pt x="118" y="142"/>
                    </a:lnTo>
                    <a:lnTo>
                      <a:pt x="117" y="142"/>
                    </a:lnTo>
                    <a:lnTo>
                      <a:pt x="112" y="142"/>
                    </a:lnTo>
                    <a:lnTo>
                      <a:pt x="105" y="144"/>
                    </a:lnTo>
                    <a:lnTo>
                      <a:pt x="102" y="144"/>
                    </a:lnTo>
                    <a:lnTo>
                      <a:pt x="100" y="145"/>
                    </a:lnTo>
                    <a:lnTo>
                      <a:pt x="100" y="145"/>
                    </a:lnTo>
                    <a:lnTo>
                      <a:pt x="91" y="151"/>
                    </a:lnTo>
                    <a:lnTo>
                      <a:pt x="88" y="151"/>
                    </a:lnTo>
                    <a:lnTo>
                      <a:pt x="85" y="150"/>
                    </a:lnTo>
                    <a:lnTo>
                      <a:pt x="85" y="150"/>
                    </a:lnTo>
                    <a:lnTo>
                      <a:pt x="83" y="148"/>
                    </a:lnTo>
                    <a:lnTo>
                      <a:pt x="77" y="148"/>
                    </a:lnTo>
                    <a:lnTo>
                      <a:pt x="65" y="150"/>
                    </a:lnTo>
                    <a:lnTo>
                      <a:pt x="65" y="150"/>
                    </a:lnTo>
                    <a:lnTo>
                      <a:pt x="63" y="150"/>
                    </a:lnTo>
                    <a:lnTo>
                      <a:pt x="63" y="148"/>
                    </a:lnTo>
                    <a:lnTo>
                      <a:pt x="63" y="145"/>
                    </a:lnTo>
                    <a:lnTo>
                      <a:pt x="65" y="138"/>
                    </a:lnTo>
                    <a:lnTo>
                      <a:pt x="65" y="138"/>
                    </a:lnTo>
                    <a:lnTo>
                      <a:pt x="64" y="135"/>
                    </a:lnTo>
                    <a:lnTo>
                      <a:pt x="60" y="134"/>
                    </a:lnTo>
                    <a:lnTo>
                      <a:pt x="53" y="135"/>
                    </a:lnTo>
                    <a:lnTo>
                      <a:pt x="46" y="138"/>
                    </a:lnTo>
                    <a:lnTo>
                      <a:pt x="46" y="138"/>
                    </a:lnTo>
                    <a:lnTo>
                      <a:pt x="37" y="144"/>
                    </a:lnTo>
                    <a:lnTo>
                      <a:pt x="36" y="148"/>
                    </a:lnTo>
                    <a:lnTo>
                      <a:pt x="36" y="148"/>
                    </a:lnTo>
                    <a:lnTo>
                      <a:pt x="36" y="150"/>
                    </a:lnTo>
                    <a:lnTo>
                      <a:pt x="34" y="150"/>
                    </a:lnTo>
                    <a:lnTo>
                      <a:pt x="31" y="150"/>
                    </a:lnTo>
                    <a:lnTo>
                      <a:pt x="27" y="148"/>
                    </a:lnTo>
                    <a:lnTo>
                      <a:pt x="24" y="148"/>
                    </a:lnTo>
                    <a:lnTo>
                      <a:pt x="23" y="150"/>
                    </a:lnTo>
                    <a:lnTo>
                      <a:pt x="23" y="150"/>
                    </a:lnTo>
                    <a:lnTo>
                      <a:pt x="10" y="157"/>
                    </a:lnTo>
                    <a:lnTo>
                      <a:pt x="4" y="160"/>
                    </a:lnTo>
                    <a:lnTo>
                      <a:pt x="0" y="162"/>
                    </a:lnTo>
                    <a:lnTo>
                      <a:pt x="0" y="162"/>
                    </a:lnTo>
                    <a:lnTo>
                      <a:pt x="0" y="164"/>
                    </a:lnTo>
                    <a:lnTo>
                      <a:pt x="3" y="165"/>
                    </a:lnTo>
                    <a:lnTo>
                      <a:pt x="9" y="168"/>
                    </a:lnTo>
                    <a:lnTo>
                      <a:pt x="24" y="171"/>
                    </a:lnTo>
                    <a:lnTo>
                      <a:pt x="24" y="171"/>
                    </a:lnTo>
                    <a:lnTo>
                      <a:pt x="26" y="172"/>
                    </a:lnTo>
                    <a:lnTo>
                      <a:pt x="26" y="174"/>
                    </a:lnTo>
                    <a:lnTo>
                      <a:pt x="23" y="175"/>
                    </a:lnTo>
                    <a:lnTo>
                      <a:pt x="20" y="178"/>
                    </a:lnTo>
                    <a:lnTo>
                      <a:pt x="20" y="178"/>
                    </a:lnTo>
                    <a:lnTo>
                      <a:pt x="21" y="179"/>
                    </a:lnTo>
                    <a:lnTo>
                      <a:pt x="21" y="179"/>
                    </a:lnTo>
                    <a:lnTo>
                      <a:pt x="24" y="181"/>
                    </a:lnTo>
                    <a:lnTo>
                      <a:pt x="26" y="184"/>
                    </a:lnTo>
                    <a:lnTo>
                      <a:pt x="28" y="188"/>
                    </a:lnTo>
                    <a:lnTo>
                      <a:pt x="33" y="191"/>
                    </a:lnTo>
                    <a:lnTo>
                      <a:pt x="33" y="191"/>
                    </a:lnTo>
                    <a:lnTo>
                      <a:pt x="37" y="192"/>
                    </a:lnTo>
                    <a:lnTo>
                      <a:pt x="41" y="194"/>
                    </a:lnTo>
                    <a:lnTo>
                      <a:pt x="51" y="192"/>
                    </a:lnTo>
                    <a:lnTo>
                      <a:pt x="67" y="191"/>
                    </a:lnTo>
                    <a:lnTo>
                      <a:pt x="67" y="191"/>
                    </a:lnTo>
                    <a:lnTo>
                      <a:pt x="71" y="192"/>
                    </a:lnTo>
                    <a:lnTo>
                      <a:pt x="75" y="194"/>
                    </a:lnTo>
                    <a:lnTo>
                      <a:pt x="78" y="195"/>
                    </a:lnTo>
                    <a:lnTo>
                      <a:pt x="81" y="192"/>
                    </a:lnTo>
                    <a:lnTo>
                      <a:pt x="81" y="192"/>
                    </a:lnTo>
                    <a:lnTo>
                      <a:pt x="87" y="188"/>
                    </a:lnTo>
                    <a:lnTo>
                      <a:pt x="94" y="184"/>
                    </a:lnTo>
                    <a:lnTo>
                      <a:pt x="98" y="181"/>
                    </a:lnTo>
                    <a:lnTo>
                      <a:pt x="102" y="181"/>
                    </a:lnTo>
                    <a:lnTo>
                      <a:pt x="107" y="181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2" y="185"/>
                    </a:lnTo>
                    <a:lnTo>
                      <a:pt x="112" y="187"/>
                    </a:lnTo>
                    <a:lnTo>
                      <a:pt x="110" y="189"/>
                    </a:lnTo>
                    <a:lnTo>
                      <a:pt x="105" y="191"/>
                    </a:lnTo>
                    <a:lnTo>
                      <a:pt x="105" y="192"/>
                    </a:lnTo>
                    <a:lnTo>
                      <a:pt x="105" y="194"/>
                    </a:lnTo>
                    <a:lnTo>
                      <a:pt x="105" y="194"/>
                    </a:lnTo>
                    <a:lnTo>
                      <a:pt x="108" y="198"/>
                    </a:lnTo>
                    <a:lnTo>
                      <a:pt x="111" y="204"/>
                    </a:lnTo>
                    <a:lnTo>
                      <a:pt x="111" y="211"/>
                    </a:lnTo>
                    <a:lnTo>
                      <a:pt x="110" y="214"/>
                    </a:lnTo>
                    <a:lnTo>
                      <a:pt x="107" y="215"/>
                    </a:lnTo>
                    <a:lnTo>
                      <a:pt x="107" y="215"/>
                    </a:lnTo>
                    <a:lnTo>
                      <a:pt x="101" y="218"/>
                    </a:lnTo>
                    <a:lnTo>
                      <a:pt x="97" y="218"/>
                    </a:lnTo>
                    <a:lnTo>
                      <a:pt x="88" y="216"/>
                    </a:lnTo>
                    <a:lnTo>
                      <a:pt x="88" y="216"/>
                    </a:lnTo>
                    <a:lnTo>
                      <a:pt x="87" y="216"/>
                    </a:lnTo>
                    <a:lnTo>
                      <a:pt x="85" y="218"/>
                    </a:lnTo>
                    <a:lnTo>
                      <a:pt x="84" y="221"/>
                    </a:lnTo>
                    <a:lnTo>
                      <a:pt x="83" y="225"/>
                    </a:lnTo>
                    <a:lnTo>
                      <a:pt x="80" y="229"/>
                    </a:lnTo>
                    <a:lnTo>
                      <a:pt x="80" y="229"/>
                    </a:lnTo>
                    <a:lnTo>
                      <a:pt x="77" y="231"/>
                    </a:lnTo>
                    <a:lnTo>
                      <a:pt x="74" y="231"/>
                    </a:lnTo>
                    <a:lnTo>
                      <a:pt x="70" y="229"/>
                    </a:lnTo>
                    <a:lnTo>
                      <a:pt x="64" y="226"/>
                    </a:lnTo>
                    <a:lnTo>
                      <a:pt x="61" y="225"/>
                    </a:lnTo>
                    <a:lnTo>
                      <a:pt x="58" y="224"/>
                    </a:lnTo>
                    <a:lnTo>
                      <a:pt x="58" y="224"/>
                    </a:lnTo>
                    <a:lnTo>
                      <a:pt x="55" y="225"/>
                    </a:lnTo>
                    <a:lnTo>
                      <a:pt x="54" y="226"/>
                    </a:lnTo>
                    <a:lnTo>
                      <a:pt x="53" y="231"/>
                    </a:lnTo>
                    <a:lnTo>
                      <a:pt x="53" y="236"/>
                    </a:lnTo>
                    <a:lnTo>
                      <a:pt x="53" y="241"/>
                    </a:lnTo>
                    <a:lnTo>
                      <a:pt x="53" y="241"/>
                    </a:lnTo>
                    <a:lnTo>
                      <a:pt x="53" y="242"/>
                    </a:lnTo>
                    <a:lnTo>
                      <a:pt x="51" y="243"/>
                    </a:lnTo>
                    <a:lnTo>
                      <a:pt x="46" y="243"/>
                    </a:lnTo>
                    <a:lnTo>
                      <a:pt x="40" y="246"/>
                    </a:lnTo>
                    <a:lnTo>
                      <a:pt x="38" y="248"/>
                    </a:lnTo>
                    <a:lnTo>
                      <a:pt x="37" y="252"/>
                    </a:lnTo>
                    <a:lnTo>
                      <a:pt x="37" y="252"/>
                    </a:lnTo>
                    <a:lnTo>
                      <a:pt x="34" y="256"/>
                    </a:lnTo>
                    <a:lnTo>
                      <a:pt x="33" y="258"/>
                    </a:lnTo>
                    <a:lnTo>
                      <a:pt x="28" y="259"/>
                    </a:lnTo>
                    <a:lnTo>
                      <a:pt x="26" y="261"/>
                    </a:lnTo>
                    <a:lnTo>
                      <a:pt x="26" y="261"/>
                    </a:lnTo>
                    <a:lnTo>
                      <a:pt x="28" y="266"/>
                    </a:lnTo>
                    <a:lnTo>
                      <a:pt x="28" y="266"/>
                    </a:lnTo>
                    <a:lnTo>
                      <a:pt x="34" y="272"/>
                    </a:lnTo>
                    <a:lnTo>
                      <a:pt x="37" y="275"/>
                    </a:lnTo>
                    <a:lnTo>
                      <a:pt x="40" y="275"/>
                    </a:lnTo>
                    <a:lnTo>
                      <a:pt x="43" y="276"/>
                    </a:lnTo>
                    <a:lnTo>
                      <a:pt x="43" y="276"/>
                    </a:lnTo>
                    <a:lnTo>
                      <a:pt x="46" y="278"/>
                    </a:lnTo>
                    <a:lnTo>
                      <a:pt x="46" y="280"/>
                    </a:lnTo>
                    <a:lnTo>
                      <a:pt x="43" y="285"/>
                    </a:lnTo>
                    <a:lnTo>
                      <a:pt x="41" y="289"/>
                    </a:lnTo>
                    <a:lnTo>
                      <a:pt x="41" y="290"/>
                    </a:lnTo>
                    <a:lnTo>
                      <a:pt x="43" y="292"/>
                    </a:lnTo>
                    <a:lnTo>
                      <a:pt x="43" y="292"/>
                    </a:lnTo>
                    <a:lnTo>
                      <a:pt x="48" y="295"/>
                    </a:lnTo>
                    <a:lnTo>
                      <a:pt x="53" y="299"/>
                    </a:lnTo>
                    <a:lnTo>
                      <a:pt x="63" y="310"/>
                    </a:lnTo>
                    <a:lnTo>
                      <a:pt x="63" y="310"/>
                    </a:lnTo>
                    <a:lnTo>
                      <a:pt x="64" y="312"/>
                    </a:lnTo>
                    <a:lnTo>
                      <a:pt x="67" y="312"/>
                    </a:lnTo>
                    <a:lnTo>
                      <a:pt x="71" y="310"/>
                    </a:lnTo>
                    <a:lnTo>
                      <a:pt x="75" y="309"/>
                    </a:lnTo>
                    <a:lnTo>
                      <a:pt x="81" y="307"/>
                    </a:lnTo>
                    <a:lnTo>
                      <a:pt x="81" y="307"/>
                    </a:lnTo>
                    <a:lnTo>
                      <a:pt x="84" y="307"/>
                    </a:lnTo>
                    <a:lnTo>
                      <a:pt x="85" y="306"/>
                    </a:lnTo>
                    <a:lnTo>
                      <a:pt x="87" y="302"/>
                    </a:lnTo>
                    <a:lnTo>
                      <a:pt x="87" y="300"/>
                    </a:lnTo>
                    <a:lnTo>
                      <a:pt x="88" y="300"/>
                    </a:lnTo>
                    <a:lnTo>
                      <a:pt x="90" y="300"/>
                    </a:lnTo>
                    <a:lnTo>
                      <a:pt x="90" y="300"/>
                    </a:lnTo>
                    <a:lnTo>
                      <a:pt x="92" y="305"/>
                    </a:lnTo>
                    <a:lnTo>
                      <a:pt x="95" y="310"/>
                    </a:lnTo>
                    <a:lnTo>
                      <a:pt x="97" y="315"/>
                    </a:lnTo>
                    <a:lnTo>
                      <a:pt x="97" y="317"/>
                    </a:lnTo>
                    <a:lnTo>
                      <a:pt x="95" y="319"/>
                    </a:lnTo>
                    <a:lnTo>
                      <a:pt x="95" y="319"/>
                    </a:lnTo>
                    <a:lnTo>
                      <a:pt x="94" y="322"/>
                    </a:lnTo>
                    <a:lnTo>
                      <a:pt x="94" y="326"/>
                    </a:lnTo>
                    <a:lnTo>
                      <a:pt x="94" y="335"/>
                    </a:lnTo>
                    <a:lnTo>
                      <a:pt x="94" y="335"/>
                    </a:lnTo>
                    <a:lnTo>
                      <a:pt x="95" y="336"/>
                    </a:lnTo>
                    <a:lnTo>
                      <a:pt x="97" y="337"/>
                    </a:lnTo>
                    <a:lnTo>
                      <a:pt x="102" y="337"/>
                    </a:lnTo>
                    <a:lnTo>
                      <a:pt x="108" y="336"/>
                    </a:lnTo>
                    <a:lnTo>
                      <a:pt x="111" y="335"/>
                    </a:lnTo>
                    <a:lnTo>
                      <a:pt x="112" y="333"/>
                    </a:lnTo>
                    <a:lnTo>
                      <a:pt x="112" y="333"/>
                    </a:lnTo>
                    <a:lnTo>
                      <a:pt x="112" y="330"/>
                    </a:lnTo>
                    <a:lnTo>
                      <a:pt x="115" y="330"/>
                    </a:lnTo>
                    <a:lnTo>
                      <a:pt x="121" y="329"/>
                    </a:lnTo>
                    <a:lnTo>
                      <a:pt x="128" y="330"/>
                    </a:lnTo>
                    <a:lnTo>
                      <a:pt x="131" y="332"/>
                    </a:lnTo>
                    <a:lnTo>
                      <a:pt x="134" y="335"/>
                    </a:lnTo>
                    <a:lnTo>
                      <a:pt x="134" y="335"/>
                    </a:lnTo>
                    <a:lnTo>
                      <a:pt x="138" y="339"/>
                    </a:lnTo>
                    <a:lnTo>
                      <a:pt x="142" y="342"/>
                    </a:lnTo>
                    <a:lnTo>
                      <a:pt x="144" y="342"/>
                    </a:lnTo>
                    <a:lnTo>
                      <a:pt x="144" y="337"/>
                    </a:lnTo>
                    <a:lnTo>
                      <a:pt x="144" y="337"/>
                    </a:lnTo>
                    <a:lnTo>
                      <a:pt x="145" y="333"/>
                    </a:lnTo>
                    <a:lnTo>
                      <a:pt x="147" y="329"/>
                    </a:lnTo>
                    <a:lnTo>
                      <a:pt x="149" y="327"/>
                    </a:lnTo>
                    <a:lnTo>
                      <a:pt x="151" y="327"/>
                    </a:lnTo>
                    <a:lnTo>
                      <a:pt x="151" y="329"/>
                    </a:lnTo>
                    <a:lnTo>
                      <a:pt x="151" y="329"/>
                    </a:lnTo>
                    <a:lnTo>
                      <a:pt x="152" y="333"/>
                    </a:lnTo>
                    <a:lnTo>
                      <a:pt x="155" y="335"/>
                    </a:lnTo>
                    <a:lnTo>
                      <a:pt x="161" y="333"/>
                    </a:lnTo>
                    <a:lnTo>
                      <a:pt x="168" y="332"/>
                    </a:lnTo>
                    <a:lnTo>
                      <a:pt x="168" y="332"/>
                    </a:lnTo>
                    <a:lnTo>
                      <a:pt x="174" y="329"/>
                    </a:lnTo>
                    <a:lnTo>
                      <a:pt x="175" y="329"/>
                    </a:lnTo>
                    <a:lnTo>
                      <a:pt x="175" y="330"/>
                    </a:lnTo>
                    <a:lnTo>
                      <a:pt x="168" y="339"/>
                    </a:lnTo>
                    <a:lnTo>
                      <a:pt x="168" y="339"/>
                    </a:lnTo>
                    <a:lnTo>
                      <a:pt x="166" y="343"/>
                    </a:lnTo>
                    <a:lnTo>
                      <a:pt x="165" y="346"/>
                    </a:lnTo>
                    <a:lnTo>
                      <a:pt x="165" y="354"/>
                    </a:lnTo>
                    <a:lnTo>
                      <a:pt x="165" y="362"/>
                    </a:lnTo>
                    <a:lnTo>
                      <a:pt x="164" y="363"/>
                    </a:lnTo>
                    <a:lnTo>
                      <a:pt x="162" y="364"/>
                    </a:lnTo>
                    <a:lnTo>
                      <a:pt x="162" y="364"/>
                    </a:lnTo>
                    <a:lnTo>
                      <a:pt x="161" y="366"/>
                    </a:lnTo>
                    <a:lnTo>
                      <a:pt x="158" y="367"/>
                    </a:lnTo>
                    <a:lnTo>
                      <a:pt x="154" y="373"/>
                    </a:lnTo>
                    <a:lnTo>
                      <a:pt x="149" y="379"/>
                    </a:lnTo>
                    <a:lnTo>
                      <a:pt x="147" y="380"/>
                    </a:lnTo>
                    <a:lnTo>
                      <a:pt x="144" y="381"/>
                    </a:lnTo>
                    <a:lnTo>
                      <a:pt x="144" y="381"/>
                    </a:lnTo>
                    <a:lnTo>
                      <a:pt x="139" y="383"/>
                    </a:lnTo>
                    <a:lnTo>
                      <a:pt x="135" y="384"/>
                    </a:lnTo>
                    <a:lnTo>
                      <a:pt x="127" y="391"/>
                    </a:lnTo>
                    <a:lnTo>
                      <a:pt x="117" y="403"/>
                    </a:lnTo>
                    <a:lnTo>
                      <a:pt x="117" y="403"/>
                    </a:lnTo>
                    <a:lnTo>
                      <a:pt x="114" y="403"/>
                    </a:lnTo>
                    <a:lnTo>
                      <a:pt x="112" y="403"/>
                    </a:lnTo>
                    <a:lnTo>
                      <a:pt x="104" y="401"/>
                    </a:lnTo>
                    <a:lnTo>
                      <a:pt x="95" y="401"/>
                    </a:lnTo>
                    <a:lnTo>
                      <a:pt x="92" y="403"/>
                    </a:lnTo>
                    <a:lnTo>
                      <a:pt x="91" y="406"/>
                    </a:lnTo>
                    <a:lnTo>
                      <a:pt x="91" y="406"/>
                    </a:lnTo>
                    <a:lnTo>
                      <a:pt x="88" y="411"/>
                    </a:lnTo>
                    <a:lnTo>
                      <a:pt x="83" y="416"/>
                    </a:lnTo>
                    <a:lnTo>
                      <a:pt x="80" y="420"/>
                    </a:lnTo>
                    <a:lnTo>
                      <a:pt x="78" y="421"/>
                    </a:lnTo>
                    <a:lnTo>
                      <a:pt x="80" y="423"/>
                    </a:lnTo>
                    <a:lnTo>
                      <a:pt x="80" y="423"/>
                    </a:lnTo>
                    <a:lnTo>
                      <a:pt x="84" y="423"/>
                    </a:lnTo>
                    <a:lnTo>
                      <a:pt x="90" y="420"/>
                    </a:lnTo>
                    <a:lnTo>
                      <a:pt x="95" y="416"/>
                    </a:lnTo>
                    <a:lnTo>
                      <a:pt x="98" y="413"/>
                    </a:lnTo>
                    <a:lnTo>
                      <a:pt x="98" y="413"/>
                    </a:lnTo>
                    <a:lnTo>
                      <a:pt x="100" y="410"/>
                    </a:lnTo>
                    <a:lnTo>
                      <a:pt x="101" y="410"/>
                    </a:lnTo>
                    <a:lnTo>
                      <a:pt x="104" y="411"/>
                    </a:lnTo>
                    <a:lnTo>
                      <a:pt x="104" y="411"/>
                    </a:lnTo>
                    <a:lnTo>
                      <a:pt x="107" y="413"/>
                    </a:lnTo>
                    <a:lnTo>
                      <a:pt x="111" y="413"/>
                    </a:lnTo>
                    <a:lnTo>
                      <a:pt x="118" y="407"/>
                    </a:lnTo>
                    <a:lnTo>
                      <a:pt x="118" y="407"/>
                    </a:lnTo>
                    <a:lnTo>
                      <a:pt x="121" y="406"/>
                    </a:lnTo>
                    <a:lnTo>
                      <a:pt x="124" y="406"/>
                    </a:lnTo>
                    <a:lnTo>
                      <a:pt x="129" y="406"/>
                    </a:lnTo>
                    <a:lnTo>
                      <a:pt x="129" y="406"/>
                    </a:lnTo>
                    <a:lnTo>
                      <a:pt x="131" y="406"/>
                    </a:lnTo>
                    <a:lnTo>
                      <a:pt x="134" y="404"/>
                    </a:lnTo>
                    <a:lnTo>
                      <a:pt x="138" y="403"/>
                    </a:lnTo>
                    <a:lnTo>
                      <a:pt x="144" y="400"/>
                    </a:lnTo>
                    <a:lnTo>
                      <a:pt x="144" y="400"/>
                    </a:lnTo>
                    <a:lnTo>
                      <a:pt x="149" y="399"/>
                    </a:lnTo>
                    <a:lnTo>
                      <a:pt x="151" y="397"/>
                    </a:lnTo>
                    <a:lnTo>
                      <a:pt x="154" y="391"/>
                    </a:lnTo>
                    <a:lnTo>
                      <a:pt x="154" y="391"/>
                    </a:lnTo>
                    <a:lnTo>
                      <a:pt x="158" y="386"/>
                    </a:lnTo>
                    <a:lnTo>
                      <a:pt x="166" y="381"/>
                    </a:lnTo>
                    <a:lnTo>
                      <a:pt x="182" y="374"/>
                    </a:lnTo>
                    <a:lnTo>
                      <a:pt x="182" y="374"/>
                    </a:lnTo>
                    <a:lnTo>
                      <a:pt x="185" y="373"/>
                    </a:lnTo>
                    <a:lnTo>
                      <a:pt x="185" y="370"/>
                    </a:lnTo>
                    <a:lnTo>
                      <a:pt x="186" y="367"/>
                    </a:lnTo>
                    <a:lnTo>
                      <a:pt x="189" y="366"/>
                    </a:lnTo>
                    <a:lnTo>
                      <a:pt x="189" y="366"/>
                    </a:lnTo>
                    <a:lnTo>
                      <a:pt x="192" y="364"/>
                    </a:lnTo>
                    <a:lnTo>
                      <a:pt x="196" y="362"/>
                    </a:lnTo>
                    <a:lnTo>
                      <a:pt x="206" y="354"/>
                    </a:lnTo>
                    <a:lnTo>
                      <a:pt x="206" y="354"/>
                    </a:lnTo>
                    <a:lnTo>
                      <a:pt x="211" y="352"/>
                    </a:lnTo>
                    <a:lnTo>
                      <a:pt x="213" y="352"/>
                    </a:lnTo>
                    <a:lnTo>
                      <a:pt x="219" y="350"/>
                    </a:lnTo>
                    <a:lnTo>
                      <a:pt x="219" y="350"/>
                    </a:lnTo>
                    <a:lnTo>
                      <a:pt x="220" y="349"/>
                    </a:lnTo>
                    <a:lnTo>
                      <a:pt x="220" y="347"/>
                    </a:lnTo>
                    <a:lnTo>
                      <a:pt x="222" y="344"/>
                    </a:lnTo>
                    <a:lnTo>
                      <a:pt x="222" y="340"/>
                    </a:lnTo>
                    <a:lnTo>
                      <a:pt x="223" y="339"/>
                    </a:lnTo>
                    <a:lnTo>
                      <a:pt x="225" y="339"/>
                    </a:lnTo>
                    <a:lnTo>
                      <a:pt x="225" y="339"/>
                    </a:lnTo>
                    <a:lnTo>
                      <a:pt x="228" y="337"/>
                    </a:lnTo>
                    <a:lnTo>
                      <a:pt x="230" y="336"/>
                    </a:lnTo>
                    <a:lnTo>
                      <a:pt x="232" y="333"/>
                    </a:lnTo>
                    <a:lnTo>
                      <a:pt x="232" y="330"/>
                    </a:lnTo>
                    <a:lnTo>
                      <a:pt x="232" y="330"/>
                    </a:lnTo>
                    <a:lnTo>
                      <a:pt x="232" y="329"/>
                    </a:lnTo>
                    <a:lnTo>
                      <a:pt x="230" y="327"/>
                    </a:lnTo>
                    <a:lnTo>
                      <a:pt x="226" y="326"/>
                    </a:lnTo>
                    <a:lnTo>
                      <a:pt x="222" y="325"/>
                    </a:lnTo>
                    <a:lnTo>
                      <a:pt x="219" y="323"/>
                    </a:lnTo>
                    <a:lnTo>
                      <a:pt x="219" y="323"/>
                    </a:lnTo>
                    <a:lnTo>
                      <a:pt x="220" y="320"/>
                    </a:lnTo>
                    <a:lnTo>
                      <a:pt x="225" y="317"/>
                    </a:lnTo>
                    <a:lnTo>
                      <a:pt x="229" y="313"/>
                    </a:lnTo>
                    <a:lnTo>
                      <a:pt x="233" y="312"/>
                    </a:lnTo>
                    <a:lnTo>
                      <a:pt x="233" y="312"/>
                    </a:lnTo>
                    <a:lnTo>
                      <a:pt x="236" y="312"/>
                    </a:lnTo>
                    <a:lnTo>
                      <a:pt x="239" y="310"/>
                    </a:lnTo>
                    <a:lnTo>
                      <a:pt x="242" y="306"/>
                    </a:lnTo>
                    <a:lnTo>
                      <a:pt x="243" y="303"/>
                    </a:lnTo>
                    <a:lnTo>
                      <a:pt x="243" y="303"/>
                    </a:lnTo>
                    <a:lnTo>
                      <a:pt x="245" y="299"/>
                    </a:lnTo>
                    <a:lnTo>
                      <a:pt x="248" y="296"/>
                    </a:lnTo>
                    <a:lnTo>
                      <a:pt x="255" y="290"/>
                    </a:lnTo>
                    <a:lnTo>
                      <a:pt x="255" y="290"/>
                    </a:lnTo>
                    <a:lnTo>
                      <a:pt x="256" y="288"/>
                    </a:lnTo>
                    <a:lnTo>
                      <a:pt x="257" y="285"/>
                    </a:lnTo>
                    <a:lnTo>
                      <a:pt x="260" y="282"/>
                    </a:lnTo>
                    <a:lnTo>
                      <a:pt x="262" y="282"/>
                    </a:lnTo>
                    <a:lnTo>
                      <a:pt x="262" y="282"/>
                    </a:lnTo>
                    <a:lnTo>
                      <a:pt x="266" y="280"/>
                    </a:lnTo>
                    <a:lnTo>
                      <a:pt x="269" y="278"/>
                    </a:lnTo>
                    <a:lnTo>
                      <a:pt x="276" y="272"/>
                    </a:lnTo>
                    <a:lnTo>
                      <a:pt x="276" y="272"/>
                    </a:lnTo>
                    <a:lnTo>
                      <a:pt x="279" y="270"/>
                    </a:lnTo>
                    <a:lnTo>
                      <a:pt x="279" y="272"/>
                    </a:lnTo>
                    <a:lnTo>
                      <a:pt x="280" y="275"/>
                    </a:lnTo>
                    <a:lnTo>
                      <a:pt x="286" y="276"/>
                    </a:lnTo>
                    <a:lnTo>
                      <a:pt x="286" y="276"/>
                    </a:lnTo>
                    <a:lnTo>
                      <a:pt x="289" y="276"/>
                    </a:lnTo>
                    <a:lnTo>
                      <a:pt x="290" y="278"/>
                    </a:lnTo>
                    <a:lnTo>
                      <a:pt x="292" y="279"/>
                    </a:lnTo>
                    <a:lnTo>
                      <a:pt x="292" y="280"/>
                    </a:lnTo>
                    <a:lnTo>
                      <a:pt x="290" y="282"/>
                    </a:lnTo>
                    <a:lnTo>
                      <a:pt x="289" y="282"/>
                    </a:lnTo>
                    <a:lnTo>
                      <a:pt x="286" y="282"/>
                    </a:lnTo>
                    <a:lnTo>
                      <a:pt x="286" y="282"/>
                    </a:lnTo>
                    <a:lnTo>
                      <a:pt x="282" y="280"/>
                    </a:lnTo>
                    <a:lnTo>
                      <a:pt x="277" y="280"/>
                    </a:lnTo>
                    <a:lnTo>
                      <a:pt x="273" y="282"/>
                    </a:lnTo>
                    <a:lnTo>
                      <a:pt x="269" y="285"/>
                    </a:lnTo>
                    <a:lnTo>
                      <a:pt x="269" y="285"/>
                    </a:lnTo>
                    <a:lnTo>
                      <a:pt x="266" y="289"/>
                    </a:lnTo>
                    <a:lnTo>
                      <a:pt x="266" y="292"/>
                    </a:lnTo>
                    <a:lnTo>
                      <a:pt x="265" y="295"/>
                    </a:lnTo>
                    <a:lnTo>
                      <a:pt x="263" y="299"/>
                    </a:lnTo>
                    <a:lnTo>
                      <a:pt x="263" y="299"/>
                    </a:lnTo>
                    <a:lnTo>
                      <a:pt x="260" y="305"/>
                    </a:lnTo>
                    <a:lnTo>
                      <a:pt x="259" y="307"/>
                    </a:lnTo>
                    <a:lnTo>
                      <a:pt x="260" y="310"/>
                    </a:lnTo>
                    <a:lnTo>
                      <a:pt x="265" y="312"/>
                    </a:lnTo>
                    <a:lnTo>
                      <a:pt x="265" y="312"/>
                    </a:lnTo>
                    <a:lnTo>
                      <a:pt x="266" y="312"/>
                    </a:lnTo>
                    <a:lnTo>
                      <a:pt x="266" y="315"/>
                    </a:lnTo>
                    <a:lnTo>
                      <a:pt x="263" y="316"/>
                    </a:lnTo>
                    <a:lnTo>
                      <a:pt x="259" y="319"/>
                    </a:lnTo>
                    <a:lnTo>
                      <a:pt x="259" y="319"/>
                    </a:lnTo>
                    <a:lnTo>
                      <a:pt x="256" y="320"/>
                    </a:lnTo>
                    <a:lnTo>
                      <a:pt x="256" y="322"/>
                    </a:lnTo>
                    <a:lnTo>
                      <a:pt x="259" y="323"/>
                    </a:lnTo>
                    <a:lnTo>
                      <a:pt x="265" y="323"/>
                    </a:lnTo>
                    <a:lnTo>
                      <a:pt x="265" y="323"/>
                    </a:lnTo>
                    <a:lnTo>
                      <a:pt x="272" y="322"/>
                    </a:lnTo>
                    <a:lnTo>
                      <a:pt x="279" y="317"/>
                    </a:lnTo>
                    <a:lnTo>
                      <a:pt x="287" y="312"/>
                    </a:lnTo>
                    <a:lnTo>
                      <a:pt x="296" y="306"/>
                    </a:lnTo>
                    <a:lnTo>
                      <a:pt x="296" y="306"/>
                    </a:lnTo>
                    <a:lnTo>
                      <a:pt x="304" y="303"/>
                    </a:lnTo>
                    <a:lnTo>
                      <a:pt x="312" y="305"/>
                    </a:lnTo>
                    <a:lnTo>
                      <a:pt x="316" y="305"/>
                    </a:lnTo>
                    <a:lnTo>
                      <a:pt x="320" y="305"/>
                    </a:lnTo>
                    <a:lnTo>
                      <a:pt x="320" y="305"/>
                    </a:lnTo>
                    <a:lnTo>
                      <a:pt x="320" y="303"/>
                    </a:lnTo>
                    <a:lnTo>
                      <a:pt x="320" y="302"/>
                    </a:lnTo>
                    <a:lnTo>
                      <a:pt x="319" y="299"/>
                    </a:lnTo>
                    <a:lnTo>
                      <a:pt x="320" y="298"/>
                    </a:lnTo>
                    <a:lnTo>
                      <a:pt x="320" y="298"/>
                    </a:lnTo>
                    <a:lnTo>
                      <a:pt x="320" y="296"/>
                    </a:lnTo>
                    <a:lnTo>
                      <a:pt x="319" y="295"/>
                    </a:lnTo>
                    <a:lnTo>
                      <a:pt x="316" y="292"/>
                    </a:lnTo>
                    <a:lnTo>
                      <a:pt x="313" y="288"/>
                    </a:lnTo>
                    <a:lnTo>
                      <a:pt x="313" y="288"/>
                    </a:lnTo>
                    <a:lnTo>
                      <a:pt x="313" y="285"/>
                    </a:lnTo>
                    <a:lnTo>
                      <a:pt x="314" y="283"/>
                    </a:lnTo>
                    <a:lnTo>
                      <a:pt x="316" y="282"/>
                    </a:lnTo>
                    <a:lnTo>
                      <a:pt x="319" y="279"/>
                    </a:lnTo>
                    <a:lnTo>
                      <a:pt x="319" y="279"/>
                    </a:lnTo>
                    <a:lnTo>
                      <a:pt x="320" y="278"/>
                    </a:lnTo>
                    <a:lnTo>
                      <a:pt x="322" y="276"/>
                    </a:lnTo>
                    <a:lnTo>
                      <a:pt x="327" y="279"/>
                    </a:lnTo>
                    <a:lnTo>
                      <a:pt x="327" y="279"/>
                    </a:lnTo>
                    <a:lnTo>
                      <a:pt x="330" y="279"/>
                    </a:lnTo>
                    <a:lnTo>
                      <a:pt x="333" y="279"/>
                    </a:lnTo>
                    <a:lnTo>
                      <a:pt x="336" y="280"/>
                    </a:lnTo>
                    <a:lnTo>
                      <a:pt x="339" y="283"/>
                    </a:lnTo>
                    <a:lnTo>
                      <a:pt x="339" y="283"/>
                    </a:lnTo>
                    <a:lnTo>
                      <a:pt x="340" y="285"/>
                    </a:lnTo>
                    <a:lnTo>
                      <a:pt x="341" y="286"/>
                    </a:lnTo>
                    <a:lnTo>
                      <a:pt x="344" y="285"/>
                    </a:lnTo>
                    <a:lnTo>
                      <a:pt x="347" y="285"/>
                    </a:lnTo>
                    <a:lnTo>
                      <a:pt x="349" y="285"/>
                    </a:lnTo>
                    <a:lnTo>
                      <a:pt x="351" y="286"/>
                    </a:lnTo>
                    <a:lnTo>
                      <a:pt x="351" y="286"/>
                    </a:lnTo>
                    <a:lnTo>
                      <a:pt x="353" y="289"/>
                    </a:lnTo>
                    <a:lnTo>
                      <a:pt x="351" y="290"/>
                    </a:lnTo>
                    <a:lnTo>
                      <a:pt x="344" y="292"/>
                    </a:lnTo>
                    <a:lnTo>
                      <a:pt x="344" y="292"/>
                    </a:lnTo>
                    <a:lnTo>
                      <a:pt x="343" y="292"/>
                    </a:lnTo>
                    <a:lnTo>
                      <a:pt x="341" y="293"/>
                    </a:lnTo>
                    <a:lnTo>
                      <a:pt x="341" y="296"/>
                    </a:lnTo>
                    <a:lnTo>
                      <a:pt x="343" y="298"/>
                    </a:lnTo>
                    <a:lnTo>
                      <a:pt x="344" y="298"/>
                    </a:lnTo>
                    <a:lnTo>
                      <a:pt x="346" y="298"/>
                    </a:lnTo>
                    <a:lnTo>
                      <a:pt x="346" y="298"/>
                    </a:lnTo>
                    <a:lnTo>
                      <a:pt x="349" y="295"/>
                    </a:lnTo>
                    <a:lnTo>
                      <a:pt x="353" y="293"/>
                    </a:lnTo>
                    <a:lnTo>
                      <a:pt x="356" y="293"/>
                    </a:lnTo>
                    <a:lnTo>
                      <a:pt x="358" y="295"/>
                    </a:lnTo>
                    <a:lnTo>
                      <a:pt x="358" y="295"/>
                    </a:lnTo>
                    <a:lnTo>
                      <a:pt x="361" y="296"/>
                    </a:lnTo>
                    <a:lnTo>
                      <a:pt x="364" y="296"/>
                    </a:lnTo>
                    <a:lnTo>
                      <a:pt x="368" y="293"/>
                    </a:lnTo>
                    <a:lnTo>
                      <a:pt x="368" y="293"/>
                    </a:lnTo>
                    <a:lnTo>
                      <a:pt x="370" y="292"/>
                    </a:lnTo>
                    <a:lnTo>
                      <a:pt x="371" y="292"/>
                    </a:lnTo>
                    <a:lnTo>
                      <a:pt x="371" y="296"/>
                    </a:lnTo>
                    <a:lnTo>
                      <a:pt x="371" y="296"/>
                    </a:lnTo>
                    <a:lnTo>
                      <a:pt x="373" y="298"/>
                    </a:lnTo>
                    <a:lnTo>
                      <a:pt x="377" y="299"/>
                    </a:lnTo>
                    <a:lnTo>
                      <a:pt x="390" y="302"/>
                    </a:lnTo>
                    <a:lnTo>
                      <a:pt x="390" y="302"/>
                    </a:lnTo>
                    <a:lnTo>
                      <a:pt x="400" y="303"/>
                    </a:lnTo>
                    <a:lnTo>
                      <a:pt x="410" y="302"/>
                    </a:lnTo>
                    <a:lnTo>
                      <a:pt x="425" y="300"/>
                    </a:lnTo>
                    <a:lnTo>
                      <a:pt x="425" y="300"/>
                    </a:lnTo>
                    <a:lnTo>
                      <a:pt x="428" y="302"/>
                    </a:lnTo>
                    <a:lnTo>
                      <a:pt x="430" y="305"/>
                    </a:lnTo>
                    <a:lnTo>
                      <a:pt x="432" y="307"/>
                    </a:lnTo>
                    <a:lnTo>
                      <a:pt x="440" y="310"/>
                    </a:lnTo>
                    <a:lnTo>
                      <a:pt x="440" y="310"/>
                    </a:lnTo>
                    <a:lnTo>
                      <a:pt x="442" y="310"/>
                    </a:lnTo>
                    <a:lnTo>
                      <a:pt x="445" y="310"/>
                    </a:lnTo>
                    <a:lnTo>
                      <a:pt x="451" y="306"/>
                    </a:lnTo>
                    <a:lnTo>
                      <a:pt x="455" y="303"/>
                    </a:lnTo>
                    <a:lnTo>
                      <a:pt x="457" y="303"/>
                    </a:lnTo>
                    <a:lnTo>
                      <a:pt x="458" y="305"/>
                    </a:lnTo>
                    <a:lnTo>
                      <a:pt x="458" y="305"/>
                    </a:lnTo>
                    <a:lnTo>
                      <a:pt x="461" y="307"/>
                    </a:lnTo>
                    <a:lnTo>
                      <a:pt x="461" y="309"/>
                    </a:lnTo>
                    <a:lnTo>
                      <a:pt x="455" y="315"/>
                    </a:lnTo>
                    <a:lnTo>
                      <a:pt x="455" y="315"/>
                    </a:lnTo>
                    <a:lnTo>
                      <a:pt x="455" y="316"/>
                    </a:lnTo>
                    <a:lnTo>
                      <a:pt x="457" y="317"/>
                    </a:lnTo>
                    <a:lnTo>
                      <a:pt x="464" y="320"/>
                    </a:lnTo>
                    <a:lnTo>
                      <a:pt x="464" y="320"/>
                    </a:lnTo>
                    <a:lnTo>
                      <a:pt x="472" y="323"/>
                    </a:lnTo>
                    <a:lnTo>
                      <a:pt x="478" y="326"/>
                    </a:lnTo>
                    <a:lnTo>
                      <a:pt x="482" y="329"/>
                    </a:lnTo>
                    <a:lnTo>
                      <a:pt x="482" y="329"/>
                    </a:lnTo>
                    <a:lnTo>
                      <a:pt x="489" y="336"/>
                    </a:lnTo>
                    <a:lnTo>
                      <a:pt x="494" y="340"/>
                    </a:lnTo>
                    <a:lnTo>
                      <a:pt x="501" y="344"/>
                    </a:lnTo>
                    <a:lnTo>
                      <a:pt x="501" y="344"/>
                    </a:lnTo>
                    <a:lnTo>
                      <a:pt x="504" y="346"/>
                    </a:lnTo>
                    <a:lnTo>
                      <a:pt x="506" y="344"/>
                    </a:lnTo>
                    <a:lnTo>
                      <a:pt x="506" y="343"/>
                    </a:lnTo>
                    <a:lnTo>
                      <a:pt x="506" y="340"/>
                    </a:lnTo>
                    <a:lnTo>
                      <a:pt x="506" y="336"/>
                    </a:lnTo>
                    <a:lnTo>
                      <a:pt x="508" y="336"/>
                    </a:lnTo>
                    <a:lnTo>
                      <a:pt x="511" y="336"/>
                    </a:lnTo>
                    <a:lnTo>
                      <a:pt x="511" y="336"/>
                    </a:lnTo>
                    <a:lnTo>
                      <a:pt x="515" y="339"/>
                    </a:lnTo>
                    <a:lnTo>
                      <a:pt x="518" y="340"/>
                    </a:lnTo>
                    <a:lnTo>
                      <a:pt x="519" y="340"/>
                    </a:lnTo>
                    <a:lnTo>
                      <a:pt x="524" y="343"/>
                    </a:lnTo>
                    <a:lnTo>
                      <a:pt x="524" y="343"/>
                    </a:lnTo>
                    <a:lnTo>
                      <a:pt x="526" y="346"/>
                    </a:lnTo>
                    <a:lnTo>
                      <a:pt x="528" y="344"/>
                    </a:lnTo>
                    <a:lnTo>
                      <a:pt x="528" y="343"/>
                    </a:lnTo>
                    <a:lnTo>
                      <a:pt x="525" y="330"/>
                    </a:lnTo>
                    <a:lnTo>
                      <a:pt x="525" y="330"/>
                    </a:lnTo>
                    <a:lnTo>
                      <a:pt x="524" y="325"/>
                    </a:lnTo>
                    <a:lnTo>
                      <a:pt x="524" y="325"/>
                    </a:lnTo>
                    <a:lnTo>
                      <a:pt x="525" y="325"/>
                    </a:lnTo>
                    <a:lnTo>
                      <a:pt x="531" y="332"/>
                    </a:lnTo>
                    <a:lnTo>
                      <a:pt x="531" y="332"/>
                    </a:lnTo>
                    <a:lnTo>
                      <a:pt x="532" y="336"/>
                    </a:lnTo>
                    <a:lnTo>
                      <a:pt x="533" y="342"/>
                    </a:lnTo>
                    <a:lnTo>
                      <a:pt x="533" y="347"/>
                    </a:lnTo>
                    <a:lnTo>
                      <a:pt x="532" y="352"/>
                    </a:lnTo>
                    <a:lnTo>
                      <a:pt x="532" y="352"/>
                    </a:lnTo>
                    <a:lnTo>
                      <a:pt x="531" y="354"/>
                    </a:lnTo>
                    <a:lnTo>
                      <a:pt x="529" y="354"/>
                    </a:lnTo>
                    <a:lnTo>
                      <a:pt x="525" y="354"/>
                    </a:lnTo>
                    <a:lnTo>
                      <a:pt x="521" y="353"/>
                    </a:lnTo>
                    <a:lnTo>
                      <a:pt x="521" y="352"/>
                    </a:lnTo>
                    <a:lnTo>
                      <a:pt x="521" y="350"/>
                    </a:lnTo>
                    <a:lnTo>
                      <a:pt x="521" y="350"/>
                    </a:lnTo>
                    <a:lnTo>
                      <a:pt x="519" y="349"/>
                    </a:lnTo>
                    <a:lnTo>
                      <a:pt x="519" y="347"/>
                    </a:lnTo>
                    <a:lnTo>
                      <a:pt x="515" y="347"/>
                    </a:lnTo>
                    <a:lnTo>
                      <a:pt x="511" y="350"/>
                    </a:lnTo>
                    <a:lnTo>
                      <a:pt x="509" y="350"/>
                    </a:lnTo>
                    <a:lnTo>
                      <a:pt x="509" y="353"/>
                    </a:lnTo>
                    <a:lnTo>
                      <a:pt x="509" y="353"/>
                    </a:lnTo>
                    <a:lnTo>
                      <a:pt x="511" y="357"/>
                    </a:lnTo>
                    <a:lnTo>
                      <a:pt x="514" y="362"/>
                    </a:lnTo>
                    <a:lnTo>
                      <a:pt x="518" y="366"/>
                    </a:lnTo>
                    <a:lnTo>
                      <a:pt x="522" y="369"/>
                    </a:lnTo>
                    <a:lnTo>
                      <a:pt x="522" y="369"/>
                    </a:lnTo>
                    <a:lnTo>
                      <a:pt x="524" y="369"/>
                    </a:lnTo>
                    <a:lnTo>
                      <a:pt x="525" y="370"/>
                    </a:lnTo>
                    <a:lnTo>
                      <a:pt x="525" y="374"/>
                    </a:lnTo>
                    <a:lnTo>
                      <a:pt x="526" y="377"/>
                    </a:lnTo>
                    <a:lnTo>
                      <a:pt x="528" y="379"/>
                    </a:lnTo>
                    <a:lnTo>
                      <a:pt x="528" y="379"/>
                    </a:lnTo>
                    <a:lnTo>
                      <a:pt x="531" y="381"/>
                    </a:lnTo>
                    <a:lnTo>
                      <a:pt x="532" y="384"/>
                    </a:lnTo>
                    <a:lnTo>
                      <a:pt x="533" y="387"/>
                    </a:lnTo>
                    <a:lnTo>
                      <a:pt x="533" y="389"/>
                    </a:lnTo>
                    <a:lnTo>
                      <a:pt x="535" y="389"/>
                    </a:lnTo>
                    <a:lnTo>
                      <a:pt x="535" y="389"/>
                    </a:lnTo>
                    <a:lnTo>
                      <a:pt x="536" y="386"/>
                    </a:lnTo>
                    <a:lnTo>
                      <a:pt x="536" y="381"/>
                    </a:lnTo>
                    <a:lnTo>
                      <a:pt x="535" y="376"/>
                    </a:lnTo>
                    <a:lnTo>
                      <a:pt x="533" y="371"/>
                    </a:lnTo>
                    <a:lnTo>
                      <a:pt x="533" y="371"/>
                    </a:lnTo>
                    <a:lnTo>
                      <a:pt x="532" y="367"/>
                    </a:lnTo>
                    <a:lnTo>
                      <a:pt x="532" y="363"/>
                    </a:lnTo>
                    <a:lnTo>
                      <a:pt x="533" y="360"/>
                    </a:lnTo>
                    <a:lnTo>
                      <a:pt x="536" y="360"/>
                    </a:lnTo>
                    <a:lnTo>
                      <a:pt x="536" y="360"/>
                    </a:lnTo>
                    <a:lnTo>
                      <a:pt x="538" y="363"/>
                    </a:lnTo>
                    <a:lnTo>
                      <a:pt x="538" y="366"/>
                    </a:lnTo>
                    <a:lnTo>
                      <a:pt x="538" y="369"/>
                    </a:lnTo>
                    <a:lnTo>
                      <a:pt x="538" y="371"/>
                    </a:lnTo>
                    <a:lnTo>
                      <a:pt x="538" y="371"/>
                    </a:lnTo>
                    <a:lnTo>
                      <a:pt x="539" y="373"/>
                    </a:lnTo>
                    <a:lnTo>
                      <a:pt x="542" y="371"/>
                    </a:lnTo>
                    <a:lnTo>
                      <a:pt x="548" y="366"/>
                    </a:lnTo>
                    <a:lnTo>
                      <a:pt x="548" y="366"/>
                    </a:lnTo>
                    <a:lnTo>
                      <a:pt x="549" y="366"/>
                    </a:lnTo>
                    <a:lnTo>
                      <a:pt x="549" y="363"/>
                    </a:lnTo>
                    <a:lnTo>
                      <a:pt x="549" y="359"/>
                    </a:lnTo>
                    <a:lnTo>
                      <a:pt x="548" y="354"/>
                    </a:lnTo>
                    <a:lnTo>
                      <a:pt x="548" y="352"/>
                    </a:lnTo>
                    <a:lnTo>
                      <a:pt x="548" y="352"/>
                    </a:lnTo>
                    <a:lnTo>
                      <a:pt x="548" y="350"/>
                    </a:lnTo>
                    <a:lnTo>
                      <a:pt x="549" y="350"/>
                    </a:lnTo>
                    <a:lnTo>
                      <a:pt x="552" y="352"/>
                    </a:lnTo>
                    <a:lnTo>
                      <a:pt x="555" y="357"/>
                    </a:lnTo>
                    <a:lnTo>
                      <a:pt x="556" y="362"/>
                    </a:lnTo>
                    <a:lnTo>
                      <a:pt x="556" y="362"/>
                    </a:lnTo>
                    <a:lnTo>
                      <a:pt x="556" y="366"/>
                    </a:lnTo>
                    <a:lnTo>
                      <a:pt x="555" y="369"/>
                    </a:lnTo>
                    <a:lnTo>
                      <a:pt x="552" y="371"/>
                    </a:lnTo>
                    <a:lnTo>
                      <a:pt x="552" y="373"/>
                    </a:lnTo>
                    <a:lnTo>
                      <a:pt x="552" y="373"/>
                    </a:lnTo>
                    <a:lnTo>
                      <a:pt x="551" y="376"/>
                    </a:lnTo>
                    <a:lnTo>
                      <a:pt x="548" y="376"/>
                    </a:lnTo>
                    <a:lnTo>
                      <a:pt x="545" y="376"/>
                    </a:lnTo>
                    <a:lnTo>
                      <a:pt x="542" y="377"/>
                    </a:lnTo>
                    <a:lnTo>
                      <a:pt x="542" y="377"/>
                    </a:lnTo>
                    <a:lnTo>
                      <a:pt x="542" y="381"/>
                    </a:lnTo>
                    <a:lnTo>
                      <a:pt x="542" y="387"/>
                    </a:lnTo>
                    <a:lnTo>
                      <a:pt x="542" y="391"/>
                    </a:lnTo>
                    <a:lnTo>
                      <a:pt x="545" y="394"/>
                    </a:lnTo>
                    <a:lnTo>
                      <a:pt x="545" y="394"/>
                    </a:lnTo>
                    <a:lnTo>
                      <a:pt x="546" y="393"/>
                    </a:lnTo>
                    <a:lnTo>
                      <a:pt x="548" y="389"/>
                    </a:lnTo>
                    <a:lnTo>
                      <a:pt x="549" y="387"/>
                    </a:lnTo>
                    <a:lnTo>
                      <a:pt x="551" y="387"/>
                    </a:lnTo>
                    <a:lnTo>
                      <a:pt x="551" y="389"/>
                    </a:lnTo>
                    <a:lnTo>
                      <a:pt x="551" y="389"/>
                    </a:lnTo>
                    <a:lnTo>
                      <a:pt x="552" y="390"/>
                    </a:lnTo>
                    <a:lnTo>
                      <a:pt x="553" y="390"/>
                    </a:lnTo>
                    <a:lnTo>
                      <a:pt x="556" y="387"/>
                    </a:lnTo>
                    <a:lnTo>
                      <a:pt x="559" y="386"/>
                    </a:lnTo>
                    <a:lnTo>
                      <a:pt x="560" y="386"/>
                    </a:lnTo>
                    <a:lnTo>
                      <a:pt x="560" y="386"/>
                    </a:lnTo>
                    <a:lnTo>
                      <a:pt x="560" y="386"/>
                    </a:lnTo>
                    <a:lnTo>
                      <a:pt x="563" y="390"/>
                    </a:lnTo>
                    <a:lnTo>
                      <a:pt x="568" y="394"/>
                    </a:lnTo>
                    <a:lnTo>
                      <a:pt x="572" y="397"/>
                    </a:lnTo>
                    <a:lnTo>
                      <a:pt x="575" y="397"/>
                    </a:lnTo>
                    <a:lnTo>
                      <a:pt x="575" y="397"/>
                    </a:lnTo>
                    <a:lnTo>
                      <a:pt x="576" y="396"/>
                    </a:lnTo>
                    <a:lnTo>
                      <a:pt x="575" y="393"/>
                    </a:lnTo>
                    <a:lnTo>
                      <a:pt x="572" y="390"/>
                    </a:lnTo>
                    <a:lnTo>
                      <a:pt x="568" y="389"/>
                    </a:lnTo>
                    <a:lnTo>
                      <a:pt x="568" y="389"/>
                    </a:lnTo>
                    <a:lnTo>
                      <a:pt x="565" y="387"/>
                    </a:lnTo>
                    <a:lnTo>
                      <a:pt x="565" y="384"/>
                    </a:lnTo>
                    <a:lnTo>
                      <a:pt x="566" y="381"/>
                    </a:lnTo>
                    <a:lnTo>
                      <a:pt x="569" y="380"/>
                    </a:lnTo>
                    <a:lnTo>
                      <a:pt x="569" y="380"/>
                    </a:lnTo>
                    <a:lnTo>
                      <a:pt x="572" y="381"/>
                    </a:lnTo>
                    <a:lnTo>
                      <a:pt x="576" y="387"/>
                    </a:lnTo>
                    <a:lnTo>
                      <a:pt x="580" y="391"/>
                    </a:lnTo>
                    <a:lnTo>
                      <a:pt x="580" y="396"/>
                    </a:lnTo>
                    <a:lnTo>
                      <a:pt x="580" y="396"/>
                    </a:lnTo>
                    <a:lnTo>
                      <a:pt x="580" y="399"/>
                    </a:lnTo>
                    <a:lnTo>
                      <a:pt x="578" y="400"/>
                    </a:lnTo>
                    <a:lnTo>
                      <a:pt x="573" y="404"/>
                    </a:lnTo>
                    <a:lnTo>
                      <a:pt x="573" y="404"/>
                    </a:lnTo>
                    <a:lnTo>
                      <a:pt x="572" y="406"/>
                    </a:lnTo>
                    <a:lnTo>
                      <a:pt x="569" y="406"/>
                    </a:lnTo>
                    <a:lnTo>
                      <a:pt x="566" y="403"/>
                    </a:lnTo>
                    <a:lnTo>
                      <a:pt x="562" y="399"/>
                    </a:lnTo>
                    <a:lnTo>
                      <a:pt x="559" y="397"/>
                    </a:lnTo>
                    <a:lnTo>
                      <a:pt x="559" y="397"/>
                    </a:lnTo>
                    <a:lnTo>
                      <a:pt x="558" y="399"/>
                    </a:lnTo>
                    <a:lnTo>
                      <a:pt x="558" y="399"/>
                    </a:lnTo>
                    <a:lnTo>
                      <a:pt x="558" y="403"/>
                    </a:lnTo>
                    <a:lnTo>
                      <a:pt x="560" y="410"/>
                    </a:lnTo>
                    <a:lnTo>
                      <a:pt x="560" y="410"/>
                    </a:lnTo>
                    <a:lnTo>
                      <a:pt x="560" y="414"/>
                    </a:lnTo>
                    <a:lnTo>
                      <a:pt x="559" y="418"/>
                    </a:lnTo>
                    <a:lnTo>
                      <a:pt x="559" y="423"/>
                    </a:lnTo>
                    <a:lnTo>
                      <a:pt x="559" y="424"/>
                    </a:lnTo>
                    <a:lnTo>
                      <a:pt x="562" y="426"/>
                    </a:lnTo>
                    <a:lnTo>
                      <a:pt x="562" y="426"/>
                    </a:lnTo>
                    <a:lnTo>
                      <a:pt x="565" y="427"/>
                    </a:lnTo>
                    <a:lnTo>
                      <a:pt x="566" y="426"/>
                    </a:lnTo>
                    <a:lnTo>
                      <a:pt x="566" y="420"/>
                    </a:lnTo>
                    <a:lnTo>
                      <a:pt x="566" y="420"/>
                    </a:lnTo>
                    <a:lnTo>
                      <a:pt x="568" y="420"/>
                    </a:lnTo>
                    <a:lnTo>
                      <a:pt x="570" y="420"/>
                    </a:lnTo>
                    <a:lnTo>
                      <a:pt x="576" y="424"/>
                    </a:lnTo>
                    <a:lnTo>
                      <a:pt x="576" y="424"/>
                    </a:lnTo>
                    <a:lnTo>
                      <a:pt x="578" y="424"/>
                    </a:lnTo>
                    <a:lnTo>
                      <a:pt x="579" y="421"/>
                    </a:lnTo>
                    <a:lnTo>
                      <a:pt x="579" y="414"/>
                    </a:lnTo>
                    <a:lnTo>
                      <a:pt x="579" y="414"/>
                    </a:lnTo>
                    <a:lnTo>
                      <a:pt x="580" y="413"/>
                    </a:lnTo>
                    <a:lnTo>
                      <a:pt x="582" y="413"/>
                    </a:lnTo>
                    <a:lnTo>
                      <a:pt x="585" y="416"/>
                    </a:lnTo>
                    <a:lnTo>
                      <a:pt x="588" y="417"/>
                    </a:lnTo>
                    <a:lnTo>
                      <a:pt x="588" y="417"/>
                    </a:lnTo>
                    <a:lnTo>
                      <a:pt x="589" y="418"/>
                    </a:lnTo>
                    <a:lnTo>
                      <a:pt x="590" y="417"/>
                    </a:lnTo>
                    <a:lnTo>
                      <a:pt x="592" y="414"/>
                    </a:lnTo>
                    <a:lnTo>
                      <a:pt x="595" y="414"/>
                    </a:lnTo>
                    <a:lnTo>
                      <a:pt x="595" y="414"/>
                    </a:lnTo>
                    <a:lnTo>
                      <a:pt x="597" y="416"/>
                    </a:lnTo>
                    <a:lnTo>
                      <a:pt x="597" y="418"/>
                    </a:lnTo>
                    <a:lnTo>
                      <a:pt x="596" y="426"/>
                    </a:lnTo>
                    <a:lnTo>
                      <a:pt x="596" y="426"/>
                    </a:lnTo>
                    <a:lnTo>
                      <a:pt x="596" y="426"/>
                    </a:lnTo>
                    <a:lnTo>
                      <a:pt x="597" y="427"/>
                    </a:lnTo>
                    <a:lnTo>
                      <a:pt x="600" y="426"/>
                    </a:lnTo>
                    <a:lnTo>
                      <a:pt x="602" y="424"/>
                    </a:lnTo>
                    <a:lnTo>
                      <a:pt x="603" y="426"/>
                    </a:lnTo>
                    <a:lnTo>
                      <a:pt x="603" y="426"/>
                    </a:lnTo>
                    <a:lnTo>
                      <a:pt x="603" y="426"/>
                    </a:lnTo>
                    <a:lnTo>
                      <a:pt x="603" y="428"/>
                    </a:lnTo>
                    <a:lnTo>
                      <a:pt x="603" y="428"/>
                    </a:lnTo>
                    <a:lnTo>
                      <a:pt x="615" y="420"/>
                    </a:lnTo>
                    <a:lnTo>
                      <a:pt x="615" y="420"/>
                    </a:lnTo>
                    <a:lnTo>
                      <a:pt x="616" y="418"/>
                    </a:lnTo>
                    <a:lnTo>
                      <a:pt x="616" y="417"/>
                    </a:lnTo>
                    <a:lnTo>
                      <a:pt x="615" y="413"/>
                    </a:lnTo>
                    <a:lnTo>
                      <a:pt x="612" y="410"/>
                    </a:lnTo>
                    <a:lnTo>
                      <a:pt x="610" y="407"/>
                    </a:lnTo>
                    <a:lnTo>
                      <a:pt x="610" y="406"/>
                    </a:lnTo>
                    <a:lnTo>
                      <a:pt x="610" y="406"/>
                    </a:lnTo>
                    <a:close/>
                    <a:moveTo>
                      <a:pt x="10" y="455"/>
                    </a:moveTo>
                    <a:lnTo>
                      <a:pt x="10" y="455"/>
                    </a:lnTo>
                    <a:lnTo>
                      <a:pt x="16" y="453"/>
                    </a:lnTo>
                    <a:lnTo>
                      <a:pt x="20" y="450"/>
                    </a:lnTo>
                    <a:lnTo>
                      <a:pt x="20" y="447"/>
                    </a:lnTo>
                    <a:lnTo>
                      <a:pt x="18" y="444"/>
                    </a:lnTo>
                    <a:lnTo>
                      <a:pt x="18" y="444"/>
                    </a:lnTo>
                    <a:lnTo>
                      <a:pt x="17" y="444"/>
                    </a:lnTo>
                    <a:lnTo>
                      <a:pt x="16" y="444"/>
                    </a:lnTo>
                    <a:lnTo>
                      <a:pt x="11" y="450"/>
                    </a:lnTo>
                    <a:lnTo>
                      <a:pt x="9" y="454"/>
                    </a:lnTo>
                    <a:lnTo>
                      <a:pt x="9" y="455"/>
                    </a:lnTo>
                    <a:lnTo>
                      <a:pt x="10" y="455"/>
                    </a:lnTo>
                    <a:lnTo>
                      <a:pt x="10" y="455"/>
                    </a:lnTo>
                    <a:close/>
                    <a:moveTo>
                      <a:pt x="71" y="424"/>
                    </a:moveTo>
                    <a:lnTo>
                      <a:pt x="71" y="424"/>
                    </a:lnTo>
                    <a:lnTo>
                      <a:pt x="67" y="424"/>
                    </a:lnTo>
                    <a:lnTo>
                      <a:pt x="63" y="424"/>
                    </a:lnTo>
                    <a:lnTo>
                      <a:pt x="54" y="428"/>
                    </a:lnTo>
                    <a:lnTo>
                      <a:pt x="48" y="433"/>
                    </a:lnTo>
                    <a:lnTo>
                      <a:pt x="48" y="434"/>
                    </a:lnTo>
                    <a:lnTo>
                      <a:pt x="50" y="434"/>
                    </a:lnTo>
                    <a:lnTo>
                      <a:pt x="50" y="434"/>
                    </a:lnTo>
                    <a:lnTo>
                      <a:pt x="53" y="434"/>
                    </a:lnTo>
                    <a:lnTo>
                      <a:pt x="55" y="433"/>
                    </a:lnTo>
                    <a:lnTo>
                      <a:pt x="58" y="431"/>
                    </a:lnTo>
                    <a:lnTo>
                      <a:pt x="63" y="430"/>
                    </a:lnTo>
                    <a:lnTo>
                      <a:pt x="63" y="430"/>
                    </a:lnTo>
                    <a:lnTo>
                      <a:pt x="67" y="430"/>
                    </a:lnTo>
                    <a:lnTo>
                      <a:pt x="71" y="428"/>
                    </a:lnTo>
                    <a:lnTo>
                      <a:pt x="74" y="426"/>
                    </a:lnTo>
                    <a:lnTo>
                      <a:pt x="73" y="426"/>
                    </a:lnTo>
                    <a:lnTo>
                      <a:pt x="71" y="424"/>
                    </a:lnTo>
                    <a:lnTo>
                      <a:pt x="71" y="424"/>
                    </a:lnTo>
                    <a:close/>
                    <a:moveTo>
                      <a:pt x="252" y="340"/>
                    </a:moveTo>
                    <a:lnTo>
                      <a:pt x="252" y="340"/>
                    </a:lnTo>
                    <a:lnTo>
                      <a:pt x="250" y="339"/>
                    </a:lnTo>
                    <a:lnTo>
                      <a:pt x="248" y="339"/>
                    </a:lnTo>
                    <a:lnTo>
                      <a:pt x="243" y="340"/>
                    </a:lnTo>
                    <a:lnTo>
                      <a:pt x="239" y="344"/>
                    </a:lnTo>
                    <a:lnTo>
                      <a:pt x="239" y="344"/>
                    </a:lnTo>
                    <a:lnTo>
                      <a:pt x="229" y="354"/>
                    </a:lnTo>
                    <a:lnTo>
                      <a:pt x="226" y="359"/>
                    </a:lnTo>
                    <a:lnTo>
                      <a:pt x="225" y="362"/>
                    </a:lnTo>
                    <a:lnTo>
                      <a:pt x="225" y="362"/>
                    </a:lnTo>
                    <a:lnTo>
                      <a:pt x="223" y="363"/>
                    </a:lnTo>
                    <a:lnTo>
                      <a:pt x="222" y="363"/>
                    </a:lnTo>
                    <a:lnTo>
                      <a:pt x="219" y="363"/>
                    </a:lnTo>
                    <a:lnTo>
                      <a:pt x="216" y="363"/>
                    </a:lnTo>
                    <a:lnTo>
                      <a:pt x="213" y="364"/>
                    </a:lnTo>
                    <a:lnTo>
                      <a:pt x="213" y="366"/>
                    </a:lnTo>
                    <a:lnTo>
                      <a:pt x="213" y="366"/>
                    </a:lnTo>
                    <a:lnTo>
                      <a:pt x="212" y="370"/>
                    </a:lnTo>
                    <a:lnTo>
                      <a:pt x="213" y="376"/>
                    </a:lnTo>
                    <a:lnTo>
                      <a:pt x="216" y="379"/>
                    </a:lnTo>
                    <a:lnTo>
                      <a:pt x="218" y="379"/>
                    </a:lnTo>
                    <a:lnTo>
                      <a:pt x="219" y="379"/>
                    </a:lnTo>
                    <a:lnTo>
                      <a:pt x="219" y="379"/>
                    </a:lnTo>
                    <a:lnTo>
                      <a:pt x="222" y="377"/>
                    </a:lnTo>
                    <a:lnTo>
                      <a:pt x="225" y="377"/>
                    </a:lnTo>
                    <a:lnTo>
                      <a:pt x="228" y="379"/>
                    </a:lnTo>
                    <a:lnTo>
                      <a:pt x="228" y="379"/>
                    </a:lnTo>
                    <a:lnTo>
                      <a:pt x="232" y="377"/>
                    </a:lnTo>
                    <a:lnTo>
                      <a:pt x="239" y="373"/>
                    </a:lnTo>
                    <a:lnTo>
                      <a:pt x="245" y="367"/>
                    </a:lnTo>
                    <a:lnTo>
                      <a:pt x="249" y="363"/>
                    </a:lnTo>
                    <a:lnTo>
                      <a:pt x="249" y="363"/>
                    </a:lnTo>
                    <a:lnTo>
                      <a:pt x="250" y="362"/>
                    </a:lnTo>
                    <a:lnTo>
                      <a:pt x="249" y="360"/>
                    </a:lnTo>
                    <a:lnTo>
                      <a:pt x="248" y="357"/>
                    </a:lnTo>
                    <a:lnTo>
                      <a:pt x="245" y="356"/>
                    </a:lnTo>
                    <a:lnTo>
                      <a:pt x="243" y="353"/>
                    </a:lnTo>
                    <a:lnTo>
                      <a:pt x="243" y="353"/>
                    </a:lnTo>
                    <a:lnTo>
                      <a:pt x="245" y="352"/>
                    </a:lnTo>
                    <a:lnTo>
                      <a:pt x="248" y="350"/>
                    </a:lnTo>
                    <a:lnTo>
                      <a:pt x="255" y="349"/>
                    </a:lnTo>
                    <a:lnTo>
                      <a:pt x="255" y="349"/>
                    </a:lnTo>
                    <a:lnTo>
                      <a:pt x="256" y="347"/>
                    </a:lnTo>
                    <a:lnTo>
                      <a:pt x="255" y="344"/>
                    </a:lnTo>
                    <a:lnTo>
                      <a:pt x="252" y="343"/>
                    </a:lnTo>
                    <a:lnTo>
                      <a:pt x="252" y="340"/>
                    </a:lnTo>
                    <a:lnTo>
                      <a:pt x="252" y="340"/>
                    </a:lnTo>
                    <a:close/>
                    <a:moveTo>
                      <a:pt x="24" y="299"/>
                    </a:moveTo>
                    <a:lnTo>
                      <a:pt x="24" y="299"/>
                    </a:lnTo>
                    <a:lnTo>
                      <a:pt x="24" y="298"/>
                    </a:lnTo>
                    <a:lnTo>
                      <a:pt x="21" y="296"/>
                    </a:lnTo>
                    <a:lnTo>
                      <a:pt x="17" y="298"/>
                    </a:lnTo>
                    <a:lnTo>
                      <a:pt x="11" y="299"/>
                    </a:lnTo>
                    <a:lnTo>
                      <a:pt x="10" y="302"/>
                    </a:lnTo>
                    <a:lnTo>
                      <a:pt x="10" y="303"/>
                    </a:lnTo>
                    <a:lnTo>
                      <a:pt x="10" y="303"/>
                    </a:lnTo>
                    <a:lnTo>
                      <a:pt x="11" y="306"/>
                    </a:lnTo>
                    <a:lnTo>
                      <a:pt x="14" y="307"/>
                    </a:lnTo>
                    <a:lnTo>
                      <a:pt x="20" y="309"/>
                    </a:lnTo>
                    <a:lnTo>
                      <a:pt x="27" y="310"/>
                    </a:lnTo>
                    <a:lnTo>
                      <a:pt x="33" y="310"/>
                    </a:lnTo>
                    <a:lnTo>
                      <a:pt x="33" y="310"/>
                    </a:lnTo>
                    <a:lnTo>
                      <a:pt x="36" y="309"/>
                    </a:lnTo>
                    <a:lnTo>
                      <a:pt x="38" y="306"/>
                    </a:lnTo>
                    <a:lnTo>
                      <a:pt x="38" y="302"/>
                    </a:lnTo>
                    <a:lnTo>
                      <a:pt x="36" y="299"/>
                    </a:lnTo>
                    <a:lnTo>
                      <a:pt x="36" y="299"/>
                    </a:lnTo>
                    <a:lnTo>
                      <a:pt x="34" y="299"/>
                    </a:lnTo>
                    <a:lnTo>
                      <a:pt x="33" y="299"/>
                    </a:lnTo>
                    <a:lnTo>
                      <a:pt x="30" y="299"/>
                    </a:lnTo>
                    <a:lnTo>
                      <a:pt x="26" y="300"/>
                    </a:lnTo>
                    <a:lnTo>
                      <a:pt x="26" y="300"/>
                    </a:lnTo>
                    <a:lnTo>
                      <a:pt x="24" y="299"/>
                    </a:lnTo>
                    <a:lnTo>
                      <a:pt x="24" y="299"/>
                    </a:lnTo>
                    <a:close/>
                    <a:moveTo>
                      <a:pt x="198" y="1084"/>
                    </a:moveTo>
                    <a:lnTo>
                      <a:pt x="198" y="1084"/>
                    </a:lnTo>
                    <a:lnTo>
                      <a:pt x="195" y="1086"/>
                    </a:lnTo>
                    <a:lnTo>
                      <a:pt x="193" y="1087"/>
                    </a:lnTo>
                    <a:lnTo>
                      <a:pt x="193" y="1091"/>
                    </a:lnTo>
                    <a:lnTo>
                      <a:pt x="193" y="1096"/>
                    </a:lnTo>
                    <a:lnTo>
                      <a:pt x="195" y="1101"/>
                    </a:lnTo>
                    <a:lnTo>
                      <a:pt x="196" y="1104"/>
                    </a:lnTo>
                    <a:lnTo>
                      <a:pt x="199" y="1103"/>
                    </a:lnTo>
                    <a:lnTo>
                      <a:pt x="199" y="1103"/>
                    </a:lnTo>
                    <a:lnTo>
                      <a:pt x="205" y="1100"/>
                    </a:lnTo>
                    <a:lnTo>
                      <a:pt x="208" y="1098"/>
                    </a:lnTo>
                    <a:lnTo>
                      <a:pt x="211" y="1097"/>
                    </a:lnTo>
                    <a:lnTo>
                      <a:pt x="211" y="1097"/>
                    </a:lnTo>
                    <a:lnTo>
                      <a:pt x="211" y="1093"/>
                    </a:lnTo>
                    <a:lnTo>
                      <a:pt x="208" y="1088"/>
                    </a:lnTo>
                    <a:lnTo>
                      <a:pt x="203" y="1084"/>
                    </a:lnTo>
                    <a:lnTo>
                      <a:pt x="201" y="1084"/>
                    </a:lnTo>
                    <a:lnTo>
                      <a:pt x="198" y="1084"/>
                    </a:lnTo>
                    <a:lnTo>
                      <a:pt x="198" y="1084"/>
                    </a:lnTo>
                    <a:close/>
                    <a:moveTo>
                      <a:pt x="186" y="1070"/>
                    </a:moveTo>
                    <a:lnTo>
                      <a:pt x="186" y="1070"/>
                    </a:lnTo>
                    <a:lnTo>
                      <a:pt x="185" y="1071"/>
                    </a:lnTo>
                    <a:lnTo>
                      <a:pt x="184" y="1071"/>
                    </a:lnTo>
                    <a:lnTo>
                      <a:pt x="184" y="1076"/>
                    </a:lnTo>
                    <a:lnTo>
                      <a:pt x="185" y="1079"/>
                    </a:lnTo>
                    <a:lnTo>
                      <a:pt x="186" y="1079"/>
                    </a:lnTo>
                    <a:lnTo>
                      <a:pt x="188" y="1079"/>
                    </a:lnTo>
                    <a:lnTo>
                      <a:pt x="188" y="1079"/>
                    </a:lnTo>
                    <a:lnTo>
                      <a:pt x="191" y="1074"/>
                    </a:lnTo>
                    <a:lnTo>
                      <a:pt x="191" y="1073"/>
                    </a:lnTo>
                    <a:lnTo>
                      <a:pt x="189" y="1070"/>
                    </a:lnTo>
                    <a:lnTo>
                      <a:pt x="186" y="1070"/>
                    </a:lnTo>
                    <a:lnTo>
                      <a:pt x="186" y="1070"/>
                    </a:lnTo>
                    <a:close/>
                    <a:moveTo>
                      <a:pt x="131" y="1051"/>
                    </a:moveTo>
                    <a:lnTo>
                      <a:pt x="131" y="1051"/>
                    </a:lnTo>
                    <a:lnTo>
                      <a:pt x="134" y="1054"/>
                    </a:lnTo>
                    <a:lnTo>
                      <a:pt x="137" y="1056"/>
                    </a:lnTo>
                    <a:lnTo>
                      <a:pt x="139" y="1054"/>
                    </a:lnTo>
                    <a:lnTo>
                      <a:pt x="141" y="1051"/>
                    </a:lnTo>
                    <a:lnTo>
                      <a:pt x="141" y="1051"/>
                    </a:lnTo>
                    <a:lnTo>
                      <a:pt x="139" y="1050"/>
                    </a:lnTo>
                    <a:lnTo>
                      <a:pt x="138" y="1049"/>
                    </a:lnTo>
                    <a:lnTo>
                      <a:pt x="134" y="1049"/>
                    </a:lnTo>
                    <a:lnTo>
                      <a:pt x="131" y="1049"/>
                    </a:lnTo>
                    <a:lnTo>
                      <a:pt x="129" y="1050"/>
                    </a:lnTo>
                    <a:lnTo>
                      <a:pt x="131" y="1051"/>
                    </a:lnTo>
                    <a:lnTo>
                      <a:pt x="131" y="1051"/>
                    </a:lnTo>
                    <a:close/>
                    <a:moveTo>
                      <a:pt x="156" y="1063"/>
                    </a:moveTo>
                    <a:lnTo>
                      <a:pt x="156" y="1063"/>
                    </a:lnTo>
                    <a:lnTo>
                      <a:pt x="158" y="1066"/>
                    </a:lnTo>
                    <a:lnTo>
                      <a:pt x="161" y="1067"/>
                    </a:lnTo>
                    <a:lnTo>
                      <a:pt x="164" y="1067"/>
                    </a:lnTo>
                    <a:lnTo>
                      <a:pt x="166" y="1064"/>
                    </a:lnTo>
                    <a:lnTo>
                      <a:pt x="166" y="1064"/>
                    </a:lnTo>
                    <a:lnTo>
                      <a:pt x="166" y="1063"/>
                    </a:lnTo>
                    <a:lnTo>
                      <a:pt x="165" y="1061"/>
                    </a:lnTo>
                    <a:lnTo>
                      <a:pt x="161" y="1060"/>
                    </a:lnTo>
                    <a:lnTo>
                      <a:pt x="156" y="1060"/>
                    </a:lnTo>
                    <a:lnTo>
                      <a:pt x="155" y="1061"/>
                    </a:lnTo>
                    <a:lnTo>
                      <a:pt x="156" y="1063"/>
                    </a:lnTo>
                    <a:lnTo>
                      <a:pt x="156" y="1063"/>
                    </a:lnTo>
                    <a:close/>
                    <a:moveTo>
                      <a:pt x="1616" y="586"/>
                    </a:moveTo>
                    <a:lnTo>
                      <a:pt x="1616" y="586"/>
                    </a:lnTo>
                    <a:lnTo>
                      <a:pt x="1615" y="585"/>
                    </a:lnTo>
                    <a:lnTo>
                      <a:pt x="1613" y="585"/>
                    </a:lnTo>
                    <a:lnTo>
                      <a:pt x="1608" y="583"/>
                    </a:lnTo>
                    <a:lnTo>
                      <a:pt x="1600" y="583"/>
                    </a:lnTo>
                    <a:lnTo>
                      <a:pt x="1596" y="582"/>
                    </a:lnTo>
                    <a:lnTo>
                      <a:pt x="1595" y="581"/>
                    </a:lnTo>
                    <a:lnTo>
                      <a:pt x="1595" y="581"/>
                    </a:lnTo>
                    <a:lnTo>
                      <a:pt x="1592" y="579"/>
                    </a:lnTo>
                    <a:lnTo>
                      <a:pt x="1589" y="582"/>
                    </a:lnTo>
                    <a:lnTo>
                      <a:pt x="1582" y="589"/>
                    </a:lnTo>
                    <a:lnTo>
                      <a:pt x="1576" y="599"/>
                    </a:lnTo>
                    <a:lnTo>
                      <a:pt x="1573" y="609"/>
                    </a:lnTo>
                    <a:lnTo>
                      <a:pt x="1573" y="609"/>
                    </a:lnTo>
                    <a:lnTo>
                      <a:pt x="1572" y="613"/>
                    </a:lnTo>
                    <a:lnTo>
                      <a:pt x="1569" y="616"/>
                    </a:lnTo>
                    <a:lnTo>
                      <a:pt x="1563" y="623"/>
                    </a:lnTo>
                    <a:lnTo>
                      <a:pt x="1553" y="630"/>
                    </a:lnTo>
                    <a:lnTo>
                      <a:pt x="1553" y="630"/>
                    </a:lnTo>
                    <a:lnTo>
                      <a:pt x="1499" y="630"/>
                    </a:lnTo>
                    <a:lnTo>
                      <a:pt x="1499" y="630"/>
                    </a:lnTo>
                    <a:lnTo>
                      <a:pt x="1495" y="632"/>
                    </a:lnTo>
                    <a:lnTo>
                      <a:pt x="1489" y="636"/>
                    </a:lnTo>
                    <a:lnTo>
                      <a:pt x="1477" y="646"/>
                    </a:lnTo>
                    <a:lnTo>
                      <a:pt x="1477" y="646"/>
                    </a:lnTo>
                    <a:lnTo>
                      <a:pt x="1478" y="647"/>
                    </a:lnTo>
                    <a:lnTo>
                      <a:pt x="1478" y="647"/>
                    </a:lnTo>
                    <a:lnTo>
                      <a:pt x="1478" y="650"/>
                    </a:lnTo>
                    <a:lnTo>
                      <a:pt x="1478" y="653"/>
                    </a:lnTo>
                    <a:lnTo>
                      <a:pt x="1475" y="656"/>
                    </a:lnTo>
                    <a:lnTo>
                      <a:pt x="1471" y="659"/>
                    </a:lnTo>
                    <a:lnTo>
                      <a:pt x="1460" y="662"/>
                    </a:lnTo>
                    <a:lnTo>
                      <a:pt x="1447" y="663"/>
                    </a:lnTo>
                    <a:lnTo>
                      <a:pt x="1447" y="663"/>
                    </a:lnTo>
                    <a:lnTo>
                      <a:pt x="1434" y="665"/>
                    </a:lnTo>
                    <a:lnTo>
                      <a:pt x="1434" y="665"/>
                    </a:lnTo>
                    <a:lnTo>
                      <a:pt x="1435" y="670"/>
                    </a:lnTo>
                    <a:lnTo>
                      <a:pt x="1435" y="670"/>
                    </a:lnTo>
                    <a:lnTo>
                      <a:pt x="1434" y="673"/>
                    </a:lnTo>
                    <a:lnTo>
                      <a:pt x="1430" y="674"/>
                    </a:lnTo>
                    <a:lnTo>
                      <a:pt x="1430" y="674"/>
                    </a:lnTo>
                    <a:lnTo>
                      <a:pt x="1425" y="680"/>
                    </a:lnTo>
                    <a:lnTo>
                      <a:pt x="1415" y="686"/>
                    </a:lnTo>
                    <a:lnTo>
                      <a:pt x="1393" y="697"/>
                    </a:lnTo>
                    <a:lnTo>
                      <a:pt x="1393" y="697"/>
                    </a:lnTo>
                    <a:lnTo>
                      <a:pt x="1388" y="699"/>
                    </a:lnTo>
                    <a:lnTo>
                      <a:pt x="1383" y="700"/>
                    </a:lnTo>
                    <a:lnTo>
                      <a:pt x="1377" y="702"/>
                    </a:lnTo>
                    <a:lnTo>
                      <a:pt x="1373" y="700"/>
                    </a:lnTo>
                    <a:lnTo>
                      <a:pt x="1367" y="699"/>
                    </a:lnTo>
                    <a:lnTo>
                      <a:pt x="1364" y="697"/>
                    </a:lnTo>
                    <a:lnTo>
                      <a:pt x="1361" y="693"/>
                    </a:lnTo>
                    <a:lnTo>
                      <a:pt x="1361" y="690"/>
                    </a:lnTo>
                    <a:lnTo>
                      <a:pt x="1361" y="690"/>
                    </a:lnTo>
                    <a:lnTo>
                      <a:pt x="1361" y="687"/>
                    </a:lnTo>
                    <a:lnTo>
                      <a:pt x="1363" y="684"/>
                    </a:lnTo>
                    <a:lnTo>
                      <a:pt x="1364" y="683"/>
                    </a:lnTo>
                    <a:lnTo>
                      <a:pt x="1367" y="683"/>
                    </a:lnTo>
                    <a:lnTo>
                      <a:pt x="1370" y="683"/>
                    </a:lnTo>
                    <a:lnTo>
                      <a:pt x="1373" y="686"/>
                    </a:lnTo>
                    <a:lnTo>
                      <a:pt x="1373" y="686"/>
                    </a:lnTo>
                    <a:lnTo>
                      <a:pt x="1374" y="687"/>
                    </a:lnTo>
                    <a:lnTo>
                      <a:pt x="1376" y="687"/>
                    </a:lnTo>
                    <a:lnTo>
                      <a:pt x="1380" y="684"/>
                    </a:lnTo>
                    <a:lnTo>
                      <a:pt x="1380" y="684"/>
                    </a:lnTo>
                    <a:lnTo>
                      <a:pt x="1378" y="682"/>
                    </a:lnTo>
                    <a:lnTo>
                      <a:pt x="1377" y="679"/>
                    </a:lnTo>
                    <a:lnTo>
                      <a:pt x="1377" y="672"/>
                    </a:lnTo>
                    <a:lnTo>
                      <a:pt x="1377" y="672"/>
                    </a:lnTo>
                    <a:lnTo>
                      <a:pt x="1376" y="670"/>
                    </a:lnTo>
                    <a:lnTo>
                      <a:pt x="1376" y="669"/>
                    </a:lnTo>
                    <a:lnTo>
                      <a:pt x="1376" y="662"/>
                    </a:lnTo>
                    <a:lnTo>
                      <a:pt x="1376" y="656"/>
                    </a:lnTo>
                    <a:lnTo>
                      <a:pt x="1374" y="653"/>
                    </a:lnTo>
                    <a:lnTo>
                      <a:pt x="1371" y="652"/>
                    </a:lnTo>
                    <a:lnTo>
                      <a:pt x="1371" y="652"/>
                    </a:lnTo>
                    <a:lnTo>
                      <a:pt x="1369" y="652"/>
                    </a:lnTo>
                    <a:lnTo>
                      <a:pt x="1364" y="652"/>
                    </a:lnTo>
                    <a:lnTo>
                      <a:pt x="1359" y="656"/>
                    </a:lnTo>
                    <a:lnTo>
                      <a:pt x="1354" y="657"/>
                    </a:lnTo>
                    <a:lnTo>
                      <a:pt x="1354" y="657"/>
                    </a:lnTo>
                    <a:lnTo>
                      <a:pt x="1354" y="655"/>
                    </a:lnTo>
                    <a:lnTo>
                      <a:pt x="1354" y="655"/>
                    </a:lnTo>
                    <a:lnTo>
                      <a:pt x="1357" y="647"/>
                    </a:lnTo>
                    <a:lnTo>
                      <a:pt x="1361" y="640"/>
                    </a:lnTo>
                    <a:lnTo>
                      <a:pt x="1363" y="638"/>
                    </a:lnTo>
                    <a:lnTo>
                      <a:pt x="1363" y="633"/>
                    </a:lnTo>
                    <a:lnTo>
                      <a:pt x="1363" y="629"/>
                    </a:lnTo>
                    <a:lnTo>
                      <a:pt x="1360" y="625"/>
                    </a:lnTo>
                    <a:lnTo>
                      <a:pt x="1360" y="625"/>
                    </a:lnTo>
                    <a:lnTo>
                      <a:pt x="1357" y="622"/>
                    </a:lnTo>
                    <a:lnTo>
                      <a:pt x="1354" y="619"/>
                    </a:lnTo>
                    <a:lnTo>
                      <a:pt x="1350" y="616"/>
                    </a:lnTo>
                    <a:lnTo>
                      <a:pt x="1346" y="616"/>
                    </a:lnTo>
                    <a:lnTo>
                      <a:pt x="1343" y="616"/>
                    </a:lnTo>
                    <a:lnTo>
                      <a:pt x="1340" y="618"/>
                    </a:lnTo>
                    <a:lnTo>
                      <a:pt x="1337" y="619"/>
                    </a:lnTo>
                    <a:lnTo>
                      <a:pt x="1336" y="622"/>
                    </a:lnTo>
                    <a:lnTo>
                      <a:pt x="1336" y="622"/>
                    </a:lnTo>
                    <a:lnTo>
                      <a:pt x="1334" y="625"/>
                    </a:lnTo>
                    <a:lnTo>
                      <a:pt x="1333" y="628"/>
                    </a:lnTo>
                    <a:lnTo>
                      <a:pt x="1327" y="629"/>
                    </a:lnTo>
                    <a:lnTo>
                      <a:pt x="1323" y="630"/>
                    </a:lnTo>
                    <a:lnTo>
                      <a:pt x="1320" y="632"/>
                    </a:lnTo>
                    <a:lnTo>
                      <a:pt x="1319" y="635"/>
                    </a:lnTo>
                    <a:lnTo>
                      <a:pt x="1319" y="635"/>
                    </a:lnTo>
                    <a:lnTo>
                      <a:pt x="1317" y="642"/>
                    </a:lnTo>
                    <a:lnTo>
                      <a:pt x="1314" y="650"/>
                    </a:lnTo>
                    <a:lnTo>
                      <a:pt x="1314" y="659"/>
                    </a:lnTo>
                    <a:lnTo>
                      <a:pt x="1314" y="669"/>
                    </a:lnTo>
                    <a:lnTo>
                      <a:pt x="1314" y="669"/>
                    </a:lnTo>
                    <a:lnTo>
                      <a:pt x="1316" y="676"/>
                    </a:lnTo>
                    <a:lnTo>
                      <a:pt x="1314" y="682"/>
                    </a:lnTo>
                    <a:lnTo>
                      <a:pt x="1310" y="687"/>
                    </a:lnTo>
                    <a:lnTo>
                      <a:pt x="1303" y="692"/>
                    </a:lnTo>
                    <a:lnTo>
                      <a:pt x="1303" y="692"/>
                    </a:lnTo>
                    <a:lnTo>
                      <a:pt x="1300" y="693"/>
                    </a:lnTo>
                    <a:lnTo>
                      <a:pt x="1296" y="693"/>
                    </a:lnTo>
                    <a:lnTo>
                      <a:pt x="1295" y="690"/>
                    </a:lnTo>
                    <a:lnTo>
                      <a:pt x="1292" y="687"/>
                    </a:lnTo>
                    <a:lnTo>
                      <a:pt x="1290" y="682"/>
                    </a:lnTo>
                    <a:lnTo>
                      <a:pt x="1290" y="676"/>
                    </a:lnTo>
                    <a:lnTo>
                      <a:pt x="1292" y="662"/>
                    </a:lnTo>
                    <a:lnTo>
                      <a:pt x="1292" y="662"/>
                    </a:lnTo>
                    <a:lnTo>
                      <a:pt x="1295" y="652"/>
                    </a:lnTo>
                    <a:lnTo>
                      <a:pt x="1297" y="642"/>
                    </a:lnTo>
                    <a:lnTo>
                      <a:pt x="1297" y="636"/>
                    </a:lnTo>
                    <a:lnTo>
                      <a:pt x="1297" y="635"/>
                    </a:lnTo>
                    <a:lnTo>
                      <a:pt x="1295" y="633"/>
                    </a:lnTo>
                    <a:lnTo>
                      <a:pt x="1295" y="633"/>
                    </a:lnTo>
                    <a:lnTo>
                      <a:pt x="1293" y="633"/>
                    </a:lnTo>
                    <a:lnTo>
                      <a:pt x="1293" y="632"/>
                    </a:lnTo>
                    <a:lnTo>
                      <a:pt x="1299" y="625"/>
                    </a:lnTo>
                    <a:lnTo>
                      <a:pt x="1309" y="618"/>
                    </a:lnTo>
                    <a:lnTo>
                      <a:pt x="1313" y="615"/>
                    </a:lnTo>
                    <a:lnTo>
                      <a:pt x="1319" y="613"/>
                    </a:lnTo>
                    <a:lnTo>
                      <a:pt x="1319" y="613"/>
                    </a:lnTo>
                    <a:lnTo>
                      <a:pt x="1330" y="612"/>
                    </a:lnTo>
                    <a:lnTo>
                      <a:pt x="1341" y="610"/>
                    </a:lnTo>
                    <a:lnTo>
                      <a:pt x="1350" y="609"/>
                    </a:lnTo>
                    <a:lnTo>
                      <a:pt x="1351" y="608"/>
                    </a:lnTo>
                    <a:lnTo>
                      <a:pt x="1353" y="606"/>
                    </a:lnTo>
                    <a:lnTo>
                      <a:pt x="1353" y="606"/>
                    </a:lnTo>
                    <a:lnTo>
                      <a:pt x="1353" y="606"/>
                    </a:lnTo>
                    <a:lnTo>
                      <a:pt x="1354" y="605"/>
                    </a:lnTo>
                    <a:lnTo>
                      <a:pt x="1354" y="605"/>
                    </a:lnTo>
                    <a:lnTo>
                      <a:pt x="1346" y="599"/>
                    </a:lnTo>
                    <a:lnTo>
                      <a:pt x="1346" y="599"/>
                    </a:lnTo>
                    <a:lnTo>
                      <a:pt x="1343" y="601"/>
                    </a:lnTo>
                    <a:lnTo>
                      <a:pt x="1343" y="601"/>
                    </a:lnTo>
                    <a:lnTo>
                      <a:pt x="1341" y="602"/>
                    </a:lnTo>
                    <a:lnTo>
                      <a:pt x="1340" y="602"/>
                    </a:lnTo>
                    <a:lnTo>
                      <a:pt x="1337" y="599"/>
                    </a:lnTo>
                    <a:lnTo>
                      <a:pt x="1334" y="596"/>
                    </a:lnTo>
                    <a:lnTo>
                      <a:pt x="1332" y="595"/>
                    </a:lnTo>
                    <a:lnTo>
                      <a:pt x="1329" y="595"/>
                    </a:lnTo>
                    <a:lnTo>
                      <a:pt x="1329" y="595"/>
                    </a:lnTo>
                    <a:lnTo>
                      <a:pt x="1320" y="596"/>
                    </a:lnTo>
                    <a:lnTo>
                      <a:pt x="1313" y="599"/>
                    </a:lnTo>
                    <a:lnTo>
                      <a:pt x="1306" y="602"/>
                    </a:lnTo>
                    <a:lnTo>
                      <a:pt x="1302" y="602"/>
                    </a:lnTo>
                    <a:lnTo>
                      <a:pt x="1299" y="601"/>
                    </a:lnTo>
                    <a:lnTo>
                      <a:pt x="1299" y="601"/>
                    </a:lnTo>
                    <a:lnTo>
                      <a:pt x="1295" y="598"/>
                    </a:lnTo>
                    <a:lnTo>
                      <a:pt x="1292" y="593"/>
                    </a:lnTo>
                    <a:lnTo>
                      <a:pt x="1290" y="592"/>
                    </a:lnTo>
                    <a:lnTo>
                      <a:pt x="1286" y="591"/>
                    </a:lnTo>
                    <a:lnTo>
                      <a:pt x="1286" y="591"/>
                    </a:lnTo>
                    <a:lnTo>
                      <a:pt x="1285" y="589"/>
                    </a:lnTo>
                    <a:lnTo>
                      <a:pt x="1285" y="588"/>
                    </a:lnTo>
                    <a:lnTo>
                      <a:pt x="1285" y="583"/>
                    </a:lnTo>
                    <a:lnTo>
                      <a:pt x="1286" y="581"/>
                    </a:lnTo>
                    <a:lnTo>
                      <a:pt x="1285" y="581"/>
                    </a:lnTo>
                    <a:lnTo>
                      <a:pt x="1280" y="582"/>
                    </a:lnTo>
                    <a:lnTo>
                      <a:pt x="1280" y="582"/>
                    </a:lnTo>
                    <a:lnTo>
                      <a:pt x="1262" y="595"/>
                    </a:lnTo>
                    <a:lnTo>
                      <a:pt x="1256" y="596"/>
                    </a:lnTo>
                    <a:lnTo>
                      <a:pt x="1252" y="599"/>
                    </a:lnTo>
                    <a:lnTo>
                      <a:pt x="1248" y="599"/>
                    </a:lnTo>
                    <a:lnTo>
                      <a:pt x="1245" y="596"/>
                    </a:lnTo>
                    <a:lnTo>
                      <a:pt x="1245" y="596"/>
                    </a:lnTo>
                    <a:lnTo>
                      <a:pt x="1242" y="595"/>
                    </a:lnTo>
                    <a:lnTo>
                      <a:pt x="1239" y="593"/>
                    </a:lnTo>
                    <a:lnTo>
                      <a:pt x="1233" y="595"/>
                    </a:lnTo>
                    <a:lnTo>
                      <a:pt x="1229" y="595"/>
                    </a:lnTo>
                    <a:lnTo>
                      <a:pt x="1226" y="595"/>
                    </a:lnTo>
                    <a:lnTo>
                      <a:pt x="1223" y="593"/>
                    </a:lnTo>
                    <a:lnTo>
                      <a:pt x="1223" y="593"/>
                    </a:lnTo>
                    <a:lnTo>
                      <a:pt x="1223" y="591"/>
                    </a:lnTo>
                    <a:lnTo>
                      <a:pt x="1225" y="588"/>
                    </a:lnTo>
                    <a:lnTo>
                      <a:pt x="1228" y="583"/>
                    </a:lnTo>
                    <a:lnTo>
                      <a:pt x="1233" y="581"/>
                    </a:lnTo>
                    <a:lnTo>
                      <a:pt x="1245" y="575"/>
                    </a:lnTo>
                    <a:lnTo>
                      <a:pt x="1250" y="573"/>
                    </a:lnTo>
                    <a:lnTo>
                      <a:pt x="1256" y="572"/>
                    </a:lnTo>
                    <a:lnTo>
                      <a:pt x="1256" y="572"/>
                    </a:lnTo>
                    <a:lnTo>
                      <a:pt x="1260" y="572"/>
                    </a:lnTo>
                    <a:lnTo>
                      <a:pt x="1265" y="569"/>
                    </a:lnTo>
                    <a:lnTo>
                      <a:pt x="1265" y="569"/>
                    </a:lnTo>
                    <a:lnTo>
                      <a:pt x="1252" y="565"/>
                    </a:lnTo>
                    <a:lnTo>
                      <a:pt x="1245" y="565"/>
                    </a:lnTo>
                    <a:lnTo>
                      <a:pt x="1243" y="565"/>
                    </a:lnTo>
                    <a:lnTo>
                      <a:pt x="1242" y="566"/>
                    </a:lnTo>
                    <a:lnTo>
                      <a:pt x="1242" y="566"/>
                    </a:lnTo>
                    <a:lnTo>
                      <a:pt x="1238" y="569"/>
                    </a:lnTo>
                    <a:lnTo>
                      <a:pt x="1233" y="569"/>
                    </a:lnTo>
                    <a:lnTo>
                      <a:pt x="1231" y="566"/>
                    </a:lnTo>
                    <a:lnTo>
                      <a:pt x="1228" y="564"/>
                    </a:lnTo>
                    <a:lnTo>
                      <a:pt x="1228" y="564"/>
                    </a:lnTo>
                    <a:lnTo>
                      <a:pt x="1225" y="562"/>
                    </a:lnTo>
                    <a:lnTo>
                      <a:pt x="1222" y="562"/>
                    </a:lnTo>
                    <a:lnTo>
                      <a:pt x="1218" y="562"/>
                    </a:lnTo>
                    <a:lnTo>
                      <a:pt x="1215" y="559"/>
                    </a:lnTo>
                    <a:lnTo>
                      <a:pt x="1215" y="559"/>
                    </a:lnTo>
                    <a:lnTo>
                      <a:pt x="1211" y="555"/>
                    </a:lnTo>
                    <a:lnTo>
                      <a:pt x="1206" y="555"/>
                    </a:lnTo>
                    <a:lnTo>
                      <a:pt x="1199" y="558"/>
                    </a:lnTo>
                    <a:lnTo>
                      <a:pt x="1199" y="558"/>
                    </a:lnTo>
                    <a:lnTo>
                      <a:pt x="1196" y="558"/>
                    </a:lnTo>
                    <a:lnTo>
                      <a:pt x="1194" y="558"/>
                    </a:lnTo>
                    <a:lnTo>
                      <a:pt x="1186" y="554"/>
                    </a:lnTo>
                    <a:lnTo>
                      <a:pt x="1186" y="554"/>
                    </a:lnTo>
                    <a:lnTo>
                      <a:pt x="1182" y="551"/>
                    </a:lnTo>
                    <a:lnTo>
                      <a:pt x="1182" y="548"/>
                    </a:lnTo>
                    <a:lnTo>
                      <a:pt x="1182" y="544"/>
                    </a:lnTo>
                    <a:lnTo>
                      <a:pt x="1179" y="541"/>
                    </a:lnTo>
                    <a:lnTo>
                      <a:pt x="1179" y="541"/>
                    </a:lnTo>
                    <a:lnTo>
                      <a:pt x="1178" y="541"/>
                    </a:lnTo>
                    <a:lnTo>
                      <a:pt x="1176" y="541"/>
                    </a:lnTo>
                    <a:lnTo>
                      <a:pt x="1175" y="544"/>
                    </a:lnTo>
                    <a:lnTo>
                      <a:pt x="1174" y="548"/>
                    </a:lnTo>
                    <a:lnTo>
                      <a:pt x="731" y="551"/>
                    </a:lnTo>
                    <a:lnTo>
                      <a:pt x="731" y="551"/>
                    </a:lnTo>
                    <a:lnTo>
                      <a:pt x="733" y="552"/>
                    </a:lnTo>
                    <a:lnTo>
                      <a:pt x="733" y="552"/>
                    </a:lnTo>
                    <a:lnTo>
                      <a:pt x="735" y="556"/>
                    </a:lnTo>
                    <a:lnTo>
                      <a:pt x="735" y="561"/>
                    </a:lnTo>
                    <a:lnTo>
                      <a:pt x="735" y="565"/>
                    </a:lnTo>
                    <a:lnTo>
                      <a:pt x="735" y="569"/>
                    </a:lnTo>
                    <a:lnTo>
                      <a:pt x="735" y="569"/>
                    </a:lnTo>
                    <a:lnTo>
                      <a:pt x="737" y="575"/>
                    </a:lnTo>
                    <a:lnTo>
                      <a:pt x="735" y="581"/>
                    </a:lnTo>
                    <a:lnTo>
                      <a:pt x="734" y="585"/>
                    </a:lnTo>
                    <a:lnTo>
                      <a:pt x="733" y="585"/>
                    </a:lnTo>
                    <a:lnTo>
                      <a:pt x="731" y="586"/>
                    </a:lnTo>
                    <a:lnTo>
                      <a:pt x="731" y="586"/>
                    </a:lnTo>
                    <a:lnTo>
                      <a:pt x="728" y="585"/>
                    </a:lnTo>
                    <a:lnTo>
                      <a:pt x="727" y="582"/>
                    </a:lnTo>
                    <a:lnTo>
                      <a:pt x="727" y="579"/>
                    </a:lnTo>
                    <a:lnTo>
                      <a:pt x="728" y="578"/>
                    </a:lnTo>
                    <a:lnTo>
                      <a:pt x="728" y="578"/>
                    </a:lnTo>
                    <a:lnTo>
                      <a:pt x="731" y="575"/>
                    </a:lnTo>
                    <a:lnTo>
                      <a:pt x="731" y="572"/>
                    </a:lnTo>
                    <a:lnTo>
                      <a:pt x="730" y="569"/>
                    </a:lnTo>
                    <a:lnTo>
                      <a:pt x="727" y="568"/>
                    </a:lnTo>
                    <a:lnTo>
                      <a:pt x="727" y="568"/>
                    </a:lnTo>
                    <a:lnTo>
                      <a:pt x="726" y="568"/>
                    </a:lnTo>
                    <a:lnTo>
                      <a:pt x="724" y="566"/>
                    </a:lnTo>
                    <a:lnTo>
                      <a:pt x="724" y="562"/>
                    </a:lnTo>
                    <a:lnTo>
                      <a:pt x="724" y="562"/>
                    </a:lnTo>
                    <a:lnTo>
                      <a:pt x="718" y="564"/>
                    </a:lnTo>
                    <a:lnTo>
                      <a:pt x="711" y="564"/>
                    </a:lnTo>
                    <a:lnTo>
                      <a:pt x="698" y="562"/>
                    </a:lnTo>
                    <a:lnTo>
                      <a:pt x="698" y="562"/>
                    </a:lnTo>
                    <a:lnTo>
                      <a:pt x="698" y="564"/>
                    </a:lnTo>
                    <a:lnTo>
                      <a:pt x="698" y="564"/>
                    </a:lnTo>
                    <a:lnTo>
                      <a:pt x="701" y="572"/>
                    </a:lnTo>
                    <a:lnTo>
                      <a:pt x="703" y="579"/>
                    </a:lnTo>
                    <a:lnTo>
                      <a:pt x="707" y="585"/>
                    </a:lnTo>
                    <a:lnTo>
                      <a:pt x="707" y="585"/>
                    </a:lnTo>
                    <a:lnTo>
                      <a:pt x="710" y="589"/>
                    </a:lnTo>
                    <a:lnTo>
                      <a:pt x="710" y="593"/>
                    </a:lnTo>
                    <a:lnTo>
                      <a:pt x="711" y="596"/>
                    </a:lnTo>
                    <a:lnTo>
                      <a:pt x="714" y="599"/>
                    </a:lnTo>
                    <a:lnTo>
                      <a:pt x="714" y="599"/>
                    </a:lnTo>
                    <a:lnTo>
                      <a:pt x="717" y="602"/>
                    </a:lnTo>
                    <a:lnTo>
                      <a:pt x="718" y="603"/>
                    </a:lnTo>
                    <a:lnTo>
                      <a:pt x="717" y="605"/>
                    </a:lnTo>
                    <a:lnTo>
                      <a:pt x="714" y="605"/>
                    </a:lnTo>
                    <a:lnTo>
                      <a:pt x="714" y="605"/>
                    </a:lnTo>
                    <a:lnTo>
                      <a:pt x="711" y="605"/>
                    </a:lnTo>
                    <a:lnTo>
                      <a:pt x="711" y="608"/>
                    </a:lnTo>
                    <a:lnTo>
                      <a:pt x="711" y="612"/>
                    </a:lnTo>
                    <a:lnTo>
                      <a:pt x="711" y="619"/>
                    </a:lnTo>
                    <a:lnTo>
                      <a:pt x="711" y="619"/>
                    </a:lnTo>
                    <a:lnTo>
                      <a:pt x="710" y="640"/>
                    </a:lnTo>
                    <a:lnTo>
                      <a:pt x="708" y="659"/>
                    </a:lnTo>
                    <a:lnTo>
                      <a:pt x="708" y="659"/>
                    </a:lnTo>
                    <a:lnTo>
                      <a:pt x="707" y="665"/>
                    </a:lnTo>
                    <a:lnTo>
                      <a:pt x="704" y="672"/>
                    </a:lnTo>
                    <a:lnTo>
                      <a:pt x="703" y="677"/>
                    </a:lnTo>
                    <a:lnTo>
                      <a:pt x="703" y="680"/>
                    </a:lnTo>
                    <a:lnTo>
                      <a:pt x="704" y="683"/>
                    </a:lnTo>
                    <a:lnTo>
                      <a:pt x="704" y="683"/>
                    </a:lnTo>
                    <a:lnTo>
                      <a:pt x="707" y="690"/>
                    </a:lnTo>
                    <a:lnTo>
                      <a:pt x="710" y="696"/>
                    </a:lnTo>
                    <a:lnTo>
                      <a:pt x="710" y="703"/>
                    </a:lnTo>
                    <a:lnTo>
                      <a:pt x="710" y="710"/>
                    </a:lnTo>
                    <a:lnTo>
                      <a:pt x="710" y="710"/>
                    </a:lnTo>
                    <a:lnTo>
                      <a:pt x="708" y="716"/>
                    </a:lnTo>
                    <a:lnTo>
                      <a:pt x="708" y="721"/>
                    </a:lnTo>
                    <a:lnTo>
                      <a:pt x="708" y="726"/>
                    </a:lnTo>
                    <a:lnTo>
                      <a:pt x="711" y="730"/>
                    </a:lnTo>
                    <a:lnTo>
                      <a:pt x="711" y="730"/>
                    </a:lnTo>
                    <a:lnTo>
                      <a:pt x="713" y="736"/>
                    </a:lnTo>
                    <a:lnTo>
                      <a:pt x="714" y="743"/>
                    </a:lnTo>
                    <a:lnTo>
                      <a:pt x="714" y="748"/>
                    </a:lnTo>
                    <a:lnTo>
                      <a:pt x="714" y="750"/>
                    </a:lnTo>
                    <a:lnTo>
                      <a:pt x="716" y="751"/>
                    </a:lnTo>
                    <a:lnTo>
                      <a:pt x="716" y="751"/>
                    </a:lnTo>
                    <a:lnTo>
                      <a:pt x="723" y="757"/>
                    </a:lnTo>
                    <a:lnTo>
                      <a:pt x="728" y="766"/>
                    </a:lnTo>
                    <a:lnTo>
                      <a:pt x="728" y="766"/>
                    </a:lnTo>
                    <a:lnTo>
                      <a:pt x="731" y="768"/>
                    </a:lnTo>
                    <a:lnTo>
                      <a:pt x="734" y="770"/>
                    </a:lnTo>
                    <a:lnTo>
                      <a:pt x="735" y="771"/>
                    </a:lnTo>
                    <a:lnTo>
                      <a:pt x="737" y="774"/>
                    </a:lnTo>
                    <a:lnTo>
                      <a:pt x="737" y="774"/>
                    </a:lnTo>
                    <a:lnTo>
                      <a:pt x="738" y="781"/>
                    </a:lnTo>
                    <a:lnTo>
                      <a:pt x="740" y="783"/>
                    </a:lnTo>
                    <a:lnTo>
                      <a:pt x="743" y="784"/>
                    </a:lnTo>
                    <a:lnTo>
                      <a:pt x="743" y="784"/>
                    </a:lnTo>
                    <a:lnTo>
                      <a:pt x="745" y="787"/>
                    </a:lnTo>
                    <a:lnTo>
                      <a:pt x="745" y="790"/>
                    </a:lnTo>
                    <a:lnTo>
                      <a:pt x="745" y="797"/>
                    </a:lnTo>
                    <a:lnTo>
                      <a:pt x="745" y="797"/>
                    </a:lnTo>
                    <a:lnTo>
                      <a:pt x="747" y="800"/>
                    </a:lnTo>
                    <a:lnTo>
                      <a:pt x="750" y="804"/>
                    </a:lnTo>
                    <a:lnTo>
                      <a:pt x="761" y="815"/>
                    </a:lnTo>
                    <a:lnTo>
                      <a:pt x="761" y="815"/>
                    </a:lnTo>
                    <a:lnTo>
                      <a:pt x="764" y="818"/>
                    </a:lnTo>
                    <a:lnTo>
                      <a:pt x="765" y="821"/>
                    </a:lnTo>
                    <a:lnTo>
                      <a:pt x="767" y="825"/>
                    </a:lnTo>
                    <a:lnTo>
                      <a:pt x="767" y="828"/>
                    </a:lnTo>
                    <a:lnTo>
                      <a:pt x="768" y="830"/>
                    </a:lnTo>
                    <a:lnTo>
                      <a:pt x="770" y="830"/>
                    </a:lnTo>
                    <a:lnTo>
                      <a:pt x="770" y="830"/>
                    </a:lnTo>
                    <a:lnTo>
                      <a:pt x="775" y="831"/>
                    </a:lnTo>
                    <a:lnTo>
                      <a:pt x="780" y="832"/>
                    </a:lnTo>
                    <a:lnTo>
                      <a:pt x="790" y="838"/>
                    </a:lnTo>
                    <a:lnTo>
                      <a:pt x="790" y="838"/>
                    </a:lnTo>
                    <a:lnTo>
                      <a:pt x="794" y="840"/>
                    </a:lnTo>
                    <a:lnTo>
                      <a:pt x="797" y="841"/>
                    </a:lnTo>
                    <a:lnTo>
                      <a:pt x="804" y="841"/>
                    </a:lnTo>
                    <a:lnTo>
                      <a:pt x="804" y="841"/>
                    </a:lnTo>
                    <a:lnTo>
                      <a:pt x="807" y="844"/>
                    </a:lnTo>
                    <a:lnTo>
                      <a:pt x="812" y="848"/>
                    </a:lnTo>
                    <a:lnTo>
                      <a:pt x="815" y="854"/>
                    </a:lnTo>
                    <a:lnTo>
                      <a:pt x="818" y="858"/>
                    </a:lnTo>
                    <a:lnTo>
                      <a:pt x="818" y="858"/>
                    </a:lnTo>
                    <a:lnTo>
                      <a:pt x="822" y="869"/>
                    </a:lnTo>
                    <a:lnTo>
                      <a:pt x="859" y="864"/>
                    </a:lnTo>
                    <a:lnTo>
                      <a:pt x="859" y="864"/>
                    </a:lnTo>
                    <a:lnTo>
                      <a:pt x="865" y="868"/>
                    </a:lnTo>
                    <a:lnTo>
                      <a:pt x="871" y="871"/>
                    </a:lnTo>
                    <a:lnTo>
                      <a:pt x="876" y="874"/>
                    </a:lnTo>
                    <a:lnTo>
                      <a:pt x="876" y="874"/>
                    </a:lnTo>
                    <a:lnTo>
                      <a:pt x="899" y="881"/>
                    </a:lnTo>
                    <a:lnTo>
                      <a:pt x="918" y="888"/>
                    </a:lnTo>
                    <a:lnTo>
                      <a:pt x="963" y="888"/>
                    </a:lnTo>
                    <a:lnTo>
                      <a:pt x="969" y="881"/>
                    </a:lnTo>
                    <a:lnTo>
                      <a:pt x="994" y="881"/>
                    </a:lnTo>
                    <a:lnTo>
                      <a:pt x="994" y="881"/>
                    </a:lnTo>
                    <a:lnTo>
                      <a:pt x="1001" y="888"/>
                    </a:lnTo>
                    <a:lnTo>
                      <a:pt x="1011" y="896"/>
                    </a:lnTo>
                    <a:lnTo>
                      <a:pt x="1011" y="896"/>
                    </a:lnTo>
                    <a:lnTo>
                      <a:pt x="1019" y="902"/>
                    </a:lnTo>
                    <a:lnTo>
                      <a:pt x="1021" y="906"/>
                    </a:lnTo>
                    <a:lnTo>
                      <a:pt x="1023" y="909"/>
                    </a:lnTo>
                    <a:lnTo>
                      <a:pt x="1023" y="909"/>
                    </a:lnTo>
                    <a:lnTo>
                      <a:pt x="1024" y="915"/>
                    </a:lnTo>
                    <a:lnTo>
                      <a:pt x="1026" y="918"/>
                    </a:lnTo>
                    <a:lnTo>
                      <a:pt x="1029" y="919"/>
                    </a:lnTo>
                    <a:lnTo>
                      <a:pt x="1029" y="919"/>
                    </a:lnTo>
                    <a:lnTo>
                      <a:pt x="1038" y="925"/>
                    </a:lnTo>
                    <a:lnTo>
                      <a:pt x="1044" y="928"/>
                    </a:lnTo>
                    <a:lnTo>
                      <a:pt x="1047" y="929"/>
                    </a:lnTo>
                    <a:lnTo>
                      <a:pt x="1047" y="929"/>
                    </a:lnTo>
                    <a:lnTo>
                      <a:pt x="1048" y="926"/>
                    </a:lnTo>
                    <a:lnTo>
                      <a:pt x="1051" y="922"/>
                    </a:lnTo>
                    <a:lnTo>
                      <a:pt x="1054" y="916"/>
                    </a:lnTo>
                    <a:lnTo>
                      <a:pt x="1057" y="915"/>
                    </a:lnTo>
                    <a:lnTo>
                      <a:pt x="1060" y="915"/>
                    </a:lnTo>
                    <a:lnTo>
                      <a:pt x="1060" y="915"/>
                    </a:lnTo>
                    <a:lnTo>
                      <a:pt x="1066" y="916"/>
                    </a:lnTo>
                    <a:lnTo>
                      <a:pt x="1075" y="919"/>
                    </a:lnTo>
                    <a:lnTo>
                      <a:pt x="1083" y="923"/>
                    </a:lnTo>
                    <a:lnTo>
                      <a:pt x="1085" y="928"/>
                    </a:lnTo>
                    <a:lnTo>
                      <a:pt x="1088" y="931"/>
                    </a:lnTo>
                    <a:lnTo>
                      <a:pt x="1088" y="931"/>
                    </a:lnTo>
                    <a:lnTo>
                      <a:pt x="1091" y="938"/>
                    </a:lnTo>
                    <a:lnTo>
                      <a:pt x="1095" y="945"/>
                    </a:lnTo>
                    <a:lnTo>
                      <a:pt x="1102" y="952"/>
                    </a:lnTo>
                    <a:lnTo>
                      <a:pt x="1102" y="952"/>
                    </a:lnTo>
                    <a:lnTo>
                      <a:pt x="1104" y="955"/>
                    </a:lnTo>
                    <a:lnTo>
                      <a:pt x="1105" y="958"/>
                    </a:lnTo>
                    <a:lnTo>
                      <a:pt x="1105" y="962"/>
                    </a:lnTo>
                    <a:lnTo>
                      <a:pt x="1107" y="965"/>
                    </a:lnTo>
                    <a:lnTo>
                      <a:pt x="1107" y="965"/>
                    </a:lnTo>
                    <a:lnTo>
                      <a:pt x="1108" y="970"/>
                    </a:lnTo>
                    <a:lnTo>
                      <a:pt x="1110" y="973"/>
                    </a:lnTo>
                    <a:lnTo>
                      <a:pt x="1111" y="975"/>
                    </a:lnTo>
                    <a:lnTo>
                      <a:pt x="1111" y="975"/>
                    </a:lnTo>
                    <a:lnTo>
                      <a:pt x="1121" y="979"/>
                    </a:lnTo>
                    <a:lnTo>
                      <a:pt x="1128" y="982"/>
                    </a:lnTo>
                    <a:lnTo>
                      <a:pt x="1134" y="982"/>
                    </a:lnTo>
                    <a:lnTo>
                      <a:pt x="1134" y="982"/>
                    </a:lnTo>
                    <a:lnTo>
                      <a:pt x="1137" y="983"/>
                    </a:lnTo>
                    <a:lnTo>
                      <a:pt x="1141" y="985"/>
                    </a:lnTo>
                    <a:lnTo>
                      <a:pt x="1141" y="985"/>
                    </a:lnTo>
                    <a:lnTo>
                      <a:pt x="1139" y="980"/>
                    </a:lnTo>
                    <a:lnTo>
                      <a:pt x="1139" y="978"/>
                    </a:lnTo>
                    <a:lnTo>
                      <a:pt x="1135" y="972"/>
                    </a:lnTo>
                    <a:lnTo>
                      <a:pt x="1134" y="968"/>
                    </a:lnTo>
                    <a:lnTo>
                      <a:pt x="1134" y="966"/>
                    </a:lnTo>
                    <a:lnTo>
                      <a:pt x="1135" y="965"/>
                    </a:lnTo>
                    <a:lnTo>
                      <a:pt x="1135" y="965"/>
                    </a:lnTo>
                    <a:lnTo>
                      <a:pt x="1138" y="962"/>
                    </a:lnTo>
                    <a:lnTo>
                      <a:pt x="1139" y="959"/>
                    </a:lnTo>
                    <a:lnTo>
                      <a:pt x="1139" y="955"/>
                    </a:lnTo>
                    <a:lnTo>
                      <a:pt x="1138" y="952"/>
                    </a:lnTo>
                    <a:lnTo>
                      <a:pt x="1138" y="950"/>
                    </a:lnTo>
                    <a:lnTo>
                      <a:pt x="1139" y="949"/>
                    </a:lnTo>
                    <a:lnTo>
                      <a:pt x="1139" y="949"/>
                    </a:lnTo>
                    <a:lnTo>
                      <a:pt x="1147" y="945"/>
                    </a:lnTo>
                    <a:lnTo>
                      <a:pt x="1149" y="942"/>
                    </a:lnTo>
                    <a:lnTo>
                      <a:pt x="1151" y="939"/>
                    </a:lnTo>
                    <a:lnTo>
                      <a:pt x="1151" y="939"/>
                    </a:lnTo>
                    <a:lnTo>
                      <a:pt x="1152" y="936"/>
                    </a:lnTo>
                    <a:lnTo>
                      <a:pt x="1154" y="935"/>
                    </a:lnTo>
                    <a:lnTo>
                      <a:pt x="1161" y="935"/>
                    </a:lnTo>
                    <a:lnTo>
                      <a:pt x="1161" y="935"/>
                    </a:lnTo>
                    <a:lnTo>
                      <a:pt x="1167" y="935"/>
                    </a:lnTo>
                    <a:lnTo>
                      <a:pt x="1171" y="931"/>
                    </a:lnTo>
                    <a:lnTo>
                      <a:pt x="1175" y="926"/>
                    </a:lnTo>
                    <a:lnTo>
                      <a:pt x="1176" y="922"/>
                    </a:lnTo>
                    <a:lnTo>
                      <a:pt x="1176" y="922"/>
                    </a:lnTo>
                    <a:lnTo>
                      <a:pt x="1176" y="921"/>
                    </a:lnTo>
                    <a:lnTo>
                      <a:pt x="1178" y="919"/>
                    </a:lnTo>
                    <a:lnTo>
                      <a:pt x="1185" y="919"/>
                    </a:lnTo>
                    <a:lnTo>
                      <a:pt x="1185" y="919"/>
                    </a:lnTo>
                    <a:lnTo>
                      <a:pt x="1186" y="919"/>
                    </a:lnTo>
                    <a:lnTo>
                      <a:pt x="1188" y="918"/>
                    </a:lnTo>
                    <a:lnTo>
                      <a:pt x="1191" y="916"/>
                    </a:lnTo>
                    <a:lnTo>
                      <a:pt x="1192" y="913"/>
                    </a:lnTo>
                    <a:lnTo>
                      <a:pt x="1194" y="912"/>
                    </a:lnTo>
                    <a:lnTo>
                      <a:pt x="1195" y="912"/>
                    </a:lnTo>
                    <a:lnTo>
                      <a:pt x="1195" y="912"/>
                    </a:lnTo>
                    <a:lnTo>
                      <a:pt x="1201" y="915"/>
                    </a:lnTo>
                    <a:lnTo>
                      <a:pt x="1202" y="915"/>
                    </a:lnTo>
                    <a:lnTo>
                      <a:pt x="1202" y="913"/>
                    </a:lnTo>
                    <a:lnTo>
                      <a:pt x="1202" y="913"/>
                    </a:lnTo>
                    <a:lnTo>
                      <a:pt x="1203" y="912"/>
                    </a:lnTo>
                    <a:lnTo>
                      <a:pt x="1205" y="912"/>
                    </a:lnTo>
                    <a:lnTo>
                      <a:pt x="1208" y="912"/>
                    </a:lnTo>
                    <a:lnTo>
                      <a:pt x="1211" y="915"/>
                    </a:lnTo>
                    <a:lnTo>
                      <a:pt x="1211" y="915"/>
                    </a:lnTo>
                    <a:lnTo>
                      <a:pt x="1213" y="918"/>
                    </a:lnTo>
                    <a:lnTo>
                      <a:pt x="1218" y="919"/>
                    </a:lnTo>
                    <a:lnTo>
                      <a:pt x="1222" y="918"/>
                    </a:lnTo>
                    <a:lnTo>
                      <a:pt x="1223" y="918"/>
                    </a:lnTo>
                    <a:lnTo>
                      <a:pt x="1223" y="915"/>
                    </a:lnTo>
                    <a:lnTo>
                      <a:pt x="1223" y="915"/>
                    </a:lnTo>
                    <a:lnTo>
                      <a:pt x="1225" y="913"/>
                    </a:lnTo>
                    <a:lnTo>
                      <a:pt x="1228" y="915"/>
                    </a:lnTo>
                    <a:lnTo>
                      <a:pt x="1235" y="921"/>
                    </a:lnTo>
                    <a:lnTo>
                      <a:pt x="1235" y="921"/>
                    </a:lnTo>
                    <a:lnTo>
                      <a:pt x="1238" y="923"/>
                    </a:lnTo>
                    <a:lnTo>
                      <a:pt x="1240" y="925"/>
                    </a:lnTo>
                    <a:lnTo>
                      <a:pt x="1248" y="925"/>
                    </a:lnTo>
                    <a:lnTo>
                      <a:pt x="1248" y="925"/>
                    </a:lnTo>
                    <a:lnTo>
                      <a:pt x="1252" y="925"/>
                    </a:lnTo>
                    <a:lnTo>
                      <a:pt x="1253" y="923"/>
                    </a:lnTo>
                    <a:lnTo>
                      <a:pt x="1255" y="922"/>
                    </a:lnTo>
                    <a:lnTo>
                      <a:pt x="1255" y="919"/>
                    </a:lnTo>
                    <a:lnTo>
                      <a:pt x="1255" y="919"/>
                    </a:lnTo>
                    <a:lnTo>
                      <a:pt x="1255" y="918"/>
                    </a:lnTo>
                    <a:lnTo>
                      <a:pt x="1256" y="918"/>
                    </a:lnTo>
                    <a:lnTo>
                      <a:pt x="1259" y="922"/>
                    </a:lnTo>
                    <a:lnTo>
                      <a:pt x="1265" y="926"/>
                    </a:lnTo>
                    <a:lnTo>
                      <a:pt x="1266" y="928"/>
                    </a:lnTo>
                    <a:lnTo>
                      <a:pt x="1269" y="929"/>
                    </a:lnTo>
                    <a:lnTo>
                      <a:pt x="1269" y="929"/>
                    </a:lnTo>
                    <a:lnTo>
                      <a:pt x="1272" y="928"/>
                    </a:lnTo>
                    <a:lnTo>
                      <a:pt x="1272" y="926"/>
                    </a:lnTo>
                    <a:lnTo>
                      <a:pt x="1266" y="921"/>
                    </a:lnTo>
                    <a:lnTo>
                      <a:pt x="1266" y="921"/>
                    </a:lnTo>
                    <a:lnTo>
                      <a:pt x="1263" y="918"/>
                    </a:lnTo>
                    <a:lnTo>
                      <a:pt x="1263" y="916"/>
                    </a:lnTo>
                    <a:lnTo>
                      <a:pt x="1263" y="913"/>
                    </a:lnTo>
                    <a:lnTo>
                      <a:pt x="1262" y="912"/>
                    </a:lnTo>
                    <a:lnTo>
                      <a:pt x="1262" y="912"/>
                    </a:lnTo>
                    <a:lnTo>
                      <a:pt x="1262" y="911"/>
                    </a:lnTo>
                    <a:lnTo>
                      <a:pt x="1262" y="909"/>
                    </a:lnTo>
                    <a:lnTo>
                      <a:pt x="1265" y="906"/>
                    </a:lnTo>
                    <a:lnTo>
                      <a:pt x="1270" y="905"/>
                    </a:lnTo>
                    <a:lnTo>
                      <a:pt x="1276" y="905"/>
                    </a:lnTo>
                    <a:lnTo>
                      <a:pt x="1276" y="905"/>
                    </a:lnTo>
                    <a:lnTo>
                      <a:pt x="1285" y="905"/>
                    </a:lnTo>
                    <a:lnTo>
                      <a:pt x="1286" y="905"/>
                    </a:lnTo>
                    <a:lnTo>
                      <a:pt x="1287" y="902"/>
                    </a:lnTo>
                    <a:lnTo>
                      <a:pt x="1287" y="902"/>
                    </a:lnTo>
                    <a:lnTo>
                      <a:pt x="1290" y="899"/>
                    </a:lnTo>
                    <a:lnTo>
                      <a:pt x="1292" y="901"/>
                    </a:lnTo>
                    <a:lnTo>
                      <a:pt x="1293" y="904"/>
                    </a:lnTo>
                    <a:lnTo>
                      <a:pt x="1295" y="906"/>
                    </a:lnTo>
                    <a:lnTo>
                      <a:pt x="1295" y="906"/>
                    </a:lnTo>
                    <a:lnTo>
                      <a:pt x="1295" y="908"/>
                    </a:lnTo>
                    <a:lnTo>
                      <a:pt x="1296" y="908"/>
                    </a:lnTo>
                    <a:lnTo>
                      <a:pt x="1302" y="906"/>
                    </a:lnTo>
                    <a:lnTo>
                      <a:pt x="1309" y="905"/>
                    </a:lnTo>
                    <a:lnTo>
                      <a:pt x="1316" y="904"/>
                    </a:lnTo>
                    <a:lnTo>
                      <a:pt x="1316" y="904"/>
                    </a:lnTo>
                    <a:lnTo>
                      <a:pt x="1320" y="905"/>
                    </a:lnTo>
                    <a:lnTo>
                      <a:pt x="1326" y="908"/>
                    </a:lnTo>
                    <a:lnTo>
                      <a:pt x="1329" y="911"/>
                    </a:lnTo>
                    <a:lnTo>
                      <a:pt x="1330" y="915"/>
                    </a:lnTo>
                    <a:lnTo>
                      <a:pt x="1330" y="915"/>
                    </a:lnTo>
                    <a:lnTo>
                      <a:pt x="1332" y="918"/>
                    </a:lnTo>
                    <a:lnTo>
                      <a:pt x="1334" y="919"/>
                    </a:lnTo>
                    <a:lnTo>
                      <a:pt x="1337" y="919"/>
                    </a:lnTo>
                    <a:lnTo>
                      <a:pt x="1341" y="916"/>
                    </a:lnTo>
                    <a:lnTo>
                      <a:pt x="1341" y="916"/>
                    </a:lnTo>
                    <a:lnTo>
                      <a:pt x="1349" y="911"/>
                    </a:lnTo>
                    <a:lnTo>
                      <a:pt x="1353" y="909"/>
                    </a:lnTo>
                    <a:lnTo>
                      <a:pt x="1356" y="911"/>
                    </a:lnTo>
                    <a:lnTo>
                      <a:pt x="1356" y="911"/>
                    </a:lnTo>
                    <a:lnTo>
                      <a:pt x="1373" y="929"/>
                    </a:lnTo>
                    <a:lnTo>
                      <a:pt x="1373" y="929"/>
                    </a:lnTo>
                    <a:lnTo>
                      <a:pt x="1374" y="932"/>
                    </a:lnTo>
                    <a:lnTo>
                      <a:pt x="1374" y="933"/>
                    </a:lnTo>
                    <a:lnTo>
                      <a:pt x="1373" y="939"/>
                    </a:lnTo>
                    <a:lnTo>
                      <a:pt x="1371" y="943"/>
                    </a:lnTo>
                    <a:lnTo>
                      <a:pt x="1371" y="945"/>
                    </a:lnTo>
                    <a:lnTo>
                      <a:pt x="1373" y="948"/>
                    </a:lnTo>
                    <a:lnTo>
                      <a:pt x="1373" y="948"/>
                    </a:lnTo>
                    <a:lnTo>
                      <a:pt x="1374" y="950"/>
                    </a:lnTo>
                    <a:lnTo>
                      <a:pt x="1374" y="955"/>
                    </a:lnTo>
                    <a:lnTo>
                      <a:pt x="1376" y="959"/>
                    </a:lnTo>
                    <a:lnTo>
                      <a:pt x="1380" y="963"/>
                    </a:lnTo>
                    <a:lnTo>
                      <a:pt x="1380" y="963"/>
                    </a:lnTo>
                    <a:lnTo>
                      <a:pt x="1381" y="965"/>
                    </a:lnTo>
                    <a:lnTo>
                      <a:pt x="1383" y="968"/>
                    </a:lnTo>
                    <a:lnTo>
                      <a:pt x="1383" y="973"/>
                    </a:lnTo>
                    <a:lnTo>
                      <a:pt x="1383" y="978"/>
                    </a:lnTo>
                    <a:lnTo>
                      <a:pt x="1384" y="979"/>
                    </a:lnTo>
                    <a:lnTo>
                      <a:pt x="1386" y="980"/>
                    </a:lnTo>
                    <a:lnTo>
                      <a:pt x="1386" y="980"/>
                    </a:lnTo>
                    <a:lnTo>
                      <a:pt x="1390" y="982"/>
                    </a:lnTo>
                    <a:lnTo>
                      <a:pt x="1393" y="986"/>
                    </a:lnTo>
                    <a:lnTo>
                      <a:pt x="1397" y="993"/>
                    </a:lnTo>
                    <a:lnTo>
                      <a:pt x="1397" y="993"/>
                    </a:lnTo>
                    <a:lnTo>
                      <a:pt x="1398" y="996"/>
                    </a:lnTo>
                    <a:lnTo>
                      <a:pt x="1403" y="999"/>
                    </a:lnTo>
                    <a:lnTo>
                      <a:pt x="1407" y="999"/>
                    </a:lnTo>
                    <a:lnTo>
                      <a:pt x="1408" y="997"/>
                    </a:lnTo>
                    <a:lnTo>
                      <a:pt x="1408" y="996"/>
                    </a:lnTo>
                    <a:lnTo>
                      <a:pt x="1408" y="996"/>
                    </a:lnTo>
                    <a:lnTo>
                      <a:pt x="1410" y="992"/>
                    </a:lnTo>
                    <a:lnTo>
                      <a:pt x="1413" y="986"/>
                    </a:lnTo>
                    <a:lnTo>
                      <a:pt x="1414" y="982"/>
                    </a:lnTo>
                    <a:lnTo>
                      <a:pt x="1415" y="978"/>
                    </a:lnTo>
                    <a:lnTo>
                      <a:pt x="1415" y="978"/>
                    </a:lnTo>
                    <a:lnTo>
                      <a:pt x="1415" y="970"/>
                    </a:lnTo>
                    <a:lnTo>
                      <a:pt x="1414" y="960"/>
                    </a:lnTo>
                    <a:lnTo>
                      <a:pt x="1411" y="952"/>
                    </a:lnTo>
                    <a:lnTo>
                      <a:pt x="1407" y="945"/>
                    </a:lnTo>
                    <a:lnTo>
                      <a:pt x="1407" y="945"/>
                    </a:lnTo>
                    <a:lnTo>
                      <a:pt x="1406" y="941"/>
                    </a:lnTo>
                    <a:lnTo>
                      <a:pt x="1406" y="938"/>
                    </a:lnTo>
                    <a:lnTo>
                      <a:pt x="1406" y="933"/>
                    </a:lnTo>
                    <a:lnTo>
                      <a:pt x="1403" y="929"/>
                    </a:lnTo>
                    <a:lnTo>
                      <a:pt x="1403" y="929"/>
                    </a:lnTo>
                    <a:lnTo>
                      <a:pt x="1398" y="923"/>
                    </a:lnTo>
                    <a:lnTo>
                      <a:pt x="1396" y="915"/>
                    </a:lnTo>
                    <a:lnTo>
                      <a:pt x="1394" y="906"/>
                    </a:lnTo>
                    <a:lnTo>
                      <a:pt x="1394" y="898"/>
                    </a:lnTo>
                    <a:lnTo>
                      <a:pt x="1394" y="898"/>
                    </a:lnTo>
                    <a:lnTo>
                      <a:pt x="1396" y="889"/>
                    </a:lnTo>
                    <a:lnTo>
                      <a:pt x="1401" y="879"/>
                    </a:lnTo>
                    <a:lnTo>
                      <a:pt x="1407" y="871"/>
                    </a:lnTo>
                    <a:lnTo>
                      <a:pt x="1413" y="865"/>
                    </a:lnTo>
                    <a:lnTo>
                      <a:pt x="1413" y="865"/>
                    </a:lnTo>
                    <a:lnTo>
                      <a:pt x="1417" y="862"/>
                    </a:lnTo>
                    <a:lnTo>
                      <a:pt x="1421" y="861"/>
                    </a:lnTo>
                    <a:lnTo>
                      <a:pt x="1424" y="859"/>
                    </a:lnTo>
                    <a:lnTo>
                      <a:pt x="1427" y="857"/>
                    </a:lnTo>
                    <a:lnTo>
                      <a:pt x="1427" y="857"/>
                    </a:lnTo>
                    <a:lnTo>
                      <a:pt x="1428" y="852"/>
                    </a:lnTo>
                    <a:lnTo>
                      <a:pt x="1433" y="848"/>
                    </a:lnTo>
                    <a:lnTo>
                      <a:pt x="1437" y="845"/>
                    </a:lnTo>
                    <a:lnTo>
                      <a:pt x="1440" y="844"/>
                    </a:lnTo>
                    <a:lnTo>
                      <a:pt x="1440" y="844"/>
                    </a:lnTo>
                    <a:lnTo>
                      <a:pt x="1445" y="844"/>
                    </a:lnTo>
                    <a:lnTo>
                      <a:pt x="1448" y="842"/>
                    </a:lnTo>
                    <a:lnTo>
                      <a:pt x="1450" y="840"/>
                    </a:lnTo>
                    <a:lnTo>
                      <a:pt x="1450" y="840"/>
                    </a:lnTo>
                    <a:lnTo>
                      <a:pt x="1451" y="837"/>
                    </a:lnTo>
                    <a:lnTo>
                      <a:pt x="1455" y="832"/>
                    </a:lnTo>
                    <a:lnTo>
                      <a:pt x="1460" y="830"/>
                    </a:lnTo>
                    <a:lnTo>
                      <a:pt x="1467" y="828"/>
                    </a:lnTo>
                    <a:lnTo>
                      <a:pt x="1467" y="828"/>
                    </a:lnTo>
                    <a:lnTo>
                      <a:pt x="1471" y="827"/>
                    </a:lnTo>
                    <a:lnTo>
                      <a:pt x="1471" y="824"/>
                    </a:lnTo>
                    <a:lnTo>
                      <a:pt x="1468" y="818"/>
                    </a:lnTo>
                    <a:lnTo>
                      <a:pt x="1468" y="818"/>
                    </a:lnTo>
                    <a:lnTo>
                      <a:pt x="1467" y="814"/>
                    </a:lnTo>
                    <a:lnTo>
                      <a:pt x="1468" y="812"/>
                    </a:lnTo>
                    <a:lnTo>
                      <a:pt x="1470" y="811"/>
                    </a:lnTo>
                    <a:lnTo>
                      <a:pt x="1472" y="812"/>
                    </a:lnTo>
                    <a:lnTo>
                      <a:pt x="1472" y="812"/>
                    </a:lnTo>
                    <a:lnTo>
                      <a:pt x="1474" y="814"/>
                    </a:lnTo>
                    <a:lnTo>
                      <a:pt x="1477" y="814"/>
                    </a:lnTo>
                    <a:lnTo>
                      <a:pt x="1479" y="814"/>
                    </a:lnTo>
                    <a:lnTo>
                      <a:pt x="1482" y="812"/>
                    </a:lnTo>
                    <a:lnTo>
                      <a:pt x="1482" y="812"/>
                    </a:lnTo>
                    <a:lnTo>
                      <a:pt x="1489" y="807"/>
                    </a:lnTo>
                    <a:lnTo>
                      <a:pt x="1489" y="804"/>
                    </a:lnTo>
                    <a:lnTo>
                      <a:pt x="1489" y="804"/>
                    </a:lnTo>
                    <a:lnTo>
                      <a:pt x="1487" y="803"/>
                    </a:lnTo>
                    <a:lnTo>
                      <a:pt x="1487" y="803"/>
                    </a:lnTo>
                    <a:lnTo>
                      <a:pt x="1482" y="803"/>
                    </a:lnTo>
                    <a:lnTo>
                      <a:pt x="1479" y="801"/>
                    </a:lnTo>
                    <a:lnTo>
                      <a:pt x="1479" y="800"/>
                    </a:lnTo>
                    <a:lnTo>
                      <a:pt x="1482" y="798"/>
                    </a:lnTo>
                    <a:lnTo>
                      <a:pt x="1482" y="798"/>
                    </a:lnTo>
                    <a:lnTo>
                      <a:pt x="1484" y="797"/>
                    </a:lnTo>
                    <a:lnTo>
                      <a:pt x="1484" y="795"/>
                    </a:lnTo>
                    <a:lnTo>
                      <a:pt x="1484" y="793"/>
                    </a:lnTo>
                    <a:lnTo>
                      <a:pt x="1481" y="788"/>
                    </a:lnTo>
                    <a:lnTo>
                      <a:pt x="1477" y="787"/>
                    </a:lnTo>
                    <a:lnTo>
                      <a:pt x="1477" y="787"/>
                    </a:lnTo>
                    <a:lnTo>
                      <a:pt x="1472" y="785"/>
                    </a:lnTo>
                    <a:lnTo>
                      <a:pt x="1472" y="784"/>
                    </a:lnTo>
                    <a:lnTo>
                      <a:pt x="1474" y="781"/>
                    </a:lnTo>
                    <a:lnTo>
                      <a:pt x="1475" y="778"/>
                    </a:lnTo>
                    <a:lnTo>
                      <a:pt x="1475" y="778"/>
                    </a:lnTo>
                    <a:lnTo>
                      <a:pt x="1477" y="777"/>
                    </a:lnTo>
                    <a:lnTo>
                      <a:pt x="1477" y="776"/>
                    </a:lnTo>
                    <a:lnTo>
                      <a:pt x="1474" y="771"/>
                    </a:lnTo>
                    <a:lnTo>
                      <a:pt x="1465" y="766"/>
                    </a:lnTo>
                    <a:lnTo>
                      <a:pt x="1465" y="766"/>
                    </a:lnTo>
                    <a:lnTo>
                      <a:pt x="1464" y="763"/>
                    </a:lnTo>
                    <a:lnTo>
                      <a:pt x="1465" y="761"/>
                    </a:lnTo>
                    <a:lnTo>
                      <a:pt x="1472" y="760"/>
                    </a:lnTo>
                    <a:lnTo>
                      <a:pt x="1472" y="760"/>
                    </a:lnTo>
                    <a:lnTo>
                      <a:pt x="1472" y="758"/>
                    </a:lnTo>
                    <a:lnTo>
                      <a:pt x="1474" y="757"/>
                    </a:lnTo>
                    <a:lnTo>
                      <a:pt x="1474" y="750"/>
                    </a:lnTo>
                    <a:lnTo>
                      <a:pt x="1474" y="744"/>
                    </a:lnTo>
                    <a:lnTo>
                      <a:pt x="1474" y="739"/>
                    </a:lnTo>
                    <a:lnTo>
                      <a:pt x="1474" y="739"/>
                    </a:lnTo>
                    <a:lnTo>
                      <a:pt x="1477" y="737"/>
                    </a:lnTo>
                    <a:lnTo>
                      <a:pt x="1478" y="736"/>
                    </a:lnTo>
                    <a:lnTo>
                      <a:pt x="1479" y="737"/>
                    </a:lnTo>
                    <a:lnTo>
                      <a:pt x="1479" y="739"/>
                    </a:lnTo>
                    <a:lnTo>
                      <a:pt x="1479" y="739"/>
                    </a:lnTo>
                    <a:lnTo>
                      <a:pt x="1478" y="743"/>
                    </a:lnTo>
                    <a:lnTo>
                      <a:pt x="1477" y="746"/>
                    </a:lnTo>
                    <a:lnTo>
                      <a:pt x="1477" y="750"/>
                    </a:lnTo>
                    <a:lnTo>
                      <a:pt x="1478" y="754"/>
                    </a:lnTo>
                    <a:lnTo>
                      <a:pt x="1478" y="754"/>
                    </a:lnTo>
                    <a:lnTo>
                      <a:pt x="1481" y="758"/>
                    </a:lnTo>
                    <a:lnTo>
                      <a:pt x="1482" y="763"/>
                    </a:lnTo>
                    <a:lnTo>
                      <a:pt x="1484" y="768"/>
                    </a:lnTo>
                    <a:lnTo>
                      <a:pt x="1482" y="774"/>
                    </a:lnTo>
                    <a:lnTo>
                      <a:pt x="1482" y="774"/>
                    </a:lnTo>
                    <a:lnTo>
                      <a:pt x="1482" y="778"/>
                    </a:lnTo>
                    <a:lnTo>
                      <a:pt x="1482" y="778"/>
                    </a:lnTo>
                    <a:lnTo>
                      <a:pt x="1484" y="778"/>
                    </a:lnTo>
                    <a:lnTo>
                      <a:pt x="1487" y="776"/>
                    </a:lnTo>
                    <a:lnTo>
                      <a:pt x="1489" y="768"/>
                    </a:lnTo>
                    <a:lnTo>
                      <a:pt x="1489" y="768"/>
                    </a:lnTo>
                    <a:lnTo>
                      <a:pt x="1492" y="761"/>
                    </a:lnTo>
                    <a:lnTo>
                      <a:pt x="1494" y="756"/>
                    </a:lnTo>
                    <a:lnTo>
                      <a:pt x="1494" y="750"/>
                    </a:lnTo>
                    <a:lnTo>
                      <a:pt x="1492" y="748"/>
                    </a:lnTo>
                    <a:lnTo>
                      <a:pt x="1492" y="748"/>
                    </a:lnTo>
                    <a:lnTo>
                      <a:pt x="1489" y="746"/>
                    </a:lnTo>
                    <a:lnTo>
                      <a:pt x="1489" y="743"/>
                    </a:lnTo>
                    <a:lnTo>
                      <a:pt x="1491" y="740"/>
                    </a:lnTo>
                    <a:lnTo>
                      <a:pt x="1491" y="740"/>
                    </a:lnTo>
                    <a:lnTo>
                      <a:pt x="1492" y="741"/>
                    </a:lnTo>
                    <a:lnTo>
                      <a:pt x="1492" y="741"/>
                    </a:lnTo>
                    <a:lnTo>
                      <a:pt x="1495" y="744"/>
                    </a:lnTo>
                    <a:lnTo>
                      <a:pt x="1498" y="746"/>
                    </a:lnTo>
                    <a:lnTo>
                      <a:pt x="1501" y="744"/>
                    </a:lnTo>
                    <a:lnTo>
                      <a:pt x="1504" y="740"/>
                    </a:lnTo>
                    <a:lnTo>
                      <a:pt x="1504" y="740"/>
                    </a:lnTo>
                    <a:lnTo>
                      <a:pt x="1508" y="736"/>
                    </a:lnTo>
                    <a:lnTo>
                      <a:pt x="1512" y="729"/>
                    </a:lnTo>
                    <a:lnTo>
                      <a:pt x="1514" y="724"/>
                    </a:lnTo>
                    <a:lnTo>
                      <a:pt x="1514" y="721"/>
                    </a:lnTo>
                    <a:lnTo>
                      <a:pt x="1512" y="720"/>
                    </a:lnTo>
                    <a:lnTo>
                      <a:pt x="1512" y="720"/>
                    </a:lnTo>
                    <a:lnTo>
                      <a:pt x="1511" y="719"/>
                    </a:lnTo>
                    <a:lnTo>
                      <a:pt x="1514" y="717"/>
                    </a:lnTo>
                    <a:lnTo>
                      <a:pt x="1516" y="716"/>
                    </a:lnTo>
                    <a:lnTo>
                      <a:pt x="1522" y="716"/>
                    </a:lnTo>
                    <a:lnTo>
                      <a:pt x="1522" y="716"/>
                    </a:lnTo>
                    <a:lnTo>
                      <a:pt x="1528" y="716"/>
                    </a:lnTo>
                    <a:lnTo>
                      <a:pt x="1535" y="714"/>
                    </a:lnTo>
                    <a:lnTo>
                      <a:pt x="1542" y="711"/>
                    </a:lnTo>
                    <a:lnTo>
                      <a:pt x="1545" y="710"/>
                    </a:lnTo>
                    <a:lnTo>
                      <a:pt x="1545" y="710"/>
                    </a:lnTo>
                    <a:lnTo>
                      <a:pt x="1545" y="707"/>
                    </a:lnTo>
                    <a:lnTo>
                      <a:pt x="1542" y="707"/>
                    </a:lnTo>
                    <a:lnTo>
                      <a:pt x="1534" y="709"/>
                    </a:lnTo>
                    <a:lnTo>
                      <a:pt x="1525" y="710"/>
                    </a:lnTo>
                    <a:lnTo>
                      <a:pt x="1522" y="710"/>
                    </a:lnTo>
                    <a:lnTo>
                      <a:pt x="1521" y="709"/>
                    </a:lnTo>
                    <a:lnTo>
                      <a:pt x="1521" y="709"/>
                    </a:lnTo>
                    <a:lnTo>
                      <a:pt x="1521" y="707"/>
                    </a:lnTo>
                    <a:lnTo>
                      <a:pt x="1524" y="706"/>
                    </a:lnTo>
                    <a:lnTo>
                      <a:pt x="1531" y="703"/>
                    </a:lnTo>
                    <a:lnTo>
                      <a:pt x="1546" y="700"/>
                    </a:lnTo>
                    <a:lnTo>
                      <a:pt x="1546" y="700"/>
                    </a:lnTo>
                    <a:lnTo>
                      <a:pt x="1549" y="700"/>
                    </a:lnTo>
                    <a:lnTo>
                      <a:pt x="1551" y="699"/>
                    </a:lnTo>
                    <a:lnTo>
                      <a:pt x="1552" y="696"/>
                    </a:lnTo>
                    <a:lnTo>
                      <a:pt x="1552" y="693"/>
                    </a:lnTo>
                    <a:lnTo>
                      <a:pt x="1555" y="694"/>
                    </a:lnTo>
                    <a:lnTo>
                      <a:pt x="1555" y="694"/>
                    </a:lnTo>
                    <a:lnTo>
                      <a:pt x="1558" y="696"/>
                    </a:lnTo>
                    <a:lnTo>
                      <a:pt x="1561" y="697"/>
                    </a:lnTo>
                    <a:lnTo>
                      <a:pt x="1565" y="697"/>
                    </a:lnTo>
                    <a:lnTo>
                      <a:pt x="1568" y="694"/>
                    </a:lnTo>
                    <a:lnTo>
                      <a:pt x="1568" y="694"/>
                    </a:lnTo>
                    <a:lnTo>
                      <a:pt x="1571" y="692"/>
                    </a:lnTo>
                    <a:lnTo>
                      <a:pt x="1569" y="689"/>
                    </a:lnTo>
                    <a:lnTo>
                      <a:pt x="1568" y="684"/>
                    </a:lnTo>
                    <a:lnTo>
                      <a:pt x="1563" y="683"/>
                    </a:lnTo>
                    <a:lnTo>
                      <a:pt x="1563" y="683"/>
                    </a:lnTo>
                    <a:lnTo>
                      <a:pt x="1562" y="682"/>
                    </a:lnTo>
                    <a:lnTo>
                      <a:pt x="1562" y="682"/>
                    </a:lnTo>
                    <a:lnTo>
                      <a:pt x="1563" y="679"/>
                    </a:lnTo>
                    <a:lnTo>
                      <a:pt x="1565" y="677"/>
                    </a:lnTo>
                    <a:lnTo>
                      <a:pt x="1566" y="674"/>
                    </a:lnTo>
                    <a:lnTo>
                      <a:pt x="1566" y="674"/>
                    </a:lnTo>
                    <a:lnTo>
                      <a:pt x="1566" y="670"/>
                    </a:lnTo>
                    <a:lnTo>
                      <a:pt x="1568" y="665"/>
                    </a:lnTo>
                    <a:lnTo>
                      <a:pt x="1572" y="660"/>
                    </a:lnTo>
                    <a:lnTo>
                      <a:pt x="1573" y="657"/>
                    </a:lnTo>
                    <a:lnTo>
                      <a:pt x="1576" y="657"/>
                    </a:lnTo>
                    <a:lnTo>
                      <a:pt x="1576" y="657"/>
                    </a:lnTo>
                    <a:lnTo>
                      <a:pt x="1579" y="656"/>
                    </a:lnTo>
                    <a:lnTo>
                      <a:pt x="1580" y="653"/>
                    </a:lnTo>
                    <a:lnTo>
                      <a:pt x="1582" y="652"/>
                    </a:lnTo>
                    <a:lnTo>
                      <a:pt x="1585" y="652"/>
                    </a:lnTo>
                    <a:lnTo>
                      <a:pt x="1585" y="652"/>
                    </a:lnTo>
                    <a:lnTo>
                      <a:pt x="1589" y="650"/>
                    </a:lnTo>
                    <a:lnTo>
                      <a:pt x="1592" y="647"/>
                    </a:lnTo>
                    <a:lnTo>
                      <a:pt x="1598" y="639"/>
                    </a:lnTo>
                    <a:lnTo>
                      <a:pt x="1598" y="639"/>
                    </a:lnTo>
                    <a:lnTo>
                      <a:pt x="1599" y="639"/>
                    </a:lnTo>
                    <a:lnTo>
                      <a:pt x="1600" y="639"/>
                    </a:lnTo>
                    <a:lnTo>
                      <a:pt x="1606" y="640"/>
                    </a:lnTo>
                    <a:lnTo>
                      <a:pt x="1612" y="642"/>
                    </a:lnTo>
                    <a:lnTo>
                      <a:pt x="1615" y="642"/>
                    </a:lnTo>
                    <a:lnTo>
                      <a:pt x="1617" y="640"/>
                    </a:lnTo>
                    <a:lnTo>
                      <a:pt x="1617" y="640"/>
                    </a:lnTo>
                    <a:lnTo>
                      <a:pt x="1629" y="632"/>
                    </a:lnTo>
                    <a:lnTo>
                      <a:pt x="1629" y="632"/>
                    </a:lnTo>
                    <a:lnTo>
                      <a:pt x="1623" y="623"/>
                    </a:lnTo>
                    <a:lnTo>
                      <a:pt x="1619" y="615"/>
                    </a:lnTo>
                    <a:lnTo>
                      <a:pt x="1616" y="608"/>
                    </a:lnTo>
                    <a:lnTo>
                      <a:pt x="1616" y="602"/>
                    </a:lnTo>
                    <a:lnTo>
                      <a:pt x="1615" y="592"/>
                    </a:lnTo>
                    <a:lnTo>
                      <a:pt x="1616" y="586"/>
                    </a:lnTo>
                    <a:lnTo>
                      <a:pt x="1616" y="586"/>
                    </a:lnTo>
                    <a:close/>
                  </a:path>
                </a:pathLst>
              </a:custGeom>
              <a:solidFill>
                <a:schemeClr val="accent1"/>
              </a:solidFill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</p:grpSp>
        <p:grpSp>
          <p:nvGrpSpPr>
            <p:cNvPr id="197" name="Europe">
              <a:extLst>
                <a:ext uri="{FF2B5EF4-FFF2-40B4-BE49-F238E27FC236}">
                  <a16:creationId xmlns:a16="http://schemas.microsoft.com/office/drawing/2014/main" id="{6916C015-293F-640C-2DDF-C7E207FED135}"/>
                </a:ext>
              </a:extLst>
            </p:cNvPr>
            <p:cNvGrpSpPr/>
            <p:nvPr/>
          </p:nvGrpSpPr>
          <p:grpSpPr>
            <a:xfrm>
              <a:off x="4107172" y="2055118"/>
              <a:ext cx="6250607" cy="1854170"/>
              <a:chOff x="2583171" y="1589897"/>
              <a:chExt cx="6250607" cy="1854170"/>
            </a:xfrm>
            <a:solidFill>
              <a:schemeClr val="bg1">
                <a:lumMod val="75000"/>
              </a:schemeClr>
            </a:solidFill>
          </p:grpSpPr>
          <p:sp>
            <p:nvSpPr>
              <p:cNvPr id="198" name="Serbia">
                <a:extLst>
                  <a:ext uri="{FF2B5EF4-FFF2-40B4-BE49-F238E27FC236}">
                    <a16:creationId xmlns:a16="http://schemas.microsoft.com/office/drawing/2014/main" id="{BF0F38D1-32D8-99BB-10BE-53233F57AA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2893" y="3118514"/>
                <a:ext cx="94706" cy="116903"/>
              </a:xfrm>
              <a:custGeom>
                <a:avLst/>
                <a:gdLst/>
                <a:ahLst/>
                <a:cxnLst>
                  <a:cxn ang="0">
                    <a:pos x="58" y="52"/>
                  </a:cxn>
                  <a:cxn ang="0">
                    <a:pos x="55" y="47"/>
                  </a:cxn>
                  <a:cxn ang="0">
                    <a:pos x="58" y="42"/>
                  </a:cxn>
                  <a:cxn ang="0">
                    <a:pos x="59" y="40"/>
                  </a:cxn>
                  <a:cxn ang="0">
                    <a:pos x="58" y="34"/>
                  </a:cxn>
                  <a:cxn ang="0">
                    <a:pos x="58" y="33"/>
                  </a:cxn>
                  <a:cxn ang="0">
                    <a:pos x="51" y="30"/>
                  </a:cxn>
                  <a:cxn ang="0">
                    <a:pos x="41" y="28"/>
                  </a:cxn>
                  <a:cxn ang="0">
                    <a:pos x="40" y="23"/>
                  </a:cxn>
                  <a:cxn ang="0">
                    <a:pos x="40" y="18"/>
                  </a:cxn>
                  <a:cxn ang="0">
                    <a:pos x="38" y="18"/>
                  </a:cxn>
                  <a:cxn ang="0">
                    <a:pos x="34" y="17"/>
                  </a:cxn>
                  <a:cxn ang="0">
                    <a:pos x="32" y="13"/>
                  </a:cxn>
                  <a:cxn ang="0">
                    <a:pos x="30" y="7"/>
                  </a:cxn>
                  <a:cxn ang="0">
                    <a:pos x="27" y="3"/>
                  </a:cxn>
                  <a:cxn ang="0">
                    <a:pos x="28" y="3"/>
                  </a:cxn>
                  <a:cxn ang="0">
                    <a:pos x="23" y="1"/>
                  </a:cxn>
                  <a:cxn ang="0">
                    <a:pos x="17" y="0"/>
                  </a:cxn>
                  <a:cxn ang="0">
                    <a:pos x="0" y="5"/>
                  </a:cxn>
                  <a:cxn ang="0">
                    <a:pos x="1" y="11"/>
                  </a:cxn>
                  <a:cxn ang="0">
                    <a:pos x="4" y="14"/>
                  </a:cxn>
                  <a:cxn ang="0">
                    <a:pos x="7" y="17"/>
                  </a:cxn>
                  <a:cxn ang="0">
                    <a:pos x="8" y="25"/>
                  </a:cxn>
                  <a:cxn ang="0">
                    <a:pos x="10" y="33"/>
                  </a:cxn>
                  <a:cxn ang="0">
                    <a:pos x="10" y="48"/>
                  </a:cxn>
                  <a:cxn ang="0">
                    <a:pos x="8" y="51"/>
                  </a:cxn>
                  <a:cxn ang="0">
                    <a:pos x="5" y="52"/>
                  </a:cxn>
                  <a:cxn ang="0">
                    <a:pos x="1" y="57"/>
                  </a:cxn>
                  <a:cxn ang="0">
                    <a:pos x="14" y="71"/>
                  </a:cxn>
                  <a:cxn ang="0">
                    <a:pos x="15" y="71"/>
                  </a:cxn>
                  <a:cxn ang="0">
                    <a:pos x="24" y="75"/>
                  </a:cxn>
                  <a:cxn ang="0">
                    <a:pos x="30" y="79"/>
                  </a:cxn>
                  <a:cxn ang="0">
                    <a:pos x="57" y="75"/>
                  </a:cxn>
                  <a:cxn ang="0">
                    <a:pos x="58" y="69"/>
                  </a:cxn>
                  <a:cxn ang="0">
                    <a:pos x="61" y="64"/>
                  </a:cxn>
                  <a:cxn ang="0">
                    <a:pos x="62" y="64"/>
                  </a:cxn>
                  <a:cxn ang="0">
                    <a:pos x="64" y="62"/>
                  </a:cxn>
                  <a:cxn ang="0">
                    <a:pos x="58" y="52"/>
                  </a:cxn>
                </a:cxnLst>
                <a:rect l="0" t="0" r="r" b="b"/>
                <a:pathLst>
                  <a:path w="64" h="79">
                    <a:moveTo>
                      <a:pt x="58" y="52"/>
                    </a:moveTo>
                    <a:lnTo>
                      <a:pt x="58" y="52"/>
                    </a:lnTo>
                    <a:lnTo>
                      <a:pt x="55" y="50"/>
                    </a:lnTo>
                    <a:lnTo>
                      <a:pt x="55" y="47"/>
                    </a:lnTo>
                    <a:lnTo>
                      <a:pt x="57" y="44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9" y="40"/>
                    </a:lnTo>
                    <a:lnTo>
                      <a:pt x="59" y="38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3"/>
                    </a:lnTo>
                    <a:lnTo>
                      <a:pt x="55" y="31"/>
                    </a:lnTo>
                    <a:lnTo>
                      <a:pt x="51" y="30"/>
                    </a:lnTo>
                    <a:lnTo>
                      <a:pt x="41" y="28"/>
                    </a:lnTo>
                    <a:lnTo>
                      <a:pt x="41" y="28"/>
                    </a:lnTo>
                    <a:lnTo>
                      <a:pt x="40" y="27"/>
                    </a:lnTo>
                    <a:lnTo>
                      <a:pt x="40" y="23"/>
                    </a:lnTo>
                    <a:lnTo>
                      <a:pt x="40" y="20"/>
                    </a:lnTo>
                    <a:lnTo>
                      <a:pt x="40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5" y="18"/>
                    </a:lnTo>
                    <a:lnTo>
                      <a:pt x="34" y="17"/>
                    </a:lnTo>
                    <a:lnTo>
                      <a:pt x="32" y="13"/>
                    </a:lnTo>
                    <a:lnTo>
                      <a:pt x="32" y="13"/>
                    </a:lnTo>
                    <a:lnTo>
                      <a:pt x="32" y="10"/>
                    </a:lnTo>
                    <a:lnTo>
                      <a:pt x="30" y="7"/>
                    </a:lnTo>
                    <a:lnTo>
                      <a:pt x="28" y="5"/>
                    </a:lnTo>
                    <a:lnTo>
                      <a:pt x="27" y="3"/>
                    </a:lnTo>
                    <a:lnTo>
                      <a:pt x="27" y="3"/>
                    </a:lnTo>
                    <a:lnTo>
                      <a:pt x="28" y="3"/>
                    </a:lnTo>
                    <a:lnTo>
                      <a:pt x="28" y="3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1" y="11"/>
                    </a:lnTo>
                    <a:lnTo>
                      <a:pt x="3" y="13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7" y="17"/>
                    </a:lnTo>
                    <a:lnTo>
                      <a:pt x="7" y="20"/>
                    </a:lnTo>
                    <a:lnTo>
                      <a:pt x="8" y="25"/>
                    </a:lnTo>
                    <a:lnTo>
                      <a:pt x="8" y="25"/>
                    </a:lnTo>
                    <a:lnTo>
                      <a:pt x="10" y="33"/>
                    </a:lnTo>
                    <a:lnTo>
                      <a:pt x="10" y="40"/>
                    </a:lnTo>
                    <a:lnTo>
                      <a:pt x="10" y="48"/>
                    </a:lnTo>
                    <a:lnTo>
                      <a:pt x="8" y="50"/>
                    </a:lnTo>
                    <a:lnTo>
                      <a:pt x="8" y="51"/>
                    </a:lnTo>
                    <a:lnTo>
                      <a:pt x="8" y="51"/>
                    </a:lnTo>
                    <a:lnTo>
                      <a:pt x="5" y="52"/>
                    </a:lnTo>
                    <a:lnTo>
                      <a:pt x="1" y="57"/>
                    </a:lnTo>
                    <a:lnTo>
                      <a:pt x="1" y="57"/>
                    </a:lnTo>
                    <a:lnTo>
                      <a:pt x="14" y="71"/>
                    </a:lnTo>
                    <a:lnTo>
                      <a:pt x="14" y="71"/>
                    </a:lnTo>
                    <a:lnTo>
                      <a:pt x="15" y="71"/>
                    </a:lnTo>
                    <a:lnTo>
                      <a:pt x="15" y="71"/>
                    </a:lnTo>
                    <a:lnTo>
                      <a:pt x="18" y="72"/>
                    </a:lnTo>
                    <a:lnTo>
                      <a:pt x="24" y="75"/>
                    </a:lnTo>
                    <a:lnTo>
                      <a:pt x="30" y="79"/>
                    </a:lnTo>
                    <a:lnTo>
                      <a:pt x="30" y="79"/>
                    </a:lnTo>
                    <a:lnTo>
                      <a:pt x="57" y="75"/>
                    </a:lnTo>
                    <a:lnTo>
                      <a:pt x="57" y="75"/>
                    </a:lnTo>
                    <a:lnTo>
                      <a:pt x="58" y="69"/>
                    </a:lnTo>
                    <a:lnTo>
                      <a:pt x="58" y="69"/>
                    </a:lnTo>
                    <a:lnTo>
                      <a:pt x="59" y="65"/>
                    </a:lnTo>
                    <a:lnTo>
                      <a:pt x="61" y="64"/>
                    </a:lnTo>
                    <a:lnTo>
                      <a:pt x="62" y="64"/>
                    </a:lnTo>
                    <a:lnTo>
                      <a:pt x="62" y="64"/>
                    </a:lnTo>
                    <a:lnTo>
                      <a:pt x="64" y="62"/>
                    </a:lnTo>
                    <a:lnTo>
                      <a:pt x="64" y="62"/>
                    </a:lnTo>
                    <a:lnTo>
                      <a:pt x="62" y="60"/>
                    </a:lnTo>
                    <a:lnTo>
                      <a:pt x="58" y="52"/>
                    </a:lnTo>
                    <a:lnTo>
                      <a:pt x="58" y="52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199" name="Kyrgystan">
                <a:extLst>
                  <a:ext uri="{FF2B5EF4-FFF2-40B4-BE49-F238E27FC236}">
                    <a16:creationId xmlns:a16="http://schemas.microsoft.com/office/drawing/2014/main" id="{45AFC1DD-1C9D-00AF-2D3C-E83EF4ACF9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0396" y="3210261"/>
                <a:ext cx="258962" cy="109504"/>
              </a:xfrm>
              <a:custGeom>
                <a:avLst/>
                <a:gdLst/>
                <a:ahLst/>
                <a:cxnLst>
                  <a:cxn ang="0">
                    <a:pos x="157" y="10"/>
                  </a:cxn>
                  <a:cxn ang="0">
                    <a:pos x="147" y="10"/>
                  </a:cxn>
                  <a:cxn ang="0">
                    <a:pos x="113" y="6"/>
                  </a:cxn>
                  <a:cxn ang="0">
                    <a:pos x="100" y="7"/>
                  </a:cxn>
                  <a:cxn ang="0">
                    <a:pos x="84" y="2"/>
                  </a:cxn>
                  <a:cxn ang="0">
                    <a:pos x="69" y="3"/>
                  </a:cxn>
                  <a:cxn ang="0">
                    <a:pos x="67" y="7"/>
                  </a:cxn>
                  <a:cxn ang="0">
                    <a:pos x="59" y="13"/>
                  </a:cxn>
                  <a:cxn ang="0">
                    <a:pos x="46" y="7"/>
                  </a:cxn>
                  <a:cxn ang="0">
                    <a:pos x="32" y="9"/>
                  </a:cxn>
                  <a:cxn ang="0">
                    <a:pos x="30" y="15"/>
                  </a:cxn>
                  <a:cxn ang="0">
                    <a:pos x="22" y="22"/>
                  </a:cxn>
                  <a:cxn ang="0">
                    <a:pos x="16" y="30"/>
                  </a:cxn>
                  <a:cxn ang="0">
                    <a:pos x="22" y="36"/>
                  </a:cxn>
                  <a:cxn ang="0">
                    <a:pos x="33" y="37"/>
                  </a:cxn>
                  <a:cxn ang="0">
                    <a:pos x="36" y="35"/>
                  </a:cxn>
                  <a:cxn ang="0">
                    <a:pos x="50" y="40"/>
                  </a:cxn>
                  <a:cxn ang="0">
                    <a:pos x="60" y="49"/>
                  </a:cxn>
                  <a:cxn ang="0">
                    <a:pos x="52" y="52"/>
                  </a:cxn>
                  <a:cxn ang="0">
                    <a:pos x="49" y="56"/>
                  </a:cxn>
                  <a:cxn ang="0">
                    <a:pos x="37" y="56"/>
                  </a:cxn>
                  <a:cxn ang="0">
                    <a:pos x="30" y="57"/>
                  </a:cxn>
                  <a:cxn ang="0">
                    <a:pos x="12" y="59"/>
                  </a:cxn>
                  <a:cxn ang="0">
                    <a:pos x="0" y="66"/>
                  </a:cxn>
                  <a:cxn ang="0">
                    <a:pos x="0" y="70"/>
                  </a:cxn>
                  <a:cxn ang="0">
                    <a:pos x="17" y="69"/>
                  </a:cxn>
                  <a:cxn ang="0">
                    <a:pos x="23" y="70"/>
                  </a:cxn>
                  <a:cxn ang="0">
                    <a:pos x="32" y="70"/>
                  </a:cxn>
                  <a:cxn ang="0">
                    <a:pos x="37" y="72"/>
                  </a:cxn>
                  <a:cxn ang="0">
                    <a:pos x="44" y="74"/>
                  </a:cxn>
                  <a:cxn ang="0">
                    <a:pos x="50" y="74"/>
                  </a:cxn>
                  <a:cxn ang="0">
                    <a:pos x="71" y="73"/>
                  </a:cxn>
                  <a:cxn ang="0">
                    <a:pos x="74" y="64"/>
                  </a:cxn>
                  <a:cxn ang="0">
                    <a:pos x="76" y="62"/>
                  </a:cxn>
                  <a:cxn ang="0">
                    <a:pos x="84" y="59"/>
                  </a:cxn>
                  <a:cxn ang="0">
                    <a:pos x="90" y="54"/>
                  </a:cxn>
                  <a:cxn ang="0">
                    <a:pos x="97" y="52"/>
                  </a:cxn>
                  <a:cxn ang="0">
                    <a:pos x="104" y="54"/>
                  </a:cxn>
                  <a:cxn ang="0">
                    <a:pos x="110" y="54"/>
                  </a:cxn>
                  <a:cxn ang="0">
                    <a:pos x="120" y="49"/>
                  </a:cxn>
                  <a:cxn ang="0">
                    <a:pos x="125" y="43"/>
                  </a:cxn>
                  <a:cxn ang="0">
                    <a:pos x="138" y="44"/>
                  </a:cxn>
                  <a:cxn ang="0">
                    <a:pos x="147" y="37"/>
                  </a:cxn>
                  <a:cxn ang="0">
                    <a:pos x="153" y="33"/>
                  </a:cxn>
                  <a:cxn ang="0">
                    <a:pos x="167" y="26"/>
                  </a:cxn>
                  <a:cxn ang="0">
                    <a:pos x="174" y="22"/>
                  </a:cxn>
                  <a:cxn ang="0">
                    <a:pos x="171" y="17"/>
                  </a:cxn>
                  <a:cxn ang="0">
                    <a:pos x="161" y="15"/>
                  </a:cxn>
                </a:cxnLst>
                <a:rect l="0" t="0" r="r" b="b"/>
                <a:pathLst>
                  <a:path w="175" h="74">
                    <a:moveTo>
                      <a:pt x="161" y="15"/>
                    </a:moveTo>
                    <a:lnTo>
                      <a:pt x="161" y="15"/>
                    </a:lnTo>
                    <a:lnTo>
                      <a:pt x="157" y="10"/>
                    </a:lnTo>
                    <a:lnTo>
                      <a:pt x="154" y="10"/>
                    </a:lnTo>
                    <a:lnTo>
                      <a:pt x="151" y="10"/>
                    </a:lnTo>
                    <a:lnTo>
                      <a:pt x="147" y="10"/>
                    </a:lnTo>
                    <a:lnTo>
                      <a:pt x="147" y="10"/>
                    </a:lnTo>
                    <a:lnTo>
                      <a:pt x="125" y="7"/>
                    </a:lnTo>
                    <a:lnTo>
                      <a:pt x="113" y="6"/>
                    </a:lnTo>
                    <a:lnTo>
                      <a:pt x="106" y="7"/>
                    </a:lnTo>
                    <a:lnTo>
                      <a:pt x="106" y="7"/>
                    </a:lnTo>
                    <a:lnTo>
                      <a:pt x="100" y="7"/>
                    </a:lnTo>
                    <a:lnTo>
                      <a:pt x="94" y="6"/>
                    </a:lnTo>
                    <a:lnTo>
                      <a:pt x="84" y="2"/>
                    </a:lnTo>
                    <a:lnTo>
                      <a:pt x="84" y="2"/>
                    </a:lnTo>
                    <a:lnTo>
                      <a:pt x="80" y="0"/>
                    </a:lnTo>
                    <a:lnTo>
                      <a:pt x="74" y="2"/>
                    </a:lnTo>
                    <a:lnTo>
                      <a:pt x="69" y="3"/>
                    </a:lnTo>
                    <a:lnTo>
                      <a:pt x="67" y="6"/>
                    </a:lnTo>
                    <a:lnTo>
                      <a:pt x="67" y="7"/>
                    </a:lnTo>
                    <a:lnTo>
                      <a:pt x="67" y="7"/>
                    </a:lnTo>
                    <a:lnTo>
                      <a:pt x="66" y="12"/>
                    </a:lnTo>
                    <a:lnTo>
                      <a:pt x="63" y="13"/>
                    </a:lnTo>
                    <a:lnTo>
                      <a:pt x="59" y="13"/>
                    </a:lnTo>
                    <a:lnTo>
                      <a:pt x="53" y="10"/>
                    </a:lnTo>
                    <a:lnTo>
                      <a:pt x="53" y="10"/>
                    </a:lnTo>
                    <a:lnTo>
                      <a:pt x="46" y="7"/>
                    </a:lnTo>
                    <a:lnTo>
                      <a:pt x="39" y="7"/>
                    </a:lnTo>
                    <a:lnTo>
                      <a:pt x="33" y="7"/>
                    </a:lnTo>
                    <a:lnTo>
                      <a:pt x="32" y="9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0" y="15"/>
                    </a:lnTo>
                    <a:lnTo>
                      <a:pt x="27" y="17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9" y="25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9" y="33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4" y="37"/>
                    </a:lnTo>
                    <a:lnTo>
                      <a:pt x="29" y="39"/>
                    </a:lnTo>
                    <a:lnTo>
                      <a:pt x="33" y="37"/>
                    </a:lnTo>
                    <a:lnTo>
                      <a:pt x="34" y="35"/>
                    </a:lnTo>
                    <a:lnTo>
                      <a:pt x="34" y="35"/>
                    </a:lnTo>
                    <a:lnTo>
                      <a:pt x="36" y="35"/>
                    </a:lnTo>
                    <a:lnTo>
                      <a:pt x="37" y="35"/>
                    </a:lnTo>
                    <a:lnTo>
                      <a:pt x="43" y="36"/>
                    </a:lnTo>
                    <a:lnTo>
                      <a:pt x="50" y="40"/>
                    </a:lnTo>
                    <a:lnTo>
                      <a:pt x="57" y="46"/>
                    </a:lnTo>
                    <a:lnTo>
                      <a:pt x="57" y="46"/>
                    </a:lnTo>
                    <a:lnTo>
                      <a:pt x="60" y="49"/>
                    </a:lnTo>
                    <a:lnTo>
                      <a:pt x="57" y="50"/>
                    </a:lnTo>
                    <a:lnTo>
                      <a:pt x="53" y="50"/>
                    </a:lnTo>
                    <a:lnTo>
                      <a:pt x="52" y="52"/>
                    </a:lnTo>
                    <a:lnTo>
                      <a:pt x="50" y="53"/>
                    </a:lnTo>
                    <a:lnTo>
                      <a:pt x="50" y="53"/>
                    </a:lnTo>
                    <a:lnTo>
                      <a:pt x="49" y="56"/>
                    </a:lnTo>
                    <a:lnTo>
                      <a:pt x="47" y="56"/>
                    </a:lnTo>
                    <a:lnTo>
                      <a:pt x="42" y="56"/>
                    </a:lnTo>
                    <a:lnTo>
                      <a:pt x="37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57"/>
                    </a:lnTo>
                    <a:lnTo>
                      <a:pt x="23" y="59"/>
                    </a:lnTo>
                    <a:lnTo>
                      <a:pt x="12" y="59"/>
                    </a:lnTo>
                    <a:lnTo>
                      <a:pt x="12" y="59"/>
                    </a:lnTo>
                    <a:lnTo>
                      <a:pt x="7" y="60"/>
                    </a:lnTo>
                    <a:lnTo>
                      <a:pt x="3" y="63"/>
                    </a:lnTo>
                    <a:lnTo>
                      <a:pt x="0" y="66"/>
                    </a:lnTo>
                    <a:lnTo>
                      <a:pt x="0" y="69"/>
                    </a:lnTo>
                    <a:lnTo>
                      <a:pt x="0" y="69"/>
                    </a:lnTo>
                    <a:lnTo>
                      <a:pt x="0" y="70"/>
                    </a:lnTo>
                    <a:lnTo>
                      <a:pt x="3" y="70"/>
                    </a:lnTo>
                    <a:lnTo>
                      <a:pt x="9" y="70"/>
                    </a:lnTo>
                    <a:lnTo>
                      <a:pt x="17" y="69"/>
                    </a:lnTo>
                    <a:lnTo>
                      <a:pt x="20" y="70"/>
                    </a:lnTo>
                    <a:lnTo>
                      <a:pt x="23" y="70"/>
                    </a:lnTo>
                    <a:lnTo>
                      <a:pt x="23" y="70"/>
                    </a:lnTo>
                    <a:lnTo>
                      <a:pt x="24" y="72"/>
                    </a:lnTo>
                    <a:lnTo>
                      <a:pt x="27" y="72"/>
                    </a:lnTo>
                    <a:lnTo>
                      <a:pt x="32" y="70"/>
                    </a:lnTo>
                    <a:lnTo>
                      <a:pt x="34" y="70"/>
                    </a:lnTo>
                    <a:lnTo>
                      <a:pt x="36" y="70"/>
                    </a:lnTo>
                    <a:lnTo>
                      <a:pt x="37" y="72"/>
                    </a:lnTo>
                    <a:lnTo>
                      <a:pt x="37" y="72"/>
                    </a:lnTo>
                    <a:lnTo>
                      <a:pt x="40" y="73"/>
                    </a:lnTo>
                    <a:lnTo>
                      <a:pt x="44" y="74"/>
                    </a:lnTo>
                    <a:lnTo>
                      <a:pt x="47" y="73"/>
                    </a:lnTo>
                    <a:lnTo>
                      <a:pt x="50" y="74"/>
                    </a:lnTo>
                    <a:lnTo>
                      <a:pt x="50" y="74"/>
                    </a:lnTo>
                    <a:lnTo>
                      <a:pt x="56" y="74"/>
                    </a:lnTo>
                    <a:lnTo>
                      <a:pt x="61" y="74"/>
                    </a:lnTo>
                    <a:lnTo>
                      <a:pt x="71" y="73"/>
                    </a:lnTo>
                    <a:lnTo>
                      <a:pt x="71" y="73"/>
                    </a:lnTo>
                    <a:lnTo>
                      <a:pt x="73" y="69"/>
                    </a:lnTo>
                    <a:lnTo>
                      <a:pt x="74" y="64"/>
                    </a:lnTo>
                    <a:lnTo>
                      <a:pt x="74" y="64"/>
                    </a:lnTo>
                    <a:lnTo>
                      <a:pt x="74" y="63"/>
                    </a:lnTo>
                    <a:lnTo>
                      <a:pt x="76" y="62"/>
                    </a:lnTo>
                    <a:lnTo>
                      <a:pt x="81" y="60"/>
                    </a:lnTo>
                    <a:lnTo>
                      <a:pt x="81" y="60"/>
                    </a:lnTo>
                    <a:lnTo>
                      <a:pt x="84" y="59"/>
                    </a:lnTo>
                    <a:lnTo>
                      <a:pt x="86" y="57"/>
                    </a:lnTo>
                    <a:lnTo>
                      <a:pt x="88" y="56"/>
                    </a:lnTo>
                    <a:lnTo>
                      <a:pt x="90" y="54"/>
                    </a:lnTo>
                    <a:lnTo>
                      <a:pt x="90" y="54"/>
                    </a:lnTo>
                    <a:lnTo>
                      <a:pt x="94" y="53"/>
                    </a:lnTo>
                    <a:lnTo>
                      <a:pt x="97" y="52"/>
                    </a:lnTo>
                    <a:lnTo>
                      <a:pt x="100" y="52"/>
                    </a:lnTo>
                    <a:lnTo>
                      <a:pt x="100" y="52"/>
                    </a:lnTo>
                    <a:lnTo>
                      <a:pt x="104" y="54"/>
                    </a:lnTo>
                    <a:lnTo>
                      <a:pt x="107" y="56"/>
                    </a:lnTo>
                    <a:lnTo>
                      <a:pt x="110" y="54"/>
                    </a:lnTo>
                    <a:lnTo>
                      <a:pt x="110" y="54"/>
                    </a:lnTo>
                    <a:lnTo>
                      <a:pt x="114" y="53"/>
                    </a:lnTo>
                    <a:lnTo>
                      <a:pt x="116" y="52"/>
                    </a:lnTo>
                    <a:lnTo>
                      <a:pt x="120" y="49"/>
                    </a:lnTo>
                    <a:lnTo>
                      <a:pt x="120" y="49"/>
                    </a:lnTo>
                    <a:lnTo>
                      <a:pt x="123" y="44"/>
                    </a:lnTo>
                    <a:lnTo>
                      <a:pt x="125" y="43"/>
                    </a:lnTo>
                    <a:lnTo>
                      <a:pt x="134" y="44"/>
                    </a:lnTo>
                    <a:lnTo>
                      <a:pt x="134" y="44"/>
                    </a:lnTo>
                    <a:lnTo>
                      <a:pt x="138" y="44"/>
                    </a:lnTo>
                    <a:lnTo>
                      <a:pt x="143" y="43"/>
                    </a:lnTo>
                    <a:lnTo>
                      <a:pt x="145" y="40"/>
                    </a:lnTo>
                    <a:lnTo>
                      <a:pt x="147" y="37"/>
                    </a:lnTo>
                    <a:lnTo>
                      <a:pt x="147" y="37"/>
                    </a:lnTo>
                    <a:lnTo>
                      <a:pt x="148" y="35"/>
                    </a:lnTo>
                    <a:lnTo>
                      <a:pt x="153" y="33"/>
                    </a:lnTo>
                    <a:lnTo>
                      <a:pt x="160" y="30"/>
                    </a:lnTo>
                    <a:lnTo>
                      <a:pt x="160" y="30"/>
                    </a:lnTo>
                    <a:lnTo>
                      <a:pt x="167" y="26"/>
                    </a:lnTo>
                    <a:lnTo>
                      <a:pt x="174" y="23"/>
                    </a:lnTo>
                    <a:lnTo>
                      <a:pt x="174" y="23"/>
                    </a:lnTo>
                    <a:lnTo>
                      <a:pt x="174" y="22"/>
                    </a:lnTo>
                    <a:lnTo>
                      <a:pt x="175" y="19"/>
                    </a:lnTo>
                    <a:lnTo>
                      <a:pt x="175" y="19"/>
                    </a:lnTo>
                    <a:lnTo>
                      <a:pt x="171" y="17"/>
                    </a:lnTo>
                    <a:lnTo>
                      <a:pt x="168" y="17"/>
                    </a:lnTo>
                    <a:lnTo>
                      <a:pt x="165" y="16"/>
                    </a:lnTo>
                    <a:lnTo>
                      <a:pt x="161" y="15"/>
                    </a:lnTo>
                    <a:lnTo>
                      <a:pt x="161" y="15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00" name="Georgia">
                <a:extLst>
                  <a:ext uri="{FF2B5EF4-FFF2-40B4-BE49-F238E27FC236}">
                    <a16:creationId xmlns:a16="http://schemas.microsoft.com/office/drawing/2014/main" id="{F06A8EF1-C2A3-58CC-A5BB-028534BEF2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8620" y="3195463"/>
                <a:ext cx="161297" cy="73989"/>
              </a:xfrm>
              <a:custGeom>
                <a:avLst/>
                <a:gdLst/>
                <a:ahLst/>
                <a:cxnLst>
                  <a:cxn ang="0">
                    <a:pos x="45" y="39"/>
                  </a:cxn>
                  <a:cxn ang="0">
                    <a:pos x="50" y="40"/>
                  </a:cxn>
                  <a:cxn ang="0">
                    <a:pos x="56" y="49"/>
                  </a:cxn>
                  <a:cxn ang="0">
                    <a:pos x="56" y="49"/>
                  </a:cxn>
                  <a:cxn ang="0">
                    <a:pos x="72" y="46"/>
                  </a:cxn>
                  <a:cxn ang="0">
                    <a:pos x="86" y="47"/>
                  </a:cxn>
                  <a:cxn ang="0">
                    <a:pos x="86" y="46"/>
                  </a:cxn>
                  <a:cxn ang="0">
                    <a:pos x="86" y="45"/>
                  </a:cxn>
                  <a:cxn ang="0">
                    <a:pos x="90" y="43"/>
                  </a:cxn>
                  <a:cxn ang="0">
                    <a:pos x="97" y="47"/>
                  </a:cxn>
                  <a:cxn ang="0">
                    <a:pos x="103" y="50"/>
                  </a:cxn>
                  <a:cxn ang="0">
                    <a:pos x="109" y="49"/>
                  </a:cxn>
                  <a:cxn ang="0">
                    <a:pos x="109" y="46"/>
                  </a:cxn>
                  <a:cxn ang="0">
                    <a:pos x="104" y="42"/>
                  </a:cxn>
                  <a:cxn ang="0">
                    <a:pos x="104" y="39"/>
                  </a:cxn>
                  <a:cxn ang="0">
                    <a:pos x="107" y="35"/>
                  </a:cxn>
                  <a:cxn ang="0">
                    <a:pos x="97" y="30"/>
                  </a:cxn>
                  <a:cxn ang="0">
                    <a:pos x="96" y="29"/>
                  </a:cxn>
                  <a:cxn ang="0">
                    <a:pos x="94" y="22"/>
                  </a:cxn>
                  <a:cxn ang="0">
                    <a:pos x="92" y="20"/>
                  </a:cxn>
                  <a:cxn ang="0">
                    <a:pos x="86" y="17"/>
                  </a:cxn>
                  <a:cxn ang="0">
                    <a:pos x="79" y="19"/>
                  </a:cxn>
                  <a:cxn ang="0">
                    <a:pos x="70" y="20"/>
                  </a:cxn>
                  <a:cxn ang="0">
                    <a:pos x="67" y="20"/>
                  </a:cxn>
                  <a:cxn ang="0">
                    <a:pos x="63" y="16"/>
                  </a:cxn>
                  <a:cxn ang="0">
                    <a:pos x="60" y="15"/>
                  </a:cxn>
                  <a:cxn ang="0">
                    <a:pos x="55" y="13"/>
                  </a:cxn>
                  <a:cxn ang="0">
                    <a:pos x="50" y="9"/>
                  </a:cxn>
                  <a:cxn ang="0">
                    <a:pos x="39" y="8"/>
                  </a:cxn>
                  <a:cxn ang="0">
                    <a:pos x="25" y="6"/>
                  </a:cxn>
                  <a:cxn ang="0">
                    <a:pos x="16" y="2"/>
                  </a:cxn>
                  <a:cxn ang="0">
                    <a:pos x="6" y="0"/>
                  </a:cxn>
                  <a:cxn ang="0">
                    <a:pos x="0" y="3"/>
                  </a:cxn>
                  <a:cxn ang="0">
                    <a:pos x="8" y="8"/>
                  </a:cxn>
                  <a:cxn ang="0">
                    <a:pos x="22" y="12"/>
                  </a:cxn>
                  <a:cxn ang="0">
                    <a:pos x="25" y="17"/>
                  </a:cxn>
                  <a:cxn ang="0">
                    <a:pos x="27" y="23"/>
                  </a:cxn>
                  <a:cxn ang="0">
                    <a:pos x="32" y="29"/>
                  </a:cxn>
                  <a:cxn ang="0">
                    <a:pos x="30" y="35"/>
                  </a:cxn>
                  <a:cxn ang="0">
                    <a:pos x="27" y="40"/>
                  </a:cxn>
                  <a:cxn ang="0">
                    <a:pos x="37" y="40"/>
                  </a:cxn>
                  <a:cxn ang="0">
                    <a:pos x="45" y="39"/>
                  </a:cxn>
                </a:cxnLst>
                <a:rect l="0" t="0" r="r" b="b"/>
                <a:pathLst>
                  <a:path w="109" h="50">
                    <a:moveTo>
                      <a:pt x="45" y="39"/>
                    </a:moveTo>
                    <a:lnTo>
                      <a:pt x="45" y="39"/>
                    </a:lnTo>
                    <a:lnTo>
                      <a:pt x="47" y="39"/>
                    </a:lnTo>
                    <a:lnTo>
                      <a:pt x="50" y="40"/>
                    </a:lnTo>
                    <a:lnTo>
                      <a:pt x="56" y="49"/>
                    </a:lnTo>
                    <a:lnTo>
                      <a:pt x="56" y="49"/>
                    </a:lnTo>
                    <a:lnTo>
                      <a:pt x="56" y="49"/>
                    </a:lnTo>
                    <a:lnTo>
                      <a:pt x="56" y="49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9" y="46"/>
                    </a:lnTo>
                    <a:lnTo>
                      <a:pt x="86" y="47"/>
                    </a:lnTo>
                    <a:lnTo>
                      <a:pt x="86" y="47"/>
                    </a:lnTo>
                    <a:lnTo>
                      <a:pt x="86" y="46"/>
                    </a:lnTo>
                    <a:lnTo>
                      <a:pt x="86" y="45"/>
                    </a:lnTo>
                    <a:lnTo>
                      <a:pt x="86" y="45"/>
                    </a:lnTo>
                    <a:lnTo>
                      <a:pt x="87" y="43"/>
                    </a:lnTo>
                    <a:lnTo>
                      <a:pt x="90" y="43"/>
                    </a:lnTo>
                    <a:lnTo>
                      <a:pt x="97" y="47"/>
                    </a:lnTo>
                    <a:lnTo>
                      <a:pt x="97" y="47"/>
                    </a:lnTo>
                    <a:lnTo>
                      <a:pt x="99" y="49"/>
                    </a:lnTo>
                    <a:lnTo>
                      <a:pt x="103" y="50"/>
                    </a:lnTo>
                    <a:lnTo>
                      <a:pt x="106" y="49"/>
                    </a:lnTo>
                    <a:lnTo>
                      <a:pt x="109" y="49"/>
                    </a:lnTo>
                    <a:lnTo>
                      <a:pt x="109" y="49"/>
                    </a:lnTo>
                    <a:lnTo>
                      <a:pt x="109" y="46"/>
                    </a:lnTo>
                    <a:lnTo>
                      <a:pt x="107" y="45"/>
                    </a:lnTo>
                    <a:lnTo>
                      <a:pt x="104" y="42"/>
                    </a:lnTo>
                    <a:lnTo>
                      <a:pt x="104" y="42"/>
                    </a:lnTo>
                    <a:lnTo>
                      <a:pt x="104" y="39"/>
                    </a:lnTo>
                    <a:lnTo>
                      <a:pt x="107" y="35"/>
                    </a:lnTo>
                    <a:lnTo>
                      <a:pt x="107" y="35"/>
                    </a:lnTo>
                    <a:lnTo>
                      <a:pt x="101" y="32"/>
                    </a:lnTo>
                    <a:lnTo>
                      <a:pt x="97" y="30"/>
                    </a:lnTo>
                    <a:lnTo>
                      <a:pt x="97" y="30"/>
                    </a:lnTo>
                    <a:lnTo>
                      <a:pt x="96" y="29"/>
                    </a:lnTo>
                    <a:lnTo>
                      <a:pt x="94" y="26"/>
                    </a:lnTo>
                    <a:lnTo>
                      <a:pt x="94" y="22"/>
                    </a:lnTo>
                    <a:lnTo>
                      <a:pt x="92" y="20"/>
                    </a:lnTo>
                    <a:lnTo>
                      <a:pt x="92" y="20"/>
                    </a:lnTo>
                    <a:lnTo>
                      <a:pt x="89" y="19"/>
                    </a:lnTo>
                    <a:lnTo>
                      <a:pt x="86" y="17"/>
                    </a:lnTo>
                    <a:lnTo>
                      <a:pt x="86" y="17"/>
                    </a:lnTo>
                    <a:lnTo>
                      <a:pt x="79" y="19"/>
                    </a:lnTo>
                    <a:lnTo>
                      <a:pt x="73" y="19"/>
                    </a:lnTo>
                    <a:lnTo>
                      <a:pt x="70" y="20"/>
                    </a:lnTo>
                    <a:lnTo>
                      <a:pt x="70" y="20"/>
                    </a:lnTo>
                    <a:lnTo>
                      <a:pt x="67" y="20"/>
                    </a:lnTo>
                    <a:lnTo>
                      <a:pt x="66" y="19"/>
                    </a:lnTo>
                    <a:lnTo>
                      <a:pt x="63" y="16"/>
                    </a:lnTo>
                    <a:lnTo>
                      <a:pt x="60" y="15"/>
                    </a:lnTo>
                    <a:lnTo>
                      <a:pt x="60" y="15"/>
                    </a:lnTo>
                    <a:lnTo>
                      <a:pt x="57" y="15"/>
                    </a:lnTo>
                    <a:lnTo>
                      <a:pt x="55" y="13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46" y="8"/>
                    </a:lnTo>
                    <a:lnTo>
                      <a:pt x="39" y="8"/>
                    </a:lnTo>
                    <a:lnTo>
                      <a:pt x="30" y="8"/>
                    </a:lnTo>
                    <a:lnTo>
                      <a:pt x="25" y="6"/>
                    </a:lnTo>
                    <a:lnTo>
                      <a:pt x="25" y="6"/>
                    </a:lnTo>
                    <a:lnTo>
                      <a:pt x="16" y="2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8" y="8"/>
                    </a:lnTo>
                    <a:lnTo>
                      <a:pt x="15" y="9"/>
                    </a:lnTo>
                    <a:lnTo>
                      <a:pt x="22" y="12"/>
                    </a:lnTo>
                    <a:lnTo>
                      <a:pt x="23" y="15"/>
                    </a:lnTo>
                    <a:lnTo>
                      <a:pt x="25" y="17"/>
                    </a:lnTo>
                    <a:lnTo>
                      <a:pt x="25" y="17"/>
                    </a:lnTo>
                    <a:lnTo>
                      <a:pt x="27" y="23"/>
                    </a:lnTo>
                    <a:lnTo>
                      <a:pt x="29" y="26"/>
                    </a:lnTo>
                    <a:lnTo>
                      <a:pt x="32" y="29"/>
                    </a:lnTo>
                    <a:lnTo>
                      <a:pt x="30" y="35"/>
                    </a:lnTo>
                    <a:lnTo>
                      <a:pt x="30" y="35"/>
                    </a:lnTo>
                    <a:lnTo>
                      <a:pt x="29" y="37"/>
                    </a:lnTo>
                    <a:lnTo>
                      <a:pt x="27" y="40"/>
                    </a:lnTo>
                    <a:lnTo>
                      <a:pt x="27" y="40"/>
                    </a:lnTo>
                    <a:lnTo>
                      <a:pt x="37" y="40"/>
                    </a:lnTo>
                    <a:lnTo>
                      <a:pt x="45" y="39"/>
                    </a:lnTo>
                    <a:lnTo>
                      <a:pt x="45" y="39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01" name="Turkey">
                <a:extLst>
                  <a:ext uri="{FF2B5EF4-FFF2-40B4-BE49-F238E27FC236}">
                    <a16:creationId xmlns:a16="http://schemas.microsoft.com/office/drawing/2014/main" id="{27397EE9-DA60-D5E4-46E4-4CA7F9DDC8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33067" y="3239857"/>
                <a:ext cx="442455" cy="173135"/>
              </a:xfrm>
              <a:custGeom>
                <a:avLst/>
                <a:gdLst/>
                <a:ahLst/>
                <a:cxnLst>
                  <a:cxn ang="0">
                    <a:pos x="292" y="69"/>
                  </a:cxn>
                  <a:cxn ang="0">
                    <a:pos x="290" y="52"/>
                  </a:cxn>
                  <a:cxn ang="0">
                    <a:pos x="293" y="44"/>
                  </a:cxn>
                  <a:cxn ang="0">
                    <a:pos x="289" y="36"/>
                  </a:cxn>
                  <a:cxn ang="0">
                    <a:pos x="279" y="27"/>
                  </a:cxn>
                  <a:cxn ang="0">
                    <a:pos x="270" y="10"/>
                  </a:cxn>
                  <a:cxn ang="0">
                    <a:pos x="247" y="10"/>
                  </a:cxn>
                  <a:cxn ang="0">
                    <a:pos x="218" y="20"/>
                  </a:cxn>
                  <a:cxn ang="0">
                    <a:pos x="189" y="20"/>
                  </a:cxn>
                  <a:cxn ang="0">
                    <a:pos x="171" y="15"/>
                  </a:cxn>
                  <a:cxn ang="0">
                    <a:pos x="156" y="7"/>
                  </a:cxn>
                  <a:cxn ang="0">
                    <a:pos x="132" y="2"/>
                  </a:cxn>
                  <a:cxn ang="0">
                    <a:pos x="91" y="10"/>
                  </a:cxn>
                  <a:cxn ang="0">
                    <a:pos x="64" y="19"/>
                  </a:cxn>
                  <a:cxn ang="0">
                    <a:pos x="47" y="23"/>
                  </a:cxn>
                  <a:cxn ang="0">
                    <a:pos x="23" y="32"/>
                  </a:cxn>
                  <a:cxn ang="0">
                    <a:pos x="1" y="40"/>
                  </a:cxn>
                  <a:cxn ang="0">
                    <a:pos x="7" y="46"/>
                  </a:cxn>
                  <a:cxn ang="0">
                    <a:pos x="10" y="52"/>
                  </a:cxn>
                  <a:cxn ang="0">
                    <a:pos x="10" y="64"/>
                  </a:cxn>
                  <a:cxn ang="0">
                    <a:pos x="14" y="76"/>
                  </a:cxn>
                  <a:cxn ang="0">
                    <a:pos x="11" y="81"/>
                  </a:cxn>
                  <a:cxn ang="0">
                    <a:pos x="20" y="90"/>
                  </a:cxn>
                  <a:cxn ang="0">
                    <a:pos x="31" y="96"/>
                  </a:cxn>
                  <a:cxn ang="0">
                    <a:pos x="41" y="98"/>
                  </a:cxn>
                  <a:cxn ang="0">
                    <a:pos x="53" y="111"/>
                  </a:cxn>
                  <a:cxn ang="0">
                    <a:pos x="70" y="106"/>
                  </a:cxn>
                  <a:cxn ang="0">
                    <a:pos x="82" y="98"/>
                  </a:cxn>
                  <a:cxn ang="0">
                    <a:pos x="108" y="113"/>
                  </a:cxn>
                  <a:cxn ang="0">
                    <a:pos x="129" y="106"/>
                  </a:cxn>
                  <a:cxn ang="0">
                    <a:pos x="145" y="103"/>
                  </a:cxn>
                  <a:cxn ang="0">
                    <a:pos x="161" y="100"/>
                  </a:cxn>
                  <a:cxn ang="0">
                    <a:pos x="156" y="108"/>
                  </a:cxn>
                  <a:cxn ang="0">
                    <a:pos x="156" y="117"/>
                  </a:cxn>
                  <a:cxn ang="0">
                    <a:pos x="166" y="107"/>
                  </a:cxn>
                  <a:cxn ang="0">
                    <a:pos x="172" y="103"/>
                  </a:cxn>
                  <a:cxn ang="0">
                    <a:pos x="186" y="103"/>
                  </a:cxn>
                  <a:cxn ang="0">
                    <a:pos x="199" y="103"/>
                  </a:cxn>
                  <a:cxn ang="0">
                    <a:pos x="226" y="98"/>
                  </a:cxn>
                  <a:cxn ang="0">
                    <a:pos x="249" y="94"/>
                  </a:cxn>
                  <a:cxn ang="0">
                    <a:pos x="265" y="90"/>
                  </a:cxn>
                  <a:cxn ang="0">
                    <a:pos x="279" y="91"/>
                  </a:cxn>
                  <a:cxn ang="0">
                    <a:pos x="292" y="96"/>
                  </a:cxn>
                  <a:cxn ang="0">
                    <a:pos x="299" y="91"/>
                  </a:cxn>
                  <a:cxn ang="0">
                    <a:pos x="24" y="20"/>
                  </a:cxn>
                  <a:cxn ang="0">
                    <a:pos x="45" y="19"/>
                  </a:cxn>
                  <a:cxn ang="0">
                    <a:pos x="34" y="9"/>
                  </a:cxn>
                  <a:cxn ang="0">
                    <a:pos x="27" y="2"/>
                  </a:cxn>
                  <a:cxn ang="0">
                    <a:pos x="7" y="2"/>
                  </a:cxn>
                  <a:cxn ang="0">
                    <a:pos x="9" y="12"/>
                  </a:cxn>
                  <a:cxn ang="0">
                    <a:pos x="4" y="20"/>
                  </a:cxn>
                  <a:cxn ang="0">
                    <a:pos x="10" y="30"/>
                  </a:cxn>
                  <a:cxn ang="0">
                    <a:pos x="24" y="20"/>
                  </a:cxn>
                </a:cxnLst>
                <a:rect l="0" t="0" r="r" b="b"/>
                <a:pathLst>
                  <a:path w="299" h="117">
                    <a:moveTo>
                      <a:pt x="292" y="81"/>
                    </a:moveTo>
                    <a:lnTo>
                      <a:pt x="292" y="81"/>
                    </a:lnTo>
                    <a:lnTo>
                      <a:pt x="290" y="79"/>
                    </a:lnTo>
                    <a:lnTo>
                      <a:pt x="290" y="74"/>
                    </a:lnTo>
                    <a:lnTo>
                      <a:pt x="292" y="69"/>
                    </a:lnTo>
                    <a:lnTo>
                      <a:pt x="292" y="64"/>
                    </a:lnTo>
                    <a:lnTo>
                      <a:pt x="292" y="64"/>
                    </a:lnTo>
                    <a:lnTo>
                      <a:pt x="289" y="57"/>
                    </a:lnTo>
                    <a:lnTo>
                      <a:pt x="289" y="53"/>
                    </a:lnTo>
                    <a:lnTo>
                      <a:pt x="290" y="52"/>
                    </a:lnTo>
                    <a:lnTo>
                      <a:pt x="290" y="52"/>
                    </a:lnTo>
                    <a:lnTo>
                      <a:pt x="290" y="52"/>
                    </a:lnTo>
                    <a:lnTo>
                      <a:pt x="292" y="50"/>
                    </a:lnTo>
                    <a:lnTo>
                      <a:pt x="292" y="47"/>
                    </a:lnTo>
                    <a:lnTo>
                      <a:pt x="293" y="44"/>
                    </a:lnTo>
                    <a:lnTo>
                      <a:pt x="294" y="43"/>
                    </a:lnTo>
                    <a:lnTo>
                      <a:pt x="294" y="43"/>
                    </a:lnTo>
                    <a:lnTo>
                      <a:pt x="292" y="37"/>
                    </a:lnTo>
                    <a:lnTo>
                      <a:pt x="292" y="37"/>
                    </a:lnTo>
                    <a:lnTo>
                      <a:pt x="289" y="36"/>
                    </a:lnTo>
                    <a:lnTo>
                      <a:pt x="286" y="36"/>
                    </a:lnTo>
                    <a:lnTo>
                      <a:pt x="282" y="36"/>
                    </a:lnTo>
                    <a:lnTo>
                      <a:pt x="280" y="32"/>
                    </a:lnTo>
                    <a:lnTo>
                      <a:pt x="280" y="32"/>
                    </a:lnTo>
                    <a:lnTo>
                      <a:pt x="279" y="27"/>
                    </a:lnTo>
                    <a:lnTo>
                      <a:pt x="277" y="24"/>
                    </a:lnTo>
                    <a:lnTo>
                      <a:pt x="277" y="22"/>
                    </a:lnTo>
                    <a:lnTo>
                      <a:pt x="276" y="19"/>
                    </a:lnTo>
                    <a:lnTo>
                      <a:pt x="276" y="19"/>
                    </a:lnTo>
                    <a:lnTo>
                      <a:pt x="270" y="10"/>
                    </a:lnTo>
                    <a:lnTo>
                      <a:pt x="267" y="9"/>
                    </a:lnTo>
                    <a:lnTo>
                      <a:pt x="265" y="9"/>
                    </a:lnTo>
                    <a:lnTo>
                      <a:pt x="265" y="9"/>
                    </a:lnTo>
                    <a:lnTo>
                      <a:pt x="257" y="10"/>
                    </a:lnTo>
                    <a:lnTo>
                      <a:pt x="247" y="10"/>
                    </a:lnTo>
                    <a:lnTo>
                      <a:pt x="247" y="10"/>
                    </a:lnTo>
                    <a:lnTo>
                      <a:pt x="240" y="15"/>
                    </a:lnTo>
                    <a:lnTo>
                      <a:pt x="232" y="17"/>
                    </a:lnTo>
                    <a:lnTo>
                      <a:pt x="223" y="20"/>
                    </a:lnTo>
                    <a:lnTo>
                      <a:pt x="218" y="20"/>
                    </a:lnTo>
                    <a:lnTo>
                      <a:pt x="218" y="20"/>
                    </a:lnTo>
                    <a:lnTo>
                      <a:pt x="212" y="19"/>
                    </a:lnTo>
                    <a:lnTo>
                      <a:pt x="205" y="19"/>
                    </a:lnTo>
                    <a:lnTo>
                      <a:pt x="189" y="20"/>
                    </a:lnTo>
                    <a:lnTo>
                      <a:pt x="189" y="20"/>
                    </a:lnTo>
                    <a:lnTo>
                      <a:pt x="183" y="19"/>
                    </a:lnTo>
                    <a:lnTo>
                      <a:pt x="179" y="17"/>
                    </a:lnTo>
                    <a:lnTo>
                      <a:pt x="175" y="15"/>
                    </a:lnTo>
                    <a:lnTo>
                      <a:pt x="171" y="15"/>
                    </a:lnTo>
                    <a:lnTo>
                      <a:pt x="171" y="15"/>
                    </a:lnTo>
                    <a:lnTo>
                      <a:pt x="166" y="13"/>
                    </a:lnTo>
                    <a:lnTo>
                      <a:pt x="164" y="12"/>
                    </a:lnTo>
                    <a:lnTo>
                      <a:pt x="161" y="9"/>
                    </a:lnTo>
                    <a:lnTo>
                      <a:pt x="156" y="7"/>
                    </a:lnTo>
                    <a:lnTo>
                      <a:pt x="156" y="7"/>
                    </a:lnTo>
                    <a:lnTo>
                      <a:pt x="152" y="7"/>
                    </a:lnTo>
                    <a:lnTo>
                      <a:pt x="149" y="6"/>
                    </a:lnTo>
                    <a:lnTo>
                      <a:pt x="145" y="3"/>
                    </a:lnTo>
                    <a:lnTo>
                      <a:pt x="132" y="2"/>
                    </a:lnTo>
                    <a:lnTo>
                      <a:pt x="132" y="2"/>
                    </a:lnTo>
                    <a:lnTo>
                      <a:pt x="124" y="0"/>
                    </a:lnTo>
                    <a:lnTo>
                      <a:pt x="117" y="2"/>
                    </a:lnTo>
                    <a:lnTo>
                      <a:pt x="110" y="3"/>
                    </a:lnTo>
                    <a:lnTo>
                      <a:pt x="102" y="6"/>
                    </a:lnTo>
                    <a:lnTo>
                      <a:pt x="91" y="10"/>
                    </a:lnTo>
                    <a:lnTo>
                      <a:pt x="84" y="16"/>
                    </a:lnTo>
                    <a:lnTo>
                      <a:pt x="84" y="16"/>
                    </a:lnTo>
                    <a:lnTo>
                      <a:pt x="80" y="19"/>
                    </a:lnTo>
                    <a:lnTo>
                      <a:pt x="75" y="19"/>
                    </a:lnTo>
                    <a:lnTo>
                      <a:pt x="64" y="19"/>
                    </a:lnTo>
                    <a:lnTo>
                      <a:pt x="54" y="17"/>
                    </a:lnTo>
                    <a:lnTo>
                      <a:pt x="48" y="19"/>
                    </a:lnTo>
                    <a:lnTo>
                      <a:pt x="48" y="19"/>
                    </a:lnTo>
                    <a:lnTo>
                      <a:pt x="47" y="20"/>
                    </a:lnTo>
                    <a:lnTo>
                      <a:pt x="47" y="23"/>
                    </a:lnTo>
                    <a:lnTo>
                      <a:pt x="45" y="27"/>
                    </a:lnTo>
                    <a:lnTo>
                      <a:pt x="41" y="30"/>
                    </a:lnTo>
                    <a:lnTo>
                      <a:pt x="41" y="30"/>
                    </a:lnTo>
                    <a:lnTo>
                      <a:pt x="33" y="32"/>
                    </a:lnTo>
                    <a:lnTo>
                      <a:pt x="23" y="32"/>
                    </a:lnTo>
                    <a:lnTo>
                      <a:pt x="14" y="32"/>
                    </a:lnTo>
                    <a:lnTo>
                      <a:pt x="7" y="33"/>
                    </a:lnTo>
                    <a:lnTo>
                      <a:pt x="7" y="33"/>
                    </a:lnTo>
                    <a:lnTo>
                      <a:pt x="3" y="36"/>
                    </a:lnTo>
                    <a:lnTo>
                      <a:pt x="1" y="40"/>
                    </a:lnTo>
                    <a:lnTo>
                      <a:pt x="1" y="44"/>
                    </a:lnTo>
                    <a:lnTo>
                      <a:pt x="1" y="44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7" y="46"/>
                    </a:lnTo>
                    <a:lnTo>
                      <a:pt x="10" y="46"/>
                    </a:lnTo>
                    <a:lnTo>
                      <a:pt x="10" y="49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0" y="52"/>
                    </a:lnTo>
                    <a:lnTo>
                      <a:pt x="11" y="56"/>
                    </a:lnTo>
                    <a:lnTo>
                      <a:pt x="13" y="59"/>
                    </a:lnTo>
                    <a:lnTo>
                      <a:pt x="11" y="61"/>
                    </a:lnTo>
                    <a:lnTo>
                      <a:pt x="11" y="61"/>
                    </a:lnTo>
                    <a:lnTo>
                      <a:pt x="10" y="64"/>
                    </a:lnTo>
                    <a:lnTo>
                      <a:pt x="10" y="67"/>
                    </a:lnTo>
                    <a:lnTo>
                      <a:pt x="10" y="70"/>
                    </a:lnTo>
                    <a:lnTo>
                      <a:pt x="13" y="73"/>
                    </a:lnTo>
                    <a:lnTo>
                      <a:pt x="13" y="73"/>
                    </a:lnTo>
                    <a:lnTo>
                      <a:pt x="14" y="76"/>
                    </a:lnTo>
                    <a:lnTo>
                      <a:pt x="16" y="79"/>
                    </a:lnTo>
                    <a:lnTo>
                      <a:pt x="14" y="80"/>
                    </a:lnTo>
                    <a:lnTo>
                      <a:pt x="13" y="81"/>
                    </a:lnTo>
                    <a:lnTo>
                      <a:pt x="13" y="81"/>
                    </a:lnTo>
                    <a:lnTo>
                      <a:pt x="11" y="81"/>
                    </a:lnTo>
                    <a:lnTo>
                      <a:pt x="11" y="83"/>
                    </a:lnTo>
                    <a:lnTo>
                      <a:pt x="14" y="86"/>
                    </a:lnTo>
                    <a:lnTo>
                      <a:pt x="18" y="87"/>
                    </a:lnTo>
                    <a:lnTo>
                      <a:pt x="20" y="90"/>
                    </a:lnTo>
                    <a:lnTo>
                      <a:pt x="20" y="90"/>
                    </a:lnTo>
                    <a:lnTo>
                      <a:pt x="21" y="91"/>
                    </a:lnTo>
                    <a:lnTo>
                      <a:pt x="26" y="93"/>
                    </a:lnTo>
                    <a:lnTo>
                      <a:pt x="28" y="94"/>
                    </a:lnTo>
                    <a:lnTo>
                      <a:pt x="31" y="96"/>
                    </a:lnTo>
                    <a:lnTo>
                      <a:pt x="31" y="96"/>
                    </a:lnTo>
                    <a:lnTo>
                      <a:pt x="31" y="98"/>
                    </a:lnTo>
                    <a:lnTo>
                      <a:pt x="33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41" y="98"/>
                    </a:lnTo>
                    <a:lnTo>
                      <a:pt x="44" y="101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50" y="110"/>
                    </a:lnTo>
                    <a:lnTo>
                      <a:pt x="53" y="111"/>
                    </a:lnTo>
                    <a:lnTo>
                      <a:pt x="60" y="111"/>
                    </a:lnTo>
                    <a:lnTo>
                      <a:pt x="67" y="108"/>
                    </a:lnTo>
                    <a:lnTo>
                      <a:pt x="68" y="107"/>
                    </a:lnTo>
                    <a:lnTo>
                      <a:pt x="70" y="106"/>
                    </a:lnTo>
                    <a:lnTo>
                      <a:pt x="70" y="106"/>
                    </a:lnTo>
                    <a:lnTo>
                      <a:pt x="70" y="101"/>
                    </a:lnTo>
                    <a:lnTo>
                      <a:pt x="73" y="100"/>
                    </a:lnTo>
                    <a:lnTo>
                      <a:pt x="77" y="98"/>
                    </a:lnTo>
                    <a:lnTo>
                      <a:pt x="82" y="98"/>
                    </a:lnTo>
                    <a:lnTo>
                      <a:pt x="82" y="98"/>
                    </a:lnTo>
                    <a:lnTo>
                      <a:pt x="88" y="101"/>
                    </a:lnTo>
                    <a:lnTo>
                      <a:pt x="95" y="106"/>
                    </a:lnTo>
                    <a:lnTo>
                      <a:pt x="104" y="111"/>
                    </a:lnTo>
                    <a:lnTo>
                      <a:pt x="104" y="111"/>
                    </a:lnTo>
                    <a:lnTo>
                      <a:pt x="108" y="113"/>
                    </a:lnTo>
                    <a:lnTo>
                      <a:pt x="112" y="111"/>
                    </a:lnTo>
                    <a:lnTo>
                      <a:pt x="121" y="108"/>
                    </a:lnTo>
                    <a:lnTo>
                      <a:pt x="121" y="108"/>
                    </a:lnTo>
                    <a:lnTo>
                      <a:pt x="125" y="108"/>
                    </a:lnTo>
                    <a:lnTo>
                      <a:pt x="129" y="106"/>
                    </a:lnTo>
                    <a:lnTo>
                      <a:pt x="135" y="100"/>
                    </a:lnTo>
                    <a:lnTo>
                      <a:pt x="135" y="100"/>
                    </a:lnTo>
                    <a:lnTo>
                      <a:pt x="138" y="100"/>
                    </a:lnTo>
                    <a:lnTo>
                      <a:pt x="141" y="101"/>
                    </a:lnTo>
                    <a:lnTo>
                      <a:pt x="145" y="103"/>
                    </a:lnTo>
                    <a:lnTo>
                      <a:pt x="148" y="103"/>
                    </a:lnTo>
                    <a:lnTo>
                      <a:pt x="148" y="103"/>
                    </a:lnTo>
                    <a:lnTo>
                      <a:pt x="155" y="100"/>
                    </a:lnTo>
                    <a:lnTo>
                      <a:pt x="158" y="98"/>
                    </a:lnTo>
                    <a:lnTo>
                      <a:pt x="161" y="100"/>
                    </a:lnTo>
                    <a:lnTo>
                      <a:pt x="161" y="100"/>
                    </a:lnTo>
                    <a:lnTo>
                      <a:pt x="161" y="100"/>
                    </a:lnTo>
                    <a:lnTo>
                      <a:pt x="161" y="101"/>
                    </a:lnTo>
                    <a:lnTo>
                      <a:pt x="158" y="106"/>
                    </a:lnTo>
                    <a:lnTo>
                      <a:pt x="156" y="108"/>
                    </a:lnTo>
                    <a:lnTo>
                      <a:pt x="155" y="110"/>
                    </a:lnTo>
                    <a:lnTo>
                      <a:pt x="156" y="113"/>
                    </a:lnTo>
                    <a:lnTo>
                      <a:pt x="156" y="113"/>
                    </a:lnTo>
                    <a:lnTo>
                      <a:pt x="156" y="114"/>
                    </a:lnTo>
                    <a:lnTo>
                      <a:pt x="156" y="117"/>
                    </a:lnTo>
                    <a:lnTo>
                      <a:pt x="156" y="117"/>
                    </a:lnTo>
                    <a:lnTo>
                      <a:pt x="162" y="116"/>
                    </a:lnTo>
                    <a:lnTo>
                      <a:pt x="165" y="113"/>
                    </a:lnTo>
                    <a:lnTo>
                      <a:pt x="165" y="110"/>
                    </a:lnTo>
                    <a:lnTo>
                      <a:pt x="166" y="107"/>
                    </a:lnTo>
                    <a:lnTo>
                      <a:pt x="166" y="107"/>
                    </a:lnTo>
                    <a:lnTo>
                      <a:pt x="168" y="103"/>
                    </a:lnTo>
                    <a:lnTo>
                      <a:pt x="169" y="101"/>
                    </a:lnTo>
                    <a:lnTo>
                      <a:pt x="172" y="103"/>
                    </a:lnTo>
                    <a:lnTo>
                      <a:pt x="172" y="103"/>
                    </a:lnTo>
                    <a:lnTo>
                      <a:pt x="175" y="104"/>
                    </a:lnTo>
                    <a:lnTo>
                      <a:pt x="178" y="104"/>
                    </a:lnTo>
                    <a:lnTo>
                      <a:pt x="182" y="104"/>
                    </a:lnTo>
                    <a:lnTo>
                      <a:pt x="186" y="103"/>
                    </a:lnTo>
                    <a:lnTo>
                      <a:pt x="186" y="103"/>
                    </a:lnTo>
                    <a:lnTo>
                      <a:pt x="193" y="100"/>
                    </a:lnTo>
                    <a:lnTo>
                      <a:pt x="195" y="100"/>
                    </a:lnTo>
                    <a:lnTo>
                      <a:pt x="196" y="101"/>
                    </a:lnTo>
                    <a:lnTo>
                      <a:pt x="196" y="101"/>
                    </a:lnTo>
                    <a:lnTo>
                      <a:pt x="199" y="103"/>
                    </a:lnTo>
                    <a:lnTo>
                      <a:pt x="203" y="103"/>
                    </a:lnTo>
                    <a:lnTo>
                      <a:pt x="215" y="101"/>
                    </a:lnTo>
                    <a:lnTo>
                      <a:pt x="215" y="101"/>
                    </a:lnTo>
                    <a:lnTo>
                      <a:pt x="222" y="100"/>
                    </a:lnTo>
                    <a:lnTo>
                      <a:pt x="226" y="98"/>
                    </a:lnTo>
                    <a:lnTo>
                      <a:pt x="230" y="96"/>
                    </a:lnTo>
                    <a:lnTo>
                      <a:pt x="236" y="96"/>
                    </a:lnTo>
                    <a:lnTo>
                      <a:pt x="236" y="96"/>
                    </a:lnTo>
                    <a:lnTo>
                      <a:pt x="243" y="94"/>
                    </a:lnTo>
                    <a:lnTo>
                      <a:pt x="249" y="94"/>
                    </a:lnTo>
                    <a:lnTo>
                      <a:pt x="255" y="93"/>
                    </a:lnTo>
                    <a:lnTo>
                      <a:pt x="260" y="94"/>
                    </a:lnTo>
                    <a:lnTo>
                      <a:pt x="260" y="94"/>
                    </a:lnTo>
                    <a:lnTo>
                      <a:pt x="263" y="91"/>
                    </a:lnTo>
                    <a:lnTo>
                      <a:pt x="265" y="90"/>
                    </a:lnTo>
                    <a:lnTo>
                      <a:pt x="267" y="89"/>
                    </a:lnTo>
                    <a:lnTo>
                      <a:pt x="267" y="89"/>
                    </a:lnTo>
                    <a:lnTo>
                      <a:pt x="273" y="89"/>
                    </a:lnTo>
                    <a:lnTo>
                      <a:pt x="276" y="91"/>
                    </a:lnTo>
                    <a:lnTo>
                      <a:pt x="279" y="91"/>
                    </a:lnTo>
                    <a:lnTo>
                      <a:pt x="282" y="91"/>
                    </a:lnTo>
                    <a:lnTo>
                      <a:pt x="282" y="91"/>
                    </a:lnTo>
                    <a:lnTo>
                      <a:pt x="283" y="91"/>
                    </a:lnTo>
                    <a:lnTo>
                      <a:pt x="286" y="93"/>
                    </a:lnTo>
                    <a:lnTo>
                      <a:pt x="292" y="96"/>
                    </a:lnTo>
                    <a:lnTo>
                      <a:pt x="296" y="97"/>
                    </a:lnTo>
                    <a:lnTo>
                      <a:pt x="297" y="97"/>
                    </a:lnTo>
                    <a:lnTo>
                      <a:pt x="299" y="94"/>
                    </a:lnTo>
                    <a:lnTo>
                      <a:pt x="299" y="94"/>
                    </a:lnTo>
                    <a:lnTo>
                      <a:pt x="299" y="91"/>
                    </a:lnTo>
                    <a:lnTo>
                      <a:pt x="296" y="87"/>
                    </a:lnTo>
                    <a:lnTo>
                      <a:pt x="293" y="84"/>
                    </a:lnTo>
                    <a:lnTo>
                      <a:pt x="292" y="81"/>
                    </a:lnTo>
                    <a:lnTo>
                      <a:pt x="292" y="81"/>
                    </a:lnTo>
                    <a:close/>
                    <a:moveTo>
                      <a:pt x="24" y="20"/>
                    </a:moveTo>
                    <a:lnTo>
                      <a:pt x="24" y="20"/>
                    </a:lnTo>
                    <a:lnTo>
                      <a:pt x="30" y="20"/>
                    </a:lnTo>
                    <a:lnTo>
                      <a:pt x="36" y="20"/>
                    </a:lnTo>
                    <a:lnTo>
                      <a:pt x="41" y="20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7" y="17"/>
                    </a:lnTo>
                    <a:lnTo>
                      <a:pt x="45" y="16"/>
                    </a:lnTo>
                    <a:lnTo>
                      <a:pt x="43" y="13"/>
                    </a:lnTo>
                    <a:lnTo>
                      <a:pt x="34" y="9"/>
                    </a:lnTo>
                    <a:lnTo>
                      <a:pt x="34" y="9"/>
                    </a:lnTo>
                    <a:lnTo>
                      <a:pt x="31" y="5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7" y="2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6" y="3"/>
                    </a:lnTo>
                    <a:lnTo>
                      <a:pt x="7" y="6"/>
                    </a:lnTo>
                    <a:lnTo>
                      <a:pt x="9" y="12"/>
                    </a:lnTo>
                    <a:lnTo>
                      <a:pt x="9" y="12"/>
                    </a:lnTo>
                    <a:lnTo>
                      <a:pt x="7" y="15"/>
                    </a:lnTo>
                    <a:lnTo>
                      <a:pt x="6" y="16"/>
                    </a:lnTo>
                    <a:lnTo>
                      <a:pt x="4" y="17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3" y="23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9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29"/>
                    </a:lnTo>
                    <a:lnTo>
                      <a:pt x="17" y="26"/>
                    </a:lnTo>
                    <a:lnTo>
                      <a:pt x="20" y="23"/>
                    </a:lnTo>
                    <a:lnTo>
                      <a:pt x="24" y="20"/>
                    </a:lnTo>
                    <a:lnTo>
                      <a:pt x="24" y="2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02" name="Poland">
                <a:extLst>
                  <a:ext uri="{FF2B5EF4-FFF2-40B4-BE49-F238E27FC236}">
                    <a16:creationId xmlns:a16="http://schemas.microsoft.com/office/drawing/2014/main" id="{AFA5801F-E353-1092-AB56-1E2CBD0FF1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0787" y="2844753"/>
                <a:ext cx="226408" cy="184973"/>
              </a:xfrm>
              <a:custGeom>
                <a:avLst/>
                <a:gdLst/>
                <a:ahLst/>
                <a:cxnLst>
                  <a:cxn ang="0">
                    <a:pos x="3" y="33"/>
                  </a:cxn>
                  <a:cxn ang="0">
                    <a:pos x="2" y="41"/>
                  </a:cxn>
                  <a:cxn ang="0">
                    <a:pos x="2" y="48"/>
                  </a:cxn>
                  <a:cxn ang="0">
                    <a:pos x="6" y="55"/>
                  </a:cxn>
                  <a:cxn ang="0">
                    <a:pos x="8" y="64"/>
                  </a:cxn>
                  <a:cxn ang="0">
                    <a:pos x="12" y="77"/>
                  </a:cxn>
                  <a:cxn ang="0">
                    <a:pos x="12" y="84"/>
                  </a:cxn>
                  <a:cxn ang="0">
                    <a:pos x="22" y="89"/>
                  </a:cxn>
                  <a:cxn ang="0">
                    <a:pos x="32" y="97"/>
                  </a:cxn>
                  <a:cxn ang="0">
                    <a:pos x="36" y="101"/>
                  </a:cxn>
                  <a:cxn ang="0">
                    <a:pos x="40" y="101"/>
                  </a:cxn>
                  <a:cxn ang="0">
                    <a:pos x="50" y="99"/>
                  </a:cxn>
                  <a:cxn ang="0">
                    <a:pos x="53" y="101"/>
                  </a:cxn>
                  <a:cxn ang="0">
                    <a:pos x="56" y="107"/>
                  </a:cxn>
                  <a:cxn ang="0">
                    <a:pos x="64" y="108"/>
                  </a:cxn>
                  <a:cxn ang="0">
                    <a:pos x="70" y="115"/>
                  </a:cxn>
                  <a:cxn ang="0">
                    <a:pos x="74" y="118"/>
                  </a:cxn>
                  <a:cxn ang="0">
                    <a:pos x="82" y="117"/>
                  </a:cxn>
                  <a:cxn ang="0">
                    <a:pos x="92" y="118"/>
                  </a:cxn>
                  <a:cxn ang="0">
                    <a:pos x="99" y="118"/>
                  </a:cxn>
                  <a:cxn ang="0">
                    <a:pos x="107" y="119"/>
                  </a:cxn>
                  <a:cxn ang="0">
                    <a:pos x="121" y="122"/>
                  </a:cxn>
                  <a:cxn ang="0">
                    <a:pos x="131" y="125"/>
                  </a:cxn>
                  <a:cxn ang="0">
                    <a:pos x="130" y="114"/>
                  </a:cxn>
                  <a:cxn ang="0">
                    <a:pos x="146" y="98"/>
                  </a:cxn>
                  <a:cxn ang="0">
                    <a:pos x="150" y="95"/>
                  </a:cxn>
                  <a:cxn ang="0">
                    <a:pos x="153" y="89"/>
                  </a:cxn>
                  <a:cxn ang="0">
                    <a:pos x="146" y="77"/>
                  </a:cxn>
                  <a:cxn ang="0">
                    <a:pos x="144" y="62"/>
                  </a:cxn>
                  <a:cxn ang="0">
                    <a:pos x="140" y="57"/>
                  </a:cxn>
                  <a:cxn ang="0">
                    <a:pos x="140" y="52"/>
                  </a:cxn>
                  <a:cxn ang="0">
                    <a:pos x="148" y="47"/>
                  </a:cxn>
                  <a:cxn ang="0">
                    <a:pos x="150" y="35"/>
                  </a:cxn>
                  <a:cxn ang="0">
                    <a:pos x="146" y="31"/>
                  </a:cxn>
                  <a:cxn ang="0">
                    <a:pos x="146" y="21"/>
                  </a:cxn>
                  <a:cxn ang="0">
                    <a:pos x="144" y="17"/>
                  </a:cxn>
                  <a:cxn ang="0">
                    <a:pos x="133" y="11"/>
                  </a:cxn>
                  <a:cxn ang="0">
                    <a:pos x="121" y="11"/>
                  </a:cxn>
                  <a:cxn ang="0">
                    <a:pos x="90" y="10"/>
                  </a:cxn>
                  <a:cxn ang="0">
                    <a:pos x="79" y="10"/>
                  </a:cxn>
                  <a:cxn ang="0">
                    <a:pos x="70" y="10"/>
                  </a:cxn>
                  <a:cxn ang="0">
                    <a:pos x="66" y="1"/>
                  </a:cxn>
                  <a:cxn ang="0">
                    <a:pos x="52" y="3"/>
                  </a:cxn>
                  <a:cxn ang="0">
                    <a:pos x="32" y="11"/>
                  </a:cxn>
                  <a:cxn ang="0">
                    <a:pos x="25" y="14"/>
                  </a:cxn>
                  <a:cxn ang="0">
                    <a:pos x="8" y="18"/>
                  </a:cxn>
                  <a:cxn ang="0">
                    <a:pos x="5" y="23"/>
                  </a:cxn>
                  <a:cxn ang="0">
                    <a:pos x="2" y="25"/>
                  </a:cxn>
                </a:cxnLst>
                <a:rect l="0" t="0" r="r" b="b"/>
                <a:pathLst>
                  <a:path w="153" h="125">
                    <a:moveTo>
                      <a:pt x="2" y="25"/>
                    </a:moveTo>
                    <a:lnTo>
                      <a:pt x="2" y="25"/>
                    </a:lnTo>
                    <a:lnTo>
                      <a:pt x="3" y="33"/>
                    </a:lnTo>
                    <a:lnTo>
                      <a:pt x="2" y="38"/>
                    </a:lnTo>
                    <a:lnTo>
                      <a:pt x="2" y="41"/>
                    </a:lnTo>
                    <a:lnTo>
                      <a:pt x="2" y="41"/>
                    </a:lnTo>
                    <a:lnTo>
                      <a:pt x="0" y="44"/>
                    </a:lnTo>
                    <a:lnTo>
                      <a:pt x="0" y="45"/>
                    </a:lnTo>
                    <a:lnTo>
                      <a:pt x="2" y="48"/>
                    </a:lnTo>
                    <a:lnTo>
                      <a:pt x="2" y="48"/>
                    </a:lnTo>
                    <a:lnTo>
                      <a:pt x="5" y="51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8" y="60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9" y="72"/>
                    </a:lnTo>
                    <a:lnTo>
                      <a:pt x="12" y="77"/>
                    </a:lnTo>
                    <a:lnTo>
                      <a:pt x="12" y="77"/>
                    </a:lnTo>
                    <a:lnTo>
                      <a:pt x="13" y="81"/>
                    </a:lnTo>
                    <a:lnTo>
                      <a:pt x="12" y="84"/>
                    </a:lnTo>
                    <a:lnTo>
                      <a:pt x="12" y="84"/>
                    </a:lnTo>
                    <a:lnTo>
                      <a:pt x="22" y="89"/>
                    </a:lnTo>
                    <a:lnTo>
                      <a:pt x="22" y="89"/>
                    </a:lnTo>
                    <a:lnTo>
                      <a:pt x="30" y="94"/>
                    </a:lnTo>
                    <a:lnTo>
                      <a:pt x="32" y="95"/>
                    </a:lnTo>
                    <a:lnTo>
                      <a:pt x="32" y="97"/>
                    </a:lnTo>
                    <a:lnTo>
                      <a:pt x="32" y="97"/>
                    </a:lnTo>
                    <a:lnTo>
                      <a:pt x="33" y="99"/>
                    </a:lnTo>
                    <a:lnTo>
                      <a:pt x="36" y="101"/>
                    </a:lnTo>
                    <a:lnTo>
                      <a:pt x="39" y="102"/>
                    </a:lnTo>
                    <a:lnTo>
                      <a:pt x="40" y="101"/>
                    </a:lnTo>
                    <a:lnTo>
                      <a:pt x="40" y="101"/>
                    </a:lnTo>
                    <a:lnTo>
                      <a:pt x="43" y="99"/>
                    </a:lnTo>
                    <a:lnTo>
                      <a:pt x="45" y="99"/>
                    </a:lnTo>
                    <a:lnTo>
                      <a:pt x="50" y="99"/>
                    </a:lnTo>
                    <a:lnTo>
                      <a:pt x="50" y="99"/>
                    </a:lnTo>
                    <a:lnTo>
                      <a:pt x="52" y="99"/>
                    </a:lnTo>
                    <a:lnTo>
                      <a:pt x="53" y="101"/>
                    </a:lnTo>
                    <a:lnTo>
                      <a:pt x="55" y="105"/>
                    </a:lnTo>
                    <a:lnTo>
                      <a:pt x="55" y="105"/>
                    </a:lnTo>
                    <a:lnTo>
                      <a:pt x="56" y="107"/>
                    </a:lnTo>
                    <a:lnTo>
                      <a:pt x="59" y="107"/>
                    </a:lnTo>
                    <a:lnTo>
                      <a:pt x="64" y="108"/>
                    </a:lnTo>
                    <a:lnTo>
                      <a:pt x="64" y="108"/>
                    </a:lnTo>
                    <a:lnTo>
                      <a:pt x="66" y="109"/>
                    </a:lnTo>
                    <a:lnTo>
                      <a:pt x="67" y="112"/>
                    </a:lnTo>
                    <a:lnTo>
                      <a:pt x="70" y="115"/>
                    </a:lnTo>
                    <a:lnTo>
                      <a:pt x="72" y="118"/>
                    </a:lnTo>
                    <a:lnTo>
                      <a:pt x="72" y="118"/>
                    </a:lnTo>
                    <a:lnTo>
                      <a:pt x="74" y="118"/>
                    </a:lnTo>
                    <a:lnTo>
                      <a:pt x="77" y="117"/>
                    </a:lnTo>
                    <a:lnTo>
                      <a:pt x="80" y="117"/>
                    </a:lnTo>
                    <a:lnTo>
                      <a:pt x="82" y="117"/>
                    </a:lnTo>
                    <a:lnTo>
                      <a:pt x="82" y="117"/>
                    </a:lnTo>
                    <a:lnTo>
                      <a:pt x="87" y="118"/>
                    </a:lnTo>
                    <a:lnTo>
                      <a:pt x="92" y="118"/>
                    </a:lnTo>
                    <a:lnTo>
                      <a:pt x="96" y="118"/>
                    </a:lnTo>
                    <a:lnTo>
                      <a:pt x="96" y="118"/>
                    </a:lnTo>
                    <a:lnTo>
                      <a:pt x="99" y="118"/>
                    </a:lnTo>
                    <a:lnTo>
                      <a:pt x="101" y="118"/>
                    </a:lnTo>
                    <a:lnTo>
                      <a:pt x="104" y="119"/>
                    </a:lnTo>
                    <a:lnTo>
                      <a:pt x="107" y="119"/>
                    </a:lnTo>
                    <a:lnTo>
                      <a:pt x="107" y="119"/>
                    </a:lnTo>
                    <a:lnTo>
                      <a:pt x="116" y="119"/>
                    </a:lnTo>
                    <a:lnTo>
                      <a:pt x="121" y="122"/>
                    </a:lnTo>
                    <a:lnTo>
                      <a:pt x="121" y="122"/>
                    </a:lnTo>
                    <a:lnTo>
                      <a:pt x="124" y="124"/>
                    </a:lnTo>
                    <a:lnTo>
                      <a:pt x="131" y="125"/>
                    </a:lnTo>
                    <a:lnTo>
                      <a:pt x="131" y="125"/>
                    </a:lnTo>
                    <a:lnTo>
                      <a:pt x="131" y="119"/>
                    </a:lnTo>
                    <a:lnTo>
                      <a:pt x="130" y="114"/>
                    </a:lnTo>
                    <a:lnTo>
                      <a:pt x="130" y="114"/>
                    </a:lnTo>
                    <a:lnTo>
                      <a:pt x="137" y="107"/>
                    </a:lnTo>
                    <a:lnTo>
                      <a:pt x="146" y="98"/>
                    </a:lnTo>
                    <a:lnTo>
                      <a:pt x="146" y="98"/>
                    </a:lnTo>
                    <a:lnTo>
                      <a:pt x="148" y="97"/>
                    </a:lnTo>
                    <a:lnTo>
                      <a:pt x="150" y="95"/>
                    </a:lnTo>
                    <a:lnTo>
                      <a:pt x="153" y="92"/>
                    </a:lnTo>
                    <a:lnTo>
                      <a:pt x="153" y="92"/>
                    </a:lnTo>
                    <a:lnTo>
                      <a:pt x="153" y="89"/>
                    </a:lnTo>
                    <a:lnTo>
                      <a:pt x="150" y="85"/>
                    </a:lnTo>
                    <a:lnTo>
                      <a:pt x="146" y="77"/>
                    </a:lnTo>
                    <a:lnTo>
                      <a:pt x="146" y="77"/>
                    </a:lnTo>
                    <a:lnTo>
                      <a:pt x="144" y="71"/>
                    </a:lnTo>
                    <a:lnTo>
                      <a:pt x="144" y="62"/>
                    </a:lnTo>
                    <a:lnTo>
                      <a:pt x="144" y="62"/>
                    </a:lnTo>
                    <a:lnTo>
                      <a:pt x="144" y="61"/>
                    </a:lnTo>
                    <a:lnTo>
                      <a:pt x="143" y="58"/>
                    </a:lnTo>
                    <a:lnTo>
                      <a:pt x="140" y="57"/>
                    </a:lnTo>
                    <a:lnTo>
                      <a:pt x="140" y="55"/>
                    </a:lnTo>
                    <a:lnTo>
                      <a:pt x="140" y="55"/>
                    </a:lnTo>
                    <a:lnTo>
                      <a:pt x="140" y="52"/>
                    </a:lnTo>
                    <a:lnTo>
                      <a:pt x="143" y="51"/>
                    </a:lnTo>
                    <a:lnTo>
                      <a:pt x="148" y="47"/>
                    </a:lnTo>
                    <a:lnTo>
                      <a:pt x="148" y="47"/>
                    </a:lnTo>
                    <a:lnTo>
                      <a:pt x="150" y="44"/>
                    </a:lnTo>
                    <a:lnTo>
                      <a:pt x="150" y="40"/>
                    </a:lnTo>
                    <a:lnTo>
                      <a:pt x="150" y="35"/>
                    </a:lnTo>
                    <a:lnTo>
                      <a:pt x="148" y="33"/>
                    </a:lnTo>
                    <a:lnTo>
                      <a:pt x="148" y="33"/>
                    </a:lnTo>
                    <a:lnTo>
                      <a:pt x="146" y="31"/>
                    </a:lnTo>
                    <a:lnTo>
                      <a:pt x="146" y="28"/>
                    </a:lnTo>
                    <a:lnTo>
                      <a:pt x="144" y="24"/>
                    </a:lnTo>
                    <a:lnTo>
                      <a:pt x="146" y="21"/>
                    </a:lnTo>
                    <a:lnTo>
                      <a:pt x="146" y="21"/>
                    </a:lnTo>
                    <a:lnTo>
                      <a:pt x="146" y="18"/>
                    </a:lnTo>
                    <a:lnTo>
                      <a:pt x="144" y="17"/>
                    </a:lnTo>
                    <a:lnTo>
                      <a:pt x="140" y="14"/>
                    </a:lnTo>
                    <a:lnTo>
                      <a:pt x="133" y="11"/>
                    </a:lnTo>
                    <a:lnTo>
                      <a:pt x="133" y="11"/>
                    </a:lnTo>
                    <a:lnTo>
                      <a:pt x="133" y="11"/>
                    </a:lnTo>
                    <a:lnTo>
                      <a:pt x="133" y="11"/>
                    </a:lnTo>
                    <a:lnTo>
                      <a:pt x="121" y="11"/>
                    </a:lnTo>
                    <a:lnTo>
                      <a:pt x="109" y="11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83" y="7"/>
                    </a:lnTo>
                    <a:lnTo>
                      <a:pt x="83" y="7"/>
                    </a:lnTo>
                    <a:lnTo>
                      <a:pt x="79" y="10"/>
                    </a:lnTo>
                    <a:lnTo>
                      <a:pt x="74" y="11"/>
                    </a:lnTo>
                    <a:lnTo>
                      <a:pt x="74" y="11"/>
                    </a:lnTo>
                    <a:lnTo>
                      <a:pt x="70" y="10"/>
                    </a:lnTo>
                    <a:lnTo>
                      <a:pt x="67" y="7"/>
                    </a:lnTo>
                    <a:lnTo>
                      <a:pt x="66" y="1"/>
                    </a:lnTo>
                    <a:lnTo>
                      <a:pt x="66" y="1"/>
                    </a:lnTo>
                    <a:lnTo>
                      <a:pt x="64" y="0"/>
                    </a:lnTo>
                    <a:lnTo>
                      <a:pt x="62" y="0"/>
                    </a:lnTo>
                    <a:lnTo>
                      <a:pt x="52" y="3"/>
                    </a:lnTo>
                    <a:lnTo>
                      <a:pt x="40" y="6"/>
                    </a:lnTo>
                    <a:lnTo>
                      <a:pt x="35" y="8"/>
                    </a:lnTo>
                    <a:lnTo>
                      <a:pt x="32" y="11"/>
                    </a:lnTo>
                    <a:lnTo>
                      <a:pt x="32" y="11"/>
                    </a:lnTo>
                    <a:lnTo>
                      <a:pt x="27" y="13"/>
                    </a:lnTo>
                    <a:lnTo>
                      <a:pt x="25" y="14"/>
                    </a:lnTo>
                    <a:lnTo>
                      <a:pt x="16" y="17"/>
                    </a:lnTo>
                    <a:lnTo>
                      <a:pt x="9" y="17"/>
                    </a:lnTo>
                    <a:lnTo>
                      <a:pt x="8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5" y="23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2" y="25"/>
                    </a:lnTo>
                    <a:lnTo>
                      <a:pt x="2" y="25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03" name="Bosnia and Herzegovina">
                <a:extLst>
                  <a:ext uri="{FF2B5EF4-FFF2-40B4-BE49-F238E27FC236}">
                    <a16:creationId xmlns:a16="http://schemas.microsoft.com/office/drawing/2014/main" id="{CD75E03B-99A5-2D3D-6F4C-53D70961A2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3343" y="3148110"/>
                <a:ext cx="84348" cy="79908"/>
              </a:xfrm>
              <a:custGeom>
                <a:avLst/>
                <a:gdLst/>
                <a:ahLst/>
                <a:cxnLst>
                  <a:cxn ang="0">
                    <a:pos x="42" y="49"/>
                  </a:cxn>
                  <a:cxn ang="0">
                    <a:pos x="42" y="49"/>
                  </a:cxn>
                  <a:cxn ang="0">
                    <a:pos x="44" y="45"/>
                  </a:cxn>
                  <a:cxn ang="0">
                    <a:pos x="47" y="38"/>
                  </a:cxn>
                  <a:cxn ang="0">
                    <a:pos x="51" y="34"/>
                  </a:cxn>
                  <a:cxn ang="0">
                    <a:pos x="55" y="31"/>
                  </a:cxn>
                  <a:cxn ang="0">
                    <a:pos x="55" y="31"/>
                  </a:cxn>
                  <a:cxn ang="0">
                    <a:pos x="55" y="28"/>
                  </a:cxn>
                  <a:cxn ang="0">
                    <a:pos x="57" y="22"/>
                  </a:cxn>
                  <a:cxn ang="0">
                    <a:pos x="57" y="10"/>
                  </a:cxn>
                  <a:cxn ang="0">
                    <a:pos x="57" y="10"/>
                  </a:cxn>
                  <a:cxn ang="0">
                    <a:pos x="47" y="4"/>
                  </a:cxn>
                  <a:cxn ang="0">
                    <a:pos x="42" y="3"/>
                  </a:cxn>
                  <a:cxn ang="0">
                    <a:pos x="42" y="3"/>
                  </a:cxn>
                  <a:cxn ang="0">
                    <a:pos x="31" y="1"/>
                  </a:cxn>
                  <a:cxn ang="0">
                    <a:pos x="17" y="0"/>
                  </a:cxn>
                  <a:cxn ang="0">
                    <a:pos x="17" y="0"/>
                  </a:cxn>
                  <a:cxn ang="0">
                    <a:pos x="14" y="0"/>
                  </a:cxn>
                  <a:cxn ang="0">
                    <a:pos x="13" y="1"/>
                  </a:cxn>
                  <a:cxn ang="0">
                    <a:pos x="10" y="3"/>
                  </a:cxn>
                  <a:cxn ang="0">
                    <a:pos x="7" y="3"/>
                  </a:cxn>
                  <a:cxn ang="0">
                    <a:pos x="7" y="3"/>
                  </a:cxn>
                  <a:cxn ang="0">
                    <a:pos x="4" y="1"/>
                  </a:cxn>
                  <a:cxn ang="0">
                    <a:pos x="3" y="1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7"/>
                  </a:cxn>
                  <a:cxn ang="0">
                    <a:pos x="1" y="8"/>
                  </a:cxn>
                  <a:cxn ang="0">
                    <a:pos x="4" y="11"/>
                  </a:cxn>
                  <a:cxn ang="0">
                    <a:pos x="7" y="14"/>
                  </a:cxn>
                  <a:cxn ang="0">
                    <a:pos x="7" y="17"/>
                  </a:cxn>
                  <a:cxn ang="0">
                    <a:pos x="7" y="17"/>
                  </a:cxn>
                  <a:cxn ang="0">
                    <a:pos x="8" y="20"/>
                  </a:cxn>
                  <a:cxn ang="0">
                    <a:pos x="10" y="21"/>
                  </a:cxn>
                  <a:cxn ang="0">
                    <a:pos x="14" y="25"/>
                  </a:cxn>
                  <a:cxn ang="0">
                    <a:pos x="18" y="30"/>
                  </a:cxn>
                  <a:cxn ang="0">
                    <a:pos x="21" y="32"/>
                  </a:cxn>
                  <a:cxn ang="0">
                    <a:pos x="21" y="32"/>
                  </a:cxn>
                  <a:cxn ang="0">
                    <a:pos x="21" y="35"/>
                  </a:cxn>
                  <a:cxn ang="0">
                    <a:pos x="25" y="38"/>
                  </a:cxn>
                  <a:cxn ang="0">
                    <a:pos x="30" y="42"/>
                  </a:cxn>
                  <a:cxn ang="0">
                    <a:pos x="34" y="48"/>
                  </a:cxn>
                  <a:cxn ang="0">
                    <a:pos x="34" y="48"/>
                  </a:cxn>
                  <a:cxn ang="0">
                    <a:pos x="42" y="54"/>
                  </a:cxn>
                  <a:cxn ang="0">
                    <a:pos x="42" y="54"/>
                  </a:cxn>
                  <a:cxn ang="0">
                    <a:pos x="42" y="49"/>
                  </a:cxn>
                  <a:cxn ang="0">
                    <a:pos x="42" y="49"/>
                  </a:cxn>
                </a:cxnLst>
                <a:rect l="0" t="0" r="r" b="b"/>
                <a:pathLst>
                  <a:path w="57" h="54">
                    <a:moveTo>
                      <a:pt x="42" y="49"/>
                    </a:moveTo>
                    <a:lnTo>
                      <a:pt x="42" y="49"/>
                    </a:lnTo>
                    <a:lnTo>
                      <a:pt x="44" y="45"/>
                    </a:lnTo>
                    <a:lnTo>
                      <a:pt x="47" y="38"/>
                    </a:lnTo>
                    <a:lnTo>
                      <a:pt x="51" y="34"/>
                    </a:lnTo>
                    <a:lnTo>
                      <a:pt x="55" y="31"/>
                    </a:lnTo>
                    <a:lnTo>
                      <a:pt x="55" y="31"/>
                    </a:lnTo>
                    <a:lnTo>
                      <a:pt x="55" y="28"/>
                    </a:lnTo>
                    <a:lnTo>
                      <a:pt x="57" y="22"/>
                    </a:lnTo>
                    <a:lnTo>
                      <a:pt x="57" y="10"/>
                    </a:lnTo>
                    <a:lnTo>
                      <a:pt x="57" y="10"/>
                    </a:lnTo>
                    <a:lnTo>
                      <a:pt x="47" y="4"/>
                    </a:lnTo>
                    <a:lnTo>
                      <a:pt x="42" y="3"/>
                    </a:lnTo>
                    <a:lnTo>
                      <a:pt x="42" y="3"/>
                    </a:lnTo>
                    <a:lnTo>
                      <a:pt x="31" y="1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3" y="1"/>
                    </a:lnTo>
                    <a:lnTo>
                      <a:pt x="10" y="3"/>
                    </a:lnTo>
                    <a:lnTo>
                      <a:pt x="7" y="3"/>
                    </a:lnTo>
                    <a:lnTo>
                      <a:pt x="7" y="3"/>
                    </a:lnTo>
                    <a:lnTo>
                      <a:pt x="4" y="1"/>
                    </a:lnTo>
                    <a:lnTo>
                      <a:pt x="3" y="1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1" y="8"/>
                    </a:lnTo>
                    <a:lnTo>
                      <a:pt x="4" y="11"/>
                    </a:lnTo>
                    <a:lnTo>
                      <a:pt x="7" y="14"/>
                    </a:lnTo>
                    <a:lnTo>
                      <a:pt x="7" y="17"/>
                    </a:lnTo>
                    <a:lnTo>
                      <a:pt x="7" y="17"/>
                    </a:lnTo>
                    <a:lnTo>
                      <a:pt x="8" y="20"/>
                    </a:lnTo>
                    <a:lnTo>
                      <a:pt x="10" y="21"/>
                    </a:lnTo>
                    <a:lnTo>
                      <a:pt x="14" y="25"/>
                    </a:lnTo>
                    <a:lnTo>
                      <a:pt x="18" y="30"/>
                    </a:lnTo>
                    <a:lnTo>
                      <a:pt x="21" y="32"/>
                    </a:lnTo>
                    <a:lnTo>
                      <a:pt x="21" y="32"/>
                    </a:lnTo>
                    <a:lnTo>
                      <a:pt x="21" y="35"/>
                    </a:lnTo>
                    <a:lnTo>
                      <a:pt x="25" y="38"/>
                    </a:lnTo>
                    <a:lnTo>
                      <a:pt x="30" y="42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49"/>
                    </a:lnTo>
                    <a:lnTo>
                      <a:pt x="42" y="49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04" name="Croatia">
                <a:extLst>
                  <a:ext uri="{FF2B5EF4-FFF2-40B4-BE49-F238E27FC236}">
                    <a16:creationId xmlns:a16="http://schemas.microsoft.com/office/drawing/2014/main" id="{028F5753-0F8A-2B03-A896-48B0427920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0429" y="3108155"/>
                <a:ext cx="127261" cy="110985"/>
              </a:xfrm>
              <a:custGeom>
                <a:avLst/>
                <a:gdLst/>
                <a:ahLst/>
                <a:cxnLst>
                  <a:cxn ang="0">
                    <a:pos x="50" y="59"/>
                  </a:cxn>
                  <a:cxn ang="0">
                    <a:pos x="43" y="52"/>
                  </a:cxn>
                  <a:cxn ang="0">
                    <a:pos x="37" y="47"/>
                  </a:cxn>
                  <a:cxn ang="0">
                    <a:pos x="36" y="44"/>
                  </a:cxn>
                  <a:cxn ang="0">
                    <a:pos x="33" y="38"/>
                  </a:cxn>
                  <a:cxn ang="0">
                    <a:pos x="29" y="34"/>
                  </a:cxn>
                  <a:cxn ang="0">
                    <a:pos x="29" y="31"/>
                  </a:cxn>
                  <a:cxn ang="0">
                    <a:pos x="33" y="28"/>
                  </a:cxn>
                  <a:cxn ang="0">
                    <a:pos x="36" y="30"/>
                  </a:cxn>
                  <a:cxn ang="0">
                    <a:pos x="42" y="28"/>
                  </a:cxn>
                  <a:cxn ang="0">
                    <a:pos x="46" y="27"/>
                  </a:cxn>
                  <a:cxn ang="0">
                    <a:pos x="60" y="28"/>
                  </a:cxn>
                  <a:cxn ang="0">
                    <a:pos x="71" y="30"/>
                  </a:cxn>
                  <a:cxn ang="0">
                    <a:pos x="86" y="37"/>
                  </a:cxn>
                  <a:cxn ang="0">
                    <a:pos x="84" y="32"/>
                  </a:cxn>
                  <a:cxn ang="0">
                    <a:pos x="83" y="27"/>
                  </a:cxn>
                  <a:cxn ang="0">
                    <a:pos x="80" y="21"/>
                  </a:cxn>
                  <a:cxn ang="0">
                    <a:pos x="79" y="20"/>
                  </a:cxn>
                  <a:cxn ang="0">
                    <a:pos x="76" y="12"/>
                  </a:cxn>
                  <a:cxn ang="0">
                    <a:pos x="70" y="14"/>
                  </a:cxn>
                  <a:cxn ang="0">
                    <a:pos x="66" y="14"/>
                  </a:cxn>
                  <a:cxn ang="0">
                    <a:pos x="57" y="12"/>
                  </a:cxn>
                  <a:cxn ang="0">
                    <a:pos x="53" y="10"/>
                  </a:cxn>
                  <a:cxn ang="0">
                    <a:pos x="40" y="0"/>
                  </a:cxn>
                  <a:cxn ang="0">
                    <a:pos x="36" y="4"/>
                  </a:cxn>
                  <a:cxn ang="0">
                    <a:pos x="30" y="7"/>
                  </a:cxn>
                  <a:cxn ang="0">
                    <a:pos x="29" y="11"/>
                  </a:cxn>
                  <a:cxn ang="0">
                    <a:pos x="27" y="14"/>
                  </a:cxn>
                  <a:cxn ang="0">
                    <a:pos x="25" y="15"/>
                  </a:cxn>
                  <a:cxn ang="0">
                    <a:pos x="22" y="21"/>
                  </a:cxn>
                  <a:cxn ang="0">
                    <a:pos x="20" y="22"/>
                  </a:cxn>
                  <a:cxn ang="0">
                    <a:pos x="13" y="21"/>
                  </a:cxn>
                  <a:cxn ang="0">
                    <a:pos x="12" y="21"/>
                  </a:cxn>
                  <a:cxn ang="0">
                    <a:pos x="0" y="22"/>
                  </a:cxn>
                  <a:cxn ang="0">
                    <a:pos x="2" y="30"/>
                  </a:cxn>
                  <a:cxn ang="0">
                    <a:pos x="3" y="30"/>
                  </a:cxn>
                  <a:cxn ang="0">
                    <a:pos x="13" y="32"/>
                  </a:cxn>
                  <a:cxn ang="0">
                    <a:pos x="15" y="35"/>
                  </a:cxn>
                  <a:cxn ang="0">
                    <a:pos x="20" y="47"/>
                  </a:cxn>
                  <a:cxn ang="0">
                    <a:pos x="29" y="58"/>
                  </a:cxn>
                  <a:cxn ang="0">
                    <a:pos x="37" y="61"/>
                  </a:cxn>
                  <a:cxn ang="0">
                    <a:pos x="42" y="65"/>
                  </a:cxn>
                  <a:cxn ang="0">
                    <a:pos x="43" y="67"/>
                  </a:cxn>
                  <a:cxn ang="0">
                    <a:pos x="50" y="71"/>
                  </a:cxn>
                  <a:cxn ang="0">
                    <a:pos x="56" y="72"/>
                  </a:cxn>
                  <a:cxn ang="0">
                    <a:pos x="63" y="75"/>
                  </a:cxn>
                  <a:cxn ang="0">
                    <a:pos x="59" y="69"/>
                  </a:cxn>
                  <a:cxn ang="0">
                    <a:pos x="50" y="62"/>
                  </a:cxn>
                  <a:cxn ang="0">
                    <a:pos x="50" y="59"/>
                  </a:cxn>
                </a:cxnLst>
                <a:rect l="0" t="0" r="r" b="b"/>
                <a:pathLst>
                  <a:path w="86" h="75">
                    <a:moveTo>
                      <a:pt x="50" y="59"/>
                    </a:moveTo>
                    <a:lnTo>
                      <a:pt x="50" y="59"/>
                    </a:lnTo>
                    <a:lnTo>
                      <a:pt x="47" y="57"/>
                    </a:lnTo>
                    <a:lnTo>
                      <a:pt x="43" y="52"/>
                    </a:lnTo>
                    <a:lnTo>
                      <a:pt x="39" y="48"/>
                    </a:lnTo>
                    <a:lnTo>
                      <a:pt x="37" y="47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1"/>
                    </a:lnTo>
                    <a:lnTo>
                      <a:pt x="33" y="38"/>
                    </a:lnTo>
                    <a:lnTo>
                      <a:pt x="30" y="35"/>
                    </a:lnTo>
                    <a:lnTo>
                      <a:pt x="29" y="34"/>
                    </a:lnTo>
                    <a:lnTo>
                      <a:pt x="29" y="34"/>
                    </a:lnTo>
                    <a:lnTo>
                      <a:pt x="29" y="31"/>
                    </a:lnTo>
                    <a:lnTo>
                      <a:pt x="32" y="28"/>
                    </a:lnTo>
                    <a:lnTo>
                      <a:pt x="33" y="28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9" y="30"/>
                    </a:lnTo>
                    <a:lnTo>
                      <a:pt x="42" y="28"/>
                    </a:lnTo>
                    <a:lnTo>
                      <a:pt x="43" y="27"/>
                    </a:lnTo>
                    <a:lnTo>
                      <a:pt x="46" y="27"/>
                    </a:lnTo>
                    <a:lnTo>
                      <a:pt x="46" y="27"/>
                    </a:lnTo>
                    <a:lnTo>
                      <a:pt x="60" y="28"/>
                    </a:lnTo>
                    <a:lnTo>
                      <a:pt x="71" y="30"/>
                    </a:lnTo>
                    <a:lnTo>
                      <a:pt x="71" y="30"/>
                    </a:lnTo>
                    <a:lnTo>
                      <a:pt x="76" y="31"/>
                    </a:lnTo>
                    <a:lnTo>
                      <a:pt x="86" y="37"/>
                    </a:lnTo>
                    <a:lnTo>
                      <a:pt x="86" y="37"/>
                    </a:lnTo>
                    <a:lnTo>
                      <a:pt x="84" y="32"/>
                    </a:lnTo>
                    <a:lnTo>
                      <a:pt x="84" y="32"/>
                    </a:lnTo>
                    <a:lnTo>
                      <a:pt x="83" y="27"/>
                    </a:lnTo>
                    <a:lnTo>
                      <a:pt x="83" y="24"/>
                    </a:lnTo>
                    <a:lnTo>
                      <a:pt x="80" y="21"/>
                    </a:lnTo>
                    <a:lnTo>
                      <a:pt x="80" y="21"/>
                    </a:lnTo>
                    <a:lnTo>
                      <a:pt x="79" y="20"/>
                    </a:lnTo>
                    <a:lnTo>
                      <a:pt x="77" y="18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66" y="14"/>
                    </a:lnTo>
                    <a:lnTo>
                      <a:pt x="62" y="14"/>
                    </a:lnTo>
                    <a:lnTo>
                      <a:pt x="57" y="12"/>
                    </a:lnTo>
                    <a:lnTo>
                      <a:pt x="53" y="10"/>
                    </a:lnTo>
                    <a:lnTo>
                      <a:pt x="53" y="10"/>
                    </a:lnTo>
                    <a:lnTo>
                      <a:pt x="47" y="4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4"/>
                    </a:lnTo>
                    <a:lnTo>
                      <a:pt x="30" y="7"/>
                    </a:lnTo>
                    <a:lnTo>
                      <a:pt x="30" y="7"/>
                    </a:lnTo>
                    <a:lnTo>
                      <a:pt x="29" y="8"/>
                    </a:lnTo>
                    <a:lnTo>
                      <a:pt x="29" y="11"/>
                    </a:lnTo>
                    <a:lnTo>
                      <a:pt x="29" y="12"/>
                    </a:lnTo>
                    <a:lnTo>
                      <a:pt x="27" y="14"/>
                    </a:lnTo>
                    <a:lnTo>
                      <a:pt x="27" y="14"/>
                    </a:lnTo>
                    <a:lnTo>
                      <a:pt x="25" y="15"/>
                    </a:lnTo>
                    <a:lnTo>
                      <a:pt x="23" y="17"/>
                    </a:lnTo>
                    <a:lnTo>
                      <a:pt x="22" y="21"/>
                    </a:lnTo>
                    <a:lnTo>
                      <a:pt x="22" y="21"/>
                    </a:lnTo>
                    <a:lnTo>
                      <a:pt x="20" y="22"/>
                    </a:lnTo>
                    <a:lnTo>
                      <a:pt x="17" y="21"/>
                    </a:lnTo>
                    <a:lnTo>
                      <a:pt x="13" y="21"/>
                    </a:lnTo>
                    <a:lnTo>
                      <a:pt x="12" y="21"/>
                    </a:lnTo>
                    <a:lnTo>
                      <a:pt x="12" y="21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2" y="30"/>
                    </a:lnTo>
                    <a:lnTo>
                      <a:pt x="3" y="30"/>
                    </a:lnTo>
                    <a:lnTo>
                      <a:pt x="3" y="30"/>
                    </a:lnTo>
                    <a:lnTo>
                      <a:pt x="10" y="31"/>
                    </a:lnTo>
                    <a:lnTo>
                      <a:pt x="13" y="32"/>
                    </a:lnTo>
                    <a:lnTo>
                      <a:pt x="15" y="35"/>
                    </a:lnTo>
                    <a:lnTo>
                      <a:pt x="15" y="35"/>
                    </a:lnTo>
                    <a:lnTo>
                      <a:pt x="17" y="41"/>
                    </a:lnTo>
                    <a:lnTo>
                      <a:pt x="20" y="47"/>
                    </a:lnTo>
                    <a:lnTo>
                      <a:pt x="29" y="58"/>
                    </a:lnTo>
                    <a:lnTo>
                      <a:pt x="29" y="58"/>
                    </a:lnTo>
                    <a:lnTo>
                      <a:pt x="33" y="59"/>
                    </a:lnTo>
                    <a:lnTo>
                      <a:pt x="37" y="61"/>
                    </a:lnTo>
                    <a:lnTo>
                      <a:pt x="40" y="62"/>
                    </a:lnTo>
                    <a:lnTo>
                      <a:pt x="42" y="65"/>
                    </a:lnTo>
                    <a:lnTo>
                      <a:pt x="42" y="65"/>
                    </a:lnTo>
                    <a:lnTo>
                      <a:pt x="43" y="67"/>
                    </a:lnTo>
                    <a:lnTo>
                      <a:pt x="46" y="69"/>
                    </a:lnTo>
                    <a:lnTo>
                      <a:pt x="50" y="71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9" y="72"/>
                    </a:lnTo>
                    <a:lnTo>
                      <a:pt x="63" y="75"/>
                    </a:lnTo>
                    <a:lnTo>
                      <a:pt x="63" y="75"/>
                    </a:lnTo>
                    <a:lnTo>
                      <a:pt x="59" y="69"/>
                    </a:lnTo>
                    <a:lnTo>
                      <a:pt x="54" y="65"/>
                    </a:lnTo>
                    <a:lnTo>
                      <a:pt x="50" y="62"/>
                    </a:lnTo>
                    <a:lnTo>
                      <a:pt x="50" y="59"/>
                    </a:lnTo>
                    <a:lnTo>
                      <a:pt x="50" y="59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05" name="Albania">
                <a:extLst>
                  <a:ext uri="{FF2B5EF4-FFF2-40B4-BE49-F238E27FC236}">
                    <a16:creationId xmlns:a16="http://schemas.microsoft.com/office/drawing/2014/main" id="{478DE7E1-3EDA-4168-1814-62E3C2ACCF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3251" y="3223578"/>
                <a:ext cx="44394" cy="85827"/>
              </a:xfrm>
              <a:custGeom>
                <a:avLst/>
                <a:gdLst/>
                <a:ahLst/>
                <a:cxnLst>
                  <a:cxn ang="0">
                    <a:pos x="20" y="50"/>
                  </a:cxn>
                  <a:cxn ang="0">
                    <a:pos x="20" y="50"/>
                  </a:cxn>
                  <a:cxn ang="0">
                    <a:pos x="21" y="50"/>
                  </a:cxn>
                  <a:cxn ang="0">
                    <a:pos x="21" y="48"/>
                  </a:cxn>
                  <a:cxn ang="0">
                    <a:pos x="23" y="45"/>
                  </a:cxn>
                  <a:cxn ang="0">
                    <a:pos x="23" y="44"/>
                  </a:cxn>
                  <a:cxn ang="0">
                    <a:pos x="23" y="44"/>
                  </a:cxn>
                  <a:cxn ang="0">
                    <a:pos x="27" y="40"/>
                  </a:cxn>
                  <a:cxn ang="0">
                    <a:pos x="28" y="35"/>
                  </a:cxn>
                  <a:cxn ang="0">
                    <a:pos x="28" y="35"/>
                  </a:cxn>
                  <a:cxn ang="0">
                    <a:pos x="30" y="34"/>
                  </a:cxn>
                  <a:cxn ang="0">
                    <a:pos x="30" y="34"/>
                  </a:cxn>
                  <a:cxn ang="0">
                    <a:pos x="23" y="30"/>
                  </a:cxn>
                  <a:cxn ang="0">
                    <a:pos x="20" y="24"/>
                  </a:cxn>
                  <a:cxn ang="0">
                    <a:pos x="20" y="24"/>
                  </a:cxn>
                  <a:cxn ang="0">
                    <a:pos x="20" y="17"/>
                  </a:cxn>
                  <a:cxn ang="0">
                    <a:pos x="21" y="8"/>
                  </a:cxn>
                  <a:cxn ang="0">
                    <a:pos x="21" y="8"/>
                  </a:cxn>
                  <a:cxn ang="0">
                    <a:pos x="14" y="3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6" y="1"/>
                  </a:cxn>
                  <a:cxn ang="0">
                    <a:pos x="3" y="4"/>
                  </a:cxn>
                  <a:cxn ang="0">
                    <a:pos x="1" y="7"/>
                  </a:cxn>
                  <a:cxn ang="0">
                    <a:pos x="0" y="11"/>
                  </a:cxn>
                  <a:cxn ang="0">
                    <a:pos x="0" y="11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7" y="18"/>
                  </a:cxn>
                  <a:cxn ang="0">
                    <a:pos x="4" y="21"/>
                  </a:cxn>
                  <a:cxn ang="0">
                    <a:pos x="4" y="21"/>
                  </a:cxn>
                  <a:cxn ang="0">
                    <a:pos x="1" y="27"/>
                  </a:cxn>
                  <a:cxn ang="0">
                    <a:pos x="1" y="34"/>
                  </a:cxn>
                  <a:cxn ang="0">
                    <a:pos x="1" y="41"/>
                  </a:cxn>
                  <a:cxn ang="0">
                    <a:pos x="3" y="44"/>
                  </a:cxn>
                  <a:cxn ang="0">
                    <a:pos x="4" y="45"/>
                  </a:cxn>
                  <a:cxn ang="0">
                    <a:pos x="4" y="45"/>
                  </a:cxn>
                  <a:cxn ang="0">
                    <a:pos x="7" y="48"/>
                  </a:cxn>
                  <a:cxn ang="0">
                    <a:pos x="10" y="53"/>
                  </a:cxn>
                  <a:cxn ang="0">
                    <a:pos x="11" y="57"/>
                  </a:cxn>
                  <a:cxn ang="0">
                    <a:pos x="14" y="58"/>
                  </a:cxn>
                  <a:cxn ang="0">
                    <a:pos x="14" y="58"/>
                  </a:cxn>
                  <a:cxn ang="0">
                    <a:pos x="17" y="54"/>
                  </a:cxn>
                  <a:cxn ang="0">
                    <a:pos x="18" y="51"/>
                  </a:cxn>
                  <a:cxn ang="0">
                    <a:pos x="20" y="50"/>
                  </a:cxn>
                  <a:cxn ang="0">
                    <a:pos x="20" y="50"/>
                  </a:cxn>
                </a:cxnLst>
                <a:rect l="0" t="0" r="r" b="b"/>
                <a:pathLst>
                  <a:path w="30" h="58">
                    <a:moveTo>
                      <a:pt x="20" y="50"/>
                    </a:moveTo>
                    <a:lnTo>
                      <a:pt x="20" y="50"/>
                    </a:lnTo>
                    <a:lnTo>
                      <a:pt x="21" y="50"/>
                    </a:lnTo>
                    <a:lnTo>
                      <a:pt x="21" y="48"/>
                    </a:lnTo>
                    <a:lnTo>
                      <a:pt x="23" y="45"/>
                    </a:lnTo>
                    <a:lnTo>
                      <a:pt x="23" y="44"/>
                    </a:lnTo>
                    <a:lnTo>
                      <a:pt x="23" y="44"/>
                    </a:lnTo>
                    <a:lnTo>
                      <a:pt x="27" y="40"/>
                    </a:lnTo>
                    <a:lnTo>
                      <a:pt x="28" y="35"/>
                    </a:lnTo>
                    <a:lnTo>
                      <a:pt x="28" y="35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3" y="30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17"/>
                    </a:lnTo>
                    <a:lnTo>
                      <a:pt x="21" y="8"/>
                    </a:lnTo>
                    <a:lnTo>
                      <a:pt x="21" y="8"/>
                    </a:lnTo>
                    <a:lnTo>
                      <a:pt x="14" y="3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1"/>
                    </a:lnTo>
                    <a:lnTo>
                      <a:pt x="3" y="4"/>
                    </a:lnTo>
                    <a:lnTo>
                      <a:pt x="1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7" y="18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1" y="27"/>
                    </a:lnTo>
                    <a:lnTo>
                      <a:pt x="1" y="34"/>
                    </a:lnTo>
                    <a:lnTo>
                      <a:pt x="1" y="41"/>
                    </a:lnTo>
                    <a:lnTo>
                      <a:pt x="3" y="44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7" y="48"/>
                    </a:lnTo>
                    <a:lnTo>
                      <a:pt x="10" y="53"/>
                    </a:lnTo>
                    <a:lnTo>
                      <a:pt x="11" y="57"/>
                    </a:lnTo>
                    <a:lnTo>
                      <a:pt x="14" y="58"/>
                    </a:lnTo>
                    <a:lnTo>
                      <a:pt x="14" y="58"/>
                    </a:lnTo>
                    <a:lnTo>
                      <a:pt x="17" y="54"/>
                    </a:lnTo>
                    <a:lnTo>
                      <a:pt x="18" y="51"/>
                    </a:lnTo>
                    <a:lnTo>
                      <a:pt x="20" y="50"/>
                    </a:lnTo>
                    <a:lnTo>
                      <a:pt x="20" y="5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06" name="Austria">
                <a:extLst>
                  <a:ext uri="{FF2B5EF4-FFF2-40B4-BE49-F238E27FC236}">
                    <a16:creationId xmlns:a16="http://schemas.microsoft.com/office/drawing/2014/main" id="{706F1CB1-1AE3-6500-0E58-32ECD8E212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4243" y="3031207"/>
                <a:ext cx="174614" cy="81389"/>
              </a:xfrm>
              <a:custGeom>
                <a:avLst/>
                <a:gdLst/>
                <a:ahLst/>
                <a:cxnLst>
                  <a:cxn ang="0">
                    <a:pos x="99" y="5"/>
                  </a:cxn>
                  <a:cxn ang="0">
                    <a:pos x="91" y="0"/>
                  </a:cxn>
                  <a:cxn ang="0">
                    <a:pos x="85" y="0"/>
                  </a:cxn>
                  <a:cxn ang="0">
                    <a:pos x="82" y="8"/>
                  </a:cxn>
                  <a:cxn ang="0">
                    <a:pos x="80" y="9"/>
                  </a:cxn>
                  <a:cxn ang="0">
                    <a:pos x="68" y="9"/>
                  </a:cxn>
                  <a:cxn ang="0">
                    <a:pos x="64" y="12"/>
                  </a:cxn>
                  <a:cxn ang="0">
                    <a:pos x="60" y="15"/>
                  </a:cxn>
                  <a:cxn ang="0">
                    <a:pos x="58" y="16"/>
                  </a:cxn>
                  <a:cxn ang="0">
                    <a:pos x="53" y="20"/>
                  </a:cxn>
                  <a:cxn ang="0">
                    <a:pos x="53" y="25"/>
                  </a:cxn>
                  <a:cxn ang="0">
                    <a:pos x="51" y="30"/>
                  </a:cxn>
                  <a:cxn ang="0">
                    <a:pos x="47" y="29"/>
                  </a:cxn>
                  <a:cxn ang="0">
                    <a:pos x="38" y="29"/>
                  </a:cxn>
                  <a:cxn ang="0">
                    <a:pos x="30" y="32"/>
                  </a:cxn>
                  <a:cxn ang="0">
                    <a:pos x="28" y="33"/>
                  </a:cxn>
                  <a:cxn ang="0">
                    <a:pos x="21" y="33"/>
                  </a:cxn>
                  <a:cxn ang="0">
                    <a:pos x="16" y="32"/>
                  </a:cxn>
                  <a:cxn ang="0">
                    <a:pos x="11" y="35"/>
                  </a:cxn>
                  <a:cxn ang="0">
                    <a:pos x="10" y="36"/>
                  </a:cxn>
                  <a:cxn ang="0">
                    <a:pos x="4" y="33"/>
                  </a:cxn>
                  <a:cxn ang="0">
                    <a:pos x="3" y="32"/>
                  </a:cxn>
                  <a:cxn ang="0">
                    <a:pos x="0" y="36"/>
                  </a:cxn>
                  <a:cxn ang="0">
                    <a:pos x="0" y="40"/>
                  </a:cxn>
                  <a:cxn ang="0">
                    <a:pos x="6" y="45"/>
                  </a:cxn>
                  <a:cxn ang="0">
                    <a:pos x="8" y="45"/>
                  </a:cxn>
                  <a:cxn ang="0">
                    <a:pos x="14" y="45"/>
                  </a:cxn>
                  <a:cxn ang="0">
                    <a:pos x="18" y="47"/>
                  </a:cxn>
                  <a:cxn ang="0">
                    <a:pos x="24" y="46"/>
                  </a:cxn>
                  <a:cxn ang="0">
                    <a:pos x="28" y="43"/>
                  </a:cxn>
                  <a:cxn ang="0">
                    <a:pos x="35" y="42"/>
                  </a:cxn>
                  <a:cxn ang="0">
                    <a:pos x="41" y="42"/>
                  </a:cxn>
                  <a:cxn ang="0">
                    <a:pos x="44" y="49"/>
                  </a:cxn>
                  <a:cxn ang="0">
                    <a:pos x="50" y="50"/>
                  </a:cxn>
                  <a:cxn ang="0">
                    <a:pos x="60" y="50"/>
                  </a:cxn>
                  <a:cxn ang="0">
                    <a:pos x="77" y="55"/>
                  </a:cxn>
                  <a:cxn ang="0">
                    <a:pos x="80" y="53"/>
                  </a:cxn>
                  <a:cxn ang="0">
                    <a:pos x="87" y="50"/>
                  </a:cxn>
                  <a:cxn ang="0">
                    <a:pos x="91" y="49"/>
                  </a:cxn>
                  <a:cxn ang="0">
                    <a:pos x="98" y="47"/>
                  </a:cxn>
                  <a:cxn ang="0">
                    <a:pos x="102" y="46"/>
                  </a:cxn>
                  <a:cxn ang="0">
                    <a:pos x="102" y="46"/>
                  </a:cxn>
                  <a:cxn ang="0">
                    <a:pos x="104" y="42"/>
                  </a:cxn>
                  <a:cxn ang="0">
                    <a:pos x="105" y="40"/>
                  </a:cxn>
                  <a:cxn ang="0">
                    <a:pos x="107" y="36"/>
                  </a:cxn>
                  <a:cxn ang="0">
                    <a:pos x="107" y="35"/>
                  </a:cxn>
                  <a:cxn ang="0">
                    <a:pos x="108" y="30"/>
                  </a:cxn>
                  <a:cxn ang="0">
                    <a:pos x="109" y="29"/>
                  </a:cxn>
                  <a:cxn ang="0">
                    <a:pos x="114" y="29"/>
                  </a:cxn>
                  <a:cxn ang="0">
                    <a:pos x="117" y="25"/>
                  </a:cxn>
                  <a:cxn ang="0">
                    <a:pos x="117" y="22"/>
                  </a:cxn>
                  <a:cxn ang="0">
                    <a:pos x="118" y="20"/>
                  </a:cxn>
                  <a:cxn ang="0">
                    <a:pos x="112" y="6"/>
                  </a:cxn>
                  <a:cxn ang="0">
                    <a:pos x="107" y="8"/>
                  </a:cxn>
                  <a:cxn ang="0">
                    <a:pos x="99" y="5"/>
                  </a:cxn>
                </a:cxnLst>
                <a:rect l="0" t="0" r="r" b="b"/>
                <a:pathLst>
                  <a:path w="118" h="55">
                    <a:moveTo>
                      <a:pt x="99" y="5"/>
                    </a:moveTo>
                    <a:lnTo>
                      <a:pt x="99" y="5"/>
                    </a:lnTo>
                    <a:lnTo>
                      <a:pt x="95" y="2"/>
                    </a:lnTo>
                    <a:lnTo>
                      <a:pt x="91" y="0"/>
                    </a:lnTo>
                    <a:lnTo>
                      <a:pt x="85" y="0"/>
                    </a:lnTo>
                    <a:lnTo>
                      <a:pt x="85" y="0"/>
                    </a:lnTo>
                    <a:lnTo>
                      <a:pt x="84" y="3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0" y="9"/>
                    </a:lnTo>
                    <a:lnTo>
                      <a:pt x="77" y="9"/>
                    </a:lnTo>
                    <a:lnTo>
                      <a:pt x="68" y="9"/>
                    </a:lnTo>
                    <a:lnTo>
                      <a:pt x="68" y="9"/>
                    </a:lnTo>
                    <a:lnTo>
                      <a:pt x="64" y="12"/>
                    </a:lnTo>
                    <a:lnTo>
                      <a:pt x="61" y="13"/>
                    </a:lnTo>
                    <a:lnTo>
                      <a:pt x="60" y="15"/>
                    </a:lnTo>
                    <a:lnTo>
                      <a:pt x="60" y="15"/>
                    </a:lnTo>
                    <a:lnTo>
                      <a:pt x="58" y="16"/>
                    </a:lnTo>
                    <a:lnTo>
                      <a:pt x="55" y="18"/>
                    </a:lnTo>
                    <a:lnTo>
                      <a:pt x="53" y="20"/>
                    </a:lnTo>
                    <a:lnTo>
                      <a:pt x="53" y="25"/>
                    </a:lnTo>
                    <a:lnTo>
                      <a:pt x="53" y="25"/>
                    </a:lnTo>
                    <a:lnTo>
                      <a:pt x="54" y="29"/>
                    </a:lnTo>
                    <a:lnTo>
                      <a:pt x="51" y="30"/>
                    </a:lnTo>
                    <a:lnTo>
                      <a:pt x="50" y="30"/>
                    </a:lnTo>
                    <a:lnTo>
                      <a:pt x="47" y="29"/>
                    </a:lnTo>
                    <a:lnTo>
                      <a:pt x="47" y="29"/>
                    </a:lnTo>
                    <a:lnTo>
                      <a:pt x="38" y="29"/>
                    </a:lnTo>
                    <a:lnTo>
                      <a:pt x="34" y="30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28" y="33"/>
                    </a:lnTo>
                    <a:lnTo>
                      <a:pt x="26" y="35"/>
                    </a:lnTo>
                    <a:lnTo>
                      <a:pt x="21" y="33"/>
                    </a:lnTo>
                    <a:lnTo>
                      <a:pt x="21" y="33"/>
                    </a:lnTo>
                    <a:lnTo>
                      <a:pt x="16" y="32"/>
                    </a:lnTo>
                    <a:lnTo>
                      <a:pt x="14" y="33"/>
                    </a:lnTo>
                    <a:lnTo>
                      <a:pt x="11" y="35"/>
                    </a:lnTo>
                    <a:lnTo>
                      <a:pt x="11" y="35"/>
                    </a:lnTo>
                    <a:lnTo>
                      <a:pt x="10" y="36"/>
                    </a:lnTo>
                    <a:lnTo>
                      <a:pt x="7" y="35"/>
                    </a:lnTo>
                    <a:lnTo>
                      <a:pt x="4" y="33"/>
                    </a:lnTo>
                    <a:lnTo>
                      <a:pt x="3" y="32"/>
                    </a:lnTo>
                    <a:lnTo>
                      <a:pt x="3" y="32"/>
                    </a:lnTo>
                    <a:lnTo>
                      <a:pt x="0" y="33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3" y="43"/>
                    </a:lnTo>
                    <a:lnTo>
                      <a:pt x="6" y="45"/>
                    </a:lnTo>
                    <a:lnTo>
                      <a:pt x="8" y="45"/>
                    </a:lnTo>
                    <a:lnTo>
                      <a:pt x="8" y="45"/>
                    </a:lnTo>
                    <a:lnTo>
                      <a:pt x="11" y="45"/>
                    </a:lnTo>
                    <a:lnTo>
                      <a:pt x="14" y="45"/>
                    </a:lnTo>
                    <a:lnTo>
                      <a:pt x="18" y="47"/>
                    </a:lnTo>
                    <a:lnTo>
                      <a:pt x="18" y="47"/>
                    </a:lnTo>
                    <a:lnTo>
                      <a:pt x="21" y="47"/>
                    </a:lnTo>
                    <a:lnTo>
                      <a:pt x="24" y="46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31" y="43"/>
                    </a:lnTo>
                    <a:lnTo>
                      <a:pt x="35" y="42"/>
                    </a:lnTo>
                    <a:lnTo>
                      <a:pt x="41" y="42"/>
                    </a:lnTo>
                    <a:lnTo>
                      <a:pt x="41" y="42"/>
                    </a:lnTo>
                    <a:lnTo>
                      <a:pt x="43" y="45"/>
                    </a:lnTo>
                    <a:lnTo>
                      <a:pt x="44" y="49"/>
                    </a:lnTo>
                    <a:lnTo>
                      <a:pt x="44" y="49"/>
                    </a:lnTo>
                    <a:lnTo>
                      <a:pt x="5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70" y="53"/>
                    </a:lnTo>
                    <a:lnTo>
                      <a:pt x="77" y="55"/>
                    </a:lnTo>
                    <a:lnTo>
                      <a:pt x="77" y="55"/>
                    </a:lnTo>
                    <a:lnTo>
                      <a:pt x="80" y="53"/>
                    </a:lnTo>
                    <a:lnTo>
                      <a:pt x="82" y="52"/>
                    </a:lnTo>
                    <a:lnTo>
                      <a:pt x="87" y="50"/>
                    </a:lnTo>
                    <a:lnTo>
                      <a:pt x="91" y="49"/>
                    </a:lnTo>
                    <a:lnTo>
                      <a:pt x="91" y="49"/>
                    </a:lnTo>
                    <a:lnTo>
                      <a:pt x="95" y="49"/>
                    </a:lnTo>
                    <a:lnTo>
                      <a:pt x="98" y="47"/>
                    </a:lnTo>
                    <a:lnTo>
                      <a:pt x="102" y="46"/>
                    </a:lnTo>
                    <a:lnTo>
                      <a:pt x="102" y="46"/>
                    </a:lnTo>
                    <a:lnTo>
                      <a:pt x="102" y="46"/>
                    </a:lnTo>
                    <a:lnTo>
                      <a:pt x="102" y="46"/>
                    </a:lnTo>
                    <a:lnTo>
                      <a:pt x="102" y="43"/>
                    </a:lnTo>
                    <a:lnTo>
                      <a:pt x="104" y="42"/>
                    </a:lnTo>
                    <a:lnTo>
                      <a:pt x="104" y="42"/>
                    </a:lnTo>
                    <a:lnTo>
                      <a:pt x="105" y="40"/>
                    </a:lnTo>
                    <a:lnTo>
                      <a:pt x="107" y="39"/>
                    </a:lnTo>
                    <a:lnTo>
                      <a:pt x="107" y="36"/>
                    </a:lnTo>
                    <a:lnTo>
                      <a:pt x="107" y="35"/>
                    </a:lnTo>
                    <a:lnTo>
                      <a:pt x="107" y="35"/>
                    </a:lnTo>
                    <a:lnTo>
                      <a:pt x="108" y="33"/>
                    </a:lnTo>
                    <a:lnTo>
                      <a:pt x="108" y="30"/>
                    </a:lnTo>
                    <a:lnTo>
                      <a:pt x="108" y="29"/>
                    </a:lnTo>
                    <a:lnTo>
                      <a:pt x="109" y="29"/>
                    </a:lnTo>
                    <a:lnTo>
                      <a:pt x="109" y="29"/>
                    </a:lnTo>
                    <a:lnTo>
                      <a:pt x="114" y="29"/>
                    </a:lnTo>
                    <a:lnTo>
                      <a:pt x="115" y="27"/>
                    </a:lnTo>
                    <a:lnTo>
                      <a:pt x="117" y="25"/>
                    </a:lnTo>
                    <a:lnTo>
                      <a:pt x="117" y="25"/>
                    </a:lnTo>
                    <a:lnTo>
                      <a:pt x="117" y="22"/>
                    </a:lnTo>
                    <a:lnTo>
                      <a:pt x="118" y="20"/>
                    </a:lnTo>
                    <a:lnTo>
                      <a:pt x="118" y="20"/>
                    </a:lnTo>
                    <a:lnTo>
                      <a:pt x="114" y="12"/>
                    </a:lnTo>
                    <a:lnTo>
                      <a:pt x="112" y="6"/>
                    </a:lnTo>
                    <a:lnTo>
                      <a:pt x="112" y="6"/>
                    </a:lnTo>
                    <a:lnTo>
                      <a:pt x="107" y="8"/>
                    </a:lnTo>
                    <a:lnTo>
                      <a:pt x="104" y="8"/>
                    </a:lnTo>
                    <a:lnTo>
                      <a:pt x="99" y="5"/>
                    </a:lnTo>
                    <a:lnTo>
                      <a:pt x="99" y="5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07" name="Hungary">
                <a:extLst>
                  <a:ext uri="{FF2B5EF4-FFF2-40B4-BE49-F238E27FC236}">
                    <a16:creationId xmlns:a16="http://schemas.microsoft.com/office/drawing/2014/main" id="{472D5EFE-30FB-0CB1-79ED-8DB3F60891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5181" y="3043045"/>
                <a:ext cx="152418" cy="85827"/>
              </a:xfrm>
              <a:custGeom>
                <a:avLst/>
                <a:gdLst/>
                <a:ahLst/>
                <a:cxnLst>
                  <a:cxn ang="0">
                    <a:pos x="100" y="11"/>
                  </a:cxn>
                  <a:cxn ang="0">
                    <a:pos x="97" y="8"/>
                  </a:cxn>
                  <a:cxn ang="0">
                    <a:pos x="87" y="5"/>
                  </a:cxn>
                  <a:cxn ang="0">
                    <a:pos x="83" y="2"/>
                  </a:cxn>
                  <a:cxn ang="0">
                    <a:pos x="71" y="0"/>
                  </a:cxn>
                  <a:cxn ang="0">
                    <a:pos x="69" y="1"/>
                  </a:cxn>
                  <a:cxn ang="0">
                    <a:pos x="60" y="8"/>
                  </a:cxn>
                  <a:cxn ang="0">
                    <a:pos x="57" y="10"/>
                  </a:cxn>
                  <a:cxn ang="0">
                    <a:pos x="42" y="12"/>
                  </a:cxn>
                  <a:cxn ang="0">
                    <a:pos x="40" y="15"/>
                  </a:cxn>
                  <a:cxn ang="0">
                    <a:pos x="39" y="15"/>
                  </a:cxn>
                  <a:cxn ang="0">
                    <a:pos x="30" y="18"/>
                  </a:cxn>
                  <a:cxn ang="0">
                    <a:pos x="19" y="15"/>
                  </a:cxn>
                  <a:cxn ang="0">
                    <a:pos x="16" y="12"/>
                  </a:cxn>
                  <a:cxn ang="0">
                    <a:pos x="15" y="14"/>
                  </a:cxn>
                  <a:cxn ang="0">
                    <a:pos x="15" y="17"/>
                  </a:cxn>
                  <a:cxn ang="0">
                    <a:pos x="12" y="21"/>
                  </a:cxn>
                  <a:cxn ang="0">
                    <a:pos x="7" y="21"/>
                  </a:cxn>
                  <a:cxn ang="0">
                    <a:pos x="6" y="22"/>
                  </a:cxn>
                  <a:cxn ang="0">
                    <a:pos x="5" y="27"/>
                  </a:cxn>
                  <a:cxn ang="0">
                    <a:pos x="5" y="28"/>
                  </a:cxn>
                  <a:cxn ang="0">
                    <a:pos x="3" y="32"/>
                  </a:cxn>
                  <a:cxn ang="0">
                    <a:pos x="2" y="34"/>
                  </a:cxn>
                  <a:cxn ang="0">
                    <a:pos x="0" y="38"/>
                  </a:cxn>
                  <a:cxn ang="0">
                    <a:pos x="2" y="41"/>
                  </a:cxn>
                  <a:cxn ang="0">
                    <a:pos x="3" y="44"/>
                  </a:cxn>
                  <a:cxn ang="0">
                    <a:pos x="3" y="44"/>
                  </a:cxn>
                  <a:cxn ang="0">
                    <a:pos x="16" y="54"/>
                  </a:cxn>
                  <a:cxn ang="0">
                    <a:pos x="20" y="56"/>
                  </a:cxn>
                  <a:cxn ang="0">
                    <a:pos x="29" y="58"/>
                  </a:cxn>
                  <a:cxn ang="0">
                    <a:pos x="33" y="58"/>
                  </a:cxn>
                  <a:cxn ang="0">
                    <a:pos x="56" y="51"/>
                  </a:cxn>
                  <a:cxn ang="0">
                    <a:pos x="62" y="52"/>
                  </a:cxn>
                  <a:cxn ang="0">
                    <a:pos x="67" y="54"/>
                  </a:cxn>
                  <a:cxn ang="0">
                    <a:pos x="76" y="47"/>
                  </a:cxn>
                  <a:cxn ang="0">
                    <a:pos x="80" y="41"/>
                  </a:cxn>
                  <a:cxn ang="0">
                    <a:pos x="91" y="22"/>
                  </a:cxn>
                  <a:cxn ang="0">
                    <a:pos x="101" y="15"/>
                  </a:cxn>
                  <a:cxn ang="0">
                    <a:pos x="103" y="14"/>
                  </a:cxn>
                  <a:cxn ang="0">
                    <a:pos x="103" y="11"/>
                  </a:cxn>
                  <a:cxn ang="0">
                    <a:pos x="100" y="11"/>
                  </a:cxn>
                </a:cxnLst>
                <a:rect l="0" t="0" r="r" b="b"/>
                <a:pathLst>
                  <a:path w="103" h="58">
                    <a:moveTo>
                      <a:pt x="100" y="11"/>
                    </a:moveTo>
                    <a:lnTo>
                      <a:pt x="100" y="11"/>
                    </a:lnTo>
                    <a:lnTo>
                      <a:pt x="97" y="8"/>
                    </a:lnTo>
                    <a:lnTo>
                      <a:pt x="97" y="8"/>
                    </a:lnTo>
                    <a:lnTo>
                      <a:pt x="90" y="7"/>
                    </a:lnTo>
                    <a:lnTo>
                      <a:pt x="87" y="5"/>
                    </a:lnTo>
                    <a:lnTo>
                      <a:pt x="87" y="5"/>
                    </a:lnTo>
                    <a:lnTo>
                      <a:pt x="83" y="2"/>
                    </a:lnTo>
                    <a:lnTo>
                      <a:pt x="79" y="1"/>
                    </a:lnTo>
                    <a:lnTo>
                      <a:pt x="71" y="0"/>
                    </a:lnTo>
                    <a:lnTo>
                      <a:pt x="71" y="0"/>
                    </a:lnTo>
                    <a:lnTo>
                      <a:pt x="69" y="1"/>
                    </a:lnTo>
                    <a:lnTo>
                      <a:pt x="64" y="4"/>
                    </a:lnTo>
                    <a:lnTo>
                      <a:pt x="60" y="8"/>
                    </a:lnTo>
                    <a:lnTo>
                      <a:pt x="57" y="10"/>
                    </a:lnTo>
                    <a:lnTo>
                      <a:pt x="57" y="10"/>
                    </a:lnTo>
                    <a:lnTo>
                      <a:pt x="47" y="11"/>
                    </a:lnTo>
                    <a:lnTo>
                      <a:pt x="42" y="12"/>
                    </a:lnTo>
                    <a:lnTo>
                      <a:pt x="40" y="14"/>
                    </a:lnTo>
                    <a:lnTo>
                      <a:pt x="40" y="15"/>
                    </a:lnTo>
                    <a:lnTo>
                      <a:pt x="40" y="15"/>
                    </a:lnTo>
                    <a:lnTo>
                      <a:pt x="39" y="15"/>
                    </a:lnTo>
                    <a:lnTo>
                      <a:pt x="37" y="17"/>
                    </a:lnTo>
                    <a:lnTo>
                      <a:pt x="30" y="18"/>
                    </a:lnTo>
                    <a:lnTo>
                      <a:pt x="23" y="17"/>
                    </a:lnTo>
                    <a:lnTo>
                      <a:pt x="19" y="15"/>
                    </a:lnTo>
                    <a:lnTo>
                      <a:pt x="19" y="15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5" y="14"/>
                    </a:lnTo>
                    <a:lnTo>
                      <a:pt x="15" y="17"/>
                    </a:lnTo>
                    <a:lnTo>
                      <a:pt x="15" y="17"/>
                    </a:lnTo>
                    <a:lnTo>
                      <a:pt x="13" y="19"/>
                    </a:lnTo>
                    <a:lnTo>
                      <a:pt x="12" y="21"/>
                    </a:lnTo>
                    <a:lnTo>
                      <a:pt x="7" y="21"/>
                    </a:lnTo>
                    <a:lnTo>
                      <a:pt x="7" y="21"/>
                    </a:lnTo>
                    <a:lnTo>
                      <a:pt x="6" y="21"/>
                    </a:lnTo>
                    <a:lnTo>
                      <a:pt x="6" y="22"/>
                    </a:lnTo>
                    <a:lnTo>
                      <a:pt x="6" y="25"/>
                    </a:lnTo>
                    <a:lnTo>
                      <a:pt x="5" y="27"/>
                    </a:lnTo>
                    <a:lnTo>
                      <a:pt x="5" y="27"/>
                    </a:lnTo>
                    <a:lnTo>
                      <a:pt x="5" y="28"/>
                    </a:lnTo>
                    <a:lnTo>
                      <a:pt x="5" y="31"/>
                    </a:lnTo>
                    <a:lnTo>
                      <a:pt x="3" y="32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35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2" y="41"/>
                    </a:lnTo>
                    <a:lnTo>
                      <a:pt x="3" y="44"/>
                    </a:lnTo>
                    <a:lnTo>
                      <a:pt x="3" y="44"/>
                    </a:lnTo>
                    <a:lnTo>
                      <a:pt x="3" y="44"/>
                    </a:lnTo>
                    <a:lnTo>
                      <a:pt x="3" y="44"/>
                    </a:lnTo>
                    <a:lnTo>
                      <a:pt x="10" y="48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20" y="56"/>
                    </a:lnTo>
                    <a:lnTo>
                      <a:pt x="25" y="58"/>
                    </a:lnTo>
                    <a:lnTo>
                      <a:pt x="29" y="58"/>
                    </a:lnTo>
                    <a:lnTo>
                      <a:pt x="33" y="58"/>
                    </a:lnTo>
                    <a:lnTo>
                      <a:pt x="33" y="58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7" y="54"/>
                    </a:lnTo>
                    <a:lnTo>
                      <a:pt x="67" y="54"/>
                    </a:lnTo>
                    <a:lnTo>
                      <a:pt x="70" y="51"/>
                    </a:lnTo>
                    <a:lnTo>
                      <a:pt x="76" y="47"/>
                    </a:lnTo>
                    <a:lnTo>
                      <a:pt x="76" y="47"/>
                    </a:lnTo>
                    <a:lnTo>
                      <a:pt x="80" y="41"/>
                    </a:lnTo>
                    <a:lnTo>
                      <a:pt x="84" y="34"/>
                    </a:lnTo>
                    <a:lnTo>
                      <a:pt x="91" y="22"/>
                    </a:lnTo>
                    <a:lnTo>
                      <a:pt x="91" y="22"/>
                    </a:lnTo>
                    <a:lnTo>
                      <a:pt x="101" y="15"/>
                    </a:lnTo>
                    <a:lnTo>
                      <a:pt x="101" y="15"/>
                    </a:lnTo>
                    <a:lnTo>
                      <a:pt x="103" y="14"/>
                    </a:lnTo>
                    <a:lnTo>
                      <a:pt x="103" y="12"/>
                    </a:lnTo>
                    <a:lnTo>
                      <a:pt x="103" y="11"/>
                    </a:lnTo>
                    <a:lnTo>
                      <a:pt x="100" y="11"/>
                    </a:lnTo>
                    <a:lnTo>
                      <a:pt x="100" y="11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08" name="Czech Republic">
                <a:extLst>
                  <a:ext uri="{FF2B5EF4-FFF2-40B4-BE49-F238E27FC236}">
                    <a16:creationId xmlns:a16="http://schemas.microsoft.com/office/drawing/2014/main" id="{7F1EBF38-88D0-B2D6-E8A2-BC6CDC9FE7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7874" y="2969055"/>
                <a:ext cx="146499" cy="76949"/>
              </a:xfrm>
              <a:custGeom>
                <a:avLst/>
                <a:gdLst/>
                <a:ahLst/>
                <a:cxnLst>
                  <a:cxn ang="0">
                    <a:pos x="93" y="24"/>
                  </a:cxn>
                  <a:cxn ang="0">
                    <a:pos x="85" y="23"/>
                  </a:cxn>
                  <a:cxn ang="0">
                    <a:pos x="84" y="21"/>
                  </a:cxn>
                  <a:cxn ang="0">
                    <a:pos x="81" y="15"/>
                  </a:cxn>
                  <a:cxn ang="0">
                    <a:pos x="79" y="15"/>
                  </a:cxn>
                  <a:cxn ang="0">
                    <a:pos x="72" y="15"/>
                  </a:cxn>
                  <a:cxn ang="0">
                    <a:pos x="69" y="17"/>
                  </a:cxn>
                  <a:cxn ang="0">
                    <a:pos x="65" y="17"/>
                  </a:cxn>
                  <a:cxn ang="0">
                    <a:pos x="61" y="13"/>
                  </a:cxn>
                  <a:cxn ang="0">
                    <a:pos x="61" y="11"/>
                  </a:cxn>
                  <a:cxn ang="0">
                    <a:pos x="51" y="5"/>
                  </a:cxn>
                  <a:cxn ang="0">
                    <a:pos x="41" y="0"/>
                  </a:cxn>
                  <a:cxn ang="0">
                    <a:pos x="41" y="3"/>
                  </a:cxn>
                  <a:cxn ang="0">
                    <a:pos x="39" y="3"/>
                  </a:cxn>
                  <a:cxn ang="0">
                    <a:pos x="34" y="1"/>
                  </a:cxn>
                  <a:cxn ang="0">
                    <a:pos x="32" y="3"/>
                  </a:cxn>
                  <a:cxn ang="0">
                    <a:pos x="27" y="5"/>
                  </a:cxn>
                  <a:cxn ang="0">
                    <a:pos x="20" y="8"/>
                  </a:cxn>
                  <a:cxn ang="0">
                    <a:pos x="15" y="11"/>
                  </a:cxn>
                  <a:cxn ang="0">
                    <a:pos x="2" y="15"/>
                  </a:cxn>
                  <a:cxn ang="0">
                    <a:pos x="0" y="17"/>
                  </a:cxn>
                  <a:cxn ang="0">
                    <a:pos x="4" y="24"/>
                  </a:cxn>
                  <a:cxn ang="0">
                    <a:pos x="5" y="31"/>
                  </a:cxn>
                  <a:cxn ang="0">
                    <a:pos x="8" y="37"/>
                  </a:cxn>
                  <a:cxn ang="0">
                    <a:pos x="18" y="44"/>
                  </a:cxn>
                  <a:cxn ang="0">
                    <a:pos x="25" y="50"/>
                  </a:cxn>
                  <a:cxn ang="0">
                    <a:pos x="25" y="51"/>
                  </a:cxn>
                  <a:cxn ang="0">
                    <a:pos x="37" y="51"/>
                  </a:cxn>
                  <a:cxn ang="0">
                    <a:pos x="39" y="50"/>
                  </a:cxn>
                  <a:cxn ang="0">
                    <a:pos x="42" y="42"/>
                  </a:cxn>
                  <a:cxn ang="0">
                    <a:pos x="48" y="42"/>
                  </a:cxn>
                  <a:cxn ang="0">
                    <a:pos x="56" y="47"/>
                  </a:cxn>
                  <a:cxn ang="0">
                    <a:pos x="61" y="50"/>
                  </a:cxn>
                  <a:cxn ang="0">
                    <a:pos x="69" y="48"/>
                  </a:cxn>
                  <a:cxn ang="0">
                    <a:pos x="69" y="52"/>
                  </a:cxn>
                  <a:cxn ang="0">
                    <a:pos x="72" y="48"/>
                  </a:cxn>
                  <a:cxn ang="0">
                    <a:pos x="75" y="47"/>
                  </a:cxn>
                  <a:cxn ang="0">
                    <a:pos x="86" y="42"/>
                  </a:cxn>
                  <a:cxn ang="0">
                    <a:pos x="89" y="40"/>
                  </a:cxn>
                  <a:cxn ang="0">
                    <a:pos x="99" y="31"/>
                  </a:cxn>
                  <a:cxn ang="0">
                    <a:pos x="96" y="27"/>
                  </a:cxn>
                  <a:cxn ang="0">
                    <a:pos x="93" y="24"/>
                  </a:cxn>
                </a:cxnLst>
                <a:rect l="0" t="0" r="r" b="b"/>
                <a:pathLst>
                  <a:path w="99" h="52">
                    <a:moveTo>
                      <a:pt x="93" y="24"/>
                    </a:moveTo>
                    <a:lnTo>
                      <a:pt x="93" y="24"/>
                    </a:lnTo>
                    <a:lnTo>
                      <a:pt x="88" y="23"/>
                    </a:lnTo>
                    <a:lnTo>
                      <a:pt x="85" y="23"/>
                    </a:lnTo>
                    <a:lnTo>
                      <a:pt x="84" y="21"/>
                    </a:lnTo>
                    <a:lnTo>
                      <a:pt x="84" y="21"/>
                    </a:lnTo>
                    <a:lnTo>
                      <a:pt x="82" y="17"/>
                    </a:lnTo>
                    <a:lnTo>
                      <a:pt x="81" y="15"/>
                    </a:lnTo>
                    <a:lnTo>
                      <a:pt x="79" y="15"/>
                    </a:lnTo>
                    <a:lnTo>
                      <a:pt x="79" y="15"/>
                    </a:lnTo>
                    <a:lnTo>
                      <a:pt x="74" y="15"/>
                    </a:lnTo>
                    <a:lnTo>
                      <a:pt x="72" y="15"/>
                    </a:lnTo>
                    <a:lnTo>
                      <a:pt x="69" y="17"/>
                    </a:lnTo>
                    <a:lnTo>
                      <a:pt x="69" y="17"/>
                    </a:lnTo>
                    <a:lnTo>
                      <a:pt x="68" y="18"/>
                    </a:lnTo>
                    <a:lnTo>
                      <a:pt x="65" y="17"/>
                    </a:lnTo>
                    <a:lnTo>
                      <a:pt x="62" y="15"/>
                    </a:lnTo>
                    <a:lnTo>
                      <a:pt x="61" y="13"/>
                    </a:lnTo>
                    <a:lnTo>
                      <a:pt x="61" y="13"/>
                    </a:lnTo>
                    <a:lnTo>
                      <a:pt x="61" y="11"/>
                    </a:lnTo>
                    <a:lnTo>
                      <a:pt x="59" y="10"/>
                    </a:lnTo>
                    <a:lnTo>
                      <a:pt x="51" y="5"/>
                    </a:lnTo>
                    <a:lnTo>
                      <a:pt x="51" y="5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1" y="3"/>
                    </a:lnTo>
                    <a:lnTo>
                      <a:pt x="41" y="3"/>
                    </a:lnTo>
                    <a:lnTo>
                      <a:pt x="39" y="3"/>
                    </a:lnTo>
                    <a:lnTo>
                      <a:pt x="37" y="3"/>
                    </a:lnTo>
                    <a:lnTo>
                      <a:pt x="34" y="1"/>
                    </a:lnTo>
                    <a:lnTo>
                      <a:pt x="32" y="3"/>
                    </a:lnTo>
                    <a:lnTo>
                      <a:pt x="32" y="3"/>
                    </a:lnTo>
                    <a:lnTo>
                      <a:pt x="29" y="4"/>
                    </a:lnTo>
                    <a:lnTo>
                      <a:pt x="27" y="5"/>
                    </a:lnTo>
                    <a:lnTo>
                      <a:pt x="22" y="7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5" y="11"/>
                    </a:lnTo>
                    <a:lnTo>
                      <a:pt x="11" y="13"/>
                    </a:lnTo>
                    <a:lnTo>
                      <a:pt x="2" y="15"/>
                    </a:lnTo>
                    <a:lnTo>
                      <a:pt x="2" y="15"/>
                    </a:lnTo>
                    <a:lnTo>
                      <a:pt x="0" y="17"/>
                    </a:lnTo>
                    <a:lnTo>
                      <a:pt x="1" y="1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5" y="31"/>
                    </a:lnTo>
                    <a:lnTo>
                      <a:pt x="7" y="34"/>
                    </a:lnTo>
                    <a:lnTo>
                      <a:pt x="8" y="37"/>
                    </a:lnTo>
                    <a:lnTo>
                      <a:pt x="8" y="37"/>
                    </a:lnTo>
                    <a:lnTo>
                      <a:pt x="18" y="44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1"/>
                    </a:lnTo>
                    <a:lnTo>
                      <a:pt x="25" y="51"/>
                    </a:lnTo>
                    <a:lnTo>
                      <a:pt x="34" y="51"/>
                    </a:lnTo>
                    <a:lnTo>
                      <a:pt x="37" y="51"/>
                    </a:lnTo>
                    <a:lnTo>
                      <a:pt x="39" y="50"/>
                    </a:lnTo>
                    <a:lnTo>
                      <a:pt x="39" y="50"/>
                    </a:lnTo>
                    <a:lnTo>
                      <a:pt x="41" y="45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8" y="42"/>
                    </a:lnTo>
                    <a:lnTo>
                      <a:pt x="52" y="44"/>
                    </a:lnTo>
                    <a:lnTo>
                      <a:pt x="56" y="47"/>
                    </a:lnTo>
                    <a:lnTo>
                      <a:pt x="56" y="47"/>
                    </a:lnTo>
                    <a:lnTo>
                      <a:pt x="61" y="50"/>
                    </a:lnTo>
                    <a:lnTo>
                      <a:pt x="64" y="50"/>
                    </a:lnTo>
                    <a:lnTo>
                      <a:pt x="69" y="48"/>
                    </a:lnTo>
                    <a:lnTo>
                      <a:pt x="69" y="48"/>
                    </a:lnTo>
                    <a:lnTo>
                      <a:pt x="69" y="52"/>
                    </a:lnTo>
                    <a:lnTo>
                      <a:pt x="69" y="52"/>
                    </a:lnTo>
                    <a:lnTo>
                      <a:pt x="72" y="48"/>
                    </a:lnTo>
                    <a:lnTo>
                      <a:pt x="75" y="47"/>
                    </a:lnTo>
                    <a:lnTo>
                      <a:pt x="75" y="47"/>
                    </a:lnTo>
                    <a:lnTo>
                      <a:pt x="82" y="45"/>
                    </a:lnTo>
                    <a:lnTo>
                      <a:pt x="86" y="42"/>
                    </a:lnTo>
                    <a:lnTo>
                      <a:pt x="89" y="40"/>
                    </a:lnTo>
                    <a:lnTo>
                      <a:pt x="89" y="40"/>
                    </a:lnTo>
                    <a:lnTo>
                      <a:pt x="93" y="35"/>
                    </a:lnTo>
                    <a:lnTo>
                      <a:pt x="99" y="31"/>
                    </a:lnTo>
                    <a:lnTo>
                      <a:pt x="99" y="31"/>
                    </a:lnTo>
                    <a:lnTo>
                      <a:pt x="96" y="27"/>
                    </a:lnTo>
                    <a:lnTo>
                      <a:pt x="93" y="24"/>
                    </a:lnTo>
                    <a:lnTo>
                      <a:pt x="93" y="2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09" name="Slovakia">
                <a:extLst>
                  <a:ext uri="{FF2B5EF4-FFF2-40B4-BE49-F238E27FC236}">
                    <a16:creationId xmlns:a16="http://schemas.microsoft.com/office/drawing/2014/main" id="{1A301F25-0505-7BCE-6A32-1DA081D8DD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9978" y="3014929"/>
                <a:ext cx="134661" cy="54753"/>
              </a:xfrm>
              <a:custGeom>
                <a:avLst/>
                <a:gdLst/>
                <a:ahLst/>
                <a:cxnLst>
                  <a:cxn ang="0">
                    <a:pos x="67" y="4"/>
                  </a:cxn>
                  <a:cxn ang="0">
                    <a:pos x="61" y="3"/>
                  </a:cxn>
                  <a:cxn ang="0">
                    <a:pos x="56" y="3"/>
                  </a:cxn>
                  <a:cxn ang="0">
                    <a:pos x="52" y="3"/>
                  </a:cxn>
                  <a:cxn ang="0">
                    <a:pos x="42" y="2"/>
                  </a:cxn>
                  <a:cxn ang="0">
                    <a:pos x="40" y="2"/>
                  </a:cxn>
                  <a:cxn ang="0">
                    <a:pos x="34" y="3"/>
                  </a:cxn>
                  <a:cxn ang="0">
                    <a:pos x="32" y="3"/>
                  </a:cxn>
                  <a:cxn ang="0">
                    <a:pos x="30" y="0"/>
                  </a:cxn>
                  <a:cxn ang="0">
                    <a:pos x="20" y="9"/>
                  </a:cxn>
                  <a:cxn ang="0">
                    <a:pos x="17" y="11"/>
                  </a:cxn>
                  <a:cxn ang="0">
                    <a:pos x="6" y="16"/>
                  </a:cxn>
                  <a:cxn ang="0">
                    <a:pos x="3" y="17"/>
                  </a:cxn>
                  <a:cxn ang="0">
                    <a:pos x="0" y="21"/>
                  </a:cxn>
                  <a:cxn ang="0">
                    <a:pos x="9" y="34"/>
                  </a:cxn>
                  <a:cxn ang="0">
                    <a:pos x="13" y="36"/>
                  </a:cxn>
                  <a:cxn ang="0">
                    <a:pos x="27" y="36"/>
                  </a:cxn>
                  <a:cxn ang="0">
                    <a:pos x="30" y="34"/>
                  </a:cxn>
                  <a:cxn ang="0">
                    <a:pos x="30" y="33"/>
                  </a:cxn>
                  <a:cxn ang="0">
                    <a:pos x="37" y="30"/>
                  </a:cxn>
                  <a:cxn ang="0">
                    <a:pos x="47" y="29"/>
                  </a:cxn>
                  <a:cxn ang="0">
                    <a:pos x="54" y="23"/>
                  </a:cxn>
                  <a:cxn ang="0">
                    <a:pos x="61" y="19"/>
                  </a:cxn>
                  <a:cxn ang="0">
                    <a:pos x="69" y="20"/>
                  </a:cxn>
                  <a:cxn ang="0">
                    <a:pos x="77" y="24"/>
                  </a:cxn>
                  <a:cxn ang="0">
                    <a:pos x="80" y="26"/>
                  </a:cxn>
                  <a:cxn ang="0">
                    <a:pos x="87" y="27"/>
                  </a:cxn>
                  <a:cxn ang="0">
                    <a:pos x="83" y="21"/>
                  </a:cxn>
                  <a:cxn ang="0">
                    <a:pos x="84" y="19"/>
                  </a:cxn>
                  <a:cxn ang="0">
                    <a:pos x="90" y="10"/>
                  </a:cxn>
                  <a:cxn ang="0">
                    <a:pos x="91" y="10"/>
                  </a:cxn>
                  <a:cxn ang="0">
                    <a:pos x="84" y="9"/>
                  </a:cxn>
                  <a:cxn ang="0">
                    <a:pos x="81" y="7"/>
                  </a:cxn>
                  <a:cxn ang="0">
                    <a:pos x="67" y="4"/>
                  </a:cxn>
                </a:cxnLst>
                <a:rect l="0" t="0" r="r" b="b"/>
                <a:pathLst>
                  <a:path w="91" h="37">
                    <a:moveTo>
                      <a:pt x="67" y="4"/>
                    </a:moveTo>
                    <a:lnTo>
                      <a:pt x="67" y="4"/>
                    </a:lnTo>
                    <a:lnTo>
                      <a:pt x="64" y="4"/>
                    </a:lnTo>
                    <a:lnTo>
                      <a:pt x="61" y="3"/>
                    </a:lnTo>
                    <a:lnTo>
                      <a:pt x="59" y="3"/>
                    </a:lnTo>
                    <a:lnTo>
                      <a:pt x="56" y="3"/>
                    </a:lnTo>
                    <a:lnTo>
                      <a:pt x="56" y="3"/>
                    </a:lnTo>
                    <a:lnTo>
                      <a:pt x="52" y="3"/>
                    </a:lnTo>
                    <a:lnTo>
                      <a:pt x="47" y="3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0" y="2"/>
                    </a:lnTo>
                    <a:lnTo>
                      <a:pt x="37" y="2"/>
                    </a:lnTo>
                    <a:lnTo>
                      <a:pt x="34" y="3"/>
                    </a:lnTo>
                    <a:lnTo>
                      <a:pt x="32" y="3"/>
                    </a:lnTo>
                    <a:lnTo>
                      <a:pt x="32" y="3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4" y="4"/>
                    </a:lnTo>
                    <a:lnTo>
                      <a:pt x="20" y="9"/>
                    </a:lnTo>
                    <a:lnTo>
                      <a:pt x="20" y="9"/>
                    </a:lnTo>
                    <a:lnTo>
                      <a:pt x="17" y="11"/>
                    </a:lnTo>
                    <a:lnTo>
                      <a:pt x="13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3" y="17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5" y="27"/>
                    </a:lnTo>
                    <a:lnTo>
                      <a:pt x="9" y="34"/>
                    </a:lnTo>
                    <a:lnTo>
                      <a:pt x="9" y="34"/>
                    </a:lnTo>
                    <a:lnTo>
                      <a:pt x="13" y="36"/>
                    </a:lnTo>
                    <a:lnTo>
                      <a:pt x="20" y="37"/>
                    </a:lnTo>
                    <a:lnTo>
                      <a:pt x="27" y="36"/>
                    </a:lnTo>
                    <a:lnTo>
                      <a:pt x="29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3"/>
                    </a:lnTo>
                    <a:lnTo>
                      <a:pt x="32" y="31"/>
                    </a:lnTo>
                    <a:lnTo>
                      <a:pt x="37" y="30"/>
                    </a:lnTo>
                    <a:lnTo>
                      <a:pt x="47" y="29"/>
                    </a:lnTo>
                    <a:lnTo>
                      <a:pt x="47" y="29"/>
                    </a:lnTo>
                    <a:lnTo>
                      <a:pt x="50" y="27"/>
                    </a:lnTo>
                    <a:lnTo>
                      <a:pt x="54" y="23"/>
                    </a:lnTo>
                    <a:lnTo>
                      <a:pt x="59" y="20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9" y="20"/>
                    </a:lnTo>
                    <a:lnTo>
                      <a:pt x="73" y="21"/>
                    </a:lnTo>
                    <a:lnTo>
                      <a:pt x="77" y="24"/>
                    </a:lnTo>
                    <a:lnTo>
                      <a:pt x="77" y="24"/>
                    </a:lnTo>
                    <a:lnTo>
                      <a:pt x="80" y="26"/>
                    </a:lnTo>
                    <a:lnTo>
                      <a:pt x="87" y="27"/>
                    </a:lnTo>
                    <a:lnTo>
                      <a:pt x="87" y="27"/>
                    </a:lnTo>
                    <a:lnTo>
                      <a:pt x="84" y="24"/>
                    </a:lnTo>
                    <a:lnTo>
                      <a:pt x="83" y="21"/>
                    </a:lnTo>
                    <a:lnTo>
                      <a:pt x="83" y="21"/>
                    </a:lnTo>
                    <a:lnTo>
                      <a:pt x="84" y="19"/>
                    </a:lnTo>
                    <a:lnTo>
                      <a:pt x="86" y="16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1" y="10"/>
                    </a:lnTo>
                    <a:lnTo>
                      <a:pt x="91" y="10"/>
                    </a:lnTo>
                    <a:lnTo>
                      <a:pt x="84" y="9"/>
                    </a:lnTo>
                    <a:lnTo>
                      <a:pt x="81" y="7"/>
                    </a:lnTo>
                    <a:lnTo>
                      <a:pt x="81" y="7"/>
                    </a:lnTo>
                    <a:lnTo>
                      <a:pt x="76" y="4"/>
                    </a:lnTo>
                    <a:lnTo>
                      <a:pt x="67" y="4"/>
                    </a:lnTo>
                    <a:lnTo>
                      <a:pt x="67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10" name="Netherlands">
                <a:extLst>
                  <a:ext uri="{FF2B5EF4-FFF2-40B4-BE49-F238E27FC236}">
                    <a16:creationId xmlns:a16="http://schemas.microsoft.com/office/drawing/2014/main" id="{480C9A62-11EB-85D6-B114-A2B270139F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0345" y="2893587"/>
                <a:ext cx="96186" cy="82868"/>
              </a:xfrm>
              <a:custGeom>
                <a:avLst/>
                <a:gdLst/>
                <a:ahLst/>
                <a:cxnLst>
                  <a:cxn ang="0">
                    <a:pos x="21" y="44"/>
                  </a:cxn>
                  <a:cxn ang="0">
                    <a:pos x="26" y="42"/>
                  </a:cxn>
                  <a:cxn ang="0">
                    <a:pos x="31" y="45"/>
                  </a:cxn>
                  <a:cxn ang="0">
                    <a:pos x="37" y="48"/>
                  </a:cxn>
                  <a:cxn ang="0">
                    <a:pos x="43" y="52"/>
                  </a:cxn>
                  <a:cxn ang="0">
                    <a:pos x="47" y="56"/>
                  </a:cxn>
                  <a:cxn ang="0">
                    <a:pos x="48" y="44"/>
                  </a:cxn>
                  <a:cxn ang="0">
                    <a:pos x="48" y="41"/>
                  </a:cxn>
                  <a:cxn ang="0">
                    <a:pos x="48" y="37"/>
                  </a:cxn>
                  <a:cxn ang="0">
                    <a:pos x="50" y="37"/>
                  </a:cxn>
                  <a:cxn ang="0">
                    <a:pos x="57" y="34"/>
                  </a:cxn>
                  <a:cxn ang="0">
                    <a:pos x="58" y="32"/>
                  </a:cxn>
                  <a:cxn ang="0">
                    <a:pos x="60" y="28"/>
                  </a:cxn>
                  <a:cxn ang="0">
                    <a:pos x="63" y="27"/>
                  </a:cxn>
                  <a:cxn ang="0">
                    <a:pos x="60" y="22"/>
                  </a:cxn>
                  <a:cxn ang="0">
                    <a:pos x="57" y="18"/>
                  </a:cxn>
                  <a:cxn ang="0">
                    <a:pos x="58" y="15"/>
                  </a:cxn>
                  <a:cxn ang="0">
                    <a:pos x="65" y="11"/>
                  </a:cxn>
                  <a:cxn ang="0">
                    <a:pos x="65" y="5"/>
                  </a:cxn>
                  <a:cxn ang="0">
                    <a:pos x="64" y="0"/>
                  </a:cxn>
                  <a:cxn ang="0">
                    <a:pos x="60" y="1"/>
                  </a:cxn>
                  <a:cxn ang="0">
                    <a:pos x="57" y="0"/>
                  </a:cxn>
                  <a:cxn ang="0">
                    <a:pos x="44" y="1"/>
                  </a:cxn>
                  <a:cxn ang="0">
                    <a:pos x="40" y="4"/>
                  </a:cxn>
                  <a:cxn ang="0">
                    <a:pos x="37" y="10"/>
                  </a:cxn>
                  <a:cxn ang="0">
                    <a:pos x="37" y="12"/>
                  </a:cxn>
                  <a:cxn ang="0">
                    <a:pos x="37" y="15"/>
                  </a:cxn>
                  <a:cxn ang="0">
                    <a:pos x="31" y="15"/>
                  </a:cxn>
                  <a:cxn ang="0">
                    <a:pos x="30" y="14"/>
                  </a:cxn>
                  <a:cxn ang="0">
                    <a:pos x="26" y="12"/>
                  </a:cxn>
                  <a:cxn ang="0">
                    <a:pos x="23" y="17"/>
                  </a:cxn>
                  <a:cxn ang="0">
                    <a:pos x="21" y="21"/>
                  </a:cxn>
                  <a:cxn ang="0">
                    <a:pos x="16" y="27"/>
                  </a:cxn>
                  <a:cxn ang="0">
                    <a:pos x="16" y="29"/>
                  </a:cxn>
                  <a:cxn ang="0">
                    <a:pos x="11" y="38"/>
                  </a:cxn>
                  <a:cxn ang="0">
                    <a:pos x="3" y="45"/>
                  </a:cxn>
                  <a:cxn ang="0">
                    <a:pos x="0" y="47"/>
                  </a:cxn>
                  <a:cxn ang="0">
                    <a:pos x="6" y="48"/>
                  </a:cxn>
                  <a:cxn ang="0">
                    <a:pos x="19" y="45"/>
                  </a:cxn>
                  <a:cxn ang="0">
                    <a:pos x="21" y="44"/>
                  </a:cxn>
                </a:cxnLst>
                <a:rect l="0" t="0" r="r" b="b"/>
                <a:pathLst>
                  <a:path w="65" h="56">
                    <a:moveTo>
                      <a:pt x="21" y="44"/>
                    </a:moveTo>
                    <a:lnTo>
                      <a:pt x="21" y="44"/>
                    </a:lnTo>
                    <a:lnTo>
                      <a:pt x="23" y="42"/>
                    </a:lnTo>
                    <a:lnTo>
                      <a:pt x="26" y="42"/>
                    </a:lnTo>
                    <a:lnTo>
                      <a:pt x="30" y="44"/>
                    </a:lnTo>
                    <a:lnTo>
                      <a:pt x="31" y="45"/>
                    </a:lnTo>
                    <a:lnTo>
                      <a:pt x="31" y="45"/>
                    </a:lnTo>
                    <a:lnTo>
                      <a:pt x="37" y="48"/>
                    </a:lnTo>
                    <a:lnTo>
                      <a:pt x="43" y="52"/>
                    </a:lnTo>
                    <a:lnTo>
                      <a:pt x="43" y="52"/>
                    </a:lnTo>
                    <a:lnTo>
                      <a:pt x="47" y="56"/>
                    </a:lnTo>
                    <a:lnTo>
                      <a:pt x="47" y="56"/>
                    </a:lnTo>
                    <a:lnTo>
                      <a:pt x="47" y="49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1"/>
                    </a:lnTo>
                    <a:lnTo>
                      <a:pt x="48" y="38"/>
                    </a:lnTo>
                    <a:lnTo>
                      <a:pt x="48" y="37"/>
                    </a:lnTo>
                    <a:lnTo>
                      <a:pt x="50" y="37"/>
                    </a:lnTo>
                    <a:lnTo>
                      <a:pt x="50" y="37"/>
                    </a:lnTo>
                    <a:lnTo>
                      <a:pt x="56" y="35"/>
                    </a:lnTo>
                    <a:lnTo>
                      <a:pt x="57" y="34"/>
                    </a:lnTo>
                    <a:lnTo>
                      <a:pt x="58" y="32"/>
                    </a:lnTo>
                    <a:lnTo>
                      <a:pt x="58" y="32"/>
                    </a:lnTo>
                    <a:lnTo>
                      <a:pt x="58" y="29"/>
                    </a:lnTo>
                    <a:lnTo>
                      <a:pt x="60" y="28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1" y="24"/>
                    </a:lnTo>
                    <a:lnTo>
                      <a:pt x="60" y="22"/>
                    </a:lnTo>
                    <a:lnTo>
                      <a:pt x="57" y="18"/>
                    </a:lnTo>
                    <a:lnTo>
                      <a:pt x="57" y="18"/>
                    </a:lnTo>
                    <a:lnTo>
                      <a:pt x="57" y="17"/>
                    </a:lnTo>
                    <a:lnTo>
                      <a:pt x="58" y="15"/>
                    </a:lnTo>
                    <a:lnTo>
                      <a:pt x="61" y="14"/>
                    </a:lnTo>
                    <a:lnTo>
                      <a:pt x="65" y="11"/>
                    </a:lnTo>
                    <a:lnTo>
                      <a:pt x="65" y="11"/>
                    </a:lnTo>
                    <a:lnTo>
                      <a:pt x="65" y="5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3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57" y="0"/>
                    </a:lnTo>
                    <a:lnTo>
                      <a:pt x="54" y="0"/>
                    </a:lnTo>
                    <a:lnTo>
                      <a:pt x="44" y="1"/>
                    </a:lnTo>
                    <a:lnTo>
                      <a:pt x="44" y="1"/>
                    </a:lnTo>
                    <a:lnTo>
                      <a:pt x="40" y="4"/>
                    </a:lnTo>
                    <a:lnTo>
                      <a:pt x="37" y="7"/>
                    </a:lnTo>
                    <a:lnTo>
                      <a:pt x="37" y="10"/>
                    </a:lnTo>
                    <a:lnTo>
                      <a:pt x="37" y="12"/>
                    </a:lnTo>
                    <a:lnTo>
                      <a:pt x="37" y="12"/>
                    </a:lnTo>
                    <a:lnTo>
                      <a:pt x="38" y="14"/>
                    </a:lnTo>
                    <a:lnTo>
                      <a:pt x="37" y="15"/>
                    </a:lnTo>
                    <a:lnTo>
                      <a:pt x="36" y="15"/>
                    </a:lnTo>
                    <a:lnTo>
                      <a:pt x="31" y="15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9" y="11"/>
                    </a:lnTo>
                    <a:lnTo>
                      <a:pt x="26" y="12"/>
                    </a:lnTo>
                    <a:lnTo>
                      <a:pt x="23" y="14"/>
                    </a:lnTo>
                    <a:lnTo>
                      <a:pt x="23" y="17"/>
                    </a:lnTo>
                    <a:lnTo>
                      <a:pt x="23" y="17"/>
                    </a:lnTo>
                    <a:lnTo>
                      <a:pt x="21" y="21"/>
                    </a:lnTo>
                    <a:lnTo>
                      <a:pt x="19" y="24"/>
                    </a:lnTo>
                    <a:lnTo>
                      <a:pt x="16" y="27"/>
                    </a:lnTo>
                    <a:lnTo>
                      <a:pt x="16" y="29"/>
                    </a:lnTo>
                    <a:lnTo>
                      <a:pt x="16" y="29"/>
                    </a:lnTo>
                    <a:lnTo>
                      <a:pt x="14" y="35"/>
                    </a:lnTo>
                    <a:lnTo>
                      <a:pt x="11" y="38"/>
                    </a:lnTo>
                    <a:lnTo>
                      <a:pt x="3" y="45"/>
                    </a:lnTo>
                    <a:lnTo>
                      <a:pt x="3" y="45"/>
                    </a:lnTo>
                    <a:lnTo>
                      <a:pt x="0" y="47"/>
                    </a:lnTo>
                    <a:lnTo>
                      <a:pt x="0" y="47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14" y="47"/>
                    </a:lnTo>
                    <a:lnTo>
                      <a:pt x="19" y="45"/>
                    </a:lnTo>
                    <a:lnTo>
                      <a:pt x="21" y="44"/>
                    </a:lnTo>
                    <a:lnTo>
                      <a:pt x="21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11" name="Luxembourg">
                <a:extLst>
                  <a:ext uri="{FF2B5EF4-FFF2-40B4-BE49-F238E27FC236}">
                    <a16:creationId xmlns:a16="http://schemas.microsoft.com/office/drawing/2014/main" id="{7FAAB58F-D02E-2556-1112-E1AA83562D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3977" y="2998651"/>
                <a:ext cx="14798" cy="22197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5" y="0"/>
                  </a:cxn>
                  <a:cxn ang="0">
                    <a:pos x="3" y="1"/>
                  </a:cxn>
                  <a:cxn ang="0">
                    <a:pos x="1" y="4"/>
                  </a:cxn>
                  <a:cxn ang="0">
                    <a:pos x="0" y="8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10" y="15"/>
                  </a:cxn>
                  <a:cxn ang="0">
                    <a:pos x="10" y="15"/>
                  </a:cxn>
                  <a:cxn ang="0">
                    <a:pos x="8" y="10"/>
                  </a:cxn>
                  <a:cxn ang="0">
                    <a:pos x="7" y="5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10" h="15">
                    <a:moveTo>
                      <a:pt x="5" y="0"/>
                    </a:moveTo>
                    <a:lnTo>
                      <a:pt x="5" y="0"/>
                    </a:lnTo>
                    <a:lnTo>
                      <a:pt x="3" y="1"/>
                    </a:lnTo>
                    <a:lnTo>
                      <a:pt x="1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10" y="15"/>
                    </a:lnTo>
                    <a:lnTo>
                      <a:pt x="10" y="15"/>
                    </a:lnTo>
                    <a:lnTo>
                      <a:pt x="8" y="10"/>
                    </a:lnTo>
                    <a:lnTo>
                      <a:pt x="7" y="5"/>
                    </a:lnTo>
                    <a:lnTo>
                      <a:pt x="5" y="1"/>
                    </a:lnTo>
                    <a:lnTo>
                      <a:pt x="5" y="1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12" name="Belgium">
                <a:extLst>
                  <a:ext uri="{FF2B5EF4-FFF2-40B4-BE49-F238E27FC236}">
                    <a16:creationId xmlns:a16="http://schemas.microsoft.com/office/drawing/2014/main" id="{20C4E4F1-467B-A173-C713-2D7C18C587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4068" y="2955738"/>
                <a:ext cx="91747" cy="63631"/>
              </a:xfrm>
              <a:custGeom>
                <a:avLst/>
                <a:gdLst/>
                <a:ahLst/>
                <a:cxnLst>
                  <a:cxn ang="0">
                    <a:pos x="3" y="12"/>
                  </a:cxn>
                  <a:cxn ang="0">
                    <a:pos x="7" y="17"/>
                  </a:cxn>
                  <a:cxn ang="0">
                    <a:pos x="8" y="17"/>
                  </a:cxn>
                  <a:cxn ang="0">
                    <a:pos x="11" y="19"/>
                  </a:cxn>
                  <a:cxn ang="0">
                    <a:pos x="17" y="22"/>
                  </a:cxn>
                  <a:cxn ang="0">
                    <a:pos x="25" y="27"/>
                  </a:cxn>
                  <a:cxn ang="0">
                    <a:pos x="27" y="29"/>
                  </a:cxn>
                  <a:cxn ang="0">
                    <a:pos x="28" y="33"/>
                  </a:cxn>
                  <a:cxn ang="0">
                    <a:pos x="31" y="33"/>
                  </a:cxn>
                  <a:cxn ang="0">
                    <a:pos x="37" y="29"/>
                  </a:cxn>
                  <a:cxn ang="0">
                    <a:pos x="38" y="30"/>
                  </a:cxn>
                  <a:cxn ang="0">
                    <a:pos x="41" y="37"/>
                  </a:cxn>
                  <a:cxn ang="0">
                    <a:pos x="42" y="37"/>
                  </a:cxn>
                  <a:cxn ang="0">
                    <a:pos x="47" y="40"/>
                  </a:cxn>
                  <a:cxn ang="0">
                    <a:pos x="51" y="43"/>
                  </a:cxn>
                  <a:cxn ang="0">
                    <a:pos x="54" y="43"/>
                  </a:cxn>
                  <a:cxn ang="0">
                    <a:pos x="54" y="37"/>
                  </a:cxn>
                  <a:cxn ang="0">
                    <a:pos x="57" y="30"/>
                  </a:cxn>
                  <a:cxn ang="0">
                    <a:pos x="59" y="29"/>
                  </a:cxn>
                  <a:cxn ang="0">
                    <a:pos x="62" y="24"/>
                  </a:cxn>
                  <a:cxn ang="0">
                    <a:pos x="61" y="22"/>
                  </a:cxn>
                  <a:cxn ang="0">
                    <a:pos x="58" y="17"/>
                  </a:cxn>
                  <a:cxn ang="0">
                    <a:pos x="58" y="14"/>
                  </a:cxn>
                  <a:cxn ang="0">
                    <a:pos x="58" y="14"/>
                  </a:cxn>
                  <a:cxn ang="0">
                    <a:pos x="54" y="10"/>
                  </a:cxn>
                  <a:cxn ang="0">
                    <a:pos x="42" y="3"/>
                  </a:cxn>
                  <a:cxn ang="0">
                    <a:pos x="41" y="2"/>
                  </a:cxn>
                  <a:cxn ang="0">
                    <a:pos x="34" y="0"/>
                  </a:cxn>
                  <a:cxn ang="0">
                    <a:pos x="32" y="2"/>
                  </a:cxn>
                  <a:cxn ang="0">
                    <a:pos x="25" y="5"/>
                  </a:cxn>
                  <a:cxn ang="0">
                    <a:pos x="17" y="6"/>
                  </a:cxn>
                  <a:cxn ang="0">
                    <a:pos x="11" y="5"/>
                  </a:cxn>
                  <a:cxn ang="0">
                    <a:pos x="0" y="9"/>
                  </a:cxn>
                  <a:cxn ang="0">
                    <a:pos x="1" y="10"/>
                  </a:cxn>
                  <a:cxn ang="0">
                    <a:pos x="3" y="12"/>
                  </a:cxn>
                </a:cxnLst>
                <a:rect l="0" t="0" r="r" b="b"/>
                <a:pathLst>
                  <a:path w="62" h="43">
                    <a:moveTo>
                      <a:pt x="3" y="12"/>
                    </a:moveTo>
                    <a:lnTo>
                      <a:pt x="3" y="12"/>
                    </a:lnTo>
                    <a:lnTo>
                      <a:pt x="5" y="16"/>
                    </a:lnTo>
                    <a:lnTo>
                      <a:pt x="7" y="17"/>
                    </a:lnTo>
                    <a:lnTo>
                      <a:pt x="8" y="17"/>
                    </a:lnTo>
                    <a:lnTo>
                      <a:pt x="8" y="17"/>
                    </a:lnTo>
                    <a:lnTo>
                      <a:pt x="10" y="17"/>
                    </a:lnTo>
                    <a:lnTo>
                      <a:pt x="11" y="19"/>
                    </a:lnTo>
                    <a:lnTo>
                      <a:pt x="17" y="22"/>
                    </a:lnTo>
                    <a:lnTo>
                      <a:pt x="17" y="22"/>
                    </a:lnTo>
                    <a:lnTo>
                      <a:pt x="22" y="24"/>
                    </a:lnTo>
                    <a:lnTo>
                      <a:pt x="25" y="27"/>
                    </a:lnTo>
                    <a:lnTo>
                      <a:pt x="27" y="29"/>
                    </a:lnTo>
                    <a:lnTo>
                      <a:pt x="27" y="29"/>
                    </a:lnTo>
                    <a:lnTo>
                      <a:pt x="27" y="32"/>
                    </a:lnTo>
                    <a:lnTo>
                      <a:pt x="28" y="33"/>
                    </a:lnTo>
                    <a:lnTo>
                      <a:pt x="31" y="33"/>
                    </a:lnTo>
                    <a:lnTo>
                      <a:pt x="31" y="33"/>
                    </a:lnTo>
                    <a:lnTo>
                      <a:pt x="35" y="30"/>
                    </a:lnTo>
                    <a:lnTo>
                      <a:pt x="37" y="29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4"/>
                    </a:lnTo>
                    <a:lnTo>
                      <a:pt x="41" y="37"/>
                    </a:lnTo>
                    <a:lnTo>
                      <a:pt x="42" y="37"/>
                    </a:lnTo>
                    <a:lnTo>
                      <a:pt x="42" y="37"/>
                    </a:lnTo>
                    <a:lnTo>
                      <a:pt x="45" y="39"/>
                    </a:lnTo>
                    <a:lnTo>
                      <a:pt x="47" y="40"/>
                    </a:lnTo>
                    <a:lnTo>
                      <a:pt x="48" y="42"/>
                    </a:lnTo>
                    <a:lnTo>
                      <a:pt x="51" y="43"/>
                    </a:lnTo>
                    <a:lnTo>
                      <a:pt x="51" y="43"/>
                    </a:lnTo>
                    <a:lnTo>
                      <a:pt x="54" y="43"/>
                    </a:lnTo>
                    <a:lnTo>
                      <a:pt x="54" y="43"/>
                    </a:lnTo>
                    <a:lnTo>
                      <a:pt x="54" y="37"/>
                    </a:lnTo>
                    <a:lnTo>
                      <a:pt x="55" y="33"/>
                    </a:lnTo>
                    <a:lnTo>
                      <a:pt x="57" y="30"/>
                    </a:lnTo>
                    <a:lnTo>
                      <a:pt x="59" y="29"/>
                    </a:lnTo>
                    <a:lnTo>
                      <a:pt x="59" y="29"/>
                    </a:lnTo>
                    <a:lnTo>
                      <a:pt x="61" y="27"/>
                    </a:lnTo>
                    <a:lnTo>
                      <a:pt x="62" y="24"/>
                    </a:lnTo>
                    <a:lnTo>
                      <a:pt x="62" y="24"/>
                    </a:lnTo>
                    <a:lnTo>
                      <a:pt x="61" y="22"/>
                    </a:lnTo>
                    <a:lnTo>
                      <a:pt x="59" y="20"/>
                    </a:lnTo>
                    <a:lnTo>
                      <a:pt x="58" y="17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48" y="6"/>
                    </a:lnTo>
                    <a:lnTo>
                      <a:pt x="42" y="3"/>
                    </a:lnTo>
                    <a:lnTo>
                      <a:pt x="42" y="3"/>
                    </a:lnTo>
                    <a:lnTo>
                      <a:pt x="41" y="2"/>
                    </a:lnTo>
                    <a:lnTo>
                      <a:pt x="37" y="0"/>
                    </a:lnTo>
                    <a:lnTo>
                      <a:pt x="34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30" y="3"/>
                    </a:lnTo>
                    <a:lnTo>
                      <a:pt x="25" y="5"/>
                    </a:lnTo>
                    <a:lnTo>
                      <a:pt x="17" y="6"/>
                    </a:lnTo>
                    <a:lnTo>
                      <a:pt x="17" y="6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5" y="7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1" y="10"/>
                    </a:lnTo>
                    <a:lnTo>
                      <a:pt x="3" y="12"/>
                    </a:lnTo>
                    <a:lnTo>
                      <a:pt x="3" y="12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13" name="Romania">
                <a:extLst>
                  <a:ext uri="{FF2B5EF4-FFF2-40B4-BE49-F238E27FC236}">
                    <a16:creationId xmlns:a16="http://schemas.microsoft.com/office/drawing/2014/main" id="{5C82AA4B-22B1-F54F-59E2-39C5F8B09D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2846" y="3053403"/>
                <a:ext cx="214569" cy="139100"/>
              </a:xfrm>
              <a:custGeom>
                <a:avLst/>
                <a:gdLst/>
                <a:ahLst/>
                <a:cxnLst>
                  <a:cxn ang="0">
                    <a:pos x="131" y="62"/>
                  </a:cxn>
                  <a:cxn ang="0">
                    <a:pos x="124" y="59"/>
                  </a:cxn>
                  <a:cxn ang="0">
                    <a:pos x="124" y="58"/>
                  </a:cxn>
                  <a:cxn ang="0">
                    <a:pos x="124" y="58"/>
                  </a:cxn>
                  <a:cxn ang="0">
                    <a:pos x="121" y="48"/>
                  </a:cxn>
                  <a:cxn ang="0">
                    <a:pos x="122" y="40"/>
                  </a:cxn>
                  <a:cxn ang="0">
                    <a:pos x="122" y="38"/>
                  </a:cxn>
                  <a:cxn ang="0">
                    <a:pos x="119" y="30"/>
                  </a:cxn>
                  <a:cxn ang="0">
                    <a:pos x="111" y="17"/>
                  </a:cxn>
                  <a:cxn ang="0">
                    <a:pos x="101" y="0"/>
                  </a:cxn>
                  <a:cxn ang="0">
                    <a:pos x="94" y="3"/>
                  </a:cxn>
                  <a:cxn ang="0">
                    <a:pos x="89" y="7"/>
                  </a:cxn>
                  <a:cxn ang="0">
                    <a:pos x="84" y="8"/>
                  </a:cxn>
                  <a:cxn ang="0">
                    <a:pos x="78" y="7"/>
                  </a:cxn>
                  <a:cxn ang="0">
                    <a:pos x="77" y="8"/>
                  </a:cxn>
                  <a:cxn ang="0">
                    <a:pos x="69" y="11"/>
                  </a:cxn>
                  <a:cxn ang="0">
                    <a:pos x="69" y="11"/>
                  </a:cxn>
                  <a:cxn ang="0">
                    <a:pos x="60" y="8"/>
                  </a:cxn>
                  <a:cxn ang="0">
                    <a:pos x="51" y="7"/>
                  </a:cxn>
                  <a:cxn ang="0">
                    <a:pos x="44" y="5"/>
                  </a:cxn>
                  <a:cxn ang="0">
                    <a:pos x="37" y="5"/>
                  </a:cxn>
                  <a:cxn ang="0">
                    <a:pos x="35" y="8"/>
                  </a:cxn>
                  <a:cxn ang="0">
                    <a:pos x="25" y="15"/>
                  </a:cxn>
                  <a:cxn ang="0">
                    <a:pos x="18" y="27"/>
                  </a:cxn>
                  <a:cxn ang="0">
                    <a:pos x="10" y="40"/>
                  </a:cxn>
                  <a:cxn ang="0">
                    <a:pos x="4" y="45"/>
                  </a:cxn>
                  <a:cxn ang="0">
                    <a:pos x="0" y="47"/>
                  </a:cxn>
                  <a:cxn ang="0">
                    <a:pos x="1" y="49"/>
                  </a:cxn>
                  <a:cxn ang="0">
                    <a:pos x="5" y="54"/>
                  </a:cxn>
                  <a:cxn ang="0">
                    <a:pos x="5" y="57"/>
                  </a:cxn>
                  <a:cxn ang="0">
                    <a:pos x="8" y="62"/>
                  </a:cxn>
                  <a:cxn ang="0">
                    <a:pos x="11" y="62"/>
                  </a:cxn>
                  <a:cxn ang="0">
                    <a:pos x="13" y="64"/>
                  </a:cxn>
                  <a:cxn ang="0">
                    <a:pos x="13" y="71"/>
                  </a:cxn>
                  <a:cxn ang="0">
                    <a:pos x="14" y="72"/>
                  </a:cxn>
                  <a:cxn ang="0">
                    <a:pos x="28" y="75"/>
                  </a:cxn>
                  <a:cxn ang="0">
                    <a:pos x="31" y="78"/>
                  </a:cxn>
                  <a:cxn ang="0">
                    <a:pos x="32" y="81"/>
                  </a:cxn>
                  <a:cxn ang="0">
                    <a:pos x="32" y="85"/>
                  </a:cxn>
                  <a:cxn ang="0">
                    <a:pos x="38" y="88"/>
                  </a:cxn>
                  <a:cxn ang="0">
                    <a:pos x="41" y="91"/>
                  </a:cxn>
                  <a:cxn ang="0">
                    <a:pos x="50" y="92"/>
                  </a:cxn>
                  <a:cxn ang="0">
                    <a:pos x="58" y="92"/>
                  </a:cxn>
                  <a:cxn ang="0">
                    <a:pos x="75" y="94"/>
                  </a:cxn>
                  <a:cxn ang="0">
                    <a:pos x="87" y="88"/>
                  </a:cxn>
                  <a:cxn ang="0">
                    <a:pos x="91" y="86"/>
                  </a:cxn>
                  <a:cxn ang="0">
                    <a:pos x="106" y="85"/>
                  </a:cxn>
                  <a:cxn ang="0">
                    <a:pos x="114" y="86"/>
                  </a:cxn>
                  <a:cxn ang="0">
                    <a:pos x="119" y="89"/>
                  </a:cxn>
                  <a:cxn ang="0">
                    <a:pos x="122" y="91"/>
                  </a:cxn>
                  <a:cxn ang="0">
                    <a:pos x="128" y="94"/>
                  </a:cxn>
                  <a:cxn ang="0">
                    <a:pos x="128" y="85"/>
                  </a:cxn>
                  <a:cxn ang="0">
                    <a:pos x="131" y="77"/>
                  </a:cxn>
                  <a:cxn ang="0">
                    <a:pos x="136" y="72"/>
                  </a:cxn>
                  <a:cxn ang="0">
                    <a:pos x="139" y="71"/>
                  </a:cxn>
                  <a:cxn ang="0">
                    <a:pos x="145" y="68"/>
                  </a:cxn>
                  <a:cxn ang="0">
                    <a:pos x="145" y="64"/>
                  </a:cxn>
                  <a:cxn ang="0">
                    <a:pos x="145" y="62"/>
                  </a:cxn>
                  <a:cxn ang="0">
                    <a:pos x="139" y="58"/>
                  </a:cxn>
                  <a:cxn ang="0">
                    <a:pos x="131" y="62"/>
                  </a:cxn>
                </a:cxnLst>
                <a:rect l="0" t="0" r="r" b="b"/>
                <a:pathLst>
                  <a:path w="145" h="94">
                    <a:moveTo>
                      <a:pt x="131" y="62"/>
                    </a:moveTo>
                    <a:lnTo>
                      <a:pt x="131" y="62"/>
                    </a:lnTo>
                    <a:lnTo>
                      <a:pt x="125" y="61"/>
                    </a:lnTo>
                    <a:lnTo>
                      <a:pt x="124" y="59"/>
                    </a:lnTo>
                    <a:lnTo>
                      <a:pt x="124" y="58"/>
                    </a:lnTo>
                    <a:lnTo>
                      <a:pt x="124" y="58"/>
                    </a:lnTo>
                    <a:lnTo>
                      <a:pt x="124" y="58"/>
                    </a:lnTo>
                    <a:lnTo>
                      <a:pt x="124" y="58"/>
                    </a:lnTo>
                    <a:lnTo>
                      <a:pt x="122" y="54"/>
                    </a:lnTo>
                    <a:lnTo>
                      <a:pt x="121" y="48"/>
                    </a:lnTo>
                    <a:lnTo>
                      <a:pt x="121" y="44"/>
                    </a:lnTo>
                    <a:lnTo>
                      <a:pt x="122" y="40"/>
                    </a:lnTo>
                    <a:lnTo>
                      <a:pt x="122" y="40"/>
                    </a:lnTo>
                    <a:lnTo>
                      <a:pt x="122" y="38"/>
                    </a:lnTo>
                    <a:lnTo>
                      <a:pt x="122" y="35"/>
                    </a:lnTo>
                    <a:lnTo>
                      <a:pt x="119" y="30"/>
                    </a:lnTo>
                    <a:lnTo>
                      <a:pt x="111" y="17"/>
                    </a:lnTo>
                    <a:lnTo>
                      <a:pt x="111" y="17"/>
                    </a:lnTo>
                    <a:lnTo>
                      <a:pt x="101" y="0"/>
                    </a:lnTo>
                    <a:lnTo>
                      <a:pt x="101" y="0"/>
                    </a:lnTo>
                    <a:lnTo>
                      <a:pt x="95" y="1"/>
                    </a:lnTo>
                    <a:lnTo>
                      <a:pt x="94" y="3"/>
                    </a:lnTo>
                    <a:lnTo>
                      <a:pt x="94" y="3"/>
                    </a:lnTo>
                    <a:lnTo>
                      <a:pt x="89" y="7"/>
                    </a:lnTo>
                    <a:lnTo>
                      <a:pt x="84" y="8"/>
                    </a:lnTo>
                    <a:lnTo>
                      <a:pt x="84" y="8"/>
                    </a:lnTo>
                    <a:lnTo>
                      <a:pt x="79" y="7"/>
                    </a:lnTo>
                    <a:lnTo>
                      <a:pt x="78" y="7"/>
                    </a:lnTo>
                    <a:lnTo>
                      <a:pt x="77" y="8"/>
                    </a:lnTo>
                    <a:lnTo>
                      <a:pt x="77" y="8"/>
                    </a:lnTo>
                    <a:lnTo>
                      <a:pt x="72" y="11"/>
                    </a:lnTo>
                    <a:lnTo>
                      <a:pt x="69" y="11"/>
                    </a:lnTo>
                    <a:lnTo>
                      <a:pt x="69" y="11"/>
                    </a:lnTo>
                    <a:lnTo>
                      <a:pt x="69" y="11"/>
                    </a:lnTo>
                    <a:lnTo>
                      <a:pt x="65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51" y="7"/>
                    </a:lnTo>
                    <a:lnTo>
                      <a:pt x="44" y="5"/>
                    </a:lnTo>
                    <a:lnTo>
                      <a:pt x="44" y="5"/>
                    </a:lnTo>
                    <a:lnTo>
                      <a:pt x="37" y="5"/>
                    </a:lnTo>
                    <a:lnTo>
                      <a:pt x="37" y="5"/>
                    </a:lnTo>
                    <a:lnTo>
                      <a:pt x="37" y="7"/>
                    </a:lnTo>
                    <a:lnTo>
                      <a:pt x="35" y="8"/>
                    </a:lnTo>
                    <a:lnTo>
                      <a:pt x="35" y="8"/>
                    </a:lnTo>
                    <a:lnTo>
                      <a:pt x="25" y="15"/>
                    </a:lnTo>
                    <a:lnTo>
                      <a:pt x="25" y="15"/>
                    </a:lnTo>
                    <a:lnTo>
                      <a:pt x="18" y="27"/>
                    </a:lnTo>
                    <a:lnTo>
                      <a:pt x="14" y="34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4" y="45"/>
                    </a:lnTo>
                    <a:lnTo>
                      <a:pt x="1" y="47"/>
                    </a:lnTo>
                    <a:lnTo>
                      <a:pt x="0" y="47"/>
                    </a:lnTo>
                    <a:lnTo>
                      <a:pt x="0" y="47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5" y="54"/>
                    </a:lnTo>
                    <a:lnTo>
                      <a:pt x="5" y="57"/>
                    </a:lnTo>
                    <a:lnTo>
                      <a:pt x="5" y="57"/>
                    </a:lnTo>
                    <a:lnTo>
                      <a:pt x="7" y="61"/>
                    </a:lnTo>
                    <a:lnTo>
                      <a:pt x="8" y="62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3" y="62"/>
                    </a:lnTo>
                    <a:lnTo>
                      <a:pt x="13" y="64"/>
                    </a:lnTo>
                    <a:lnTo>
                      <a:pt x="13" y="67"/>
                    </a:lnTo>
                    <a:lnTo>
                      <a:pt x="13" y="71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24" y="74"/>
                    </a:lnTo>
                    <a:lnTo>
                      <a:pt x="28" y="75"/>
                    </a:lnTo>
                    <a:lnTo>
                      <a:pt x="31" y="77"/>
                    </a:lnTo>
                    <a:lnTo>
                      <a:pt x="31" y="78"/>
                    </a:lnTo>
                    <a:lnTo>
                      <a:pt x="31" y="78"/>
                    </a:lnTo>
                    <a:lnTo>
                      <a:pt x="32" y="81"/>
                    </a:lnTo>
                    <a:lnTo>
                      <a:pt x="32" y="85"/>
                    </a:lnTo>
                    <a:lnTo>
                      <a:pt x="32" y="85"/>
                    </a:lnTo>
                    <a:lnTo>
                      <a:pt x="35" y="86"/>
                    </a:lnTo>
                    <a:lnTo>
                      <a:pt x="38" y="88"/>
                    </a:lnTo>
                    <a:lnTo>
                      <a:pt x="40" y="89"/>
                    </a:lnTo>
                    <a:lnTo>
                      <a:pt x="41" y="91"/>
                    </a:lnTo>
                    <a:lnTo>
                      <a:pt x="41" y="91"/>
                    </a:lnTo>
                    <a:lnTo>
                      <a:pt x="50" y="92"/>
                    </a:lnTo>
                    <a:lnTo>
                      <a:pt x="58" y="92"/>
                    </a:lnTo>
                    <a:lnTo>
                      <a:pt x="58" y="92"/>
                    </a:lnTo>
                    <a:lnTo>
                      <a:pt x="75" y="94"/>
                    </a:lnTo>
                    <a:lnTo>
                      <a:pt x="75" y="94"/>
                    </a:lnTo>
                    <a:lnTo>
                      <a:pt x="81" y="92"/>
                    </a:lnTo>
                    <a:lnTo>
                      <a:pt x="87" y="88"/>
                    </a:lnTo>
                    <a:lnTo>
                      <a:pt x="87" y="88"/>
                    </a:lnTo>
                    <a:lnTo>
                      <a:pt x="91" y="86"/>
                    </a:lnTo>
                    <a:lnTo>
                      <a:pt x="97" y="85"/>
                    </a:lnTo>
                    <a:lnTo>
                      <a:pt x="106" y="85"/>
                    </a:lnTo>
                    <a:lnTo>
                      <a:pt x="106" y="85"/>
                    </a:lnTo>
                    <a:lnTo>
                      <a:pt x="114" y="86"/>
                    </a:lnTo>
                    <a:lnTo>
                      <a:pt x="116" y="88"/>
                    </a:lnTo>
                    <a:lnTo>
                      <a:pt x="119" y="89"/>
                    </a:lnTo>
                    <a:lnTo>
                      <a:pt x="119" y="89"/>
                    </a:lnTo>
                    <a:lnTo>
                      <a:pt x="122" y="91"/>
                    </a:lnTo>
                    <a:lnTo>
                      <a:pt x="128" y="94"/>
                    </a:lnTo>
                    <a:lnTo>
                      <a:pt x="128" y="94"/>
                    </a:lnTo>
                    <a:lnTo>
                      <a:pt x="128" y="85"/>
                    </a:lnTo>
                    <a:lnTo>
                      <a:pt x="128" y="85"/>
                    </a:lnTo>
                    <a:lnTo>
                      <a:pt x="129" y="81"/>
                    </a:lnTo>
                    <a:lnTo>
                      <a:pt x="131" y="77"/>
                    </a:lnTo>
                    <a:lnTo>
                      <a:pt x="133" y="74"/>
                    </a:lnTo>
                    <a:lnTo>
                      <a:pt x="136" y="72"/>
                    </a:lnTo>
                    <a:lnTo>
                      <a:pt x="136" y="72"/>
                    </a:lnTo>
                    <a:lnTo>
                      <a:pt x="139" y="71"/>
                    </a:lnTo>
                    <a:lnTo>
                      <a:pt x="142" y="71"/>
                    </a:lnTo>
                    <a:lnTo>
                      <a:pt x="145" y="68"/>
                    </a:lnTo>
                    <a:lnTo>
                      <a:pt x="145" y="64"/>
                    </a:lnTo>
                    <a:lnTo>
                      <a:pt x="145" y="64"/>
                    </a:lnTo>
                    <a:lnTo>
                      <a:pt x="145" y="62"/>
                    </a:lnTo>
                    <a:lnTo>
                      <a:pt x="145" y="62"/>
                    </a:lnTo>
                    <a:lnTo>
                      <a:pt x="139" y="58"/>
                    </a:lnTo>
                    <a:lnTo>
                      <a:pt x="139" y="58"/>
                    </a:lnTo>
                    <a:lnTo>
                      <a:pt x="135" y="61"/>
                    </a:lnTo>
                    <a:lnTo>
                      <a:pt x="131" y="62"/>
                    </a:lnTo>
                    <a:lnTo>
                      <a:pt x="131" y="62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14" name="Moldova">
                <a:extLst>
                  <a:ext uri="{FF2B5EF4-FFF2-40B4-BE49-F238E27FC236}">
                    <a16:creationId xmlns:a16="http://schemas.microsoft.com/office/drawing/2014/main" id="{AD65C492-ECA7-7732-7AEB-757987BA36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52305" y="3048964"/>
                <a:ext cx="73989" cy="90267"/>
              </a:xfrm>
              <a:custGeom>
                <a:avLst/>
                <a:gdLst/>
                <a:ahLst/>
                <a:cxnLst>
                  <a:cxn ang="0">
                    <a:pos x="35" y="15"/>
                  </a:cxn>
                  <a:cxn ang="0">
                    <a:pos x="35" y="15"/>
                  </a:cxn>
                  <a:cxn ang="0">
                    <a:pos x="34" y="11"/>
                  </a:cxn>
                  <a:cxn ang="0">
                    <a:pos x="31" y="8"/>
                  </a:cxn>
                  <a:cxn ang="0">
                    <a:pos x="27" y="7"/>
                  </a:cxn>
                  <a:cxn ang="0">
                    <a:pos x="24" y="7"/>
                  </a:cxn>
                  <a:cxn ang="0">
                    <a:pos x="24" y="7"/>
                  </a:cxn>
                  <a:cxn ang="0">
                    <a:pos x="21" y="6"/>
                  </a:cxn>
                  <a:cxn ang="0">
                    <a:pos x="18" y="3"/>
                  </a:cxn>
                  <a:cxn ang="0">
                    <a:pos x="14" y="0"/>
                  </a:cxn>
                  <a:cxn ang="0">
                    <a:pos x="11" y="0"/>
                  </a:cxn>
                  <a:cxn ang="0">
                    <a:pos x="11" y="0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8" y="33"/>
                  </a:cxn>
                  <a:cxn ang="0">
                    <a:pos x="21" y="38"/>
                  </a:cxn>
                  <a:cxn ang="0">
                    <a:pos x="21" y="41"/>
                  </a:cxn>
                  <a:cxn ang="0">
                    <a:pos x="21" y="43"/>
                  </a:cxn>
                  <a:cxn ang="0">
                    <a:pos x="21" y="43"/>
                  </a:cxn>
                  <a:cxn ang="0">
                    <a:pos x="20" y="47"/>
                  </a:cxn>
                  <a:cxn ang="0">
                    <a:pos x="20" y="51"/>
                  </a:cxn>
                  <a:cxn ang="0">
                    <a:pos x="21" y="57"/>
                  </a:cxn>
                  <a:cxn ang="0">
                    <a:pos x="23" y="61"/>
                  </a:cxn>
                  <a:cxn ang="0">
                    <a:pos x="23" y="61"/>
                  </a:cxn>
                  <a:cxn ang="0">
                    <a:pos x="28" y="54"/>
                  </a:cxn>
                  <a:cxn ang="0">
                    <a:pos x="31" y="50"/>
                  </a:cxn>
                  <a:cxn ang="0">
                    <a:pos x="32" y="47"/>
                  </a:cxn>
                  <a:cxn ang="0">
                    <a:pos x="32" y="47"/>
                  </a:cxn>
                  <a:cxn ang="0">
                    <a:pos x="34" y="41"/>
                  </a:cxn>
                  <a:cxn ang="0">
                    <a:pos x="35" y="40"/>
                  </a:cxn>
                  <a:cxn ang="0">
                    <a:pos x="38" y="40"/>
                  </a:cxn>
                  <a:cxn ang="0">
                    <a:pos x="38" y="40"/>
                  </a:cxn>
                  <a:cxn ang="0">
                    <a:pos x="47" y="41"/>
                  </a:cxn>
                  <a:cxn ang="0">
                    <a:pos x="48" y="43"/>
                  </a:cxn>
                  <a:cxn ang="0">
                    <a:pos x="50" y="41"/>
                  </a:cxn>
                  <a:cxn ang="0">
                    <a:pos x="50" y="41"/>
                  </a:cxn>
                  <a:cxn ang="0">
                    <a:pos x="48" y="37"/>
                  </a:cxn>
                  <a:cxn ang="0">
                    <a:pos x="45" y="31"/>
                  </a:cxn>
                  <a:cxn ang="0">
                    <a:pos x="45" y="31"/>
                  </a:cxn>
                  <a:cxn ang="0">
                    <a:pos x="41" y="24"/>
                  </a:cxn>
                  <a:cxn ang="0">
                    <a:pos x="35" y="15"/>
                  </a:cxn>
                  <a:cxn ang="0">
                    <a:pos x="35" y="15"/>
                  </a:cxn>
                </a:cxnLst>
                <a:rect l="0" t="0" r="r" b="b"/>
                <a:pathLst>
                  <a:path w="50" h="61">
                    <a:moveTo>
                      <a:pt x="35" y="15"/>
                    </a:moveTo>
                    <a:lnTo>
                      <a:pt x="35" y="15"/>
                    </a:lnTo>
                    <a:lnTo>
                      <a:pt x="34" y="11"/>
                    </a:lnTo>
                    <a:lnTo>
                      <a:pt x="31" y="8"/>
                    </a:lnTo>
                    <a:lnTo>
                      <a:pt x="27" y="7"/>
                    </a:lnTo>
                    <a:lnTo>
                      <a:pt x="24" y="7"/>
                    </a:lnTo>
                    <a:lnTo>
                      <a:pt x="24" y="7"/>
                    </a:lnTo>
                    <a:lnTo>
                      <a:pt x="21" y="6"/>
                    </a:lnTo>
                    <a:lnTo>
                      <a:pt x="18" y="3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8" y="33"/>
                    </a:lnTo>
                    <a:lnTo>
                      <a:pt x="21" y="38"/>
                    </a:lnTo>
                    <a:lnTo>
                      <a:pt x="21" y="41"/>
                    </a:lnTo>
                    <a:lnTo>
                      <a:pt x="21" y="43"/>
                    </a:lnTo>
                    <a:lnTo>
                      <a:pt x="21" y="43"/>
                    </a:lnTo>
                    <a:lnTo>
                      <a:pt x="20" y="47"/>
                    </a:lnTo>
                    <a:lnTo>
                      <a:pt x="20" y="51"/>
                    </a:lnTo>
                    <a:lnTo>
                      <a:pt x="21" y="57"/>
                    </a:lnTo>
                    <a:lnTo>
                      <a:pt x="23" y="61"/>
                    </a:lnTo>
                    <a:lnTo>
                      <a:pt x="23" y="61"/>
                    </a:lnTo>
                    <a:lnTo>
                      <a:pt x="28" y="54"/>
                    </a:lnTo>
                    <a:lnTo>
                      <a:pt x="31" y="50"/>
                    </a:lnTo>
                    <a:lnTo>
                      <a:pt x="32" y="47"/>
                    </a:lnTo>
                    <a:lnTo>
                      <a:pt x="32" y="47"/>
                    </a:lnTo>
                    <a:lnTo>
                      <a:pt x="34" y="41"/>
                    </a:lnTo>
                    <a:lnTo>
                      <a:pt x="35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47" y="41"/>
                    </a:lnTo>
                    <a:lnTo>
                      <a:pt x="48" y="43"/>
                    </a:lnTo>
                    <a:lnTo>
                      <a:pt x="50" y="41"/>
                    </a:lnTo>
                    <a:lnTo>
                      <a:pt x="50" y="41"/>
                    </a:lnTo>
                    <a:lnTo>
                      <a:pt x="48" y="37"/>
                    </a:lnTo>
                    <a:lnTo>
                      <a:pt x="45" y="31"/>
                    </a:lnTo>
                    <a:lnTo>
                      <a:pt x="45" y="31"/>
                    </a:lnTo>
                    <a:lnTo>
                      <a:pt x="41" y="24"/>
                    </a:lnTo>
                    <a:lnTo>
                      <a:pt x="35" y="15"/>
                    </a:lnTo>
                    <a:lnTo>
                      <a:pt x="35" y="15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15" name="Bulgaria">
                <a:extLst>
                  <a:ext uri="{FF2B5EF4-FFF2-40B4-BE49-F238E27FC236}">
                    <a16:creationId xmlns:a16="http://schemas.microsoft.com/office/drawing/2014/main" id="{EA82F4DF-0488-966A-2A83-4AF4872554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4280" y="3179184"/>
                <a:ext cx="147978" cy="79908"/>
              </a:xfrm>
              <a:custGeom>
                <a:avLst/>
                <a:gdLst/>
                <a:ahLst/>
                <a:cxnLst>
                  <a:cxn ang="0">
                    <a:pos x="78" y="0"/>
                  </a:cxn>
                  <a:cxn ang="0">
                    <a:pos x="63" y="1"/>
                  </a:cxn>
                  <a:cxn ang="0">
                    <a:pos x="59" y="3"/>
                  </a:cxn>
                  <a:cxn ang="0">
                    <a:pos x="47" y="9"/>
                  </a:cxn>
                  <a:cxn ang="0">
                    <a:pos x="30" y="7"/>
                  </a:cxn>
                  <a:cxn ang="0">
                    <a:pos x="22" y="7"/>
                  </a:cxn>
                  <a:cxn ang="0">
                    <a:pos x="13" y="6"/>
                  </a:cxn>
                  <a:cxn ang="0">
                    <a:pos x="10" y="3"/>
                  </a:cxn>
                  <a:cxn ang="0">
                    <a:pos x="4" y="0"/>
                  </a:cxn>
                  <a:cxn ang="0">
                    <a:pos x="3" y="1"/>
                  </a:cxn>
                  <a:cxn ang="0">
                    <a:pos x="2" y="3"/>
                  </a:cxn>
                  <a:cxn ang="0">
                    <a:pos x="0" y="9"/>
                  </a:cxn>
                  <a:cxn ang="0">
                    <a:pos x="3" y="11"/>
                  </a:cxn>
                  <a:cxn ang="0">
                    <a:pos x="9" y="21"/>
                  </a:cxn>
                  <a:cxn ang="0">
                    <a:pos x="7" y="23"/>
                  </a:cxn>
                  <a:cxn ang="0">
                    <a:pos x="6" y="23"/>
                  </a:cxn>
                  <a:cxn ang="0">
                    <a:pos x="3" y="28"/>
                  </a:cxn>
                  <a:cxn ang="0">
                    <a:pos x="2" y="33"/>
                  </a:cxn>
                  <a:cxn ang="0">
                    <a:pos x="3" y="37"/>
                  </a:cxn>
                  <a:cxn ang="0">
                    <a:pos x="12" y="47"/>
                  </a:cxn>
                  <a:cxn ang="0">
                    <a:pos x="13" y="50"/>
                  </a:cxn>
                  <a:cxn ang="0">
                    <a:pos x="14" y="51"/>
                  </a:cxn>
                  <a:cxn ang="0">
                    <a:pos x="33" y="51"/>
                  </a:cxn>
                  <a:cxn ang="0">
                    <a:pos x="36" y="51"/>
                  </a:cxn>
                  <a:cxn ang="0">
                    <a:pos x="53" y="54"/>
                  </a:cxn>
                  <a:cxn ang="0">
                    <a:pos x="59" y="54"/>
                  </a:cxn>
                  <a:cxn ang="0">
                    <a:pos x="60" y="51"/>
                  </a:cxn>
                  <a:cxn ang="0">
                    <a:pos x="60" y="50"/>
                  </a:cxn>
                  <a:cxn ang="0">
                    <a:pos x="67" y="47"/>
                  </a:cxn>
                  <a:cxn ang="0">
                    <a:pos x="66" y="44"/>
                  </a:cxn>
                  <a:cxn ang="0">
                    <a:pos x="67" y="43"/>
                  </a:cxn>
                  <a:cxn ang="0">
                    <a:pos x="78" y="41"/>
                  </a:cxn>
                  <a:cxn ang="0">
                    <a:pos x="83" y="43"/>
                  </a:cxn>
                  <a:cxn ang="0">
                    <a:pos x="90" y="41"/>
                  </a:cxn>
                  <a:cxn ang="0">
                    <a:pos x="88" y="38"/>
                  </a:cxn>
                  <a:cxn ang="0">
                    <a:pos x="87" y="37"/>
                  </a:cxn>
                  <a:cxn ang="0">
                    <a:pos x="84" y="31"/>
                  </a:cxn>
                  <a:cxn ang="0">
                    <a:pos x="83" y="26"/>
                  </a:cxn>
                  <a:cxn ang="0">
                    <a:pos x="84" y="26"/>
                  </a:cxn>
                  <a:cxn ang="0">
                    <a:pos x="90" y="19"/>
                  </a:cxn>
                  <a:cxn ang="0">
                    <a:pos x="97" y="11"/>
                  </a:cxn>
                  <a:cxn ang="0">
                    <a:pos x="100" y="10"/>
                  </a:cxn>
                  <a:cxn ang="0">
                    <a:pos x="100" y="9"/>
                  </a:cxn>
                  <a:cxn ang="0">
                    <a:pos x="91" y="4"/>
                  </a:cxn>
                  <a:cxn ang="0">
                    <a:pos x="88" y="3"/>
                  </a:cxn>
                  <a:cxn ang="0">
                    <a:pos x="78" y="0"/>
                  </a:cxn>
                </a:cxnLst>
                <a:rect l="0" t="0" r="r" b="b"/>
                <a:pathLst>
                  <a:path w="100" h="54">
                    <a:moveTo>
                      <a:pt x="78" y="0"/>
                    </a:moveTo>
                    <a:lnTo>
                      <a:pt x="78" y="0"/>
                    </a:lnTo>
                    <a:lnTo>
                      <a:pt x="69" y="0"/>
                    </a:lnTo>
                    <a:lnTo>
                      <a:pt x="63" y="1"/>
                    </a:lnTo>
                    <a:lnTo>
                      <a:pt x="59" y="3"/>
                    </a:lnTo>
                    <a:lnTo>
                      <a:pt x="59" y="3"/>
                    </a:lnTo>
                    <a:lnTo>
                      <a:pt x="53" y="7"/>
                    </a:lnTo>
                    <a:lnTo>
                      <a:pt x="47" y="9"/>
                    </a:lnTo>
                    <a:lnTo>
                      <a:pt x="47" y="9"/>
                    </a:lnTo>
                    <a:lnTo>
                      <a:pt x="30" y="7"/>
                    </a:lnTo>
                    <a:lnTo>
                      <a:pt x="30" y="7"/>
                    </a:lnTo>
                    <a:lnTo>
                      <a:pt x="22" y="7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2" y="4"/>
                    </a:lnTo>
                    <a:lnTo>
                      <a:pt x="10" y="3"/>
                    </a:lnTo>
                    <a:lnTo>
                      <a:pt x="7" y="1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7" y="19"/>
                    </a:lnTo>
                    <a:lnTo>
                      <a:pt x="9" y="21"/>
                    </a:lnTo>
                    <a:lnTo>
                      <a:pt x="9" y="21"/>
                    </a:lnTo>
                    <a:lnTo>
                      <a:pt x="7" y="23"/>
                    </a:lnTo>
                    <a:lnTo>
                      <a:pt x="7" y="23"/>
                    </a:lnTo>
                    <a:lnTo>
                      <a:pt x="6" y="23"/>
                    </a:lnTo>
                    <a:lnTo>
                      <a:pt x="4" y="24"/>
                    </a:lnTo>
                    <a:lnTo>
                      <a:pt x="3" y="28"/>
                    </a:lnTo>
                    <a:lnTo>
                      <a:pt x="3" y="28"/>
                    </a:lnTo>
                    <a:lnTo>
                      <a:pt x="2" y="33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7" y="41"/>
                    </a:lnTo>
                    <a:lnTo>
                      <a:pt x="12" y="47"/>
                    </a:lnTo>
                    <a:lnTo>
                      <a:pt x="12" y="47"/>
                    </a:lnTo>
                    <a:lnTo>
                      <a:pt x="13" y="50"/>
                    </a:lnTo>
                    <a:lnTo>
                      <a:pt x="14" y="51"/>
                    </a:lnTo>
                    <a:lnTo>
                      <a:pt x="14" y="51"/>
                    </a:lnTo>
                    <a:lnTo>
                      <a:pt x="26" y="51"/>
                    </a:lnTo>
                    <a:lnTo>
                      <a:pt x="33" y="51"/>
                    </a:lnTo>
                    <a:lnTo>
                      <a:pt x="36" y="51"/>
                    </a:lnTo>
                    <a:lnTo>
                      <a:pt x="36" y="51"/>
                    </a:lnTo>
                    <a:lnTo>
                      <a:pt x="46" y="54"/>
                    </a:lnTo>
                    <a:lnTo>
                      <a:pt x="53" y="54"/>
                    </a:lnTo>
                    <a:lnTo>
                      <a:pt x="53" y="54"/>
                    </a:lnTo>
                    <a:lnTo>
                      <a:pt x="59" y="54"/>
                    </a:lnTo>
                    <a:lnTo>
                      <a:pt x="59" y="53"/>
                    </a:lnTo>
                    <a:lnTo>
                      <a:pt x="60" y="51"/>
                    </a:lnTo>
                    <a:lnTo>
                      <a:pt x="60" y="51"/>
                    </a:lnTo>
                    <a:lnTo>
                      <a:pt x="60" y="50"/>
                    </a:lnTo>
                    <a:lnTo>
                      <a:pt x="61" y="48"/>
                    </a:lnTo>
                    <a:lnTo>
                      <a:pt x="67" y="47"/>
                    </a:lnTo>
                    <a:lnTo>
                      <a:pt x="67" y="47"/>
                    </a:lnTo>
                    <a:lnTo>
                      <a:pt x="66" y="44"/>
                    </a:lnTo>
                    <a:lnTo>
                      <a:pt x="67" y="43"/>
                    </a:lnTo>
                    <a:lnTo>
                      <a:pt x="67" y="43"/>
                    </a:lnTo>
                    <a:lnTo>
                      <a:pt x="74" y="41"/>
                    </a:lnTo>
                    <a:lnTo>
                      <a:pt x="78" y="41"/>
                    </a:lnTo>
                    <a:lnTo>
                      <a:pt x="83" y="43"/>
                    </a:lnTo>
                    <a:lnTo>
                      <a:pt x="83" y="43"/>
                    </a:lnTo>
                    <a:lnTo>
                      <a:pt x="87" y="43"/>
                    </a:lnTo>
                    <a:lnTo>
                      <a:pt x="90" y="41"/>
                    </a:lnTo>
                    <a:lnTo>
                      <a:pt x="90" y="41"/>
                    </a:lnTo>
                    <a:lnTo>
                      <a:pt x="88" y="38"/>
                    </a:lnTo>
                    <a:lnTo>
                      <a:pt x="87" y="37"/>
                    </a:lnTo>
                    <a:lnTo>
                      <a:pt x="87" y="37"/>
                    </a:lnTo>
                    <a:lnTo>
                      <a:pt x="86" y="36"/>
                    </a:lnTo>
                    <a:lnTo>
                      <a:pt x="84" y="31"/>
                    </a:lnTo>
                    <a:lnTo>
                      <a:pt x="83" y="27"/>
                    </a:lnTo>
                    <a:lnTo>
                      <a:pt x="83" y="26"/>
                    </a:lnTo>
                    <a:lnTo>
                      <a:pt x="84" y="26"/>
                    </a:lnTo>
                    <a:lnTo>
                      <a:pt x="84" y="26"/>
                    </a:lnTo>
                    <a:lnTo>
                      <a:pt x="87" y="23"/>
                    </a:lnTo>
                    <a:lnTo>
                      <a:pt x="90" y="19"/>
                    </a:lnTo>
                    <a:lnTo>
                      <a:pt x="93" y="14"/>
                    </a:lnTo>
                    <a:lnTo>
                      <a:pt x="97" y="11"/>
                    </a:lnTo>
                    <a:lnTo>
                      <a:pt x="97" y="11"/>
                    </a:lnTo>
                    <a:lnTo>
                      <a:pt x="100" y="10"/>
                    </a:lnTo>
                    <a:lnTo>
                      <a:pt x="100" y="9"/>
                    </a:lnTo>
                    <a:lnTo>
                      <a:pt x="100" y="9"/>
                    </a:lnTo>
                    <a:lnTo>
                      <a:pt x="94" y="6"/>
                    </a:lnTo>
                    <a:lnTo>
                      <a:pt x="91" y="4"/>
                    </a:lnTo>
                    <a:lnTo>
                      <a:pt x="91" y="4"/>
                    </a:lnTo>
                    <a:lnTo>
                      <a:pt x="88" y="3"/>
                    </a:lnTo>
                    <a:lnTo>
                      <a:pt x="86" y="1"/>
                    </a:lnTo>
                    <a:lnTo>
                      <a:pt x="78" y="0"/>
                    </a:lnTo>
                    <a:lnTo>
                      <a:pt x="7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16" name="Macedonia">
                <a:extLst>
                  <a:ext uri="{FF2B5EF4-FFF2-40B4-BE49-F238E27FC236}">
                    <a16:creationId xmlns:a16="http://schemas.microsoft.com/office/drawing/2014/main" id="{27BB04A5-9F00-D591-9CAD-E753AD5926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2846" y="3229498"/>
                <a:ext cx="62150" cy="44394"/>
              </a:xfrm>
              <a:custGeom>
                <a:avLst/>
                <a:gdLst/>
                <a:ahLst/>
                <a:cxnLst>
                  <a:cxn ang="0">
                    <a:pos x="10" y="30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0" y="30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1" y="30"/>
                  </a:cxn>
                  <a:cxn ang="0">
                    <a:pos x="15" y="30"/>
                  </a:cxn>
                  <a:cxn ang="0">
                    <a:pos x="15" y="30"/>
                  </a:cxn>
                  <a:cxn ang="0">
                    <a:pos x="17" y="30"/>
                  </a:cxn>
                  <a:cxn ang="0">
                    <a:pos x="17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18" y="30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3" y="29"/>
                  </a:cxn>
                  <a:cxn ang="0">
                    <a:pos x="24" y="26"/>
                  </a:cxn>
                  <a:cxn ang="0">
                    <a:pos x="25" y="24"/>
                  </a:cxn>
                  <a:cxn ang="0">
                    <a:pos x="27" y="24"/>
                  </a:cxn>
                  <a:cxn ang="0">
                    <a:pos x="27" y="24"/>
                  </a:cxn>
                  <a:cxn ang="0">
                    <a:pos x="30" y="24"/>
                  </a:cxn>
                  <a:cxn ang="0">
                    <a:pos x="35" y="23"/>
                  </a:cxn>
                  <a:cxn ang="0">
                    <a:pos x="42" y="19"/>
                  </a:cxn>
                  <a:cxn ang="0">
                    <a:pos x="42" y="19"/>
                  </a:cxn>
                  <a:cxn ang="0">
                    <a:pos x="42" y="17"/>
                  </a:cxn>
                  <a:cxn ang="0">
                    <a:pos x="42" y="17"/>
                  </a:cxn>
                  <a:cxn ang="0">
                    <a:pos x="41" y="16"/>
                  </a:cxn>
                  <a:cxn ang="0">
                    <a:pos x="40" y="13"/>
                  </a:cxn>
                  <a:cxn ang="0">
                    <a:pos x="40" y="13"/>
                  </a:cxn>
                  <a:cxn ang="0">
                    <a:pos x="35" y="7"/>
                  </a:cxn>
                  <a:cxn ang="0">
                    <a:pos x="31" y="3"/>
                  </a:cxn>
                  <a:cxn ang="0">
                    <a:pos x="31" y="3"/>
                  </a:cxn>
                  <a:cxn ang="0">
                    <a:pos x="30" y="2"/>
                  </a:cxn>
                  <a:cxn ang="0">
                    <a:pos x="30" y="2"/>
                  </a:cxn>
                  <a:cxn ang="0">
                    <a:pos x="30" y="2"/>
                  </a:cxn>
                  <a:cxn ang="0">
                    <a:pos x="30" y="2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3" y="4"/>
                  </a:cxn>
                  <a:cxn ang="0">
                    <a:pos x="3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0" y="13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3" y="26"/>
                  </a:cxn>
                  <a:cxn ang="0">
                    <a:pos x="10" y="30"/>
                  </a:cxn>
                  <a:cxn ang="0">
                    <a:pos x="10" y="30"/>
                  </a:cxn>
                </a:cxnLst>
                <a:rect l="0" t="0" r="r" b="b"/>
                <a:pathLst>
                  <a:path w="42" h="30">
                    <a:moveTo>
                      <a:pt x="10" y="30"/>
                    </a:move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1" y="30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17" y="30"/>
                    </a:lnTo>
                    <a:lnTo>
                      <a:pt x="17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3" y="29"/>
                    </a:lnTo>
                    <a:lnTo>
                      <a:pt x="24" y="26"/>
                    </a:lnTo>
                    <a:lnTo>
                      <a:pt x="25" y="24"/>
                    </a:lnTo>
                    <a:lnTo>
                      <a:pt x="27" y="24"/>
                    </a:lnTo>
                    <a:lnTo>
                      <a:pt x="27" y="24"/>
                    </a:lnTo>
                    <a:lnTo>
                      <a:pt x="30" y="24"/>
                    </a:lnTo>
                    <a:lnTo>
                      <a:pt x="35" y="23"/>
                    </a:lnTo>
                    <a:lnTo>
                      <a:pt x="42" y="19"/>
                    </a:lnTo>
                    <a:lnTo>
                      <a:pt x="42" y="19"/>
                    </a:lnTo>
                    <a:lnTo>
                      <a:pt x="42" y="17"/>
                    </a:lnTo>
                    <a:lnTo>
                      <a:pt x="42" y="17"/>
                    </a:lnTo>
                    <a:lnTo>
                      <a:pt x="41" y="16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35" y="7"/>
                    </a:lnTo>
                    <a:lnTo>
                      <a:pt x="31" y="3"/>
                    </a:lnTo>
                    <a:lnTo>
                      <a:pt x="31" y="3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0" y="13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3" y="26"/>
                    </a:lnTo>
                    <a:lnTo>
                      <a:pt x="10" y="30"/>
                    </a:lnTo>
                    <a:lnTo>
                      <a:pt x="10" y="3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17" name="Ukraine">
                <a:extLst>
                  <a:ext uri="{FF2B5EF4-FFF2-40B4-BE49-F238E27FC236}">
                    <a16:creationId xmlns:a16="http://schemas.microsoft.com/office/drawing/2014/main" id="{47F90900-609E-7DDC-621A-D5205BAA2F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2801" y="2926142"/>
                <a:ext cx="423218" cy="242684"/>
              </a:xfrm>
              <a:custGeom>
                <a:avLst/>
                <a:gdLst/>
                <a:ahLst/>
                <a:cxnLst>
                  <a:cxn ang="0">
                    <a:pos x="264" y="96"/>
                  </a:cxn>
                  <a:cxn ang="0">
                    <a:pos x="280" y="94"/>
                  </a:cxn>
                  <a:cxn ang="0">
                    <a:pos x="280" y="83"/>
                  </a:cxn>
                  <a:cxn ang="0">
                    <a:pos x="283" y="77"/>
                  </a:cxn>
                  <a:cxn ang="0">
                    <a:pos x="283" y="73"/>
                  </a:cxn>
                  <a:cxn ang="0">
                    <a:pos x="286" y="64"/>
                  </a:cxn>
                  <a:cxn ang="0">
                    <a:pos x="277" y="59"/>
                  </a:cxn>
                  <a:cxn ang="0">
                    <a:pos x="259" y="53"/>
                  </a:cxn>
                  <a:cxn ang="0">
                    <a:pos x="247" y="49"/>
                  </a:cxn>
                  <a:cxn ang="0">
                    <a:pos x="235" y="44"/>
                  </a:cxn>
                  <a:cxn ang="0">
                    <a:pos x="222" y="43"/>
                  </a:cxn>
                  <a:cxn ang="0">
                    <a:pos x="212" y="40"/>
                  </a:cxn>
                  <a:cxn ang="0">
                    <a:pos x="205" y="26"/>
                  </a:cxn>
                  <a:cxn ang="0">
                    <a:pos x="193" y="23"/>
                  </a:cxn>
                  <a:cxn ang="0">
                    <a:pos x="190" y="12"/>
                  </a:cxn>
                  <a:cxn ang="0">
                    <a:pos x="180" y="0"/>
                  </a:cxn>
                  <a:cxn ang="0">
                    <a:pos x="163" y="2"/>
                  </a:cxn>
                  <a:cxn ang="0">
                    <a:pos x="156" y="5"/>
                  </a:cxn>
                  <a:cxn ang="0">
                    <a:pos x="142" y="6"/>
                  </a:cxn>
                  <a:cxn ang="0">
                    <a:pos x="132" y="16"/>
                  </a:cxn>
                  <a:cxn ang="0">
                    <a:pos x="126" y="20"/>
                  </a:cxn>
                  <a:cxn ang="0">
                    <a:pos x="109" y="17"/>
                  </a:cxn>
                  <a:cxn ang="0">
                    <a:pos x="98" y="16"/>
                  </a:cxn>
                  <a:cxn ang="0">
                    <a:pos x="89" y="17"/>
                  </a:cxn>
                  <a:cxn ang="0">
                    <a:pos x="71" y="13"/>
                  </a:cxn>
                  <a:cxn ang="0">
                    <a:pos x="41" y="9"/>
                  </a:cxn>
                  <a:cxn ang="0">
                    <a:pos x="30" y="15"/>
                  </a:cxn>
                  <a:cxn ang="0">
                    <a:pos x="23" y="22"/>
                  </a:cxn>
                  <a:cxn ang="0">
                    <a:pos x="30" y="37"/>
                  </a:cxn>
                  <a:cxn ang="0">
                    <a:pos x="14" y="52"/>
                  </a:cxn>
                  <a:cxn ang="0">
                    <a:pos x="7" y="70"/>
                  </a:cxn>
                  <a:cxn ang="0">
                    <a:pos x="0" y="81"/>
                  </a:cxn>
                  <a:cxn ang="0">
                    <a:pos x="10" y="91"/>
                  </a:cxn>
                  <a:cxn ang="0">
                    <a:pos x="33" y="94"/>
                  </a:cxn>
                  <a:cxn ang="0">
                    <a:pos x="42" y="97"/>
                  </a:cxn>
                  <a:cxn ang="0">
                    <a:pos x="52" y="93"/>
                  </a:cxn>
                  <a:cxn ang="0">
                    <a:pos x="67" y="89"/>
                  </a:cxn>
                  <a:cxn ang="0">
                    <a:pos x="88" y="83"/>
                  </a:cxn>
                  <a:cxn ang="0">
                    <a:pos x="101" y="90"/>
                  </a:cxn>
                  <a:cxn ang="0">
                    <a:pos x="115" y="107"/>
                  </a:cxn>
                  <a:cxn ang="0">
                    <a:pos x="124" y="124"/>
                  </a:cxn>
                  <a:cxn ang="0">
                    <a:pos x="109" y="123"/>
                  </a:cxn>
                  <a:cxn ang="0">
                    <a:pos x="102" y="137"/>
                  </a:cxn>
                  <a:cxn ang="0">
                    <a:pos x="104" y="148"/>
                  </a:cxn>
                  <a:cxn ang="0">
                    <a:pos x="118" y="148"/>
                  </a:cxn>
                  <a:cxn ang="0">
                    <a:pos x="125" y="137"/>
                  </a:cxn>
                  <a:cxn ang="0">
                    <a:pos x="139" y="120"/>
                  </a:cxn>
                  <a:cxn ang="0">
                    <a:pos x="159" y="118"/>
                  </a:cxn>
                  <a:cxn ang="0">
                    <a:pos x="159" y="128"/>
                  </a:cxn>
                  <a:cxn ang="0">
                    <a:pos x="183" y="130"/>
                  </a:cxn>
                  <a:cxn ang="0">
                    <a:pos x="173" y="138"/>
                  </a:cxn>
                  <a:cxn ang="0">
                    <a:pos x="171" y="147"/>
                  </a:cxn>
                  <a:cxn ang="0">
                    <a:pos x="179" y="161"/>
                  </a:cxn>
                  <a:cxn ang="0">
                    <a:pos x="193" y="160"/>
                  </a:cxn>
                  <a:cxn ang="0">
                    <a:pos x="209" y="154"/>
                  </a:cxn>
                  <a:cxn ang="0">
                    <a:pos x="230" y="151"/>
                  </a:cxn>
                  <a:cxn ang="0">
                    <a:pos x="213" y="147"/>
                  </a:cxn>
                  <a:cxn ang="0">
                    <a:pos x="203" y="141"/>
                  </a:cxn>
                  <a:cxn ang="0">
                    <a:pos x="207" y="126"/>
                  </a:cxn>
                  <a:cxn ang="0">
                    <a:pos x="242" y="114"/>
                  </a:cxn>
                  <a:cxn ang="0">
                    <a:pos x="253" y="104"/>
                  </a:cxn>
                </a:cxnLst>
                <a:rect l="0" t="0" r="r" b="b"/>
                <a:pathLst>
                  <a:path w="286" h="164">
                    <a:moveTo>
                      <a:pt x="254" y="103"/>
                    </a:moveTo>
                    <a:lnTo>
                      <a:pt x="254" y="103"/>
                    </a:lnTo>
                    <a:lnTo>
                      <a:pt x="257" y="101"/>
                    </a:lnTo>
                    <a:lnTo>
                      <a:pt x="260" y="98"/>
                    </a:lnTo>
                    <a:lnTo>
                      <a:pt x="264" y="96"/>
                    </a:lnTo>
                    <a:lnTo>
                      <a:pt x="267" y="94"/>
                    </a:lnTo>
                    <a:lnTo>
                      <a:pt x="267" y="94"/>
                    </a:lnTo>
                    <a:lnTo>
                      <a:pt x="274" y="96"/>
                    </a:lnTo>
                    <a:lnTo>
                      <a:pt x="279" y="96"/>
                    </a:lnTo>
                    <a:lnTo>
                      <a:pt x="280" y="94"/>
                    </a:lnTo>
                    <a:lnTo>
                      <a:pt x="280" y="94"/>
                    </a:lnTo>
                    <a:lnTo>
                      <a:pt x="281" y="90"/>
                    </a:lnTo>
                    <a:lnTo>
                      <a:pt x="283" y="86"/>
                    </a:lnTo>
                    <a:lnTo>
                      <a:pt x="283" y="86"/>
                    </a:lnTo>
                    <a:lnTo>
                      <a:pt x="280" y="83"/>
                    </a:lnTo>
                    <a:lnTo>
                      <a:pt x="280" y="80"/>
                    </a:lnTo>
                    <a:lnTo>
                      <a:pt x="280" y="79"/>
                    </a:lnTo>
                    <a:lnTo>
                      <a:pt x="280" y="79"/>
                    </a:lnTo>
                    <a:lnTo>
                      <a:pt x="280" y="79"/>
                    </a:lnTo>
                    <a:lnTo>
                      <a:pt x="283" y="77"/>
                    </a:lnTo>
                    <a:lnTo>
                      <a:pt x="284" y="77"/>
                    </a:lnTo>
                    <a:lnTo>
                      <a:pt x="286" y="76"/>
                    </a:lnTo>
                    <a:lnTo>
                      <a:pt x="286" y="76"/>
                    </a:lnTo>
                    <a:lnTo>
                      <a:pt x="284" y="74"/>
                    </a:lnTo>
                    <a:lnTo>
                      <a:pt x="283" y="73"/>
                    </a:lnTo>
                    <a:lnTo>
                      <a:pt x="281" y="70"/>
                    </a:lnTo>
                    <a:lnTo>
                      <a:pt x="281" y="70"/>
                    </a:lnTo>
                    <a:lnTo>
                      <a:pt x="284" y="67"/>
                    </a:lnTo>
                    <a:lnTo>
                      <a:pt x="286" y="66"/>
                    </a:lnTo>
                    <a:lnTo>
                      <a:pt x="286" y="64"/>
                    </a:lnTo>
                    <a:lnTo>
                      <a:pt x="286" y="64"/>
                    </a:lnTo>
                    <a:lnTo>
                      <a:pt x="284" y="62"/>
                    </a:lnTo>
                    <a:lnTo>
                      <a:pt x="283" y="62"/>
                    </a:lnTo>
                    <a:lnTo>
                      <a:pt x="277" y="59"/>
                    </a:lnTo>
                    <a:lnTo>
                      <a:pt x="277" y="59"/>
                    </a:lnTo>
                    <a:lnTo>
                      <a:pt x="273" y="57"/>
                    </a:lnTo>
                    <a:lnTo>
                      <a:pt x="270" y="56"/>
                    </a:lnTo>
                    <a:lnTo>
                      <a:pt x="263" y="54"/>
                    </a:lnTo>
                    <a:lnTo>
                      <a:pt x="263" y="54"/>
                    </a:lnTo>
                    <a:lnTo>
                      <a:pt x="259" y="53"/>
                    </a:lnTo>
                    <a:lnTo>
                      <a:pt x="254" y="53"/>
                    </a:lnTo>
                    <a:lnTo>
                      <a:pt x="252" y="53"/>
                    </a:lnTo>
                    <a:lnTo>
                      <a:pt x="250" y="53"/>
                    </a:lnTo>
                    <a:lnTo>
                      <a:pt x="250" y="53"/>
                    </a:lnTo>
                    <a:lnTo>
                      <a:pt x="247" y="49"/>
                    </a:lnTo>
                    <a:lnTo>
                      <a:pt x="243" y="44"/>
                    </a:lnTo>
                    <a:lnTo>
                      <a:pt x="243" y="44"/>
                    </a:lnTo>
                    <a:lnTo>
                      <a:pt x="242" y="43"/>
                    </a:lnTo>
                    <a:lnTo>
                      <a:pt x="239" y="43"/>
                    </a:lnTo>
                    <a:lnTo>
                      <a:pt x="235" y="44"/>
                    </a:lnTo>
                    <a:lnTo>
                      <a:pt x="235" y="44"/>
                    </a:lnTo>
                    <a:lnTo>
                      <a:pt x="230" y="46"/>
                    </a:lnTo>
                    <a:lnTo>
                      <a:pt x="226" y="46"/>
                    </a:lnTo>
                    <a:lnTo>
                      <a:pt x="226" y="46"/>
                    </a:lnTo>
                    <a:lnTo>
                      <a:pt x="222" y="43"/>
                    </a:lnTo>
                    <a:lnTo>
                      <a:pt x="220" y="42"/>
                    </a:lnTo>
                    <a:lnTo>
                      <a:pt x="217" y="42"/>
                    </a:lnTo>
                    <a:lnTo>
                      <a:pt x="217" y="42"/>
                    </a:lnTo>
                    <a:lnTo>
                      <a:pt x="213" y="42"/>
                    </a:lnTo>
                    <a:lnTo>
                      <a:pt x="212" y="40"/>
                    </a:lnTo>
                    <a:lnTo>
                      <a:pt x="212" y="39"/>
                    </a:lnTo>
                    <a:lnTo>
                      <a:pt x="212" y="39"/>
                    </a:lnTo>
                    <a:lnTo>
                      <a:pt x="212" y="36"/>
                    </a:lnTo>
                    <a:lnTo>
                      <a:pt x="210" y="32"/>
                    </a:lnTo>
                    <a:lnTo>
                      <a:pt x="205" y="26"/>
                    </a:lnTo>
                    <a:lnTo>
                      <a:pt x="205" y="26"/>
                    </a:lnTo>
                    <a:lnTo>
                      <a:pt x="199" y="26"/>
                    </a:lnTo>
                    <a:lnTo>
                      <a:pt x="195" y="25"/>
                    </a:lnTo>
                    <a:lnTo>
                      <a:pt x="193" y="23"/>
                    </a:lnTo>
                    <a:lnTo>
                      <a:pt x="193" y="23"/>
                    </a:lnTo>
                    <a:lnTo>
                      <a:pt x="190" y="19"/>
                    </a:lnTo>
                    <a:lnTo>
                      <a:pt x="189" y="16"/>
                    </a:lnTo>
                    <a:lnTo>
                      <a:pt x="189" y="15"/>
                    </a:lnTo>
                    <a:lnTo>
                      <a:pt x="189" y="15"/>
                    </a:lnTo>
                    <a:lnTo>
                      <a:pt x="190" y="12"/>
                    </a:lnTo>
                    <a:lnTo>
                      <a:pt x="189" y="9"/>
                    </a:lnTo>
                    <a:lnTo>
                      <a:pt x="188" y="2"/>
                    </a:lnTo>
                    <a:lnTo>
                      <a:pt x="188" y="2"/>
                    </a:lnTo>
                    <a:lnTo>
                      <a:pt x="185" y="0"/>
                    </a:lnTo>
                    <a:lnTo>
                      <a:pt x="180" y="0"/>
                    </a:lnTo>
                    <a:lnTo>
                      <a:pt x="175" y="0"/>
                    </a:lnTo>
                    <a:lnTo>
                      <a:pt x="175" y="0"/>
                    </a:lnTo>
                    <a:lnTo>
                      <a:pt x="169" y="0"/>
                    </a:lnTo>
                    <a:lnTo>
                      <a:pt x="166" y="0"/>
                    </a:lnTo>
                    <a:lnTo>
                      <a:pt x="163" y="2"/>
                    </a:lnTo>
                    <a:lnTo>
                      <a:pt x="163" y="2"/>
                    </a:lnTo>
                    <a:lnTo>
                      <a:pt x="161" y="3"/>
                    </a:lnTo>
                    <a:lnTo>
                      <a:pt x="158" y="5"/>
                    </a:lnTo>
                    <a:lnTo>
                      <a:pt x="156" y="5"/>
                    </a:lnTo>
                    <a:lnTo>
                      <a:pt x="156" y="5"/>
                    </a:lnTo>
                    <a:lnTo>
                      <a:pt x="153" y="5"/>
                    </a:lnTo>
                    <a:lnTo>
                      <a:pt x="152" y="3"/>
                    </a:lnTo>
                    <a:lnTo>
                      <a:pt x="152" y="3"/>
                    </a:lnTo>
                    <a:lnTo>
                      <a:pt x="145" y="5"/>
                    </a:lnTo>
                    <a:lnTo>
                      <a:pt x="142" y="6"/>
                    </a:lnTo>
                    <a:lnTo>
                      <a:pt x="142" y="6"/>
                    </a:lnTo>
                    <a:lnTo>
                      <a:pt x="136" y="9"/>
                    </a:lnTo>
                    <a:lnTo>
                      <a:pt x="134" y="13"/>
                    </a:lnTo>
                    <a:lnTo>
                      <a:pt x="132" y="16"/>
                    </a:lnTo>
                    <a:lnTo>
                      <a:pt x="132" y="16"/>
                    </a:lnTo>
                    <a:lnTo>
                      <a:pt x="131" y="20"/>
                    </a:lnTo>
                    <a:lnTo>
                      <a:pt x="131" y="22"/>
                    </a:lnTo>
                    <a:lnTo>
                      <a:pt x="129" y="22"/>
                    </a:lnTo>
                    <a:lnTo>
                      <a:pt x="129" y="22"/>
                    </a:lnTo>
                    <a:lnTo>
                      <a:pt x="126" y="20"/>
                    </a:lnTo>
                    <a:lnTo>
                      <a:pt x="122" y="19"/>
                    </a:lnTo>
                    <a:lnTo>
                      <a:pt x="115" y="20"/>
                    </a:lnTo>
                    <a:lnTo>
                      <a:pt x="115" y="20"/>
                    </a:lnTo>
                    <a:lnTo>
                      <a:pt x="112" y="20"/>
                    </a:lnTo>
                    <a:lnTo>
                      <a:pt x="109" y="17"/>
                    </a:lnTo>
                    <a:lnTo>
                      <a:pt x="106" y="16"/>
                    </a:lnTo>
                    <a:lnTo>
                      <a:pt x="104" y="17"/>
                    </a:lnTo>
                    <a:lnTo>
                      <a:pt x="104" y="17"/>
                    </a:lnTo>
                    <a:lnTo>
                      <a:pt x="101" y="17"/>
                    </a:lnTo>
                    <a:lnTo>
                      <a:pt x="98" y="16"/>
                    </a:lnTo>
                    <a:lnTo>
                      <a:pt x="95" y="16"/>
                    </a:lnTo>
                    <a:lnTo>
                      <a:pt x="94" y="16"/>
                    </a:lnTo>
                    <a:lnTo>
                      <a:pt x="94" y="16"/>
                    </a:lnTo>
                    <a:lnTo>
                      <a:pt x="92" y="17"/>
                    </a:lnTo>
                    <a:lnTo>
                      <a:pt x="89" y="17"/>
                    </a:lnTo>
                    <a:lnTo>
                      <a:pt x="82" y="15"/>
                    </a:lnTo>
                    <a:lnTo>
                      <a:pt x="82" y="15"/>
                    </a:lnTo>
                    <a:lnTo>
                      <a:pt x="79" y="13"/>
                    </a:lnTo>
                    <a:lnTo>
                      <a:pt x="75" y="13"/>
                    </a:lnTo>
                    <a:lnTo>
                      <a:pt x="71" y="13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4" y="10"/>
                    </a:lnTo>
                    <a:lnTo>
                      <a:pt x="55" y="9"/>
                    </a:lnTo>
                    <a:lnTo>
                      <a:pt x="41" y="9"/>
                    </a:lnTo>
                    <a:lnTo>
                      <a:pt x="41" y="9"/>
                    </a:lnTo>
                    <a:lnTo>
                      <a:pt x="37" y="9"/>
                    </a:lnTo>
                    <a:lnTo>
                      <a:pt x="34" y="10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8" y="16"/>
                    </a:lnTo>
                    <a:lnTo>
                      <a:pt x="25" y="17"/>
                    </a:lnTo>
                    <a:lnTo>
                      <a:pt x="21" y="17"/>
                    </a:lnTo>
                    <a:lnTo>
                      <a:pt x="21" y="17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7" y="30"/>
                    </a:lnTo>
                    <a:lnTo>
                      <a:pt x="30" y="34"/>
                    </a:lnTo>
                    <a:lnTo>
                      <a:pt x="30" y="37"/>
                    </a:lnTo>
                    <a:lnTo>
                      <a:pt x="30" y="37"/>
                    </a:lnTo>
                    <a:lnTo>
                      <a:pt x="27" y="40"/>
                    </a:lnTo>
                    <a:lnTo>
                      <a:pt x="25" y="42"/>
                    </a:lnTo>
                    <a:lnTo>
                      <a:pt x="23" y="43"/>
                    </a:lnTo>
                    <a:lnTo>
                      <a:pt x="23" y="43"/>
                    </a:lnTo>
                    <a:lnTo>
                      <a:pt x="14" y="52"/>
                    </a:lnTo>
                    <a:lnTo>
                      <a:pt x="7" y="59"/>
                    </a:lnTo>
                    <a:lnTo>
                      <a:pt x="7" y="59"/>
                    </a:lnTo>
                    <a:lnTo>
                      <a:pt x="8" y="64"/>
                    </a:lnTo>
                    <a:lnTo>
                      <a:pt x="8" y="67"/>
                    </a:lnTo>
                    <a:lnTo>
                      <a:pt x="7" y="70"/>
                    </a:lnTo>
                    <a:lnTo>
                      <a:pt x="7" y="70"/>
                    </a:lnTo>
                    <a:lnTo>
                      <a:pt x="3" y="76"/>
                    </a:lnTo>
                    <a:lnTo>
                      <a:pt x="1" y="79"/>
                    </a:lnTo>
                    <a:lnTo>
                      <a:pt x="0" y="81"/>
                    </a:lnTo>
                    <a:lnTo>
                      <a:pt x="0" y="81"/>
                    </a:lnTo>
                    <a:lnTo>
                      <a:pt x="1" y="84"/>
                    </a:lnTo>
                    <a:lnTo>
                      <a:pt x="3" y="86"/>
                    </a:lnTo>
                    <a:lnTo>
                      <a:pt x="7" y="90"/>
                    </a:lnTo>
                    <a:lnTo>
                      <a:pt x="7" y="90"/>
                    </a:lnTo>
                    <a:lnTo>
                      <a:pt x="10" y="91"/>
                    </a:lnTo>
                    <a:lnTo>
                      <a:pt x="10" y="91"/>
                    </a:lnTo>
                    <a:lnTo>
                      <a:pt x="17" y="91"/>
                    </a:lnTo>
                    <a:lnTo>
                      <a:pt x="17" y="91"/>
                    </a:lnTo>
                    <a:lnTo>
                      <a:pt x="24" y="93"/>
                    </a:lnTo>
                    <a:lnTo>
                      <a:pt x="33" y="94"/>
                    </a:lnTo>
                    <a:lnTo>
                      <a:pt x="33" y="94"/>
                    </a:lnTo>
                    <a:lnTo>
                      <a:pt x="38" y="94"/>
                    </a:lnTo>
                    <a:lnTo>
                      <a:pt x="42" y="97"/>
                    </a:lnTo>
                    <a:lnTo>
                      <a:pt x="42" y="97"/>
                    </a:lnTo>
                    <a:lnTo>
                      <a:pt x="42" y="97"/>
                    </a:lnTo>
                    <a:lnTo>
                      <a:pt x="45" y="97"/>
                    </a:lnTo>
                    <a:lnTo>
                      <a:pt x="50" y="94"/>
                    </a:lnTo>
                    <a:lnTo>
                      <a:pt x="50" y="94"/>
                    </a:lnTo>
                    <a:lnTo>
                      <a:pt x="51" y="93"/>
                    </a:lnTo>
                    <a:lnTo>
                      <a:pt x="52" y="93"/>
                    </a:lnTo>
                    <a:lnTo>
                      <a:pt x="57" y="94"/>
                    </a:lnTo>
                    <a:lnTo>
                      <a:pt x="57" y="94"/>
                    </a:lnTo>
                    <a:lnTo>
                      <a:pt x="62" y="93"/>
                    </a:lnTo>
                    <a:lnTo>
                      <a:pt x="67" y="89"/>
                    </a:lnTo>
                    <a:lnTo>
                      <a:pt x="67" y="89"/>
                    </a:lnTo>
                    <a:lnTo>
                      <a:pt x="70" y="87"/>
                    </a:lnTo>
                    <a:lnTo>
                      <a:pt x="75" y="84"/>
                    </a:lnTo>
                    <a:lnTo>
                      <a:pt x="85" y="83"/>
                    </a:lnTo>
                    <a:lnTo>
                      <a:pt x="85" y="83"/>
                    </a:lnTo>
                    <a:lnTo>
                      <a:pt x="88" y="83"/>
                    </a:lnTo>
                    <a:lnTo>
                      <a:pt x="92" y="86"/>
                    </a:lnTo>
                    <a:lnTo>
                      <a:pt x="95" y="89"/>
                    </a:lnTo>
                    <a:lnTo>
                      <a:pt x="98" y="90"/>
                    </a:lnTo>
                    <a:lnTo>
                      <a:pt x="98" y="90"/>
                    </a:lnTo>
                    <a:lnTo>
                      <a:pt x="101" y="90"/>
                    </a:lnTo>
                    <a:lnTo>
                      <a:pt x="105" y="91"/>
                    </a:lnTo>
                    <a:lnTo>
                      <a:pt x="108" y="94"/>
                    </a:lnTo>
                    <a:lnTo>
                      <a:pt x="109" y="98"/>
                    </a:lnTo>
                    <a:lnTo>
                      <a:pt x="109" y="98"/>
                    </a:lnTo>
                    <a:lnTo>
                      <a:pt x="115" y="107"/>
                    </a:lnTo>
                    <a:lnTo>
                      <a:pt x="119" y="114"/>
                    </a:lnTo>
                    <a:lnTo>
                      <a:pt x="119" y="114"/>
                    </a:lnTo>
                    <a:lnTo>
                      <a:pt x="122" y="120"/>
                    </a:lnTo>
                    <a:lnTo>
                      <a:pt x="124" y="124"/>
                    </a:lnTo>
                    <a:lnTo>
                      <a:pt x="124" y="124"/>
                    </a:lnTo>
                    <a:lnTo>
                      <a:pt x="122" y="126"/>
                    </a:lnTo>
                    <a:lnTo>
                      <a:pt x="121" y="124"/>
                    </a:lnTo>
                    <a:lnTo>
                      <a:pt x="112" y="123"/>
                    </a:lnTo>
                    <a:lnTo>
                      <a:pt x="112" y="123"/>
                    </a:lnTo>
                    <a:lnTo>
                      <a:pt x="109" y="123"/>
                    </a:lnTo>
                    <a:lnTo>
                      <a:pt x="108" y="124"/>
                    </a:lnTo>
                    <a:lnTo>
                      <a:pt x="106" y="130"/>
                    </a:lnTo>
                    <a:lnTo>
                      <a:pt x="106" y="130"/>
                    </a:lnTo>
                    <a:lnTo>
                      <a:pt x="105" y="133"/>
                    </a:lnTo>
                    <a:lnTo>
                      <a:pt x="102" y="137"/>
                    </a:lnTo>
                    <a:lnTo>
                      <a:pt x="97" y="144"/>
                    </a:lnTo>
                    <a:lnTo>
                      <a:pt x="97" y="144"/>
                    </a:lnTo>
                    <a:lnTo>
                      <a:pt x="97" y="145"/>
                    </a:lnTo>
                    <a:lnTo>
                      <a:pt x="98" y="147"/>
                    </a:lnTo>
                    <a:lnTo>
                      <a:pt x="104" y="148"/>
                    </a:lnTo>
                    <a:lnTo>
                      <a:pt x="104" y="148"/>
                    </a:lnTo>
                    <a:lnTo>
                      <a:pt x="108" y="147"/>
                    </a:lnTo>
                    <a:lnTo>
                      <a:pt x="112" y="144"/>
                    </a:lnTo>
                    <a:lnTo>
                      <a:pt x="112" y="144"/>
                    </a:lnTo>
                    <a:lnTo>
                      <a:pt x="118" y="148"/>
                    </a:lnTo>
                    <a:lnTo>
                      <a:pt x="118" y="148"/>
                    </a:lnTo>
                    <a:lnTo>
                      <a:pt x="118" y="144"/>
                    </a:lnTo>
                    <a:lnTo>
                      <a:pt x="119" y="141"/>
                    </a:lnTo>
                    <a:lnTo>
                      <a:pt x="125" y="137"/>
                    </a:lnTo>
                    <a:lnTo>
                      <a:pt x="125" y="137"/>
                    </a:lnTo>
                    <a:lnTo>
                      <a:pt x="129" y="131"/>
                    </a:lnTo>
                    <a:lnTo>
                      <a:pt x="132" y="127"/>
                    </a:lnTo>
                    <a:lnTo>
                      <a:pt x="135" y="123"/>
                    </a:lnTo>
                    <a:lnTo>
                      <a:pt x="139" y="120"/>
                    </a:lnTo>
                    <a:lnTo>
                      <a:pt x="139" y="120"/>
                    </a:lnTo>
                    <a:lnTo>
                      <a:pt x="146" y="118"/>
                    </a:lnTo>
                    <a:lnTo>
                      <a:pt x="151" y="117"/>
                    </a:lnTo>
                    <a:lnTo>
                      <a:pt x="156" y="117"/>
                    </a:lnTo>
                    <a:lnTo>
                      <a:pt x="156" y="117"/>
                    </a:lnTo>
                    <a:lnTo>
                      <a:pt x="159" y="118"/>
                    </a:lnTo>
                    <a:lnTo>
                      <a:pt x="161" y="120"/>
                    </a:lnTo>
                    <a:lnTo>
                      <a:pt x="159" y="123"/>
                    </a:lnTo>
                    <a:lnTo>
                      <a:pt x="156" y="126"/>
                    </a:lnTo>
                    <a:lnTo>
                      <a:pt x="156" y="127"/>
                    </a:lnTo>
                    <a:lnTo>
                      <a:pt x="159" y="128"/>
                    </a:lnTo>
                    <a:lnTo>
                      <a:pt x="159" y="128"/>
                    </a:lnTo>
                    <a:lnTo>
                      <a:pt x="165" y="130"/>
                    </a:lnTo>
                    <a:lnTo>
                      <a:pt x="173" y="130"/>
                    </a:lnTo>
                    <a:lnTo>
                      <a:pt x="180" y="130"/>
                    </a:lnTo>
                    <a:lnTo>
                      <a:pt x="183" y="130"/>
                    </a:lnTo>
                    <a:lnTo>
                      <a:pt x="185" y="131"/>
                    </a:lnTo>
                    <a:lnTo>
                      <a:pt x="185" y="131"/>
                    </a:lnTo>
                    <a:lnTo>
                      <a:pt x="183" y="134"/>
                    </a:lnTo>
                    <a:lnTo>
                      <a:pt x="182" y="135"/>
                    </a:lnTo>
                    <a:lnTo>
                      <a:pt x="173" y="138"/>
                    </a:lnTo>
                    <a:lnTo>
                      <a:pt x="166" y="141"/>
                    </a:lnTo>
                    <a:lnTo>
                      <a:pt x="163" y="144"/>
                    </a:lnTo>
                    <a:lnTo>
                      <a:pt x="163" y="144"/>
                    </a:lnTo>
                    <a:lnTo>
                      <a:pt x="165" y="145"/>
                    </a:lnTo>
                    <a:lnTo>
                      <a:pt x="171" y="147"/>
                    </a:lnTo>
                    <a:lnTo>
                      <a:pt x="179" y="151"/>
                    </a:lnTo>
                    <a:lnTo>
                      <a:pt x="179" y="151"/>
                    </a:lnTo>
                    <a:lnTo>
                      <a:pt x="180" y="154"/>
                    </a:lnTo>
                    <a:lnTo>
                      <a:pt x="180" y="157"/>
                    </a:lnTo>
                    <a:lnTo>
                      <a:pt x="179" y="161"/>
                    </a:lnTo>
                    <a:lnTo>
                      <a:pt x="180" y="164"/>
                    </a:lnTo>
                    <a:lnTo>
                      <a:pt x="180" y="164"/>
                    </a:lnTo>
                    <a:lnTo>
                      <a:pt x="182" y="164"/>
                    </a:lnTo>
                    <a:lnTo>
                      <a:pt x="185" y="164"/>
                    </a:lnTo>
                    <a:lnTo>
                      <a:pt x="193" y="160"/>
                    </a:lnTo>
                    <a:lnTo>
                      <a:pt x="193" y="160"/>
                    </a:lnTo>
                    <a:lnTo>
                      <a:pt x="196" y="158"/>
                    </a:lnTo>
                    <a:lnTo>
                      <a:pt x="200" y="157"/>
                    </a:lnTo>
                    <a:lnTo>
                      <a:pt x="205" y="155"/>
                    </a:lnTo>
                    <a:lnTo>
                      <a:pt x="209" y="154"/>
                    </a:lnTo>
                    <a:lnTo>
                      <a:pt x="209" y="154"/>
                    </a:lnTo>
                    <a:lnTo>
                      <a:pt x="215" y="151"/>
                    </a:lnTo>
                    <a:lnTo>
                      <a:pt x="220" y="151"/>
                    </a:lnTo>
                    <a:lnTo>
                      <a:pt x="226" y="151"/>
                    </a:lnTo>
                    <a:lnTo>
                      <a:pt x="230" y="151"/>
                    </a:lnTo>
                    <a:lnTo>
                      <a:pt x="230" y="151"/>
                    </a:lnTo>
                    <a:lnTo>
                      <a:pt x="230" y="148"/>
                    </a:lnTo>
                    <a:lnTo>
                      <a:pt x="227" y="147"/>
                    </a:lnTo>
                    <a:lnTo>
                      <a:pt x="222" y="147"/>
                    </a:lnTo>
                    <a:lnTo>
                      <a:pt x="213" y="147"/>
                    </a:lnTo>
                    <a:lnTo>
                      <a:pt x="213" y="147"/>
                    </a:lnTo>
                    <a:lnTo>
                      <a:pt x="209" y="145"/>
                    </a:lnTo>
                    <a:lnTo>
                      <a:pt x="206" y="145"/>
                    </a:lnTo>
                    <a:lnTo>
                      <a:pt x="205" y="143"/>
                    </a:lnTo>
                    <a:lnTo>
                      <a:pt x="203" y="141"/>
                    </a:lnTo>
                    <a:lnTo>
                      <a:pt x="200" y="137"/>
                    </a:lnTo>
                    <a:lnTo>
                      <a:pt x="200" y="133"/>
                    </a:lnTo>
                    <a:lnTo>
                      <a:pt x="200" y="133"/>
                    </a:lnTo>
                    <a:lnTo>
                      <a:pt x="203" y="130"/>
                    </a:lnTo>
                    <a:lnTo>
                      <a:pt x="207" y="126"/>
                    </a:lnTo>
                    <a:lnTo>
                      <a:pt x="215" y="123"/>
                    </a:lnTo>
                    <a:lnTo>
                      <a:pt x="220" y="120"/>
                    </a:lnTo>
                    <a:lnTo>
                      <a:pt x="220" y="120"/>
                    </a:lnTo>
                    <a:lnTo>
                      <a:pt x="232" y="118"/>
                    </a:lnTo>
                    <a:lnTo>
                      <a:pt x="242" y="114"/>
                    </a:lnTo>
                    <a:lnTo>
                      <a:pt x="242" y="114"/>
                    </a:lnTo>
                    <a:lnTo>
                      <a:pt x="254" y="111"/>
                    </a:lnTo>
                    <a:lnTo>
                      <a:pt x="254" y="111"/>
                    </a:lnTo>
                    <a:lnTo>
                      <a:pt x="253" y="106"/>
                    </a:lnTo>
                    <a:lnTo>
                      <a:pt x="253" y="104"/>
                    </a:lnTo>
                    <a:lnTo>
                      <a:pt x="254" y="103"/>
                    </a:lnTo>
                    <a:lnTo>
                      <a:pt x="254" y="103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18" name="Belarus">
                <a:extLst>
                  <a:ext uri="{FF2B5EF4-FFF2-40B4-BE49-F238E27FC236}">
                    <a16:creationId xmlns:a16="http://schemas.microsoft.com/office/drawing/2014/main" id="{EB9E38F0-C002-0181-4187-A49CDD17B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7957" y="2800360"/>
                <a:ext cx="220488" cy="158338"/>
              </a:xfrm>
              <a:custGeom>
                <a:avLst/>
                <a:gdLst/>
                <a:ahLst/>
                <a:cxnLst>
                  <a:cxn ang="0">
                    <a:pos x="138" y="51"/>
                  </a:cxn>
                  <a:cxn ang="0">
                    <a:pos x="131" y="44"/>
                  </a:cxn>
                  <a:cxn ang="0">
                    <a:pos x="128" y="40"/>
                  </a:cxn>
                  <a:cxn ang="0">
                    <a:pos x="124" y="34"/>
                  </a:cxn>
                  <a:cxn ang="0">
                    <a:pos x="122" y="23"/>
                  </a:cxn>
                  <a:cxn ang="0">
                    <a:pos x="122" y="13"/>
                  </a:cxn>
                  <a:cxn ang="0">
                    <a:pos x="114" y="9"/>
                  </a:cxn>
                  <a:cxn ang="0">
                    <a:pos x="105" y="7"/>
                  </a:cxn>
                  <a:cxn ang="0">
                    <a:pos x="97" y="7"/>
                  </a:cxn>
                  <a:cxn ang="0">
                    <a:pos x="91" y="3"/>
                  </a:cxn>
                  <a:cxn ang="0">
                    <a:pos x="87" y="4"/>
                  </a:cxn>
                  <a:cxn ang="0">
                    <a:pos x="81" y="1"/>
                  </a:cxn>
                  <a:cxn ang="0">
                    <a:pos x="75" y="1"/>
                  </a:cxn>
                  <a:cxn ang="0">
                    <a:pos x="71" y="7"/>
                  </a:cxn>
                  <a:cxn ang="0">
                    <a:pos x="62" y="7"/>
                  </a:cxn>
                  <a:cxn ang="0">
                    <a:pos x="58" y="9"/>
                  </a:cxn>
                  <a:cxn ang="0">
                    <a:pos x="54" y="17"/>
                  </a:cxn>
                  <a:cxn ang="0">
                    <a:pos x="51" y="24"/>
                  </a:cxn>
                  <a:cxn ang="0">
                    <a:pos x="48" y="26"/>
                  </a:cxn>
                  <a:cxn ang="0">
                    <a:pos x="47" y="28"/>
                  </a:cxn>
                  <a:cxn ang="0">
                    <a:pos x="38" y="36"/>
                  </a:cxn>
                  <a:cxn ang="0">
                    <a:pos x="35" y="43"/>
                  </a:cxn>
                  <a:cxn ang="0">
                    <a:pos x="27" y="46"/>
                  </a:cxn>
                  <a:cxn ang="0">
                    <a:pos x="23" y="50"/>
                  </a:cxn>
                  <a:cxn ang="0">
                    <a:pos x="17" y="50"/>
                  </a:cxn>
                  <a:cxn ang="0">
                    <a:pos x="6" y="51"/>
                  </a:cxn>
                  <a:cxn ang="0">
                    <a:pos x="6" y="58"/>
                  </a:cxn>
                  <a:cxn ang="0">
                    <a:pos x="8" y="63"/>
                  </a:cxn>
                  <a:cxn ang="0">
                    <a:pos x="10" y="74"/>
                  </a:cxn>
                  <a:cxn ang="0">
                    <a:pos x="3" y="81"/>
                  </a:cxn>
                  <a:cxn ang="0">
                    <a:pos x="0" y="85"/>
                  </a:cxn>
                  <a:cxn ang="0">
                    <a:pos x="4" y="91"/>
                  </a:cxn>
                  <a:cxn ang="0">
                    <a:pos x="4" y="102"/>
                  </a:cxn>
                  <a:cxn ang="0">
                    <a:pos x="11" y="101"/>
                  </a:cxn>
                  <a:cxn ang="0">
                    <a:pos x="17" y="95"/>
                  </a:cxn>
                  <a:cxn ang="0">
                    <a:pos x="24" y="94"/>
                  </a:cxn>
                  <a:cxn ang="0">
                    <a:pos x="51" y="97"/>
                  </a:cxn>
                  <a:cxn ang="0">
                    <a:pos x="58" y="98"/>
                  </a:cxn>
                  <a:cxn ang="0">
                    <a:pos x="65" y="100"/>
                  </a:cxn>
                  <a:cxn ang="0">
                    <a:pos x="77" y="101"/>
                  </a:cxn>
                  <a:cxn ang="0">
                    <a:pos x="81" y="101"/>
                  </a:cxn>
                  <a:cxn ang="0">
                    <a:pos x="87" y="102"/>
                  </a:cxn>
                  <a:cxn ang="0">
                    <a:pos x="95" y="105"/>
                  </a:cxn>
                  <a:cxn ang="0">
                    <a:pos x="105" y="104"/>
                  </a:cxn>
                  <a:cxn ang="0">
                    <a:pos x="112" y="107"/>
                  </a:cxn>
                  <a:cxn ang="0">
                    <a:pos x="115" y="101"/>
                  </a:cxn>
                  <a:cxn ang="0">
                    <a:pos x="119" y="94"/>
                  </a:cxn>
                  <a:cxn ang="0">
                    <a:pos x="128" y="90"/>
                  </a:cxn>
                  <a:cxn ang="0">
                    <a:pos x="132" y="81"/>
                  </a:cxn>
                  <a:cxn ang="0">
                    <a:pos x="129" y="70"/>
                  </a:cxn>
                  <a:cxn ang="0">
                    <a:pos x="132" y="67"/>
                  </a:cxn>
                  <a:cxn ang="0">
                    <a:pos x="141" y="68"/>
                  </a:cxn>
                  <a:cxn ang="0">
                    <a:pos x="149" y="64"/>
                  </a:cxn>
                  <a:cxn ang="0">
                    <a:pos x="148" y="58"/>
                  </a:cxn>
                  <a:cxn ang="0">
                    <a:pos x="141" y="53"/>
                  </a:cxn>
                </a:cxnLst>
                <a:rect l="0" t="0" r="r" b="b"/>
                <a:pathLst>
                  <a:path w="149" h="107">
                    <a:moveTo>
                      <a:pt x="141" y="53"/>
                    </a:moveTo>
                    <a:lnTo>
                      <a:pt x="141" y="53"/>
                    </a:lnTo>
                    <a:lnTo>
                      <a:pt x="138" y="51"/>
                    </a:lnTo>
                    <a:lnTo>
                      <a:pt x="136" y="48"/>
                    </a:lnTo>
                    <a:lnTo>
                      <a:pt x="134" y="46"/>
                    </a:lnTo>
                    <a:lnTo>
                      <a:pt x="131" y="44"/>
                    </a:lnTo>
                    <a:lnTo>
                      <a:pt x="131" y="44"/>
                    </a:lnTo>
                    <a:lnTo>
                      <a:pt x="129" y="43"/>
                    </a:lnTo>
                    <a:lnTo>
                      <a:pt x="128" y="40"/>
                    </a:lnTo>
                    <a:lnTo>
                      <a:pt x="126" y="37"/>
                    </a:lnTo>
                    <a:lnTo>
                      <a:pt x="124" y="34"/>
                    </a:lnTo>
                    <a:lnTo>
                      <a:pt x="124" y="34"/>
                    </a:lnTo>
                    <a:lnTo>
                      <a:pt x="122" y="31"/>
                    </a:lnTo>
                    <a:lnTo>
                      <a:pt x="122" y="28"/>
                    </a:lnTo>
                    <a:lnTo>
                      <a:pt x="122" y="23"/>
                    </a:lnTo>
                    <a:lnTo>
                      <a:pt x="122" y="23"/>
                    </a:lnTo>
                    <a:lnTo>
                      <a:pt x="122" y="16"/>
                    </a:lnTo>
                    <a:lnTo>
                      <a:pt x="122" y="13"/>
                    </a:lnTo>
                    <a:lnTo>
                      <a:pt x="121" y="11"/>
                    </a:lnTo>
                    <a:lnTo>
                      <a:pt x="121" y="11"/>
                    </a:lnTo>
                    <a:lnTo>
                      <a:pt x="114" y="9"/>
                    </a:lnTo>
                    <a:lnTo>
                      <a:pt x="109" y="7"/>
                    </a:lnTo>
                    <a:lnTo>
                      <a:pt x="105" y="7"/>
                    </a:lnTo>
                    <a:lnTo>
                      <a:pt x="105" y="7"/>
                    </a:lnTo>
                    <a:lnTo>
                      <a:pt x="101" y="9"/>
                    </a:lnTo>
                    <a:lnTo>
                      <a:pt x="98" y="9"/>
                    </a:lnTo>
                    <a:lnTo>
                      <a:pt x="97" y="7"/>
                    </a:lnTo>
                    <a:lnTo>
                      <a:pt x="97" y="7"/>
                    </a:lnTo>
                    <a:lnTo>
                      <a:pt x="94" y="4"/>
                    </a:lnTo>
                    <a:lnTo>
                      <a:pt x="91" y="3"/>
                    </a:lnTo>
                    <a:lnTo>
                      <a:pt x="89" y="3"/>
                    </a:lnTo>
                    <a:lnTo>
                      <a:pt x="89" y="3"/>
                    </a:lnTo>
                    <a:lnTo>
                      <a:pt x="87" y="4"/>
                    </a:lnTo>
                    <a:lnTo>
                      <a:pt x="84" y="3"/>
                    </a:lnTo>
                    <a:lnTo>
                      <a:pt x="81" y="1"/>
                    </a:lnTo>
                    <a:lnTo>
                      <a:pt x="81" y="1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75" y="1"/>
                    </a:lnTo>
                    <a:lnTo>
                      <a:pt x="75" y="1"/>
                    </a:lnTo>
                    <a:lnTo>
                      <a:pt x="72" y="6"/>
                    </a:lnTo>
                    <a:lnTo>
                      <a:pt x="71" y="7"/>
                    </a:lnTo>
                    <a:lnTo>
                      <a:pt x="68" y="7"/>
                    </a:lnTo>
                    <a:lnTo>
                      <a:pt x="68" y="7"/>
                    </a:lnTo>
                    <a:lnTo>
                      <a:pt x="62" y="7"/>
                    </a:lnTo>
                    <a:lnTo>
                      <a:pt x="61" y="7"/>
                    </a:lnTo>
                    <a:lnTo>
                      <a:pt x="58" y="9"/>
                    </a:lnTo>
                    <a:lnTo>
                      <a:pt x="58" y="9"/>
                    </a:lnTo>
                    <a:lnTo>
                      <a:pt x="54" y="13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54" y="21"/>
                    </a:lnTo>
                    <a:lnTo>
                      <a:pt x="53" y="23"/>
                    </a:lnTo>
                    <a:lnTo>
                      <a:pt x="51" y="24"/>
                    </a:lnTo>
                    <a:lnTo>
                      <a:pt x="51" y="24"/>
                    </a:lnTo>
                    <a:lnTo>
                      <a:pt x="50" y="24"/>
                    </a:lnTo>
                    <a:lnTo>
                      <a:pt x="48" y="26"/>
                    </a:lnTo>
                    <a:lnTo>
                      <a:pt x="48" y="27"/>
                    </a:lnTo>
                    <a:lnTo>
                      <a:pt x="47" y="28"/>
                    </a:lnTo>
                    <a:lnTo>
                      <a:pt x="47" y="28"/>
                    </a:lnTo>
                    <a:lnTo>
                      <a:pt x="41" y="31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7" y="40"/>
                    </a:lnTo>
                    <a:lnTo>
                      <a:pt x="37" y="43"/>
                    </a:lnTo>
                    <a:lnTo>
                      <a:pt x="35" y="43"/>
                    </a:lnTo>
                    <a:lnTo>
                      <a:pt x="35" y="43"/>
                    </a:lnTo>
                    <a:lnTo>
                      <a:pt x="31" y="44"/>
                    </a:lnTo>
                    <a:lnTo>
                      <a:pt x="27" y="46"/>
                    </a:lnTo>
                    <a:lnTo>
                      <a:pt x="25" y="47"/>
                    </a:lnTo>
                    <a:lnTo>
                      <a:pt x="25" y="47"/>
                    </a:lnTo>
                    <a:lnTo>
                      <a:pt x="23" y="50"/>
                    </a:lnTo>
                    <a:lnTo>
                      <a:pt x="20" y="50"/>
                    </a:lnTo>
                    <a:lnTo>
                      <a:pt x="17" y="50"/>
                    </a:lnTo>
                    <a:lnTo>
                      <a:pt x="17" y="50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6" y="51"/>
                    </a:lnTo>
                    <a:lnTo>
                      <a:pt x="6" y="51"/>
                    </a:lnTo>
                    <a:lnTo>
                      <a:pt x="4" y="54"/>
                    </a:lnTo>
                    <a:lnTo>
                      <a:pt x="6" y="58"/>
                    </a:lnTo>
                    <a:lnTo>
                      <a:pt x="6" y="61"/>
                    </a:lnTo>
                    <a:lnTo>
                      <a:pt x="8" y="63"/>
                    </a:lnTo>
                    <a:lnTo>
                      <a:pt x="8" y="63"/>
                    </a:lnTo>
                    <a:lnTo>
                      <a:pt x="10" y="65"/>
                    </a:lnTo>
                    <a:lnTo>
                      <a:pt x="10" y="70"/>
                    </a:lnTo>
                    <a:lnTo>
                      <a:pt x="10" y="74"/>
                    </a:lnTo>
                    <a:lnTo>
                      <a:pt x="8" y="77"/>
                    </a:lnTo>
                    <a:lnTo>
                      <a:pt x="8" y="77"/>
                    </a:lnTo>
                    <a:lnTo>
                      <a:pt x="3" y="81"/>
                    </a:lnTo>
                    <a:lnTo>
                      <a:pt x="0" y="82"/>
                    </a:lnTo>
                    <a:lnTo>
                      <a:pt x="0" y="85"/>
                    </a:lnTo>
                    <a:lnTo>
                      <a:pt x="0" y="85"/>
                    </a:lnTo>
                    <a:lnTo>
                      <a:pt x="0" y="87"/>
                    </a:lnTo>
                    <a:lnTo>
                      <a:pt x="3" y="88"/>
                    </a:lnTo>
                    <a:lnTo>
                      <a:pt x="4" y="91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102"/>
                    </a:lnTo>
                    <a:lnTo>
                      <a:pt x="4" y="102"/>
                    </a:lnTo>
                    <a:lnTo>
                      <a:pt x="8" y="102"/>
                    </a:lnTo>
                    <a:lnTo>
                      <a:pt x="11" y="101"/>
                    </a:lnTo>
                    <a:lnTo>
                      <a:pt x="13" y="100"/>
                    </a:lnTo>
                    <a:lnTo>
                      <a:pt x="13" y="100"/>
                    </a:lnTo>
                    <a:lnTo>
                      <a:pt x="17" y="95"/>
                    </a:lnTo>
                    <a:lnTo>
                      <a:pt x="20" y="94"/>
                    </a:lnTo>
                    <a:lnTo>
                      <a:pt x="24" y="94"/>
                    </a:lnTo>
                    <a:lnTo>
                      <a:pt x="24" y="94"/>
                    </a:lnTo>
                    <a:lnTo>
                      <a:pt x="38" y="94"/>
                    </a:lnTo>
                    <a:lnTo>
                      <a:pt x="47" y="95"/>
                    </a:lnTo>
                    <a:lnTo>
                      <a:pt x="51" y="97"/>
                    </a:lnTo>
                    <a:lnTo>
                      <a:pt x="51" y="97"/>
                    </a:lnTo>
                    <a:lnTo>
                      <a:pt x="54" y="98"/>
                    </a:lnTo>
                    <a:lnTo>
                      <a:pt x="58" y="98"/>
                    </a:lnTo>
                    <a:lnTo>
                      <a:pt x="62" y="98"/>
                    </a:lnTo>
                    <a:lnTo>
                      <a:pt x="65" y="100"/>
                    </a:lnTo>
                    <a:lnTo>
                      <a:pt x="65" y="100"/>
                    </a:lnTo>
                    <a:lnTo>
                      <a:pt x="72" y="102"/>
                    </a:lnTo>
                    <a:lnTo>
                      <a:pt x="75" y="102"/>
                    </a:lnTo>
                    <a:lnTo>
                      <a:pt x="77" y="101"/>
                    </a:lnTo>
                    <a:lnTo>
                      <a:pt x="77" y="101"/>
                    </a:lnTo>
                    <a:lnTo>
                      <a:pt x="78" y="101"/>
                    </a:lnTo>
                    <a:lnTo>
                      <a:pt x="81" y="101"/>
                    </a:lnTo>
                    <a:lnTo>
                      <a:pt x="84" y="102"/>
                    </a:lnTo>
                    <a:lnTo>
                      <a:pt x="87" y="102"/>
                    </a:lnTo>
                    <a:lnTo>
                      <a:pt x="87" y="102"/>
                    </a:lnTo>
                    <a:lnTo>
                      <a:pt x="89" y="101"/>
                    </a:lnTo>
                    <a:lnTo>
                      <a:pt x="92" y="102"/>
                    </a:lnTo>
                    <a:lnTo>
                      <a:pt x="95" y="105"/>
                    </a:lnTo>
                    <a:lnTo>
                      <a:pt x="98" y="105"/>
                    </a:lnTo>
                    <a:lnTo>
                      <a:pt x="98" y="105"/>
                    </a:lnTo>
                    <a:lnTo>
                      <a:pt x="105" y="104"/>
                    </a:lnTo>
                    <a:lnTo>
                      <a:pt x="109" y="105"/>
                    </a:lnTo>
                    <a:lnTo>
                      <a:pt x="112" y="107"/>
                    </a:lnTo>
                    <a:lnTo>
                      <a:pt x="112" y="107"/>
                    </a:lnTo>
                    <a:lnTo>
                      <a:pt x="114" y="107"/>
                    </a:lnTo>
                    <a:lnTo>
                      <a:pt x="114" y="105"/>
                    </a:lnTo>
                    <a:lnTo>
                      <a:pt x="115" y="101"/>
                    </a:lnTo>
                    <a:lnTo>
                      <a:pt x="115" y="101"/>
                    </a:lnTo>
                    <a:lnTo>
                      <a:pt x="117" y="98"/>
                    </a:lnTo>
                    <a:lnTo>
                      <a:pt x="119" y="94"/>
                    </a:lnTo>
                    <a:lnTo>
                      <a:pt x="125" y="91"/>
                    </a:lnTo>
                    <a:lnTo>
                      <a:pt x="125" y="91"/>
                    </a:lnTo>
                    <a:lnTo>
                      <a:pt x="128" y="90"/>
                    </a:lnTo>
                    <a:lnTo>
                      <a:pt x="135" y="88"/>
                    </a:lnTo>
                    <a:lnTo>
                      <a:pt x="135" y="88"/>
                    </a:lnTo>
                    <a:lnTo>
                      <a:pt x="132" y="81"/>
                    </a:lnTo>
                    <a:lnTo>
                      <a:pt x="132" y="81"/>
                    </a:lnTo>
                    <a:lnTo>
                      <a:pt x="129" y="73"/>
                    </a:lnTo>
                    <a:lnTo>
                      <a:pt x="129" y="70"/>
                    </a:lnTo>
                    <a:lnTo>
                      <a:pt x="129" y="67"/>
                    </a:lnTo>
                    <a:lnTo>
                      <a:pt x="129" y="67"/>
                    </a:lnTo>
                    <a:lnTo>
                      <a:pt x="132" y="67"/>
                    </a:lnTo>
                    <a:lnTo>
                      <a:pt x="135" y="67"/>
                    </a:lnTo>
                    <a:lnTo>
                      <a:pt x="138" y="68"/>
                    </a:lnTo>
                    <a:lnTo>
                      <a:pt x="141" y="68"/>
                    </a:lnTo>
                    <a:lnTo>
                      <a:pt x="141" y="68"/>
                    </a:lnTo>
                    <a:lnTo>
                      <a:pt x="146" y="65"/>
                    </a:lnTo>
                    <a:lnTo>
                      <a:pt x="149" y="64"/>
                    </a:lnTo>
                    <a:lnTo>
                      <a:pt x="149" y="61"/>
                    </a:lnTo>
                    <a:lnTo>
                      <a:pt x="149" y="61"/>
                    </a:lnTo>
                    <a:lnTo>
                      <a:pt x="148" y="58"/>
                    </a:lnTo>
                    <a:lnTo>
                      <a:pt x="146" y="55"/>
                    </a:lnTo>
                    <a:lnTo>
                      <a:pt x="141" y="53"/>
                    </a:lnTo>
                    <a:lnTo>
                      <a:pt x="141" y="53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19" name="Latvia">
                <a:extLst>
                  <a:ext uri="{FF2B5EF4-FFF2-40B4-BE49-F238E27FC236}">
                    <a16:creationId xmlns:a16="http://schemas.microsoft.com/office/drawing/2014/main" id="{3470CFCB-7317-9637-F420-CFED65F10C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3205" y="2736730"/>
                <a:ext cx="173135" cy="82868"/>
              </a:xfrm>
              <a:custGeom>
                <a:avLst/>
                <a:gdLst/>
                <a:ahLst/>
                <a:cxnLst>
                  <a:cxn ang="0">
                    <a:pos x="38" y="39"/>
                  </a:cxn>
                  <a:cxn ang="0">
                    <a:pos x="54" y="39"/>
                  </a:cxn>
                  <a:cxn ang="0">
                    <a:pos x="58" y="39"/>
                  </a:cxn>
                  <a:cxn ang="0">
                    <a:pos x="64" y="40"/>
                  </a:cxn>
                  <a:cxn ang="0">
                    <a:pos x="68" y="42"/>
                  </a:cxn>
                  <a:cxn ang="0">
                    <a:pos x="71" y="43"/>
                  </a:cxn>
                  <a:cxn ang="0">
                    <a:pos x="84" y="50"/>
                  </a:cxn>
                  <a:cxn ang="0">
                    <a:pos x="91" y="56"/>
                  </a:cxn>
                  <a:cxn ang="0">
                    <a:pos x="95" y="52"/>
                  </a:cxn>
                  <a:cxn ang="0">
                    <a:pos x="98" y="50"/>
                  </a:cxn>
                  <a:cxn ang="0">
                    <a:pos x="105" y="50"/>
                  </a:cxn>
                  <a:cxn ang="0">
                    <a:pos x="108" y="50"/>
                  </a:cxn>
                  <a:cxn ang="0">
                    <a:pos x="112" y="44"/>
                  </a:cxn>
                  <a:cxn ang="0">
                    <a:pos x="117" y="43"/>
                  </a:cxn>
                  <a:cxn ang="0">
                    <a:pos x="115" y="37"/>
                  </a:cxn>
                  <a:cxn ang="0">
                    <a:pos x="114" y="33"/>
                  </a:cxn>
                  <a:cxn ang="0">
                    <a:pos x="108" y="26"/>
                  </a:cxn>
                  <a:cxn ang="0">
                    <a:pos x="108" y="23"/>
                  </a:cxn>
                  <a:cxn ang="0">
                    <a:pos x="108" y="17"/>
                  </a:cxn>
                  <a:cxn ang="0">
                    <a:pos x="107" y="15"/>
                  </a:cxn>
                  <a:cxn ang="0">
                    <a:pos x="104" y="10"/>
                  </a:cxn>
                  <a:cxn ang="0">
                    <a:pos x="88" y="10"/>
                  </a:cxn>
                  <a:cxn ang="0">
                    <a:pos x="85" y="9"/>
                  </a:cxn>
                  <a:cxn ang="0">
                    <a:pos x="72" y="0"/>
                  </a:cxn>
                  <a:cxn ang="0">
                    <a:pos x="65" y="0"/>
                  </a:cxn>
                  <a:cxn ang="0">
                    <a:pos x="55" y="0"/>
                  </a:cxn>
                  <a:cxn ang="0">
                    <a:pos x="53" y="7"/>
                  </a:cxn>
                  <a:cxn ang="0">
                    <a:pos x="54" y="16"/>
                  </a:cxn>
                  <a:cxn ang="0">
                    <a:pos x="53" y="20"/>
                  </a:cxn>
                  <a:cxn ang="0">
                    <a:pos x="41" y="23"/>
                  </a:cxn>
                  <a:cxn ang="0">
                    <a:pos x="37" y="20"/>
                  </a:cxn>
                  <a:cxn ang="0">
                    <a:pos x="27" y="6"/>
                  </a:cxn>
                  <a:cxn ang="0">
                    <a:pos x="25" y="5"/>
                  </a:cxn>
                  <a:cxn ang="0">
                    <a:pos x="20" y="7"/>
                  </a:cxn>
                  <a:cxn ang="0">
                    <a:pos x="11" y="13"/>
                  </a:cxn>
                  <a:cxn ang="0">
                    <a:pos x="7" y="19"/>
                  </a:cxn>
                  <a:cxn ang="0">
                    <a:pos x="4" y="26"/>
                  </a:cxn>
                  <a:cxn ang="0">
                    <a:pos x="1" y="29"/>
                  </a:cxn>
                  <a:cxn ang="0">
                    <a:pos x="0" y="36"/>
                  </a:cxn>
                  <a:cxn ang="0">
                    <a:pos x="3" y="42"/>
                  </a:cxn>
                  <a:cxn ang="0">
                    <a:pos x="3" y="42"/>
                  </a:cxn>
                  <a:cxn ang="0">
                    <a:pos x="16" y="39"/>
                  </a:cxn>
                  <a:cxn ang="0">
                    <a:pos x="20" y="37"/>
                  </a:cxn>
                  <a:cxn ang="0">
                    <a:pos x="38" y="39"/>
                  </a:cxn>
                </a:cxnLst>
                <a:rect l="0" t="0" r="r" b="b"/>
                <a:pathLst>
                  <a:path w="117" h="56">
                    <a:moveTo>
                      <a:pt x="38" y="39"/>
                    </a:moveTo>
                    <a:lnTo>
                      <a:pt x="38" y="39"/>
                    </a:lnTo>
                    <a:lnTo>
                      <a:pt x="48" y="39"/>
                    </a:lnTo>
                    <a:lnTo>
                      <a:pt x="54" y="39"/>
                    </a:lnTo>
                    <a:lnTo>
                      <a:pt x="58" y="39"/>
                    </a:lnTo>
                    <a:lnTo>
                      <a:pt x="58" y="39"/>
                    </a:lnTo>
                    <a:lnTo>
                      <a:pt x="62" y="39"/>
                    </a:lnTo>
                    <a:lnTo>
                      <a:pt x="64" y="40"/>
                    </a:lnTo>
                    <a:lnTo>
                      <a:pt x="65" y="42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71" y="43"/>
                    </a:lnTo>
                    <a:lnTo>
                      <a:pt x="75" y="44"/>
                    </a:lnTo>
                    <a:lnTo>
                      <a:pt x="84" y="50"/>
                    </a:lnTo>
                    <a:lnTo>
                      <a:pt x="84" y="50"/>
                    </a:lnTo>
                    <a:lnTo>
                      <a:pt x="91" y="56"/>
                    </a:lnTo>
                    <a:lnTo>
                      <a:pt x="91" y="56"/>
                    </a:lnTo>
                    <a:lnTo>
                      <a:pt x="95" y="52"/>
                    </a:lnTo>
                    <a:lnTo>
                      <a:pt x="95" y="52"/>
                    </a:lnTo>
                    <a:lnTo>
                      <a:pt x="98" y="50"/>
                    </a:lnTo>
                    <a:lnTo>
                      <a:pt x="99" y="50"/>
                    </a:lnTo>
                    <a:lnTo>
                      <a:pt x="105" y="50"/>
                    </a:lnTo>
                    <a:lnTo>
                      <a:pt x="105" y="50"/>
                    </a:lnTo>
                    <a:lnTo>
                      <a:pt x="108" y="50"/>
                    </a:lnTo>
                    <a:lnTo>
                      <a:pt x="109" y="49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7" y="43"/>
                    </a:lnTo>
                    <a:lnTo>
                      <a:pt x="117" y="43"/>
                    </a:lnTo>
                    <a:lnTo>
                      <a:pt x="115" y="37"/>
                    </a:lnTo>
                    <a:lnTo>
                      <a:pt x="114" y="33"/>
                    </a:lnTo>
                    <a:lnTo>
                      <a:pt x="114" y="33"/>
                    </a:lnTo>
                    <a:lnTo>
                      <a:pt x="109" y="29"/>
                    </a:lnTo>
                    <a:lnTo>
                      <a:pt x="108" y="26"/>
                    </a:lnTo>
                    <a:lnTo>
                      <a:pt x="108" y="23"/>
                    </a:lnTo>
                    <a:lnTo>
                      <a:pt x="108" y="23"/>
                    </a:lnTo>
                    <a:lnTo>
                      <a:pt x="109" y="19"/>
                    </a:lnTo>
                    <a:lnTo>
                      <a:pt x="108" y="17"/>
                    </a:lnTo>
                    <a:lnTo>
                      <a:pt x="107" y="15"/>
                    </a:lnTo>
                    <a:lnTo>
                      <a:pt x="107" y="15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94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5" y="9"/>
                    </a:lnTo>
                    <a:lnTo>
                      <a:pt x="80" y="6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65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53" y="5"/>
                    </a:lnTo>
                    <a:lnTo>
                      <a:pt x="53" y="7"/>
                    </a:lnTo>
                    <a:lnTo>
                      <a:pt x="54" y="16"/>
                    </a:lnTo>
                    <a:lnTo>
                      <a:pt x="54" y="16"/>
                    </a:lnTo>
                    <a:lnTo>
                      <a:pt x="53" y="19"/>
                    </a:lnTo>
                    <a:lnTo>
                      <a:pt x="53" y="20"/>
                    </a:lnTo>
                    <a:lnTo>
                      <a:pt x="48" y="22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37" y="20"/>
                    </a:lnTo>
                    <a:lnTo>
                      <a:pt x="33" y="16"/>
                    </a:lnTo>
                    <a:lnTo>
                      <a:pt x="27" y="6"/>
                    </a:lnTo>
                    <a:lnTo>
                      <a:pt x="27" y="6"/>
                    </a:lnTo>
                    <a:lnTo>
                      <a:pt x="25" y="5"/>
                    </a:lnTo>
                    <a:lnTo>
                      <a:pt x="24" y="5"/>
                    </a:lnTo>
                    <a:lnTo>
                      <a:pt x="20" y="7"/>
                    </a:lnTo>
                    <a:lnTo>
                      <a:pt x="11" y="13"/>
                    </a:lnTo>
                    <a:lnTo>
                      <a:pt x="11" y="13"/>
                    </a:lnTo>
                    <a:lnTo>
                      <a:pt x="8" y="16"/>
                    </a:lnTo>
                    <a:lnTo>
                      <a:pt x="7" y="19"/>
                    </a:lnTo>
                    <a:lnTo>
                      <a:pt x="6" y="23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" y="29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3" y="42"/>
                    </a:lnTo>
                    <a:lnTo>
                      <a:pt x="3" y="42"/>
                    </a:lnTo>
                    <a:lnTo>
                      <a:pt x="3" y="42"/>
                    </a:lnTo>
                    <a:lnTo>
                      <a:pt x="3" y="42"/>
                    </a:lnTo>
                    <a:lnTo>
                      <a:pt x="10" y="40"/>
                    </a:lnTo>
                    <a:lnTo>
                      <a:pt x="16" y="39"/>
                    </a:lnTo>
                    <a:lnTo>
                      <a:pt x="16" y="39"/>
                    </a:lnTo>
                    <a:lnTo>
                      <a:pt x="20" y="37"/>
                    </a:lnTo>
                    <a:lnTo>
                      <a:pt x="27" y="37"/>
                    </a:lnTo>
                    <a:lnTo>
                      <a:pt x="38" y="39"/>
                    </a:lnTo>
                    <a:lnTo>
                      <a:pt x="38" y="39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20" name="Lithuania">
                <a:extLst>
                  <a:ext uri="{FF2B5EF4-FFF2-40B4-BE49-F238E27FC236}">
                    <a16:creationId xmlns:a16="http://schemas.microsoft.com/office/drawing/2014/main" id="{E3A86E03-F6C4-EB7F-848D-92BE71536B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3205" y="2791482"/>
                <a:ext cx="134661" cy="82868"/>
              </a:xfrm>
              <a:custGeom>
                <a:avLst/>
                <a:gdLst/>
                <a:ahLst/>
                <a:cxnLst>
                  <a:cxn ang="0">
                    <a:pos x="11" y="27"/>
                  </a:cxn>
                  <a:cxn ang="0">
                    <a:pos x="18" y="32"/>
                  </a:cxn>
                  <a:cxn ang="0">
                    <a:pos x="21" y="32"/>
                  </a:cxn>
                  <a:cxn ang="0">
                    <a:pos x="27" y="33"/>
                  </a:cxn>
                  <a:cxn ang="0">
                    <a:pos x="30" y="36"/>
                  </a:cxn>
                  <a:cxn ang="0">
                    <a:pos x="30" y="43"/>
                  </a:cxn>
                  <a:cxn ang="0">
                    <a:pos x="30" y="47"/>
                  </a:cxn>
                  <a:cxn ang="0">
                    <a:pos x="37" y="50"/>
                  </a:cxn>
                  <a:cxn ang="0">
                    <a:pos x="43" y="56"/>
                  </a:cxn>
                  <a:cxn ang="0">
                    <a:pos x="54" y="56"/>
                  </a:cxn>
                  <a:cxn ang="0">
                    <a:pos x="57" y="56"/>
                  </a:cxn>
                  <a:cxn ang="0">
                    <a:pos x="62" y="53"/>
                  </a:cxn>
                  <a:cxn ang="0">
                    <a:pos x="64" y="52"/>
                  </a:cxn>
                  <a:cxn ang="0">
                    <a:pos x="72" y="49"/>
                  </a:cxn>
                  <a:cxn ang="0">
                    <a:pos x="74" y="49"/>
                  </a:cxn>
                  <a:cxn ang="0">
                    <a:pos x="75" y="42"/>
                  </a:cxn>
                  <a:cxn ang="0">
                    <a:pos x="78" y="37"/>
                  </a:cxn>
                  <a:cxn ang="0">
                    <a:pos x="84" y="34"/>
                  </a:cxn>
                  <a:cxn ang="0">
                    <a:pos x="85" y="32"/>
                  </a:cxn>
                  <a:cxn ang="0">
                    <a:pos x="88" y="30"/>
                  </a:cxn>
                  <a:cxn ang="0">
                    <a:pos x="90" y="29"/>
                  </a:cxn>
                  <a:cxn ang="0">
                    <a:pos x="91" y="23"/>
                  </a:cxn>
                  <a:cxn ang="0">
                    <a:pos x="91" y="22"/>
                  </a:cxn>
                  <a:cxn ang="0">
                    <a:pos x="91" y="19"/>
                  </a:cxn>
                  <a:cxn ang="0">
                    <a:pos x="84" y="13"/>
                  </a:cxn>
                  <a:cxn ang="0">
                    <a:pos x="71" y="6"/>
                  </a:cxn>
                  <a:cxn ang="0">
                    <a:pos x="68" y="5"/>
                  </a:cxn>
                  <a:cxn ang="0">
                    <a:pos x="64" y="3"/>
                  </a:cxn>
                  <a:cxn ang="0">
                    <a:pos x="58" y="2"/>
                  </a:cxn>
                  <a:cxn ang="0">
                    <a:pos x="54" y="2"/>
                  </a:cxn>
                  <a:cxn ang="0">
                    <a:pos x="38" y="2"/>
                  </a:cxn>
                  <a:cxn ang="0">
                    <a:pos x="27" y="0"/>
                  </a:cxn>
                  <a:cxn ang="0">
                    <a:pos x="16" y="2"/>
                  </a:cxn>
                  <a:cxn ang="0">
                    <a:pos x="10" y="3"/>
                  </a:cxn>
                  <a:cxn ang="0">
                    <a:pos x="3" y="5"/>
                  </a:cxn>
                  <a:cxn ang="0">
                    <a:pos x="4" y="15"/>
                  </a:cxn>
                  <a:cxn ang="0">
                    <a:pos x="1" y="22"/>
                  </a:cxn>
                  <a:cxn ang="0">
                    <a:pos x="0" y="24"/>
                  </a:cxn>
                  <a:cxn ang="0">
                    <a:pos x="1" y="27"/>
                  </a:cxn>
                  <a:cxn ang="0">
                    <a:pos x="7" y="26"/>
                  </a:cxn>
                  <a:cxn ang="0">
                    <a:pos x="11" y="27"/>
                  </a:cxn>
                </a:cxnLst>
                <a:rect l="0" t="0" r="r" b="b"/>
                <a:pathLst>
                  <a:path w="91" h="56">
                    <a:moveTo>
                      <a:pt x="11" y="27"/>
                    </a:moveTo>
                    <a:lnTo>
                      <a:pt x="11" y="27"/>
                    </a:lnTo>
                    <a:lnTo>
                      <a:pt x="16" y="30"/>
                    </a:lnTo>
                    <a:lnTo>
                      <a:pt x="18" y="32"/>
                    </a:lnTo>
                    <a:lnTo>
                      <a:pt x="21" y="32"/>
                    </a:lnTo>
                    <a:lnTo>
                      <a:pt x="21" y="32"/>
                    </a:lnTo>
                    <a:lnTo>
                      <a:pt x="23" y="32"/>
                    </a:lnTo>
                    <a:lnTo>
                      <a:pt x="27" y="33"/>
                    </a:lnTo>
                    <a:lnTo>
                      <a:pt x="28" y="34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43"/>
                    </a:lnTo>
                    <a:lnTo>
                      <a:pt x="30" y="46"/>
                    </a:lnTo>
                    <a:lnTo>
                      <a:pt x="30" y="47"/>
                    </a:lnTo>
                    <a:lnTo>
                      <a:pt x="30" y="47"/>
                    </a:lnTo>
                    <a:lnTo>
                      <a:pt x="37" y="50"/>
                    </a:lnTo>
                    <a:lnTo>
                      <a:pt x="40" y="53"/>
                    </a:lnTo>
                    <a:lnTo>
                      <a:pt x="43" y="56"/>
                    </a:lnTo>
                    <a:lnTo>
                      <a:pt x="43" y="56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7" y="56"/>
                    </a:lnTo>
                    <a:lnTo>
                      <a:pt x="60" y="56"/>
                    </a:lnTo>
                    <a:lnTo>
                      <a:pt x="62" y="53"/>
                    </a:lnTo>
                    <a:lnTo>
                      <a:pt x="62" y="53"/>
                    </a:lnTo>
                    <a:lnTo>
                      <a:pt x="64" y="52"/>
                    </a:lnTo>
                    <a:lnTo>
                      <a:pt x="68" y="50"/>
                    </a:lnTo>
                    <a:lnTo>
                      <a:pt x="72" y="49"/>
                    </a:lnTo>
                    <a:lnTo>
                      <a:pt x="72" y="49"/>
                    </a:lnTo>
                    <a:lnTo>
                      <a:pt x="74" y="49"/>
                    </a:lnTo>
                    <a:lnTo>
                      <a:pt x="74" y="46"/>
                    </a:lnTo>
                    <a:lnTo>
                      <a:pt x="75" y="42"/>
                    </a:lnTo>
                    <a:lnTo>
                      <a:pt x="75" y="42"/>
                    </a:lnTo>
                    <a:lnTo>
                      <a:pt x="78" y="37"/>
                    </a:lnTo>
                    <a:lnTo>
                      <a:pt x="84" y="34"/>
                    </a:lnTo>
                    <a:lnTo>
                      <a:pt x="84" y="34"/>
                    </a:lnTo>
                    <a:lnTo>
                      <a:pt x="85" y="33"/>
                    </a:lnTo>
                    <a:lnTo>
                      <a:pt x="85" y="32"/>
                    </a:lnTo>
                    <a:lnTo>
                      <a:pt x="87" y="30"/>
                    </a:lnTo>
                    <a:lnTo>
                      <a:pt x="88" y="30"/>
                    </a:lnTo>
                    <a:lnTo>
                      <a:pt x="88" y="30"/>
                    </a:lnTo>
                    <a:lnTo>
                      <a:pt x="90" y="29"/>
                    </a:lnTo>
                    <a:lnTo>
                      <a:pt x="91" y="27"/>
                    </a:lnTo>
                    <a:lnTo>
                      <a:pt x="91" y="23"/>
                    </a:lnTo>
                    <a:lnTo>
                      <a:pt x="91" y="23"/>
                    </a:lnTo>
                    <a:lnTo>
                      <a:pt x="91" y="22"/>
                    </a:lnTo>
                    <a:lnTo>
                      <a:pt x="91" y="19"/>
                    </a:lnTo>
                    <a:lnTo>
                      <a:pt x="91" y="19"/>
                    </a:lnTo>
                    <a:lnTo>
                      <a:pt x="84" y="13"/>
                    </a:lnTo>
                    <a:lnTo>
                      <a:pt x="84" y="13"/>
                    </a:lnTo>
                    <a:lnTo>
                      <a:pt x="75" y="7"/>
                    </a:lnTo>
                    <a:lnTo>
                      <a:pt x="71" y="6"/>
                    </a:lnTo>
                    <a:lnTo>
                      <a:pt x="68" y="5"/>
                    </a:lnTo>
                    <a:lnTo>
                      <a:pt x="68" y="5"/>
                    </a:lnTo>
                    <a:lnTo>
                      <a:pt x="65" y="5"/>
                    </a:lnTo>
                    <a:lnTo>
                      <a:pt x="64" y="3"/>
                    </a:lnTo>
                    <a:lnTo>
                      <a:pt x="62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54" y="2"/>
                    </a:lnTo>
                    <a:lnTo>
                      <a:pt x="4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27" y="0"/>
                    </a:ln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0" y="3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4" y="10"/>
                    </a:lnTo>
                    <a:lnTo>
                      <a:pt x="4" y="15"/>
                    </a:lnTo>
                    <a:lnTo>
                      <a:pt x="3" y="19"/>
                    </a:lnTo>
                    <a:lnTo>
                      <a:pt x="1" y="22"/>
                    </a:lnTo>
                    <a:lnTo>
                      <a:pt x="1" y="22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1" y="27"/>
                    </a:lnTo>
                    <a:lnTo>
                      <a:pt x="7" y="26"/>
                    </a:lnTo>
                    <a:lnTo>
                      <a:pt x="10" y="26"/>
                    </a:lnTo>
                    <a:lnTo>
                      <a:pt x="11" y="27"/>
                    </a:lnTo>
                    <a:lnTo>
                      <a:pt x="11" y="27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21" name="Switzerland">
                <a:extLst>
                  <a:ext uri="{FF2B5EF4-FFF2-40B4-BE49-F238E27FC236}">
                    <a16:creationId xmlns:a16="http://schemas.microsoft.com/office/drawing/2014/main" id="{141C9096-D168-C082-677D-3A9105803B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1374" y="3074120"/>
                <a:ext cx="108024" cy="56232"/>
              </a:xfrm>
              <a:custGeom>
                <a:avLst/>
                <a:gdLst/>
                <a:ahLst/>
                <a:cxnLst>
                  <a:cxn ang="0">
                    <a:pos x="64" y="16"/>
                  </a:cxn>
                  <a:cxn ang="0">
                    <a:pos x="59" y="14"/>
                  </a:cxn>
                  <a:cxn ang="0">
                    <a:pos x="56" y="11"/>
                  </a:cxn>
                  <a:cxn ang="0">
                    <a:pos x="56" y="4"/>
                  </a:cxn>
                  <a:cxn ang="0">
                    <a:pos x="47" y="1"/>
                  </a:cxn>
                  <a:cxn ang="0">
                    <a:pos x="42" y="0"/>
                  </a:cxn>
                  <a:cxn ang="0">
                    <a:pos x="36" y="1"/>
                  </a:cxn>
                  <a:cxn ang="0">
                    <a:pos x="23" y="1"/>
                  </a:cxn>
                  <a:cxn ang="0">
                    <a:pos x="22" y="3"/>
                  </a:cxn>
                  <a:cxn ang="0">
                    <a:pos x="20" y="4"/>
                  </a:cxn>
                  <a:cxn ang="0">
                    <a:pos x="16" y="6"/>
                  </a:cxn>
                  <a:cxn ang="0">
                    <a:pos x="12" y="11"/>
                  </a:cxn>
                  <a:cxn ang="0">
                    <a:pos x="10" y="13"/>
                  </a:cxn>
                  <a:cxn ang="0">
                    <a:pos x="5" y="20"/>
                  </a:cxn>
                  <a:cxn ang="0">
                    <a:pos x="2" y="24"/>
                  </a:cxn>
                  <a:cxn ang="0">
                    <a:pos x="0" y="30"/>
                  </a:cxn>
                  <a:cxn ang="0">
                    <a:pos x="5" y="28"/>
                  </a:cxn>
                  <a:cxn ang="0">
                    <a:pos x="6" y="27"/>
                  </a:cxn>
                  <a:cxn ang="0">
                    <a:pos x="10" y="27"/>
                  </a:cxn>
                  <a:cxn ang="0">
                    <a:pos x="12" y="30"/>
                  </a:cxn>
                  <a:cxn ang="0">
                    <a:pos x="13" y="33"/>
                  </a:cxn>
                  <a:cxn ang="0">
                    <a:pos x="15" y="37"/>
                  </a:cxn>
                  <a:cxn ang="0">
                    <a:pos x="15" y="38"/>
                  </a:cxn>
                  <a:cxn ang="0">
                    <a:pos x="27" y="37"/>
                  </a:cxn>
                  <a:cxn ang="0">
                    <a:pos x="30" y="35"/>
                  </a:cxn>
                  <a:cxn ang="0">
                    <a:pos x="36" y="26"/>
                  </a:cxn>
                  <a:cxn ang="0">
                    <a:pos x="37" y="27"/>
                  </a:cxn>
                  <a:cxn ang="0">
                    <a:pos x="45" y="37"/>
                  </a:cxn>
                  <a:cxn ang="0">
                    <a:pos x="47" y="37"/>
                  </a:cxn>
                  <a:cxn ang="0">
                    <a:pos x="49" y="31"/>
                  </a:cxn>
                  <a:cxn ang="0">
                    <a:pos x="50" y="28"/>
                  </a:cxn>
                  <a:cxn ang="0">
                    <a:pos x="54" y="27"/>
                  </a:cxn>
                  <a:cxn ang="0">
                    <a:pos x="59" y="28"/>
                  </a:cxn>
                  <a:cxn ang="0">
                    <a:pos x="63" y="26"/>
                  </a:cxn>
                  <a:cxn ang="0">
                    <a:pos x="63" y="24"/>
                  </a:cxn>
                  <a:cxn ang="0">
                    <a:pos x="67" y="24"/>
                  </a:cxn>
                  <a:cxn ang="0">
                    <a:pos x="69" y="23"/>
                  </a:cxn>
                  <a:cxn ang="0">
                    <a:pos x="70" y="20"/>
                  </a:cxn>
                  <a:cxn ang="0">
                    <a:pos x="73" y="17"/>
                  </a:cxn>
                  <a:cxn ang="0">
                    <a:pos x="64" y="16"/>
                  </a:cxn>
                </a:cxnLst>
                <a:rect l="0" t="0" r="r" b="b"/>
                <a:pathLst>
                  <a:path w="73" h="38">
                    <a:moveTo>
                      <a:pt x="64" y="16"/>
                    </a:moveTo>
                    <a:lnTo>
                      <a:pt x="64" y="16"/>
                    </a:lnTo>
                    <a:lnTo>
                      <a:pt x="62" y="16"/>
                    </a:lnTo>
                    <a:lnTo>
                      <a:pt x="59" y="14"/>
                    </a:lnTo>
                    <a:lnTo>
                      <a:pt x="56" y="11"/>
                    </a:lnTo>
                    <a:lnTo>
                      <a:pt x="56" y="11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47" y="1"/>
                    </a:lnTo>
                    <a:lnTo>
                      <a:pt x="47" y="1"/>
                    </a:lnTo>
                    <a:lnTo>
                      <a:pt x="42" y="0"/>
                    </a:lnTo>
                    <a:lnTo>
                      <a:pt x="36" y="1"/>
                    </a:lnTo>
                    <a:lnTo>
                      <a:pt x="36" y="1"/>
                    </a:lnTo>
                    <a:lnTo>
                      <a:pt x="30" y="3"/>
                    </a:lnTo>
                    <a:lnTo>
                      <a:pt x="23" y="1"/>
                    </a:lnTo>
                    <a:lnTo>
                      <a:pt x="23" y="1"/>
                    </a:lnTo>
                    <a:lnTo>
                      <a:pt x="22" y="3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7" y="4"/>
                    </a:lnTo>
                    <a:lnTo>
                      <a:pt x="16" y="6"/>
                    </a:lnTo>
                    <a:lnTo>
                      <a:pt x="13" y="8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0" y="13"/>
                    </a:lnTo>
                    <a:lnTo>
                      <a:pt x="8" y="16"/>
                    </a:lnTo>
                    <a:lnTo>
                      <a:pt x="5" y="20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2" y="31"/>
                    </a:lnTo>
                    <a:lnTo>
                      <a:pt x="5" y="28"/>
                    </a:lnTo>
                    <a:lnTo>
                      <a:pt x="5" y="28"/>
                    </a:lnTo>
                    <a:lnTo>
                      <a:pt x="6" y="27"/>
                    </a:lnTo>
                    <a:lnTo>
                      <a:pt x="9" y="27"/>
                    </a:lnTo>
                    <a:lnTo>
                      <a:pt x="10" y="27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1"/>
                    </a:lnTo>
                    <a:lnTo>
                      <a:pt x="13" y="33"/>
                    </a:lnTo>
                    <a:lnTo>
                      <a:pt x="15" y="35"/>
                    </a:lnTo>
                    <a:lnTo>
                      <a:pt x="15" y="37"/>
                    </a:lnTo>
                    <a:lnTo>
                      <a:pt x="15" y="37"/>
                    </a:lnTo>
                    <a:lnTo>
                      <a:pt x="15" y="38"/>
                    </a:lnTo>
                    <a:lnTo>
                      <a:pt x="15" y="38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30" y="35"/>
                    </a:lnTo>
                    <a:lnTo>
                      <a:pt x="33" y="31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7" y="27"/>
                    </a:lnTo>
                    <a:lnTo>
                      <a:pt x="39" y="30"/>
                    </a:lnTo>
                    <a:lnTo>
                      <a:pt x="45" y="37"/>
                    </a:lnTo>
                    <a:lnTo>
                      <a:pt x="45" y="37"/>
                    </a:lnTo>
                    <a:lnTo>
                      <a:pt x="47" y="37"/>
                    </a:lnTo>
                    <a:lnTo>
                      <a:pt x="49" y="35"/>
                    </a:lnTo>
                    <a:lnTo>
                      <a:pt x="49" y="31"/>
                    </a:lnTo>
                    <a:lnTo>
                      <a:pt x="49" y="31"/>
                    </a:lnTo>
                    <a:lnTo>
                      <a:pt x="50" y="28"/>
                    </a:lnTo>
                    <a:lnTo>
                      <a:pt x="52" y="28"/>
                    </a:lnTo>
                    <a:lnTo>
                      <a:pt x="54" y="27"/>
                    </a:lnTo>
                    <a:lnTo>
                      <a:pt x="54" y="27"/>
                    </a:lnTo>
                    <a:lnTo>
                      <a:pt x="59" y="28"/>
                    </a:lnTo>
                    <a:lnTo>
                      <a:pt x="62" y="27"/>
                    </a:lnTo>
                    <a:lnTo>
                      <a:pt x="63" y="26"/>
                    </a:lnTo>
                    <a:lnTo>
                      <a:pt x="63" y="26"/>
                    </a:lnTo>
                    <a:lnTo>
                      <a:pt x="63" y="24"/>
                    </a:lnTo>
                    <a:lnTo>
                      <a:pt x="64" y="23"/>
                    </a:lnTo>
                    <a:lnTo>
                      <a:pt x="67" y="24"/>
                    </a:lnTo>
                    <a:lnTo>
                      <a:pt x="67" y="24"/>
                    </a:lnTo>
                    <a:lnTo>
                      <a:pt x="69" y="23"/>
                    </a:lnTo>
                    <a:lnTo>
                      <a:pt x="69" y="21"/>
                    </a:lnTo>
                    <a:lnTo>
                      <a:pt x="70" y="20"/>
                    </a:lnTo>
                    <a:lnTo>
                      <a:pt x="73" y="17"/>
                    </a:lnTo>
                    <a:lnTo>
                      <a:pt x="73" y="17"/>
                    </a:lnTo>
                    <a:lnTo>
                      <a:pt x="69" y="16"/>
                    </a:lnTo>
                    <a:lnTo>
                      <a:pt x="64" y="16"/>
                    </a:lnTo>
                    <a:lnTo>
                      <a:pt x="64" y="16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22" name="Germany">
                <a:extLst>
                  <a:ext uri="{FF2B5EF4-FFF2-40B4-BE49-F238E27FC236}">
                    <a16:creationId xmlns:a16="http://schemas.microsoft.com/office/drawing/2014/main" id="{4C09D32F-414C-EF60-A6CB-1B6BF3C166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9895" y="2846233"/>
                <a:ext cx="210129" cy="238246"/>
              </a:xfrm>
              <a:custGeom>
                <a:avLst/>
                <a:gdLst/>
                <a:ahLst/>
                <a:cxnLst>
                  <a:cxn ang="0">
                    <a:pos x="11" y="47"/>
                  </a:cxn>
                  <a:cxn ang="0">
                    <a:pos x="13" y="54"/>
                  </a:cxn>
                  <a:cxn ang="0">
                    <a:pos x="13" y="60"/>
                  </a:cxn>
                  <a:cxn ang="0">
                    <a:pos x="10" y="66"/>
                  </a:cxn>
                  <a:cxn ang="0">
                    <a:pos x="1" y="69"/>
                  </a:cxn>
                  <a:cxn ang="0">
                    <a:pos x="1" y="76"/>
                  </a:cxn>
                  <a:cxn ang="0">
                    <a:pos x="0" y="91"/>
                  </a:cxn>
                  <a:cxn ang="0">
                    <a:pos x="4" y="98"/>
                  </a:cxn>
                  <a:cxn ang="0">
                    <a:pos x="1" y="104"/>
                  </a:cxn>
                  <a:cxn ang="0">
                    <a:pos x="6" y="118"/>
                  </a:cxn>
                  <a:cxn ang="0">
                    <a:pos x="20" y="124"/>
                  </a:cxn>
                  <a:cxn ang="0">
                    <a:pos x="28" y="127"/>
                  </a:cxn>
                  <a:cxn ang="0">
                    <a:pos x="33" y="130"/>
                  </a:cxn>
                  <a:cxn ang="0">
                    <a:pos x="27" y="140"/>
                  </a:cxn>
                  <a:cxn ang="0">
                    <a:pos x="24" y="155"/>
                  </a:cxn>
                  <a:cxn ang="0">
                    <a:pos x="43" y="154"/>
                  </a:cxn>
                  <a:cxn ang="0">
                    <a:pos x="57" y="158"/>
                  </a:cxn>
                  <a:cxn ang="0">
                    <a:pos x="61" y="158"/>
                  </a:cxn>
                  <a:cxn ang="0">
                    <a:pos x="68" y="160"/>
                  </a:cxn>
                  <a:cxn ang="0">
                    <a:pos x="78" y="158"/>
                  </a:cxn>
                  <a:cxn ang="0">
                    <a:pos x="87" y="157"/>
                  </a:cxn>
                  <a:cxn ang="0">
                    <a:pos x="104" y="154"/>
                  </a:cxn>
                  <a:cxn ang="0">
                    <a:pos x="110" y="150"/>
                  </a:cxn>
                  <a:cxn ang="0">
                    <a:pos x="115" y="141"/>
                  </a:cxn>
                  <a:cxn ang="0">
                    <a:pos x="122" y="135"/>
                  </a:cxn>
                  <a:cxn ang="0">
                    <a:pos x="118" y="127"/>
                  </a:cxn>
                  <a:cxn ang="0">
                    <a:pos x="105" y="114"/>
                  </a:cxn>
                  <a:cxn ang="0">
                    <a:pos x="100" y="100"/>
                  </a:cxn>
                  <a:cxn ang="0">
                    <a:pos x="115" y="94"/>
                  </a:cxn>
                  <a:cxn ang="0">
                    <a:pos x="127" y="88"/>
                  </a:cxn>
                  <a:cxn ang="0">
                    <a:pos x="134" y="84"/>
                  </a:cxn>
                  <a:cxn ang="0">
                    <a:pos x="141" y="86"/>
                  </a:cxn>
                  <a:cxn ang="0">
                    <a:pos x="141" y="76"/>
                  </a:cxn>
                  <a:cxn ang="0">
                    <a:pos x="137" y="59"/>
                  </a:cxn>
                  <a:cxn ang="0">
                    <a:pos x="131" y="47"/>
                  </a:cxn>
                  <a:cxn ang="0">
                    <a:pos x="131" y="40"/>
                  </a:cxn>
                  <a:cxn ang="0">
                    <a:pos x="131" y="24"/>
                  </a:cxn>
                  <a:cxn ang="0">
                    <a:pos x="129" y="20"/>
                  </a:cxn>
                  <a:cxn ang="0">
                    <a:pos x="120" y="15"/>
                  </a:cxn>
                  <a:cxn ang="0">
                    <a:pos x="120" y="12"/>
                  </a:cxn>
                  <a:cxn ang="0">
                    <a:pos x="121" y="6"/>
                  </a:cxn>
                  <a:cxn ang="0">
                    <a:pos x="111" y="9"/>
                  </a:cxn>
                  <a:cxn ang="0">
                    <a:pos x="98" y="13"/>
                  </a:cxn>
                  <a:cxn ang="0">
                    <a:pos x="81" y="20"/>
                  </a:cxn>
                  <a:cxn ang="0">
                    <a:pos x="83" y="10"/>
                  </a:cxn>
                  <a:cxn ang="0">
                    <a:pos x="71" y="12"/>
                  </a:cxn>
                  <a:cxn ang="0">
                    <a:pos x="63" y="5"/>
                  </a:cxn>
                  <a:cxn ang="0">
                    <a:pos x="57" y="2"/>
                  </a:cxn>
                  <a:cxn ang="0">
                    <a:pos x="44" y="5"/>
                  </a:cxn>
                  <a:cxn ang="0">
                    <a:pos x="44" y="10"/>
                  </a:cxn>
                  <a:cxn ang="0">
                    <a:pos x="50" y="23"/>
                  </a:cxn>
                  <a:cxn ang="0">
                    <a:pos x="43" y="27"/>
                  </a:cxn>
                  <a:cxn ang="0">
                    <a:pos x="40" y="29"/>
                  </a:cxn>
                  <a:cxn ang="0">
                    <a:pos x="27" y="26"/>
                  </a:cxn>
                  <a:cxn ang="0">
                    <a:pos x="18" y="29"/>
                  </a:cxn>
                  <a:cxn ang="0">
                    <a:pos x="18" y="43"/>
                  </a:cxn>
                </a:cxnLst>
                <a:rect l="0" t="0" r="r" b="b"/>
                <a:pathLst>
                  <a:path w="142" h="161">
                    <a:moveTo>
                      <a:pt x="18" y="43"/>
                    </a:moveTo>
                    <a:lnTo>
                      <a:pt x="18" y="43"/>
                    </a:lnTo>
                    <a:lnTo>
                      <a:pt x="14" y="46"/>
                    </a:lnTo>
                    <a:lnTo>
                      <a:pt x="11" y="47"/>
                    </a:lnTo>
                    <a:lnTo>
                      <a:pt x="10" y="49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3" y="54"/>
                    </a:lnTo>
                    <a:lnTo>
                      <a:pt x="14" y="56"/>
                    </a:lnTo>
                    <a:lnTo>
                      <a:pt x="16" y="59"/>
                    </a:lnTo>
                    <a:lnTo>
                      <a:pt x="16" y="59"/>
                    </a:lnTo>
                    <a:lnTo>
                      <a:pt x="13" y="60"/>
                    </a:lnTo>
                    <a:lnTo>
                      <a:pt x="11" y="61"/>
                    </a:lnTo>
                    <a:lnTo>
                      <a:pt x="11" y="64"/>
                    </a:lnTo>
                    <a:lnTo>
                      <a:pt x="11" y="64"/>
                    </a:lnTo>
                    <a:lnTo>
                      <a:pt x="10" y="66"/>
                    </a:lnTo>
                    <a:lnTo>
                      <a:pt x="9" y="67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1" y="69"/>
                    </a:lnTo>
                    <a:lnTo>
                      <a:pt x="1" y="70"/>
                    </a:lnTo>
                    <a:lnTo>
                      <a:pt x="1" y="73"/>
                    </a:lnTo>
                    <a:lnTo>
                      <a:pt x="1" y="76"/>
                    </a:lnTo>
                    <a:lnTo>
                      <a:pt x="1" y="76"/>
                    </a:lnTo>
                    <a:lnTo>
                      <a:pt x="0" y="83"/>
                    </a:lnTo>
                    <a:lnTo>
                      <a:pt x="0" y="88"/>
                    </a:lnTo>
                    <a:lnTo>
                      <a:pt x="0" y="88"/>
                    </a:lnTo>
                    <a:lnTo>
                      <a:pt x="0" y="91"/>
                    </a:lnTo>
                    <a:lnTo>
                      <a:pt x="1" y="94"/>
                    </a:lnTo>
                    <a:lnTo>
                      <a:pt x="3" y="96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1" y="101"/>
                    </a:lnTo>
                    <a:lnTo>
                      <a:pt x="1" y="103"/>
                    </a:lnTo>
                    <a:lnTo>
                      <a:pt x="1" y="104"/>
                    </a:lnTo>
                    <a:lnTo>
                      <a:pt x="1" y="104"/>
                    </a:lnTo>
                    <a:lnTo>
                      <a:pt x="3" y="108"/>
                    </a:lnTo>
                    <a:lnTo>
                      <a:pt x="4" y="113"/>
                    </a:lnTo>
                    <a:lnTo>
                      <a:pt x="6" y="118"/>
                    </a:lnTo>
                    <a:lnTo>
                      <a:pt x="6" y="118"/>
                    </a:lnTo>
                    <a:lnTo>
                      <a:pt x="10" y="120"/>
                    </a:lnTo>
                    <a:lnTo>
                      <a:pt x="10" y="120"/>
                    </a:lnTo>
                    <a:lnTo>
                      <a:pt x="14" y="123"/>
                    </a:lnTo>
                    <a:lnTo>
                      <a:pt x="20" y="124"/>
                    </a:lnTo>
                    <a:lnTo>
                      <a:pt x="20" y="124"/>
                    </a:lnTo>
                    <a:lnTo>
                      <a:pt x="23" y="125"/>
                    </a:lnTo>
                    <a:lnTo>
                      <a:pt x="26" y="127"/>
                    </a:lnTo>
                    <a:lnTo>
                      <a:pt x="28" y="127"/>
                    </a:lnTo>
                    <a:lnTo>
                      <a:pt x="28" y="127"/>
                    </a:lnTo>
                    <a:lnTo>
                      <a:pt x="30" y="128"/>
                    </a:lnTo>
                    <a:lnTo>
                      <a:pt x="33" y="128"/>
                    </a:lnTo>
                    <a:lnTo>
                      <a:pt x="33" y="130"/>
                    </a:lnTo>
                    <a:lnTo>
                      <a:pt x="31" y="133"/>
                    </a:lnTo>
                    <a:lnTo>
                      <a:pt x="31" y="133"/>
                    </a:lnTo>
                    <a:lnTo>
                      <a:pt x="28" y="135"/>
                    </a:lnTo>
                    <a:lnTo>
                      <a:pt x="27" y="140"/>
                    </a:lnTo>
                    <a:lnTo>
                      <a:pt x="26" y="145"/>
                    </a:lnTo>
                    <a:lnTo>
                      <a:pt x="26" y="145"/>
                    </a:lnTo>
                    <a:lnTo>
                      <a:pt x="24" y="155"/>
                    </a:lnTo>
                    <a:lnTo>
                      <a:pt x="24" y="155"/>
                    </a:lnTo>
                    <a:lnTo>
                      <a:pt x="31" y="157"/>
                    </a:lnTo>
                    <a:lnTo>
                      <a:pt x="37" y="155"/>
                    </a:lnTo>
                    <a:lnTo>
                      <a:pt x="37" y="155"/>
                    </a:lnTo>
                    <a:lnTo>
                      <a:pt x="43" y="154"/>
                    </a:lnTo>
                    <a:lnTo>
                      <a:pt x="48" y="155"/>
                    </a:lnTo>
                    <a:lnTo>
                      <a:pt x="48" y="155"/>
                    </a:lnTo>
                    <a:lnTo>
                      <a:pt x="57" y="158"/>
                    </a:lnTo>
                    <a:lnTo>
                      <a:pt x="57" y="158"/>
                    </a:lnTo>
                    <a:lnTo>
                      <a:pt x="58" y="158"/>
                    </a:lnTo>
                    <a:lnTo>
                      <a:pt x="60" y="157"/>
                    </a:lnTo>
                    <a:lnTo>
                      <a:pt x="60" y="157"/>
                    </a:lnTo>
                    <a:lnTo>
                      <a:pt x="61" y="158"/>
                    </a:lnTo>
                    <a:lnTo>
                      <a:pt x="64" y="160"/>
                    </a:lnTo>
                    <a:lnTo>
                      <a:pt x="67" y="161"/>
                    </a:lnTo>
                    <a:lnTo>
                      <a:pt x="68" y="160"/>
                    </a:lnTo>
                    <a:lnTo>
                      <a:pt x="68" y="160"/>
                    </a:lnTo>
                    <a:lnTo>
                      <a:pt x="71" y="158"/>
                    </a:lnTo>
                    <a:lnTo>
                      <a:pt x="73" y="157"/>
                    </a:lnTo>
                    <a:lnTo>
                      <a:pt x="78" y="158"/>
                    </a:lnTo>
                    <a:lnTo>
                      <a:pt x="78" y="158"/>
                    </a:lnTo>
                    <a:lnTo>
                      <a:pt x="83" y="160"/>
                    </a:lnTo>
                    <a:lnTo>
                      <a:pt x="85" y="158"/>
                    </a:lnTo>
                    <a:lnTo>
                      <a:pt x="87" y="157"/>
                    </a:lnTo>
                    <a:lnTo>
                      <a:pt x="87" y="157"/>
                    </a:lnTo>
                    <a:lnTo>
                      <a:pt x="91" y="155"/>
                    </a:lnTo>
                    <a:lnTo>
                      <a:pt x="95" y="154"/>
                    </a:lnTo>
                    <a:lnTo>
                      <a:pt x="104" y="154"/>
                    </a:lnTo>
                    <a:lnTo>
                      <a:pt x="104" y="154"/>
                    </a:lnTo>
                    <a:lnTo>
                      <a:pt x="107" y="155"/>
                    </a:lnTo>
                    <a:lnTo>
                      <a:pt x="108" y="155"/>
                    </a:lnTo>
                    <a:lnTo>
                      <a:pt x="111" y="154"/>
                    </a:lnTo>
                    <a:lnTo>
                      <a:pt x="110" y="150"/>
                    </a:lnTo>
                    <a:lnTo>
                      <a:pt x="110" y="150"/>
                    </a:lnTo>
                    <a:lnTo>
                      <a:pt x="110" y="145"/>
                    </a:lnTo>
                    <a:lnTo>
                      <a:pt x="112" y="143"/>
                    </a:lnTo>
                    <a:lnTo>
                      <a:pt x="115" y="141"/>
                    </a:lnTo>
                    <a:lnTo>
                      <a:pt x="117" y="140"/>
                    </a:lnTo>
                    <a:lnTo>
                      <a:pt x="117" y="140"/>
                    </a:lnTo>
                    <a:lnTo>
                      <a:pt x="118" y="137"/>
                    </a:lnTo>
                    <a:lnTo>
                      <a:pt x="122" y="135"/>
                    </a:lnTo>
                    <a:lnTo>
                      <a:pt x="125" y="134"/>
                    </a:lnTo>
                    <a:lnTo>
                      <a:pt x="125" y="133"/>
                    </a:lnTo>
                    <a:lnTo>
                      <a:pt x="125" y="133"/>
                    </a:lnTo>
                    <a:lnTo>
                      <a:pt x="118" y="127"/>
                    </a:lnTo>
                    <a:lnTo>
                      <a:pt x="108" y="120"/>
                    </a:lnTo>
                    <a:lnTo>
                      <a:pt x="108" y="120"/>
                    </a:lnTo>
                    <a:lnTo>
                      <a:pt x="107" y="117"/>
                    </a:lnTo>
                    <a:lnTo>
                      <a:pt x="105" y="114"/>
                    </a:lnTo>
                    <a:lnTo>
                      <a:pt x="104" y="107"/>
                    </a:lnTo>
                    <a:lnTo>
                      <a:pt x="104" y="107"/>
                    </a:lnTo>
                    <a:lnTo>
                      <a:pt x="101" y="101"/>
                    </a:lnTo>
                    <a:lnTo>
                      <a:pt x="100" y="100"/>
                    </a:lnTo>
                    <a:lnTo>
                      <a:pt x="102" y="98"/>
                    </a:lnTo>
                    <a:lnTo>
                      <a:pt x="102" y="98"/>
                    </a:lnTo>
                    <a:lnTo>
                      <a:pt x="111" y="96"/>
                    </a:lnTo>
                    <a:lnTo>
                      <a:pt x="115" y="94"/>
                    </a:lnTo>
                    <a:lnTo>
                      <a:pt x="120" y="91"/>
                    </a:lnTo>
                    <a:lnTo>
                      <a:pt x="120" y="91"/>
                    </a:lnTo>
                    <a:lnTo>
                      <a:pt x="122" y="90"/>
                    </a:lnTo>
                    <a:lnTo>
                      <a:pt x="127" y="88"/>
                    </a:lnTo>
                    <a:lnTo>
                      <a:pt x="129" y="87"/>
                    </a:lnTo>
                    <a:lnTo>
                      <a:pt x="132" y="86"/>
                    </a:lnTo>
                    <a:lnTo>
                      <a:pt x="132" y="86"/>
                    </a:lnTo>
                    <a:lnTo>
                      <a:pt x="134" y="84"/>
                    </a:lnTo>
                    <a:lnTo>
                      <a:pt x="137" y="86"/>
                    </a:lnTo>
                    <a:lnTo>
                      <a:pt x="139" y="86"/>
                    </a:lnTo>
                    <a:lnTo>
                      <a:pt x="141" y="86"/>
                    </a:lnTo>
                    <a:lnTo>
                      <a:pt x="141" y="86"/>
                    </a:lnTo>
                    <a:lnTo>
                      <a:pt x="142" y="81"/>
                    </a:lnTo>
                    <a:lnTo>
                      <a:pt x="142" y="79"/>
                    </a:lnTo>
                    <a:lnTo>
                      <a:pt x="141" y="76"/>
                    </a:lnTo>
                    <a:lnTo>
                      <a:pt x="141" y="76"/>
                    </a:lnTo>
                    <a:lnTo>
                      <a:pt x="138" y="71"/>
                    </a:lnTo>
                    <a:lnTo>
                      <a:pt x="137" y="63"/>
                    </a:lnTo>
                    <a:lnTo>
                      <a:pt x="137" y="63"/>
                    </a:lnTo>
                    <a:lnTo>
                      <a:pt x="137" y="59"/>
                    </a:lnTo>
                    <a:lnTo>
                      <a:pt x="135" y="54"/>
                    </a:lnTo>
                    <a:lnTo>
                      <a:pt x="135" y="54"/>
                    </a:lnTo>
                    <a:lnTo>
                      <a:pt x="134" y="50"/>
                    </a:lnTo>
                    <a:lnTo>
                      <a:pt x="131" y="47"/>
                    </a:lnTo>
                    <a:lnTo>
                      <a:pt x="131" y="47"/>
                    </a:lnTo>
                    <a:lnTo>
                      <a:pt x="129" y="44"/>
                    </a:lnTo>
                    <a:lnTo>
                      <a:pt x="129" y="43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37"/>
                    </a:lnTo>
                    <a:lnTo>
                      <a:pt x="132" y="32"/>
                    </a:lnTo>
                    <a:lnTo>
                      <a:pt x="131" y="24"/>
                    </a:lnTo>
                    <a:lnTo>
                      <a:pt x="131" y="24"/>
                    </a:lnTo>
                    <a:lnTo>
                      <a:pt x="131" y="22"/>
                    </a:lnTo>
                    <a:lnTo>
                      <a:pt x="131" y="22"/>
                    </a:lnTo>
                    <a:lnTo>
                      <a:pt x="129" y="20"/>
                    </a:lnTo>
                    <a:lnTo>
                      <a:pt x="129" y="20"/>
                    </a:lnTo>
                    <a:lnTo>
                      <a:pt x="128" y="17"/>
                    </a:lnTo>
                    <a:lnTo>
                      <a:pt x="127" y="16"/>
                    </a:lnTo>
                    <a:lnTo>
                      <a:pt x="120" y="15"/>
                    </a:lnTo>
                    <a:lnTo>
                      <a:pt x="120" y="15"/>
                    </a:lnTo>
                    <a:lnTo>
                      <a:pt x="118" y="15"/>
                    </a:lnTo>
                    <a:lnTo>
                      <a:pt x="118" y="15"/>
                    </a:lnTo>
                    <a:lnTo>
                      <a:pt x="120" y="12"/>
                    </a:lnTo>
                    <a:lnTo>
                      <a:pt x="121" y="9"/>
                    </a:lnTo>
                    <a:lnTo>
                      <a:pt x="121" y="7"/>
                    </a:lnTo>
                    <a:lnTo>
                      <a:pt x="121" y="6"/>
                    </a:lnTo>
                    <a:lnTo>
                      <a:pt x="121" y="6"/>
                    </a:lnTo>
                    <a:lnTo>
                      <a:pt x="120" y="5"/>
                    </a:lnTo>
                    <a:lnTo>
                      <a:pt x="118" y="5"/>
                    </a:lnTo>
                    <a:lnTo>
                      <a:pt x="115" y="7"/>
                    </a:lnTo>
                    <a:lnTo>
                      <a:pt x="111" y="9"/>
                    </a:lnTo>
                    <a:lnTo>
                      <a:pt x="107" y="9"/>
                    </a:lnTo>
                    <a:lnTo>
                      <a:pt x="107" y="9"/>
                    </a:lnTo>
                    <a:lnTo>
                      <a:pt x="102" y="10"/>
                    </a:lnTo>
                    <a:lnTo>
                      <a:pt x="98" y="13"/>
                    </a:lnTo>
                    <a:lnTo>
                      <a:pt x="90" y="20"/>
                    </a:lnTo>
                    <a:lnTo>
                      <a:pt x="90" y="20"/>
                    </a:lnTo>
                    <a:lnTo>
                      <a:pt x="85" y="22"/>
                    </a:lnTo>
                    <a:lnTo>
                      <a:pt x="81" y="20"/>
                    </a:lnTo>
                    <a:lnTo>
                      <a:pt x="80" y="17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3" y="10"/>
                    </a:lnTo>
                    <a:lnTo>
                      <a:pt x="81" y="9"/>
                    </a:lnTo>
                    <a:lnTo>
                      <a:pt x="75" y="10"/>
                    </a:lnTo>
                    <a:lnTo>
                      <a:pt x="75" y="10"/>
                    </a:lnTo>
                    <a:lnTo>
                      <a:pt x="71" y="12"/>
                    </a:lnTo>
                    <a:lnTo>
                      <a:pt x="67" y="10"/>
                    </a:lnTo>
                    <a:lnTo>
                      <a:pt x="64" y="9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3" y="2"/>
                    </a:lnTo>
                    <a:lnTo>
                      <a:pt x="63" y="2"/>
                    </a:lnTo>
                    <a:lnTo>
                      <a:pt x="57" y="2"/>
                    </a:lnTo>
                    <a:lnTo>
                      <a:pt x="57" y="2"/>
                    </a:lnTo>
                    <a:lnTo>
                      <a:pt x="50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4" y="5"/>
                    </a:lnTo>
                    <a:lnTo>
                      <a:pt x="44" y="6"/>
                    </a:lnTo>
                    <a:lnTo>
                      <a:pt x="44" y="7"/>
                    </a:lnTo>
                    <a:lnTo>
                      <a:pt x="44" y="7"/>
                    </a:lnTo>
                    <a:lnTo>
                      <a:pt x="44" y="10"/>
                    </a:lnTo>
                    <a:lnTo>
                      <a:pt x="44" y="15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0" y="23"/>
                    </a:lnTo>
                    <a:lnTo>
                      <a:pt x="48" y="24"/>
                    </a:lnTo>
                    <a:lnTo>
                      <a:pt x="47" y="26"/>
                    </a:lnTo>
                    <a:lnTo>
                      <a:pt x="43" y="26"/>
                    </a:lnTo>
                    <a:lnTo>
                      <a:pt x="43" y="27"/>
                    </a:lnTo>
                    <a:lnTo>
                      <a:pt x="41" y="27"/>
                    </a:lnTo>
                    <a:lnTo>
                      <a:pt x="41" y="27"/>
                    </a:lnTo>
                    <a:lnTo>
                      <a:pt x="41" y="29"/>
                    </a:lnTo>
                    <a:lnTo>
                      <a:pt x="40" y="29"/>
                    </a:lnTo>
                    <a:lnTo>
                      <a:pt x="37" y="29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27" y="26"/>
                    </a:lnTo>
                    <a:lnTo>
                      <a:pt x="23" y="26"/>
                    </a:lnTo>
                    <a:lnTo>
                      <a:pt x="18" y="27"/>
                    </a:lnTo>
                    <a:lnTo>
                      <a:pt x="18" y="29"/>
                    </a:lnTo>
                    <a:lnTo>
                      <a:pt x="18" y="29"/>
                    </a:lnTo>
                    <a:lnTo>
                      <a:pt x="17" y="32"/>
                    </a:lnTo>
                    <a:lnTo>
                      <a:pt x="17" y="32"/>
                    </a:lnTo>
                    <a:lnTo>
                      <a:pt x="18" y="37"/>
                    </a:lnTo>
                    <a:lnTo>
                      <a:pt x="18" y="43"/>
                    </a:lnTo>
                    <a:lnTo>
                      <a:pt x="18" y="43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23" name="Finland">
                <a:extLst>
                  <a:ext uri="{FF2B5EF4-FFF2-40B4-BE49-F238E27FC236}">
                    <a16:creationId xmlns:a16="http://schemas.microsoft.com/office/drawing/2014/main" id="{5E8DDCC8-03EB-B718-4270-83F3B489A5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4684" y="2273558"/>
                <a:ext cx="248604" cy="393622"/>
              </a:xfrm>
              <a:custGeom>
                <a:avLst/>
                <a:gdLst/>
                <a:ahLst/>
                <a:cxnLst>
                  <a:cxn ang="0">
                    <a:pos x="155" y="211"/>
                  </a:cxn>
                  <a:cxn ang="0">
                    <a:pos x="168" y="198"/>
                  </a:cxn>
                  <a:cxn ang="0">
                    <a:pos x="157" y="182"/>
                  </a:cxn>
                  <a:cxn ang="0">
                    <a:pos x="143" y="171"/>
                  </a:cxn>
                  <a:cxn ang="0">
                    <a:pos x="153" y="163"/>
                  </a:cxn>
                  <a:cxn ang="0">
                    <a:pos x="144" y="154"/>
                  </a:cxn>
                  <a:cxn ang="0">
                    <a:pos x="147" y="147"/>
                  </a:cxn>
                  <a:cxn ang="0">
                    <a:pos x="138" y="141"/>
                  </a:cxn>
                  <a:cxn ang="0">
                    <a:pos x="143" y="137"/>
                  </a:cxn>
                  <a:cxn ang="0">
                    <a:pos x="140" y="124"/>
                  </a:cxn>
                  <a:cxn ang="0">
                    <a:pos x="145" y="114"/>
                  </a:cxn>
                  <a:cxn ang="0">
                    <a:pos x="130" y="89"/>
                  </a:cxn>
                  <a:cxn ang="0">
                    <a:pos x="144" y="71"/>
                  </a:cxn>
                  <a:cxn ang="0">
                    <a:pos x="134" y="57"/>
                  </a:cxn>
                  <a:cxn ang="0">
                    <a:pos x="124" y="52"/>
                  </a:cxn>
                  <a:cxn ang="0">
                    <a:pos x="123" y="39"/>
                  </a:cxn>
                  <a:cxn ang="0">
                    <a:pos x="128" y="32"/>
                  </a:cxn>
                  <a:cxn ang="0">
                    <a:pos x="133" y="23"/>
                  </a:cxn>
                  <a:cxn ang="0">
                    <a:pos x="125" y="9"/>
                  </a:cxn>
                  <a:cxn ang="0">
                    <a:pos x="110" y="0"/>
                  </a:cxn>
                  <a:cxn ang="0">
                    <a:pos x="94" y="5"/>
                  </a:cxn>
                  <a:cxn ang="0">
                    <a:pos x="86" y="10"/>
                  </a:cxn>
                  <a:cxn ang="0">
                    <a:pos x="77" y="17"/>
                  </a:cxn>
                  <a:cxn ang="0">
                    <a:pos x="74" y="32"/>
                  </a:cxn>
                  <a:cxn ang="0">
                    <a:pos x="67" y="40"/>
                  </a:cxn>
                  <a:cxn ang="0">
                    <a:pos x="59" y="37"/>
                  </a:cxn>
                  <a:cxn ang="0">
                    <a:pos x="46" y="37"/>
                  </a:cxn>
                  <a:cxn ang="0">
                    <a:pos x="29" y="36"/>
                  </a:cxn>
                  <a:cxn ang="0">
                    <a:pos x="12" y="23"/>
                  </a:cxn>
                  <a:cxn ang="0">
                    <a:pos x="0" y="32"/>
                  </a:cxn>
                  <a:cxn ang="0">
                    <a:pos x="33" y="50"/>
                  </a:cxn>
                  <a:cxn ang="0">
                    <a:pos x="40" y="67"/>
                  </a:cxn>
                  <a:cxn ang="0">
                    <a:pos x="43" y="76"/>
                  </a:cxn>
                  <a:cxn ang="0">
                    <a:pos x="46" y="87"/>
                  </a:cxn>
                  <a:cxn ang="0">
                    <a:pos x="44" y="101"/>
                  </a:cxn>
                  <a:cxn ang="0">
                    <a:pos x="47" y="110"/>
                  </a:cxn>
                  <a:cxn ang="0">
                    <a:pos x="63" y="123"/>
                  </a:cxn>
                  <a:cxn ang="0">
                    <a:pos x="69" y="135"/>
                  </a:cxn>
                  <a:cxn ang="0">
                    <a:pos x="63" y="140"/>
                  </a:cxn>
                  <a:cxn ang="0">
                    <a:pos x="54" y="154"/>
                  </a:cxn>
                  <a:cxn ang="0">
                    <a:pos x="37" y="165"/>
                  </a:cxn>
                  <a:cxn ang="0">
                    <a:pos x="27" y="172"/>
                  </a:cxn>
                  <a:cxn ang="0">
                    <a:pos x="22" y="182"/>
                  </a:cxn>
                  <a:cxn ang="0">
                    <a:pos x="7" y="190"/>
                  </a:cxn>
                  <a:cxn ang="0">
                    <a:pos x="2" y="199"/>
                  </a:cxn>
                  <a:cxn ang="0">
                    <a:pos x="6" y="214"/>
                  </a:cxn>
                  <a:cxn ang="0">
                    <a:pos x="9" y="234"/>
                  </a:cxn>
                  <a:cxn ang="0">
                    <a:pos x="5" y="251"/>
                  </a:cxn>
                  <a:cxn ang="0">
                    <a:pos x="20" y="256"/>
                  </a:cxn>
                  <a:cxn ang="0">
                    <a:pos x="30" y="262"/>
                  </a:cxn>
                  <a:cxn ang="0">
                    <a:pos x="47" y="266"/>
                  </a:cxn>
                  <a:cxn ang="0">
                    <a:pos x="97" y="255"/>
                  </a:cxn>
                  <a:cxn ang="0">
                    <a:pos x="120" y="244"/>
                  </a:cxn>
                  <a:cxn ang="0">
                    <a:pos x="144" y="224"/>
                  </a:cxn>
                </a:cxnLst>
                <a:rect l="0" t="0" r="r" b="b"/>
                <a:pathLst>
                  <a:path w="168" h="266">
                    <a:moveTo>
                      <a:pt x="144" y="224"/>
                    </a:moveTo>
                    <a:lnTo>
                      <a:pt x="144" y="224"/>
                    </a:lnTo>
                    <a:lnTo>
                      <a:pt x="145" y="219"/>
                    </a:lnTo>
                    <a:lnTo>
                      <a:pt x="148" y="217"/>
                    </a:lnTo>
                    <a:lnTo>
                      <a:pt x="155" y="211"/>
                    </a:lnTo>
                    <a:lnTo>
                      <a:pt x="162" y="207"/>
                    </a:lnTo>
                    <a:lnTo>
                      <a:pt x="165" y="204"/>
                    </a:lnTo>
                    <a:lnTo>
                      <a:pt x="168" y="201"/>
                    </a:lnTo>
                    <a:lnTo>
                      <a:pt x="168" y="201"/>
                    </a:lnTo>
                    <a:lnTo>
                      <a:pt x="168" y="198"/>
                    </a:lnTo>
                    <a:lnTo>
                      <a:pt x="168" y="195"/>
                    </a:lnTo>
                    <a:lnTo>
                      <a:pt x="167" y="192"/>
                    </a:lnTo>
                    <a:lnTo>
                      <a:pt x="164" y="188"/>
                    </a:lnTo>
                    <a:lnTo>
                      <a:pt x="164" y="188"/>
                    </a:lnTo>
                    <a:lnTo>
                      <a:pt x="157" y="182"/>
                    </a:lnTo>
                    <a:lnTo>
                      <a:pt x="151" y="178"/>
                    </a:lnTo>
                    <a:lnTo>
                      <a:pt x="145" y="175"/>
                    </a:lnTo>
                    <a:lnTo>
                      <a:pt x="143" y="172"/>
                    </a:lnTo>
                    <a:lnTo>
                      <a:pt x="143" y="172"/>
                    </a:lnTo>
                    <a:lnTo>
                      <a:pt x="143" y="171"/>
                    </a:lnTo>
                    <a:lnTo>
                      <a:pt x="144" y="170"/>
                    </a:lnTo>
                    <a:lnTo>
                      <a:pt x="148" y="168"/>
                    </a:lnTo>
                    <a:lnTo>
                      <a:pt x="151" y="165"/>
                    </a:lnTo>
                    <a:lnTo>
                      <a:pt x="153" y="164"/>
                    </a:lnTo>
                    <a:lnTo>
                      <a:pt x="153" y="163"/>
                    </a:lnTo>
                    <a:lnTo>
                      <a:pt x="153" y="163"/>
                    </a:lnTo>
                    <a:lnTo>
                      <a:pt x="151" y="160"/>
                    </a:lnTo>
                    <a:lnTo>
                      <a:pt x="150" y="158"/>
                    </a:lnTo>
                    <a:lnTo>
                      <a:pt x="147" y="157"/>
                    </a:lnTo>
                    <a:lnTo>
                      <a:pt x="144" y="154"/>
                    </a:lnTo>
                    <a:lnTo>
                      <a:pt x="144" y="154"/>
                    </a:lnTo>
                    <a:lnTo>
                      <a:pt x="144" y="151"/>
                    </a:lnTo>
                    <a:lnTo>
                      <a:pt x="145" y="150"/>
                    </a:lnTo>
                    <a:lnTo>
                      <a:pt x="145" y="148"/>
                    </a:lnTo>
                    <a:lnTo>
                      <a:pt x="147" y="147"/>
                    </a:lnTo>
                    <a:lnTo>
                      <a:pt x="147" y="147"/>
                    </a:lnTo>
                    <a:lnTo>
                      <a:pt x="145" y="145"/>
                    </a:lnTo>
                    <a:lnTo>
                      <a:pt x="143" y="144"/>
                    </a:lnTo>
                    <a:lnTo>
                      <a:pt x="140" y="143"/>
                    </a:lnTo>
                    <a:lnTo>
                      <a:pt x="138" y="141"/>
                    </a:lnTo>
                    <a:lnTo>
                      <a:pt x="138" y="141"/>
                    </a:lnTo>
                    <a:lnTo>
                      <a:pt x="140" y="140"/>
                    </a:lnTo>
                    <a:lnTo>
                      <a:pt x="141" y="138"/>
                    </a:lnTo>
                    <a:lnTo>
                      <a:pt x="143" y="138"/>
                    </a:lnTo>
                    <a:lnTo>
                      <a:pt x="143" y="137"/>
                    </a:lnTo>
                    <a:lnTo>
                      <a:pt x="143" y="137"/>
                    </a:lnTo>
                    <a:lnTo>
                      <a:pt x="140" y="131"/>
                    </a:lnTo>
                    <a:lnTo>
                      <a:pt x="138" y="127"/>
                    </a:lnTo>
                    <a:lnTo>
                      <a:pt x="140" y="124"/>
                    </a:lnTo>
                    <a:lnTo>
                      <a:pt x="140" y="124"/>
                    </a:lnTo>
                    <a:lnTo>
                      <a:pt x="143" y="123"/>
                    </a:lnTo>
                    <a:lnTo>
                      <a:pt x="145" y="121"/>
                    </a:lnTo>
                    <a:lnTo>
                      <a:pt x="147" y="120"/>
                    </a:lnTo>
                    <a:lnTo>
                      <a:pt x="147" y="120"/>
                    </a:lnTo>
                    <a:lnTo>
                      <a:pt x="145" y="114"/>
                    </a:lnTo>
                    <a:lnTo>
                      <a:pt x="145" y="114"/>
                    </a:lnTo>
                    <a:lnTo>
                      <a:pt x="137" y="100"/>
                    </a:lnTo>
                    <a:lnTo>
                      <a:pt x="130" y="90"/>
                    </a:lnTo>
                    <a:lnTo>
                      <a:pt x="130" y="90"/>
                    </a:lnTo>
                    <a:lnTo>
                      <a:pt x="130" y="89"/>
                    </a:lnTo>
                    <a:lnTo>
                      <a:pt x="131" y="86"/>
                    </a:lnTo>
                    <a:lnTo>
                      <a:pt x="135" y="81"/>
                    </a:lnTo>
                    <a:lnTo>
                      <a:pt x="135" y="81"/>
                    </a:lnTo>
                    <a:lnTo>
                      <a:pt x="141" y="76"/>
                    </a:lnTo>
                    <a:lnTo>
                      <a:pt x="144" y="71"/>
                    </a:lnTo>
                    <a:lnTo>
                      <a:pt x="145" y="69"/>
                    </a:lnTo>
                    <a:lnTo>
                      <a:pt x="145" y="69"/>
                    </a:lnTo>
                    <a:lnTo>
                      <a:pt x="143" y="66"/>
                    </a:lnTo>
                    <a:lnTo>
                      <a:pt x="140" y="63"/>
                    </a:lnTo>
                    <a:lnTo>
                      <a:pt x="134" y="57"/>
                    </a:lnTo>
                    <a:lnTo>
                      <a:pt x="134" y="57"/>
                    </a:lnTo>
                    <a:lnTo>
                      <a:pt x="128" y="56"/>
                    </a:lnTo>
                    <a:lnTo>
                      <a:pt x="125" y="54"/>
                    </a:lnTo>
                    <a:lnTo>
                      <a:pt x="124" y="52"/>
                    </a:lnTo>
                    <a:lnTo>
                      <a:pt x="124" y="52"/>
                    </a:lnTo>
                    <a:lnTo>
                      <a:pt x="120" y="46"/>
                    </a:lnTo>
                    <a:lnTo>
                      <a:pt x="120" y="44"/>
                    </a:lnTo>
                    <a:lnTo>
                      <a:pt x="121" y="43"/>
                    </a:lnTo>
                    <a:lnTo>
                      <a:pt x="121" y="43"/>
                    </a:lnTo>
                    <a:lnTo>
                      <a:pt x="123" y="39"/>
                    </a:lnTo>
                    <a:lnTo>
                      <a:pt x="124" y="34"/>
                    </a:lnTo>
                    <a:lnTo>
                      <a:pt x="124" y="34"/>
                    </a:lnTo>
                    <a:lnTo>
                      <a:pt x="124" y="33"/>
                    </a:lnTo>
                    <a:lnTo>
                      <a:pt x="125" y="32"/>
                    </a:lnTo>
                    <a:lnTo>
                      <a:pt x="128" y="32"/>
                    </a:lnTo>
                    <a:lnTo>
                      <a:pt x="130" y="29"/>
                    </a:lnTo>
                    <a:lnTo>
                      <a:pt x="130" y="29"/>
                    </a:lnTo>
                    <a:lnTo>
                      <a:pt x="131" y="26"/>
                    </a:lnTo>
                    <a:lnTo>
                      <a:pt x="133" y="23"/>
                    </a:lnTo>
                    <a:lnTo>
                      <a:pt x="133" y="23"/>
                    </a:lnTo>
                    <a:lnTo>
                      <a:pt x="133" y="15"/>
                    </a:lnTo>
                    <a:lnTo>
                      <a:pt x="133" y="15"/>
                    </a:lnTo>
                    <a:lnTo>
                      <a:pt x="133" y="13"/>
                    </a:lnTo>
                    <a:lnTo>
                      <a:pt x="131" y="12"/>
                    </a:lnTo>
                    <a:lnTo>
                      <a:pt x="125" y="9"/>
                    </a:lnTo>
                    <a:lnTo>
                      <a:pt x="120" y="6"/>
                    </a:lnTo>
                    <a:lnTo>
                      <a:pt x="117" y="3"/>
                    </a:lnTo>
                    <a:lnTo>
                      <a:pt x="117" y="3"/>
                    </a:lnTo>
                    <a:lnTo>
                      <a:pt x="113" y="0"/>
                    </a:lnTo>
                    <a:lnTo>
                      <a:pt x="110" y="0"/>
                    </a:lnTo>
                    <a:lnTo>
                      <a:pt x="106" y="0"/>
                    </a:lnTo>
                    <a:lnTo>
                      <a:pt x="103" y="3"/>
                    </a:lnTo>
                    <a:lnTo>
                      <a:pt x="103" y="3"/>
                    </a:lnTo>
                    <a:lnTo>
                      <a:pt x="100" y="5"/>
                    </a:lnTo>
                    <a:lnTo>
                      <a:pt x="94" y="5"/>
                    </a:lnTo>
                    <a:lnTo>
                      <a:pt x="90" y="5"/>
                    </a:lnTo>
                    <a:lnTo>
                      <a:pt x="89" y="6"/>
                    </a:lnTo>
                    <a:lnTo>
                      <a:pt x="87" y="7"/>
                    </a:lnTo>
                    <a:lnTo>
                      <a:pt x="87" y="7"/>
                    </a:lnTo>
                    <a:lnTo>
                      <a:pt x="86" y="10"/>
                    </a:lnTo>
                    <a:lnTo>
                      <a:pt x="83" y="12"/>
                    </a:lnTo>
                    <a:lnTo>
                      <a:pt x="79" y="15"/>
                    </a:lnTo>
                    <a:lnTo>
                      <a:pt x="79" y="16"/>
                    </a:lnTo>
                    <a:lnTo>
                      <a:pt x="77" y="17"/>
                    </a:lnTo>
                    <a:lnTo>
                      <a:pt x="77" y="17"/>
                    </a:lnTo>
                    <a:lnTo>
                      <a:pt x="79" y="26"/>
                    </a:lnTo>
                    <a:lnTo>
                      <a:pt x="79" y="30"/>
                    </a:lnTo>
                    <a:lnTo>
                      <a:pt x="77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1" y="32"/>
                    </a:lnTo>
                    <a:lnTo>
                      <a:pt x="70" y="33"/>
                    </a:lnTo>
                    <a:lnTo>
                      <a:pt x="70" y="36"/>
                    </a:lnTo>
                    <a:lnTo>
                      <a:pt x="67" y="40"/>
                    </a:lnTo>
                    <a:lnTo>
                      <a:pt x="67" y="40"/>
                    </a:lnTo>
                    <a:lnTo>
                      <a:pt x="64" y="42"/>
                    </a:lnTo>
                    <a:lnTo>
                      <a:pt x="63" y="40"/>
                    </a:lnTo>
                    <a:lnTo>
                      <a:pt x="61" y="39"/>
                    </a:lnTo>
                    <a:lnTo>
                      <a:pt x="60" y="37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54" y="37"/>
                    </a:lnTo>
                    <a:lnTo>
                      <a:pt x="52" y="37"/>
                    </a:lnTo>
                    <a:lnTo>
                      <a:pt x="49" y="36"/>
                    </a:lnTo>
                    <a:lnTo>
                      <a:pt x="46" y="37"/>
                    </a:lnTo>
                    <a:lnTo>
                      <a:pt x="46" y="37"/>
                    </a:lnTo>
                    <a:lnTo>
                      <a:pt x="43" y="39"/>
                    </a:lnTo>
                    <a:lnTo>
                      <a:pt x="40" y="39"/>
                    </a:lnTo>
                    <a:lnTo>
                      <a:pt x="29" y="36"/>
                    </a:lnTo>
                    <a:lnTo>
                      <a:pt x="29" y="36"/>
                    </a:lnTo>
                    <a:lnTo>
                      <a:pt x="23" y="34"/>
                    </a:lnTo>
                    <a:lnTo>
                      <a:pt x="19" y="30"/>
                    </a:lnTo>
                    <a:lnTo>
                      <a:pt x="16" y="26"/>
                    </a:lnTo>
                    <a:lnTo>
                      <a:pt x="12" y="23"/>
                    </a:lnTo>
                    <a:lnTo>
                      <a:pt x="12" y="23"/>
                    </a:lnTo>
                    <a:lnTo>
                      <a:pt x="9" y="23"/>
                    </a:lnTo>
                    <a:lnTo>
                      <a:pt x="5" y="26"/>
                    </a:lnTo>
                    <a:lnTo>
                      <a:pt x="3" y="27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9" y="37"/>
                    </a:lnTo>
                    <a:lnTo>
                      <a:pt x="13" y="42"/>
                    </a:lnTo>
                    <a:lnTo>
                      <a:pt x="17" y="44"/>
                    </a:lnTo>
                    <a:lnTo>
                      <a:pt x="17" y="44"/>
                    </a:lnTo>
                    <a:lnTo>
                      <a:pt x="33" y="50"/>
                    </a:lnTo>
                    <a:lnTo>
                      <a:pt x="39" y="54"/>
                    </a:lnTo>
                    <a:lnTo>
                      <a:pt x="40" y="56"/>
                    </a:lnTo>
                    <a:lnTo>
                      <a:pt x="42" y="57"/>
                    </a:lnTo>
                    <a:lnTo>
                      <a:pt x="42" y="57"/>
                    </a:lnTo>
                    <a:lnTo>
                      <a:pt x="40" y="67"/>
                    </a:lnTo>
                    <a:lnTo>
                      <a:pt x="40" y="70"/>
                    </a:lnTo>
                    <a:lnTo>
                      <a:pt x="42" y="73"/>
                    </a:lnTo>
                    <a:lnTo>
                      <a:pt x="42" y="73"/>
                    </a:lnTo>
                    <a:lnTo>
                      <a:pt x="43" y="74"/>
                    </a:lnTo>
                    <a:lnTo>
                      <a:pt x="43" y="76"/>
                    </a:lnTo>
                    <a:lnTo>
                      <a:pt x="43" y="80"/>
                    </a:lnTo>
                    <a:lnTo>
                      <a:pt x="43" y="84"/>
                    </a:lnTo>
                    <a:lnTo>
                      <a:pt x="44" y="86"/>
                    </a:lnTo>
                    <a:lnTo>
                      <a:pt x="46" y="87"/>
                    </a:lnTo>
                    <a:lnTo>
                      <a:pt x="46" y="87"/>
                    </a:lnTo>
                    <a:lnTo>
                      <a:pt x="47" y="90"/>
                    </a:lnTo>
                    <a:lnTo>
                      <a:pt x="49" y="96"/>
                    </a:lnTo>
                    <a:lnTo>
                      <a:pt x="47" y="100"/>
                    </a:lnTo>
                    <a:lnTo>
                      <a:pt x="46" y="101"/>
                    </a:lnTo>
                    <a:lnTo>
                      <a:pt x="44" y="101"/>
                    </a:lnTo>
                    <a:lnTo>
                      <a:pt x="44" y="101"/>
                    </a:lnTo>
                    <a:lnTo>
                      <a:pt x="43" y="103"/>
                    </a:lnTo>
                    <a:lnTo>
                      <a:pt x="44" y="104"/>
                    </a:lnTo>
                    <a:lnTo>
                      <a:pt x="47" y="110"/>
                    </a:lnTo>
                    <a:lnTo>
                      <a:pt x="47" y="110"/>
                    </a:lnTo>
                    <a:lnTo>
                      <a:pt x="49" y="113"/>
                    </a:lnTo>
                    <a:lnTo>
                      <a:pt x="50" y="117"/>
                    </a:lnTo>
                    <a:lnTo>
                      <a:pt x="50" y="117"/>
                    </a:lnTo>
                    <a:lnTo>
                      <a:pt x="57" y="120"/>
                    </a:lnTo>
                    <a:lnTo>
                      <a:pt x="63" y="123"/>
                    </a:lnTo>
                    <a:lnTo>
                      <a:pt x="63" y="123"/>
                    </a:lnTo>
                    <a:lnTo>
                      <a:pt x="67" y="126"/>
                    </a:lnTo>
                    <a:lnTo>
                      <a:pt x="69" y="128"/>
                    </a:lnTo>
                    <a:lnTo>
                      <a:pt x="69" y="135"/>
                    </a:lnTo>
                    <a:lnTo>
                      <a:pt x="69" y="135"/>
                    </a:lnTo>
                    <a:lnTo>
                      <a:pt x="69" y="141"/>
                    </a:lnTo>
                    <a:lnTo>
                      <a:pt x="67" y="141"/>
                    </a:lnTo>
                    <a:lnTo>
                      <a:pt x="66" y="141"/>
                    </a:lnTo>
                    <a:lnTo>
                      <a:pt x="66" y="141"/>
                    </a:lnTo>
                    <a:lnTo>
                      <a:pt x="63" y="140"/>
                    </a:lnTo>
                    <a:lnTo>
                      <a:pt x="61" y="141"/>
                    </a:lnTo>
                    <a:lnTo>
                      <a:pt x="59" y="144"/>
                    </a:lnTo>
                    <a:lnTo>
                      <a:pt x="57" y="148"/>
                    </a:lnTo>
                    <a:lnTo>
                      <a:pt x="57" y="148"/>
                    </a:lnTo>
                    <a:lnTo>
                      <a:pt x="54" y="154"/>
                    </a:lnTo>
                    <a:lnTo>
                      <a:pt x="50" y="158"/>
                    </a:lnTo>
                    <a:lnTo>
                      <a:pt x="46" y="163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37" y="165"/>
                    </a:lnTo>
                    <a:lnTo>
                      <a:pt x="36" y="167"/>
                    </a:lnTo>
                    <a:lnTo>
                      <a:pt x="34" y="170"/>
                    </a:lnTo>
                    <a:lnTo>
                      <a:pt x="32" y="171"/>
                    </a:lnTo>
                    <a:lnTo>
                      <a:pt x="32" y="171"/>
                    </a:lnTo>
                    <a:lnTo>
                      <a:pt x="27" y="172"/>
                    </a:lnTo>
                    <a:lnTo>
                      <a:pt x="24" y="174"/>
                    </a:lnTo>
                    <a:lnTo>
                      <a:pt x="23" y="177"/>
                    </a:lnTo>
                    <a:lnTo>
                      <a:pt x="23" y="180"/>
                    </a:lnTo>
                    <a:lnTo>
                      <a:pt x="23" y="180"/>
                    </a:lnTo>
                    <a:lnTo>
                      <a:pt x="22" y="182"/>
                    </a:lnTo>
                    <a:lnTo>
                      <a:pt x="19" y="185"/>
                    </a:lnTo>
                    <a:lnTo>
                      <a:pt x="12" y="185"/>
                    </a:lnTo>
                    <a:lnTo>
                      <a:pt x="12" y="185"/>
                    </a:lnTo>
                    <a:lnTo>
                      <a:pt x="9" y="187"/>
                    </a:lnTo>
                    <a:lnTo>
                      <a:pt x="7" y="190"/>
                    </a:lnTo>
                    <a:lnTo>
                      <a:pt x="6" y="194"/>
                    </a:lnTo>
                    <a:lnTo>
                      <a:pt x="5" y="195"/>
                    </a:lnTo>
                    <a:lnTo>
                      <a:pt x="5" y="195"/>
                    </a:lnTo>
                    <a:lnTo>
                      <a:pt x="3" y="198"/>
                    </a:lnTo>
                    <a:lnTo>
                      <a:pt x="2" y="199"/>
                    </a:lnTo>
                    <a:lnTo>
                      <a:pt x="5" y="205"/>
                    </a:lnTo>
                    <a:lnTo>
                      <a:pt x="5" y="205"/>
                    </a:lnTo>
                    <a:lnTo>
                      <a:pt x="6" y="208"/>
                    </a:lnTo>
                    <a:lnTo>
                      <a:pt x="6" y="211"/>
                    </a:lnTo>
                    <a:lnTo>
                      <a:pt x="6" y="214"/>
                    </a:lnTo>
                    <a:lnTo>
                      <a:pt x="6" y="217"/>
                    </a:lnTo>
                    <a:lnTo>
                      <a:pt x="6" y="217"/>
                    </a:lnTo>
                    <a:lnTo>
                      <a:pt x="10" y="224"/>
                    </a:lnTo>
                    <a:lnTo>
                      <a:pt x="10" y="228"/>
                    </a:lnTo>
                    <a:lnTo>
                      <a:pt x="9" y="234"/>
                    </a:lnTo>
                    <a:lnTo>
                      <a:pt x="9" y="234"/>
                    </a:lnTo>
                    <a:lnTo>
                      <a:pt x="5" y="246"/>
                    </a:lnTo>
                    <a:lnTo>
                      <a:pt x="5" y="249"/>
                    </a:lnTo>
                    <a:lnTo>
                      <a:pt x="5" y="251"/>
                    </a:lnTo>
                    <a:lnTo>
                      <a:pt x="5" y="251"/>
                    </a:lnTo>
                    <a:lnTo>
                      <a:pt x="5" y="251"/>
                    </a:lnTo>
                    <a:lnTo>
                      <a:pt x="7" y="252"/>
                    </a:lnTo>
                    <a:lnTo>
                      <a:pt x="12" y="254"/>
                    </a:lnTo>
                    <a:lnTo>
                      <a:pt x="16" y="256"/>
                    </a:lnTo>
                    <a:lnTo>
                      <a:pt x="20" y="256"/>
                    </a:lnTo>
                    <a:lnTo>
                      <a:pt x="20" y="256"/>
                    </a:lnTo>
                    <a:lnTo>
                      <a:pt x="23" y="258"/>
                    </a:lnTo>
                    <a:lnTo>
                      <a:pt x="24" y="259"/>
                    </a:lnTo>
                    <a:lnTo>
                      <a:pt x="27" y="262"/>
                    </a:lnTo>
                    <a:lnTo>
                      <a:pt x="30" y="262"/>
                    </a:lnTo>
                    <a:lnTo>
                      <a:pt x="30" y="262"/>
                    </a:lnTo>
                    <a:lnTo>
                      <a:pt x="33" y="262"/>
                    </a:lnTo>
                    <a:lnTo>
                      <a:pt x="36" y="264"/>
                    </a:lnTo>
                    <a:lnTo>
                      <a:pt x="40" y="265"/>
                    </a:lnTo>
                    <a:lnTo>
                      <a:pt x="47" y="266"/>
                    </a:lnTo>
                    <a:lnTo>
                      <a:pt x="47" y="266"/>
                    </a:lnTo>
                    <a:lnTo>
                      <a:pt x="59" y="264"/>
                    </a:lnTo>
                    <a:lnTo>
                      <a:pt x="73" y="259"/>
                    </a:lnTo>
                    <a:lnTo>
                      <a:pt x="87" y="256"/>
                    </a:lnTo>
                    <a:lnTo>
                      <a:pt x="97" y="255"/>
                    </a:lnTo>
                    <a:lnTo>
                      <a:pt x="97" y="255"/>
                    </a:lnTo>
                    <a:lnTo>
                      <a:pt x="106" y="254"/>
                    </a:lnTo>
                    <a:lnTo>
                      <a:pt x="111" y="252"/>
                    </a:lnTo>
                    <a:lnTo>
                      <a:pt x="111" y="252"/>
                    </a:lnTo>
                    <a:lnTo>
                      <a:pt x="120" y="244"/>
                    </a:lnTo>
                    <a:lnTo>
                      <a:pt x="120" y="244"/>
                    </a:lnTo>
                    <a:lnTo>
                      <a:pt x="125" y="238"/>
                    </a:lnTo>
                    <a:lnTo>
                      <a:pt x="133" y="234"/>
                    </a:lnTo>
                    <a:lnTo>
                      <a:pt x="140" y="229"/>
                    </a:lnTo>
                    <a:lnTo>
                      <a:pt x="144" y="224"/>
                    </a:lnTo>
                    <a:lnTo>
                      <a:pt x="144" y="22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24" name="Slovenia">
                <a:extLst>
                  <a:ext uri="{FF2B5EF4-FFF2-40B4-BE49-F238E27FC236}">
                    <a16:creationId xmlns:a16="http://schemas.microsoft.com/office/drawing/2014/main" id="{3032F3F1-C8A1-C4A7-8673-82BD089659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9712" y="3099276"/>
                <a:ext cx="79908" cy="41434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0" y="26"/>
                  </a:cxn>
                  <a:cxn ang="0">
                    <a:pos x="7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3" y="26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26" y="27"/>
                  </a:cxn>
                  <a:cxn ang="0">
                    <a:pos x="26" y="27"/>
                  </a:cxn>
                  <a:cxn ang="0">
                    <a:pos x="27" y="27"/>
                  </a:cxn>
                  <a:cxn ang="0">
                    <a:pos x="31" y="27"/>
                  </a:cxn>
                  <a:cxn ang="0">
                    <a:pos x="34" y="28"/>
                  </a:cxn>
                  <a:cxn ang="0">
                    <a:pos x="36" y="27"/>
                  </a:cxn>
                  <a:cxn ang="0">
                    <a:pos x="36" y="27"/>
                  </a:cxn>
                  <a:cxn ang="0">
                    <a:pos x="37" y="23"/>
                  </a:cxn>
                  <a:cxn ang="0">
                    <a:pos x="39" y="21"/>
                  </a:cxn>
                  <a:cxn ang="0">
                    <a:pos x="41" y="20"/>
                  </a:cxn>
                  <a:cxn ang="0">
                    <a:pos x="41" y="20"/>
                  </a:cxn>
                  <a:cxn ang="0">
                    <a:pos x="43" y="18"/>
                  </a:cxn>
                  <a:cxn ang="0">
                    <a:pos x="43" y="17"/>
                  </a:cxn>
                  <a:cxn ang="0">
                    <a:pos x="43" y="14"/>
                  </a:cxn>
                  <a:cxn ang="0">
                    <a:pos x="44" y="13"/>
                  </a:cxn>
                  <a:cxn ang="0">
                    <a:pos x="44" y="13"/>
                  </a:cxn>
                  <a:cxn ang="0">
                    <a:pos x="51" y="9"/>
                  </a:cxn>
                  <a:cxn ang="0">
                    <a:pos x="54" y="6"/>
                  </a:cxn>
                  <a:cxn ang="0">
                    <a:pos x="54" y="6"/>
                  </a:cxn>
                  <a:cxn ang="0">
                    <a:pos x="53" y="3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7" y="1"/>
                  </a:cxn>
                  <a:cxn ang="0">
                    <a:pos x="44" y="3"/>
                  </a:cxn>
                  <a:cxn ang="0">
                    <a:pos x="40" y="3"/>
                  </a:cxn>
                  <a:cxn ang="0">
                    <a:pos x="40" y="3"/>
                  </a:cxn>
                  <a:cxn ang="0">
                    <a:pos x="36" y="4"/>
                  </a:cxn>
                  <a:cxn ang="0">
                    <a:pos x="31" y="6"/>
                  </a:cxn>
                  <a:cxn ang="0">
                    <a:pos x="29" y="7"/>
                  </a:cxn>
                  <a:cxn ang="0">
                    <a:pos x="26" y="9"/>
                  </a:cxn>
                  <a:cxn ang="0">
                    <a:pos x="26" y="9"/>
                  </a:cxn>
                  <a:cxn ang="0">
                    <a:pos x="19" y="7"/>
                  </a:cxn>
                  <a:cxn ang="0">
                    <a:pos x="9" y="4"/>
                  </a:cxn>
                  <a:cxn ang="0">
                    <a:pos x="9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14"/>
                  </a:cxn>
                  <a:cxn ang="0">
                    <a:pos x="0" y="26"/>
                  </a:cxn>
                  <a:cxn ang="0">
                    <a:pos x="0" y="26"/>
                  </a:cxn>
                </a:cxnLst>
                <a:rect l="0" t="0" r="r" b="b"/>
                <a:pathLst>
                  <a:path w="54" h="28">
                    <a:moveTo>
                      <a:pt x="0" y="26"/>
                    </a:moveTo>
                    <a:lnTo>
                      <a:pt x="0" y="26"/>
                    </a:lnTo>
                    <a:lnTo>
                      <a:pt x="7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3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26" y="27"/>
                    </a:lnTo>
                    <a:lnTo>
                      <a:pt x="26" y="27"/>
                    </a:lnTo>
                    <a:lnTo>
                      <a:pt x="27" y="27"/>
                    </a:lnTo>
                    <a:lnTo>
                      <a:pt x="31" y="27"/>
                    </a:lnTo>
                    <a:lnTo>
                      <a:pt x="34" y="28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7" y="23"/>
                    </a:lnTo>
                    <a:lnTo>
                      <a:pt x="39" y="21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3" y="18"/>
                    </a:lnTo>
                    <a:lnTo>
                      <a:pt x="43" y="17"/>
                    </a:lnTo>
                    <a:lnTo>
                      <a:pt x="43" y="14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51" y="9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3" y="3"/>
                    </a:lnTo>
                    <a:lnTo>
                      <a:pt x="51" y="0"/>
                    </a:lnTo>
                    <a:lnTo>
                      <a:pt x="51" y="0"/>
                    </a:lnTo>
                    <a:lnTo>
                      <a:pt x="47" y="1"/>
                    </a:lnTo>
                    <a:lnTo>
                      <a:pt x="44" y="3"/>
                    </a:lnTo>
                    <a:lnTo>
                      <a:pt x="40" y="3"/>
                    </a:lnTo>
                    <a:lnTo>
                      <a:pt x="40" y="3"/>
                    </a:lnTo>
                    <a:lnTo>
                      <a:pt x="36" y="4"/>
                    </a:lnTo>
                    <a:lnTo>
                      <a:pt x="31" y="6"/>
                    </a:lnTo>
                    <a:lnTo>
                      <a:pt x="29" y="7"/>
                    </a:lnTo>
                    <a:lnTo>
                      <a:pt x="26" y="9"/>
                    </a:lnTo>
                    <a:lnTo>
                      <a:pt x="26" y="9"/>
                    </a:lnTo>
                    <a:lnTo>
                      <a:pt x="19" y="7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14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25" name="Greece">
                <a:extLst>
                  <a:ext uri="{FF2B5EF4-FFF2-40B4-BE49-F238E27FC236}">
                    <a16:creationId xmlns:a16="http://schemas.microsoft.com/office/drawing/2014/main" id="{42EF1914-5B2C-18E5-CBA5-0246B2A613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93967" y="3248735"/>
                <a:ext cx="152418" cy="187933"/>
              </a:xfrm>
              <a:custGeom>
                <a:avLst/>
                <a:gdLst/>
                <a:ahLst/>
                <a:cxnLst>
                  <a:cxn ang="0">
                    <a:pos x="94" y="3"/>
                  </a:cxn>
                  <a:cxn ang="0">
                    <a:pos x="93" y="7"/>
                  </a:cxn>
                  <a:cxn ang="0">
                    <a:pos x="70" y="4"/>
                  </a:cxn>
                  <a:cxn ang="0">
                    <a:pos x="48" y="4"/>
                  </a:cxn>
                  <a:cxn ang="0">
                    <a:pos x="41" y="10"/>
                  </a:cxn>
                  <a:cxn ang="0">
                    <a:pos x="31" y="11"/>
                  </a:cxn>
                  <a:cxn ang="0">
                    <a:pos x="26" y="17"/>
                  </a:cxn>
                  <a:cxn ang="0">
                    <a:pos x="14" y="18"/>
                  </a:cxn>
                  <a:cxn ang="0">
                    <a:pos x="9" y="28"/>
                  </a:cxn>
                  <a:cxn ang="0">
                    <a:pos x="6" y="33"/>
                  </a:cxn>
                  <a:cxn ang="0">
                    <a:pos x="0" y="41"/>
                  </a:cxn>
                  <a:cxn ang="0">
                    <a:pos x="7" y="47"/>
                  </a:cxn>
                  <a:cxn ang="0">
                    <a:pos x="11" y="60"/>
                  </a:cxn>
                  <a:cxn ang="0">
                    <a:pos x="21" y="60"/>
                  </a:cxn>
                  <a:cxn ang="0">
                    <a:pos x="34" y="63"/>
                  </a:cxn>
                  <a:cxn ang="0">
                    <a:pos x="34" y="65"/>
                  </a:cxn>
                  <a:cxn ang="0">
                    <a:pos x="19" y="67"/>
                  </a:cxn>
                  <a:cxn ang="0">
                    <a:pos x="19" y="73"/>
                  </a:cxn>
                  <a:cxn ang="0">
                    <a:pos x="21" y="80"/>
                  </a:cxn>
                  <a:cxn ang="0">
                    <a:pos x="30" y="91"/>
                  </a:cxn>
                  <a:cxn ang="0">
                    <a:pos x="43" y="98"/>
                  </a:cxn>
                  <a:cxn ang="0">
                    <a:pos x="46" y="95"/>
                  </a:cxn>
                  <a:cxn ang="0">
                    <a:pos x="43" y="83"/>
                  </a:cxn>
                  <a:cxn ang="0">
                    <a:pos x="54" y="81"/>
                  </a:cxn>
                  <a:cxn ang="0">
                    <a:pos x="50" y="75"/>
                  </a:cxn>
                  <a:cxn ang="0">
                    <a:pos x="44" y="73"/>
                  </a:cxn>
                  <a:cxn ang="0">
                    <a:pos x="56" y="74"/>
                  </a:cxn>
                  <a:cxn ang="0">
                    <a:pos x="66" y="68"/>
                  </a:cxn>
                  <a:cxn ang="0">
                    <a:pos x="58" y="58"/>
                  </a:cxn>
                  <a:cxn ang="0">
                    <a:pos x="48" y="60"/>
                  </a:cxn>
                  <a:cxn ang="0">
                    <a:pos x="43" y="55"/>
                  </a:cxn>
                  <a:cxn ang="0">
                    <a:pos x="50" y="50"/>
                  </a:cxn>
                  <a:cxn ang="0">
                    <a:pos x="37" y="31"/>
                  </a:cxn>
                  <a:cxn ang="0">
                    <a:pos x="38" y="26"/>
                  </a:cxn>
                  <a:cxn ang="0">
                    <a:pos x="48" y="30"/>
                  </a:cxn>
                  <a:cxn ang="0">
                    <a:pos x="58" y="28"/>
                  </a:cxn>
                  <a:cxn ang="0">
                    <a:pos x="58" y="20"/>
                  </a:cxn>
                  <a:cxn ang="0">
                    <a:pos x="66" y="16"/>
                  </a:cxn>
                  <a:cxn ang="0">
                    <a:pos x="73" y="20"/>
                  </a:cxn>
                  <a:cxn ang="0">
                    <a:pos x="83" y="14"/>
                  </a:cxn>
                  <a:cxn ang="0">
                    <a:pos x="97" y="17"/>
                  </a:cxn>
                  <a:cxn ang="0">
                    <a:pos x="100" y="10"/>
                  </a:cxn>
                  <a:cxn ang="0">
                    <a:pos x="101" y="0"/>
                  </a:cxn>
                  <a:cxn ang="0">
                    <a:pos x="83" y="119"/>
                  </a:cxn>
                  <a:cxn ang="0">
                    <a:pos x="63" y="117"/>
                  </a:cxn>
                  <a:cxn ang="0">
                    <a:pos x="54" y="117"/>
                  </a:cxn>
                  <a:cxn ang="0">
                    <a:pos x="53" y="121"/>
                  </a:cxn>
                  <a:cxn ang="0">
                    <a:pos x="75" y="127"/>
                  </a:cxn>
                  <a:cxn ang="0">
                    <a:pos x="98" y="121"/>
                  </a:cxn>
                  <a:cxn ang="0">
                    <a:pos x="91" y="121"/>
                  </a:cxn>
                </a:cxnLst>
                <a:rect l="0" t="0" r="r" b="b"/>
                <a:pathLst>
                  <a:path w="103" h="127">
                    <a:moveTo>
                      <a:pt x="101" y="0"/>
                    </a:moveTo>
                    <a:lnTo>
                      <a:pt x="101" y="0"/>
                    </a:lnTo>
                    <a:lnTo>
                      <a:pt x="95" y="1"/>
                    </a:lnTo>
                    <a:lnTo>
                      <a:pt x="94" y="3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3" y="6"/>
                    </a:lnTo>
                    <a:lnTo>
                      <a:pt x="93" y="7"/>
                    </a:lnTo>
                    <a:lnTo>
                      <a:pt x="87" y="7"/>
                    </a:lnTo>
                    <a:lnTo>
                      <a:pt x="87" y="7"/>
                    </a:lnTo>
                    <a:lnTo>
                      <a:pt x="80" y="7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67" y="4"/>
                    </a:lnTo>
                    <a:lnTo>
                      <a:pt x="60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41" y="10"/>
                    </a:lnTo>
                    <a:lnTo>
                      <a:pt x="36" y="11"/>
                    </a:lnTo>
                    <a:lnTo>
                      <a:pt x="33" y="11"/>
                    </a:lnTo>
                    <a:lnTo>
                      <a:pt x="33" y="11"/>
                    </a:lnTo>
                    <a:lnTo>
                      <a:pt x="31" y="11"/>
                    </a:lnTo>
                    <a:lnTo>
                      <a:pt x="30" y="13"/>
                    </a:lnTo>
                    <a:lnTo>
                      <a:pt x="29" y="16"/>
                    </a:lnTo>
                    <a:lnTo>
                      <a:pt x="26" y="17"/>
                    </a:lnTo>
                    <a:lnTo>
                      <a:pt x="26" y="17"/>
                    </a:lnTo>
                    <a:lnTo>
                      <a:pt x="19" y="17"/>
                    </a:lnTo>
                    <a:lnTo>
                      <a:pt x="16" y="17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3" y="23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8"/>
                    </a:lnTo>
                    <a:lnTo>
                      <a:pt x="7" y="31"/>
                    </a:lnTo>
                    <a:lnTo>
                      <a:pt x="7" y="33"/>
                    </a:lnTo>
                    <a:lnTo>
                      <a:pt x="6" y="33"/>
                    </a:lnTo>
                    <a:lnTo>
                      <a:pt x="6" y="33"/>
                    </a:lnTo>
                    <a:lnTo>
                      <a:pt x="4" y="34"/>
                    </a:lnTo>
                    <a:lnTo>
                      <a:pt x="3" y="37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2" y="43"/>
                    </a:lnTo>
                    <a:lnTo>
                      <a:pt x="2" y="43"/>
                    </a:lnTo>
                    <a:lnTo>
                      <a:pt x="4" y="44"/>
                    </a:lnTo>
                    <a:lnTo>
                      <a:pt x="7" y="47"/>
                    </a:lnTo>
                    <a:lnTo>
                      <a:pt x="10" y="51"/>
                    </a:lnTo>
                    <a:lnTo>
                      <a:pt x="10" y="55"/>
                    </a:lnTo>
                    <a:lnTo>
                      <a:pt x="10" y="55"/>
                    </a:lnTo>
                    <a:lnTo>
                      <a:pt x="11" y="60"/>
                    </a:lnTo>
                    <a:lnTo>
                      <a:pt x="14" y="61"/>
                    </a:lnTo>
                    <a:lnTo>
                      <a:pt x="17" y="63"/>
                    </a:lnTo>
                    <a:lnTo>
                      <a:pt x="21" y="60"/>
                    </a:lnTo>
                    <a:lnTo>
                      <a:pt x="21" y="60"/>
                    </a:lnTo>
                    <a:lnTo>
                      <a:pt x="23" y="58"/>
                    </a:lnTo>
                    <a:lnTo>
                      <a:pt x="26" y="58"/>
                    </a:lnTo>
                    <a:lnTo>
                      <a:pt x="30" y="60"/>
                    </a:lnTo>
                    <a:lnTo>
                      <a:pt x="34" y="63"/>
                    </a:lnTo>
                    <a:lnTo>
                      <a:pt x="36" y="65"/>
                    </a:lnTo>
                    <a:lnTo>
                      <a:pt x="36" y="65"/>
                    </a:lnTo>
                    <a:lnTo>
                      <a:pt x="36" y="65"/>
                    </a:lnTo>
                    <a:lnTo>
                      <a:pt x="34" y="65"/>
                    </a:lnTo>
                    <a:lnTo>
                      <a:pt x="30" y="65"/>
                    </a:lnTo>
                    <a:lnTo>
                      <a:pt x="24" y="65"/>
                    </a:lnTo>
                    <a:lnTo>
                      <a:pt x="21" y="65"/>
                    </a:lnTo>
                    <a:lnTo>
                      <a:pt x="19" y="67"/>
                    </a:lnTo>
                    <a:lnTo>
                      <a:pt x="19" y="67"/>
                    </a:lnTo>
                    <a:lnTo>
                      <a:pt x="17" y="68"/>
                    </a:lnTo>
                    <a:lnTo>
                      <a:pt x="17" y="70"/>
                    </a:lnTo>
                    <a:lnTo>
                      <a:pt x="19" y="73"/>
                    </a:lnTo>
                    <a:lnTo>
                      <a:pt x="21" y="77"/>
                    </a:lnTo>
                    <a:lnTo>
                      <a:pt x="21" y="78"/>
                    </a:lnTo>
                    <a:lnTo>
                      <a:pt x="21" y="80"/>
                    </a:lnTo>
                    <a:lnTo>
                      <a:pt x="21" y="80"/>
                    </a:lnTo>
                    <a:lnTo>
                      <a:pt x="21" y="84"/>
                    </a:lnTo>
                    <a:lnTo>
                      <a:pt x="23" y="87"/>
                    </a:lnTo>
                    <a:lnTo>
                      <a:pt x="27" y="90"/>
                    </a:lnTo>
                    <a:lnTo>
                      <a:pt x="30" y="91"/>
                    </a:lnTo>
                    <a:lnTo>
                      <a:pt x="30" y="91"/>
                    </a:lnTo>
                    <a:lnTo>
                      <a:pt x="34" y="92"/>
                    </a:lnTo>
                    <a:lnTo>
                      <a:pt x="38" y="95"/>
                    </a:lnTo>
                    <a:lnTo>
                      <a:pt x="43" y="98"/>
                    </a:lnTo>
                    <a:lnTo>
                      <a:pt x="46" y="98"/>
                    </a:lnTo>
                    <a:lnTo>
                      <a:pt x="46" y="98"/>
                    </a:lnTo>
                    <a:lnTo>
                      <a:pt x="46" y="97"/>
                    </a:lnTo>
                    <a:lnTo>
                      <a:pt x="46" y="95"/>
                    </a:lnTo>
                    <a:lnTo>
                      <a:pt x="44" y="90"/>
                    </a:lnTo>
                    <a:lnTo>
                      <a:pt x="43" y="85"/>
                    </a:lnTo>
                    <a:lnTo>
                      <a:pt x="43" y="83"/>
                    </a:lnTo>
                    <a:lnTo>
                      <a:pt x="43" y="83"/>
                    </a:lnTo>
                    <a:lnTo>
                      <a:pt x="44" y="83"/>
                    </a:lnTo>
                    <a:lnTo>
                      <a:pt x="47" y="83"/>
                    </a:lnTo>
                    <a:lnTo>
                      <a:pt x="50" y="83"/>
                    </a:lnTo>
                    <a:lnTo>
                      <a:pt x="54" y="81"/>
                    </a:lnTo>
                    <a:lnTo>
                      <a:pt x="54" y="81"/>
                    </a:lnTo>
                    <a:lnTo>
                      <a:pt x="54" y="80"/>
                    </a:lnTo>
                    <a:lnTo>
                      <a:pt x="53" y="77"/>
                    </a:lnTo>
                    <a:lnTo>
                      <a:pt x="50" y="75"/>
                    </a:lnTo>
                    <a:lnTo>
                      <a:pt x="46" y="75"/>
                    </a:lnTo>
                    <a:lnTo>
                      <a:pt x="46" y="75"/>
                    </a:lnTo>
                    <a:lnTo>
                      <a:pt x="44" y="74"/>
                    </a:lnTo>
                    <a:lnTo>
                      <a:pt x="44" y="73"/>
                    </a:lnTo>
                    <a:lnTo>
                      <a:pt x="47" y="71"/>
                    </a:lnTo>
                    <a:lnTo>
                      <a:pt x="51" y="73"/>
                    </a:lnTo>
                    <a:lnTo>
                      <a:pt x="51" y="73"/>
                    </a:lnTo>
                    <a:lnTo>
                      <a:pt x="56" y="74"/>
                    </a:lnTo>
                    <a:lnTo>
                      <a:pt x="58" y="73"/>
                    </a:lnTo>
                    <a:lnTo>
                      <a:pt x="64" y="71"/>
                    </a:lnTo>
                    <a:lnTo>
                      <a:pt x="64" y="71"/>
                    </a:lnTo>
                    <a:lnTo>
                      <a:pt x="66" y="68"/>
                    </a:lnTo>
                    <a:lnTo>
                      <a:pt x="66" y="65"/>
                    </a:lnTo>
                    <a:lnTo>
                      <a:pt x="63" y="61"/>
                    </a:lnTo>
                    <a:lnTo>
                      <a:pt x="61" y="58"/>
                    </a:lnTo>
                    <a:lnTo>
                      <a:pt x="58" y="58"/>
                    </a:lnTo>
                    <a:lnTo>
                      <a:pt x="58" y="58"/>
                    </a:lnTo>
                    <a:lnTo>
                      <a:pt x="53" y="58"/>
                    </a:lnTo>
                    <a:lnTo>
                      <a:pt x="50" y="60"/>
                    </a:lnTo>
                    <a:lnTo>
                      <a:pt x="48" y="60"/>
                    </a:lnTo>
                    <a:lnTo>
                      <a:pt x="46" y="58"/>
                    </a:lnTo>
                    <a:lnTo>
                      <a:pt x="46" y="58"/>
                    </a:lnTo>
                    <a:lnTo>
                      <a:pt x="44" y="57"/>
                    </a:lnTo>
                    <a:lnTo>
                      <a:pt x="43" y="55"/>
                    </a:lnTo>
                    <a:lnTo>
                      <a:pt x="46" y="54"/>
                    </a:lnTo>
                    <a:lnTo>
                      <a:pt x="48" y="53"/>
                    </a:lnTo>
                    <a:lnTo>
                      <a:pt x="50" y="51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48" y="46"/>
                    </a:lnTo>
                    <a:lnTo>
                      <a:pt x="46" y="41"/>
                    </a:lnTo>
                    <a:lnTo>
                      <a:pt x="37" y="31"/>
                    </a:lnTo>
                    <a:lnTo>
                      <a:pt x="37" y="31"/>
                    </a:lnTo>
                    <a:lnTo>
                      <a:pt x="36" y="30"/>
                    </a:lnTo>
                    <a:lnTo>
                      <a:pt x="36" y="28"/>
                    </a:lnTo>
                    <a:lnTo>
                      <a:pt x="38" y="26"/>
                    </a:lnTo>
                    <a:lnTo>
                      <a:pt x="43" y="26"/>
                    </a:lnTo>
                    <a:lnTo>
                      <a:pt x="46" y="27"/>
                    </a:lnTo>
                    <a:lnTo>
                      <a:pt x="46" y="27"/>
                    </a:lnTo>
                    <a:lnTo>
                      <a:pt x="48" y="30"/>
                    </a:lnTo>
                    <a:lnTo>
                      <a:pt x="51" y="30"/>
                    </a:lnTo>
                    <a:lnTo>
                      <a:pt x="54" y="30"/>
                    </a:lnTo>
                    <a:lnTo>
                      <a:pt x="58" y="28"/>
                    </a:lnTo>
                    <a:lnTo>
                      <a:pt x="58" y="28"/>
                    </a:lnTo>
                    <a:lnTo>
                      <a:pt x="60" y="28"/>
                    </a:lnTo>
                    <a:lnTo>
                      <a:pt x="60" y="27"/>
                    </a:lnTo>
                    <a:lnTo>
                      <a:pt x="58" y="23"/>
                    </a:lnTo>
                    <a:lnTo>
                      <a:pt x="58" y="20"/>
                    </a:lnTo>
                    <a:lnTo>
                      <a:pt x="60" y="18"/>
                    </a:lnTo>
                    <a:lnTo>
                      <a:pt x="61" y="17"/>
                    </a:lnTo>
                    <a:lnTo>
                      <a:pt x="61" y="17"/>
                    </a:lnTo>
                    <a:lnTo>
                      <a:pt x="66" y="16"/>
                    </a:lnTo>
                    <a:lnTo>
                      <a:pt x="68" y="17"/>
                    </a:lnTo>
                    <a:lnTo>
                      <a:pt x="71" y="20"/>
                    </a:lnTo>
                    <a:lnTo>
                      <a:pt x="71" y="20"/>
                    </a:lnTo>
                    <a:lnTo>
                      <a:pt x="73" y="20"/>
                    </a:lnTo>
                    <a:lnTo>
                      <a:pt x="75" y="17"/>
                    </a:lnTo>
                    <a:lnTo>
                      <a:pt x="78" y="16"/>
                    </a:lnTo>
                    <a:lnTo>
                      <a:pt x="83" y="14"/>
                    </a:lnTo>
                    <a:lnTo>
                      <a:pt x="83" y="14"/>
                    </a:lnTo>
                    <a:lnTo>
                      <a:pt x="88" y="16"/>
                    </a:lnTo>
                    <a:lnTo>
                      <a:pt x="94" y="20"/>
                    </a:lnTo>
                    <a:lnTo>
                      <a:pt x="94" y="20"/>
                    </a:lnTo>
                    <a:lnTo>
                      <a:pt x="97" y="17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8" y="11"/>
                    </a:lnTo>
                    <a:lnTo>
                      <a:pt x="100" y="10"/>
                    </a:lnTo>
                    <a:lnTo>
                      <a:pt x="101" y="9"/>
                    </a:lnTo>
                    <a:lnTo>
                      <a:pt x="103" y="6"/>
                    </a:lnTo>
                    <a:lnTo>
                      <a:pt x="103" y="6"/>
                    </a:lnTo>
                    <a:lnTo>
                      <a:pt x="101" y="0"/>
                    </a:lnTo>
                    <a:lnTo>
                      <a:pt x="101" y="0"/>
                    </a:lnTo>
                    <a:close/>
                    <a:moveTo>
                      <a:pt x="88" y="119"/>
                    </a:moveTo>
                    <a:lnTo>
                      <a:pt x="88" y="119"/>
                    </a:lnTo>
                    <a:lnTo>
                      <a:pt x="83" y="119"/>
                    </a:lnTo>
                    <a:lnTo>
                      <a:pt x="75" y="119"/>
                    </a:lnTo>
                    <a:lnTo>
                      <a:pt x="67" y="118"/>
                    </a:lnTo>
                    <a:lnTo>
                      <a:pt x="64" y="118"/>
                    </a:lnTo>
                    <a:lnTo>
                      <a:pt x="63" y="117"/>
                    </a:lnTo>
                    <a:lnTo>
                      <a:pt x="63" y="117"/>
                    </a:lnTo>
                    <a:lnTo>
                      <a:pt x="60" y="115"/>
                    </a:lnTo>
                    <a:lnTo>
                      <a:pt x="58" y="115"/>
                    </a:lnTo>
                    <a:lnTo>
                      <a:pt x="54" y="117"/>
                    </a:lnTo>
                    <a:lnTo>
                      <a:pt x="51" y="119"/>
                    </a:lnTo>
                    <a:lnTo>
                      <a:pt x="51" y="121"/>
                    </a:lnTo>
                    <a:lnTo>
                      <a:pt x="53" y="121"/>
                    </a:lnTo>
                    <a:lnTo>
                      <a:pt x="53" y="121"/>
                    </a:lnTo>
                    <a:lnTo>
                      <a:pt x="63" y="124"/>
                    </a:lnTo>
                    <a:lnTo>
                      <a:pt x="70" y="127"/>
                    </a:lnTo>
                    <a:lnTo>
                      <a:pt x="75" y="127"/>
                    </a:lnTo>
                    <a:lnTo>
                      <a:pt x="75" y="127"/>
                    </a:lnTo>
                    <a:lnTo>
                      <a:pt x="83" y="127"/>
                    </a:lnTo>
                    <a:lnTo>
                      <a:pt x="90" y="125"/>
                    </a:lnTo>
                    <a:lnTo>
                      <a:pt x="95" y="122"/>
                    </a:lnTo>
                    <a:lnTo>
                      <a:pt x="98" y="121"/>
                    </a:lnTo>
                    <a:lnTo>
                      <a:pt x="98" y="121"/>
                    </a:lnTo>
                    <a:lnTo>
                      <a:pt x="97" y="119"/>
                    </a:lnTo>
                    <a:lnTo>
                      <a:pt x="94" y="119"/>
                    </a:lnTo>
                    <a:lnTo>
                      <a:pt x="91" y="121"/>
                    </a:lnTo>
                    <a:lnTo>
                      <a:pt x="88" y="119"/>
                    </a:lnTo>
                    <a:lnTo>
                      <a:pt x="88" y="119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26" name="Cyprus">
                <a:extLst>
                  <a:ext uri="{FF2B5EF4-FFF2-40B4-BE49-F238E27FC236}">
                    <a16:creationId xmlns:a16="http://schemas.microsoft.com/office/drawing/2014/main" id="{FF0ECBE1-7001-174C-B9E4-65B231538D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8086" y="3414471"/>
                <a:ext cx="54753" cy="29596"/>
              </a:xfrm>
              <a:custGeom>
                <a:avLst/>
                <a:gdLst/>
                <a:ahLst/>
                <a:cxnLst>
                  <a:cxn ang="0">
                    <a:pos x="26" y="15"/>
                  </a:cxn>
                  <a:cxn ang="0">
                    <a:pos x="26" y="15"/>
                  </a:cxn>
                  <a:cxn ang="0">
                    <a:pos x="26" y="12"/>
                  </a:cxn>
                  <a:cxn ang="0">
                    <a:pos x="27" y="9"/>
                  </a:cxn>
                  <a:cxn ang="0">
                    <a:pos x="30" y="6"/>
                  </a:cxn>
                  <a:cxn ang="0">
                    <a:pos x="34" y="5"/>
                  </a:cxn>
                  <a:cxn ang="0">
                    <a:pos x="34" y="5"/>
                  </a:cxn>
                  <a:cxn ang="0">
                    <a:pos x="37" y="2"/>
                  </a:cxn>
                  <a:cxn ang="0">
                    <a:pos x="37" y="0"/>
                  </a:cxn>
                  <a:cxn ang="0">
                    <a:pos x="36" y="0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30" y="3"/>
                  </a:cxn>
                  <a:cxn ang="0">
                    <a:pos x="26" y="6"/>
                  </a:cxn>
                  <a:cxn ang="0">
                    <a:pos x="19" y="7"/>
                  </a:cxn>
                  <a:cxn ang="0">
                    <a:pos x="12" y="7"/>
                  </a:cxn>
                  <a:cxn ang="0">
                    <a:pos x="12" y="7"/>
                  </a:cxn>
                  <a:cxn ang="0">
                    <a:pos x="4" y="9"/>
                  </a:cxn>
                  <a:cxn ang="0">
                    <a:pos x="2" y="12"/>
                  </a:cxn>
                  <a:cxn ang="0">
                    <a:pos x="0" y="16"/>
                  </a:cxn>
                  <a:cxn ang="0">
                    <a:pos x="4" y="19"/>
                  </a:cxn>
                  <a:cxn ang="0">
                    <a:pos x="4" y="19"/>
                  </a:cxn>
                  <a:cxn ang="0">
                    <a:pos x="7" y="20"/>
                  </a:cxn>
                  <a:cxn ang="0">
                    <a:pos x="12" y="20"/>
                  </a:cxn>
                  <a:cxn ang="0">
                    <a:pos x="19" y="20"/>
                  </a:cxn>
                  <a:cxn ang="0">
                    <a:pos x="24" y="17"/>
                  </a:cxn>
                  <a:cxn ang="0">
                    <a:pos x="26" y="15"/>
                  </a:cxn>
                  <a:cxn ang="0">
                    <a:pos x="26" y="15"/>
                  </a:cxn>
                </a:cxnLst>
                <a:rect l="0" t="0" r="r" b="b"/>
                <a:pathLst>
                  <a:path w="37" h="20">
                    <a:moveTo>
                      <a:pt x="26" y="15"/>
                    </a:moveTo>
                    <a:lnTo>
                      <a:pt x="26" y="15"/>
                    </a:lnTo>
                    <a:lnTo>
                      <a:pt x="26" y="12"/>
                    </a:lnTo>
                    <a:lnTo>
                      <a:pt x="27" y="9"/>
                    </a:lnTo>
                    <a:lnTo>
                      <a:pt x="30" y="6"/>
                    </a:lnTo>
                    <a:lnTo>
                      <a:pt x="34" y="5"/>
                    </a:lnTo>
                    <a:lnTo>
                      <a:pt x="34" y="5"/>
                    </a:lnTo>
                    <a:lnTo>
                      <a:pt x="37" y="2"/>
                    </a:lnTo>
                    <a:lnTo>
                      <a:pt x="37" y="0"/>
                    </a:lnTo>
                    <a:lnTo>
                      <a:pt x="36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0" y="3"/>
                    </a:lnTo>
                    <a:lnTo>
                      <a:pt x="26" y="6"/>
                    </a:lnTo>
                    <a:lnTo>
                      <a:pt x="19" y="7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4" y="9"/>
                    </a:lnTo>
                    <a:lnTo>
                      <a:pt x="2" y="12"/>
                    </a:lnTo>
                    <a:lnTo>
                      <a:pt x="0" y="16"/>
                    </a:lnTo>
                    <a:lnTo>
                      <a:pt x="4" y="19"/>
                    </a:lnTo>
                    <a:lnTo>
                      <a:pt x="4" y="19"/>
                    </a:lnTo>
                    <a:lnTo>
                      <a:pt x="7" y="20"/>
                    </a:lnTo>
                    <a:lnTo>
                      <a:pt x="12" y="20"/>
                    </a:lnTo>
                    <a:lnTo>
                      <a:pt x="19" y="20"/>
                    </a:lnTo>
                    <a:lnTo>
                      <a:pt x="24" y="17"/>
                    </a:lnTo>
                    <a:lnTo>
                      <a:pt x="26" y="15"/>
                    </a:lnTo>
                    <a:lnTo>
                      <a:pt x="26" y="15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27" name="Iceland">
                <a:extLst>
                  <a:ext uri="{FF2B5EF4-FFF2-40B4-BE49-F238E27FC236}">
                    <a16:creationId xmlns:a16="http://schemas.microsoft.com/office/drawing/2014/main" id="{C6D52389-2573-91E5-CE06-F42141E0B2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7761" y="2423016"/>
                <a:ext cx="253044" cy="122823"/>
              </a:xfrm>
              <a:custGeom>
                <a:avLst/>
                <a:gdLst/>
                <a:ahLst/>
                <a:cxnLst>
                  <a:cxn ang="0">
                    <a:pos x="149" y="59"/>
                  </a:cxn>
                  <a:cxn ang="0">
                    <a:pos x="158" y="50"/>
                  </a:cxn>
                  <a:cxn ang="0">
                    <a:pos x="169" y="37"/>
                  </a:cxn>
                  <a:cxn ang="0">
                    <a:pos x="165" y="26"/>
                  </a:cxn>
                  <a:cxn ang="0">
                    <a:pos x="154" y="22"/>
                  </a:cxn>
                  <a:cxn ang="0">
                    <a:pos x="152" y="15"/>
                  </a:cxn>
                  <a:cxn ang="0">
                    <a:pos x="148" y="6"/>
                  </a:cxn>
                  <a:cxn ang="0">
                    <a:pos x="135" y="6"/>
                  </a:cxn>
                  <a:cxn ang="0">
                    <a:pos x="124" y="0"/>
                  </a:cxn>
                  <a:cxn ang="0">
                    <a:pos x="121" y="10"/>
                  </a:cxn>
                  <a:cxn ang="0">
                    <a:pos x="114" y="9"/>
                  </a:cxn>
                  <a:cxn ang="0">
                    <a:pos x="111" y="13"/>
                  </a:cxn>
                  <a:cxn ang="0">
                    <a:pos x="105" y="10"/>
                  </a:cxn>
                  <a:cxn ang="0">
                    <a:pos x="97" y="12"/>
                  </a:cxn>
                  <a:cxn ang="0">
                    <a:pos x="88" y="9"/>
                  </a:cxn>
                  <a:cxn ang="0">
                    <a:pos x="78" y="13"/>
                  </a:cxn>
                  <a:cxn ang="0">
                    <a:pos x="75" y="19"/>
                  </a:cxn>
                  <a:cxn ang="0">
                    <a:pos x="70" y="12"/>
                  </a:cxn>
                  <a:cxn ang="0">
                    <a:pos x="63" y="15"/>
                  </a:cxn>
                  <a:cxn ang="0">
                    <a:pos x="64" y="25"/>
                  </a:cxn>
                  <a:cxn ang="0">
                    <a:pos x="58" y="25"/>
                  </a:cxn>
                  <a:cxn ang="0">
                    <a:pos x="50" y="32"/>
                  </a:cxn>
                  <a:cxn ang="0">
                    <a:pos x="46" y="19"/>
                  </a:cxn>
                  <a:cxn ang="0">
                    <a:pos x="46" y="15"/>
                  </a:cxn>
                  <a:cxn ang="0">
                    <a:pos x="23" y="2"/>
                  </a:cxn>
                  <a:cxn ang="0">
                    <a:pos x="24" y="10"/>
                  </a:cxn>
                  <a:cxn ang="0">
                    <a:pos x="21" y="12"/>
                  </a:cxn>
                  <a:cxn ang="0">
                    <a:pos x="14" y="9"/>
                  </a:cxn>
                  <a:cxn ang="0">
                    <a:pos x="3" y="20"/>
                  </a:cxn>
                  <a:cxn ang="0">
                    <a:pos x="1" y="27"/>
                  </a:cxn>
                  <a:cxn ang="0">
                    <a:pos x="16" y="29"/>
                  </a:cxn>
                  <a:cxn ang="0">
                    <a:pos x="36" y="29"/>
                  </a:cxn>
                  <a:cxn ang="0">
                    <a:pos x="34" y="33"/>
                  </a:cxn>
                  <a:cxn ang="0">
                    <a:pos x="33" y="36"/>
                  </a:cxn>
                  <a:cxn ang="0">
                    <a:pos x="24" y="42"/>
                  </a:cxn>
                  <a:cxn ang="0">
                    <a:pos x="6" y="44"/>
                  </a:cxn>
                  <a:cxn ang="0">
                    <a:pos x="7" y="47"/>
                  </a:cxn>
                  <a:cxn ang="0">
                    <a:pos x="27" y="46"/>
                  </a:cxn>
                  <a:cxn ang="0">
                    <a:pos x="31" y="53"/>
                  </a:cxn>
                  <a:cxn ang="0">
                    <a:pos x="38" y="54"/>
                  </a:cxn>
                  <a:cxn ang="0">
                    <a:pos x="41" y="60"/>
                  </a:cxn>
                  <a:cxn ang="0">
                    <a:pos x="34" y="66"/>
                  </a:cxn>
                  <a:cxn ang="0">
                    <a:pos x="26" y="70"/>
                  </a:cxn>
                  <a:cxn ang="0">
                    <a:pos x="46" y="70"/>
                  </a:cxn>
                  <a:cxn ang="0">
                    <a:pos x="75" y="81"/>
                  </a:cxn>
                  <a:cxn ang="0">
                    <a:pos x="100" y="79"/>
                  </a:cxn>
                  <a:cxn ang="0">
                    <a:pos x="104" y="73"/>
                  </a:cxn>
                  <a:cxn ang="0">
                    <a:pos x="122" y="69"/>
                  </a:cxn>
                  <a:cxn ang="0">
                    <a:pos x="145" y="60"/>
                  </a:cxn>
                </a:cxnLst>
                <a:rect l="0" t="0" r="r" b="b"/>
                <a:pathLst>
                  <a:path w="171" h="83">
                    <a:moveTo>
                      <a:pt x="145" y="60"/>
                    </a:moveTo>
                    <a:lnTo>
                      <a:pt x="145" y="60"/>
                    </a:lnTo>
                    <a:lnTo>
                      <a:pt x="148" y="59"/>
                    </a:lnTo>
                    <a:lnTo>
                      <a:pt x="149" y="59"/>
                    </a:lnTo>
                    <a:lnTo>
                      <a:pt x="152" y="54"/>
                    </a:lnTo>
                    <a:lnTo>
                      <a:pt x="155" y="52"/>
                    </a:lnTo>
                    <a:lnTo>
                      <a:pt x="157" y="50"/>
                    </a:lnTo>
                    <a:lnTo>
                      <a:pt x="158" y="50"/>
                    </a:lnTo>
                    <a:lnTo>
                      <a:pt x="158" y="50"/>
                    </a:lnTo>
                    <a:lnTo>
                      <a:pt x="161" y="49"/>
                    </a:lnTo>
                    <a:lnTo>
                      <a:pt x="164" y="46"/>
                    </a:lnTo>
                    <a:lnTo>
                      <a:pt x="169" y="37"/>
                    </a:lnTo>
                    <a:lnTo>
                      <a:pt x="169" y="37"/>
                    </a:lnTo>
                    <a:lnTo>
                      <a:pt x="171" y="34"/>
                    </a:lnTo>
                    <a:lnTo>
                      <a:pt x="168" y="30"/>
                    </a:lnTo>
                    <a:lnTo>
                      <a:pt x="165" y="26"/>
                    </a:lnTo>
                    <a:lnTo>
                      <a:pt x="161" y="25"/>
                    </a:lnTo>
                    <a:lnTo>
                      <a:pt x="161" y="25"/>
                    </a:lnTo>
                    <a:lnTo>
                      <a:pt x="158" y="25"/>
                    </a:lnTo>
                    <a:lnTo>
                      <a:pt x="154" y="22"/>
                    </a:lnTo>
                    <a:lnTo>
                      <a:pt x="152" y="19"/>
                    </a:lnTo>
                    <a:lnTo>
                      <a:pt x="152" y="17"/>
                    </a:lnTo>
                    <a:lnTo>
                      <a:pt x="152" y="17"/>
                    </a:lnTo>
                    <a:lnTo>
                      <a:pt x="152" y="15"/>
                    </a:lnTo>
                    <a:lnTo>
                      <a:pt x="151" y="12"/>
                    </a:lnTo>
                    <a:lnTo>
                      <a:pt x="149" y="7"/>
                    </a:lnTo>
                    <a:lnTo>
                      <a:pt x="149" y="7"/>
                    </a:lnTo>
                    <a:lnTo>
                      <a:pt x="148" y="6"/>
                    </a:lnTo>
                    <a:lnTo>
                      <a:pt x="145" y="6"/>
                    </a:lnTo>
                    <a:lnTo>
                      <a:pt x="139" y="7"/>
                    </a:lnTo>
                    <a:lnTo>
                      <a:pt x="139" y="7"/>
                    </a:lnTo>
                    <a:lnTo>
                      <a:pt x="135" y="6"/>
                    </a:lnTo>
                    <a:lnTo>
                      <a:pt x="131" y="3"/>
                    </a:lnTo>
                    <a:lnTo>
                      <a:pt x="127" y="0"/>
                    </a:lnTo>
                    <a:lnTo>
                      <a:pt x="125" y="0"/>
                    </a:lnTo>
                    <a:lnTo>
                      <a:pt x="124" y="0"/>
                    </a:lnTo>
                    <a:lnTo>
                      <a:pt x="124" y="0"/>
                    </a:lnTo>
                    <a:lnTo>
                      <a:pt x="122" y="2"/>
                    </a:lnTo>
                    <a:lnTo>
                      <a:pt x="121" y="5"/>
                    </a:lnTo>
                    <a:lnTo>
                      <a:pt x="121" y="10"/>
                    </a:lnTo>
                    <a:lnTo>
                      <a:pt x="121" y="10"/>
                    </a:lnTo>
                    <a:lnTo>
                      <a:pt x="120" y="10"/>
                    </a:lnTo>
                    <a:lnTo>
                      <a:pt x="117" y="10"/>
                    </a:lnTo>
                    <a:lnTo>
                      <a:pt x="114" y="9"/>
                    </a:lnTo>
                    <a:lnTo>
                      <a:pt x="112" y="10"/>
                    </a:lnTo>
                    <a:lnTo>
                      <a:pt x="112" y="10"/>
                    </a:lnTo>
                    <a:lnTo>
                      <a:pt x="112" y="10"/>
                    </a:lnTo>
                    <a:lnTo>
                      <a:pt x="111" y="13"/>
                    </a:lnTo>
                    <a:lnTo>
                      <a:pt x="110" y="13"/>
                    </a:lnTo>
                    <a:lnTo>
                      <a:pt x="108" y="13"/>
                    </a:lnTo>
                    <a:lnTo>
                      <a:pt x="105" y="10"/>
                    </a:lnTo>
                    <a:lnTo>
                      <a:pt x="105" y="10"/>
                    </a:lnTo>
                    <a:lnTo>
                      <a:pt x="102" y="9"/>
                    </a:lnTo>
                    <a:lnTo>
                      <a:pt x="100" y="9"/>
                    </a:lnTo>
                    <a:lnTo>
                      <a:pt x="97" y="10"/>
                    </a:lnTo>
                    <a:lnTo>
                      <a:pt x="97" y="12"/>
                    </a:lnTo>
                    <a:lnTo>
                      <a:pt x="97" y="12"/>
                    </a:lnTo>
                    <a:lnTo>
                      <a:pt x="95" y="13"/>
                    </a:lnTo>
                    <a:lnTo>
                      <a:pt x="94" y="13"/>
                    </a:lnTo>
                    <a:lnTo>
                      <a:pt x="88" y="9"/>
                    </a:lnTo>
                    <a:lnTo>
                      <a:pt x="88" y="9"/>
                    </a:lnTo>
                    <a:lnTo>
                      <a:pt x="84" y="9"/>
                    </a:lnTo>
                    <a:lnTo>
                      <a:pt x="81" y="10"/>
                    </a:lnTo>
                    <a:lnTo>
                      <a:pt x="78" y="13"/>
                    </a:lnTo>
                    <a:lnTo>
                      <a:pt x="77" y="17"/>
                    </a:lnTo>
                    <a:lnTo>
                      <a:pt x="77" y="17"/>
                    </a:lnTo>
                    <a:lnTo>
                      <a:pt x="77" y="19"/>
                    </a:lnTo>
                    <a:lnTo>
                      <a:pt x="75" y="19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71" y="13"/>
                    </a:lnTo>
                    <a:lnTo>
                      <a:pt x="70" y="12"/>
                    </a:lnTo>
                    <a:lnTo>
                      <a:pt x="67" y="10"/>
                    </a:lnTo>
                    <a:lnTo>
                      <a:pt x="66" y="10"/>
                    </a:lnTo>
                    <a:lnTo>
                      <a:pt x="64" y="12"/>
                    </a:lnTo>
                    <a:lnTo>
                      <a:pt x="63" y="15"/>
                    </a:lnTo>
                    <a:lnTo>
                      <a:pt x="64" y="19"/>
                    </a:lnTo>
                    <a:lnTo>
                      <a:pt x="64" y="19"/>
                    </a:lnTo>
                    <a:lnTo>
                      <a:pt x="66" y="22"/>
                    </a:lnTo>
                    <a:lnTo>
                      <a:pt x="64" y="25"/>
                    </a:lnTo>
                    <a:lnTo>
                      <a:pt x="64" y="26"/>
                    </a:lnTo>
                    <a:lnTo>
                      <a:pt x="61" y="26"/>
                    </a:lnTo>
                    <a:lnTo>
                      <a:pt x="61" y="26"/>
                    </a:lnTo>
                    <a:lnTo>
                      <a:pt x="58" y="25"/>
                    </a:lnTo>
                    <a:lnTo>
                      <a:pt x="56" y="26"/>
                    </a:lnTo>
                    <a:lnTo>
                      <a:pt x="51" y="30"/>
                    </a:lnTo>
                    <a:lnTo>
                      <a:pt x="51" y="30"/>
                    </a:lnTo>
                    <a:lnTo>
                      <a:pt x="50" y="32"/>
                    </a:lnTo>
                    <a:lnTo>
                      <a:pt x="48" y="30"/>
                    </a:lnTo>
                    <a:lnTo>
                      <a:pt x="46" y="26"/>
                    </a:lnTo>
                    <a:lnTo>
                      <a:pt x="44" y="22"/>
                    </a:lnTo>
                    <a:lnTo>
                      <a:pt x="46" y="19"/>
                    </a:lnTo>
                    <a:lnTo>
                      <a:pt x="47" y="17"/>
                    </a:lnTo>
                    <a:lnTo>
                      <a:pt x="47" y="17"/>
                    </a:lnTo>
                    <a:lnTo>
                      <a:pt x="47" y="16"/>
                    </a:lnTo>
                    <a:lnTo>
                      <a:pt x="46" y="15"/>
                    </a:lnTo>
                    <a:lnTo>
                      <a:pt x="40" y="9"/>
                    </a:lnTo>
                    <a:lnTo>
                      <a:pt x="30" y="3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19" y="3"/>
                    </a:lnTo>
                    <a:lnTo>
                      <a:pt x="19" y="5"/>
                    </a:lnTo>
                    <a:lnTo>
                      <a:pt x="21" y="7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6" y="13"/>
                    </a:lnTo>
                    <a:lnTo>
                      <a:pt x="24" y="13"/>
                    </a:lnTo>
                    <a:lnTo>
                      <a:pt x="21" y="12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7" y="9"/>
                    </a:lnTo>
                    <a:lnTo>
                      <a:pt x="14" y="9"/>
                    </a:lnTo>
                    <a:lnTo>
                      <a:pt x="11" y="12"/>
                    </a:lnTo>
                    <a:lnTo>
                      <a:pt x="9" y="15"/>
                    </a:lnTo>
                    <a:lnTo>
                      <a:pt x="9" y="15"/>
                    </a:lnTo>
                    <a:lnTo>
                      <a:pt x="3" y="20"/>
                    </a:lnTo>
                    <a:lnTo>
                      <a:pt x="1" y="23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1" y="27"/>
                    </a:lnTo>
                    <a:lnTo>
                      <a:pt x="6" y="29"/>
                    </a:lnTo>
                    <a:lnTo>
                      <a:pt x="10" y="30"/>
                    </a:lnTo>
                    <a:lnTo>
                      <a:pt x="16" y="29"/>
                    </a:lnTo>
                    <a:lnTo>
                      <a:pt x="16" y="29"/>
                    </a:lnTo>
                    <a:lnTo>
                      <a:pt x="21" y="27"/>
                    </a:lnTo>
                    <a:lnTo>
                      <a:pt x="27" y="26"/>
                    </a:lnTo>
                    <a:lnTo>
                      <a:pt x="31" y="27"/>
                    </a:lnTo>
                    <a:lnTo>
                      <a:pt x="36" y="29"/>
                    </a:lnTo>
                    <a:lnTo>
                      <a:pt x="36" y="29"/>
                    </a:lnTo>
                    <a:lnTo>
                      <a:pt x="36" y="30"/>
                    </a:lnTo>
                    <a:lnTo>
                      <a:pt x="36" y="32"/>
                    </a:lnTo>
                    <a:lnTo>
                      <a:pt x="34" y="33"/>
                    </a:lnTo>
                    <a:lnTo>
                      <a:pt x="31" y="34"/>
                    </a:lnTo>
                    <a:lnTo>
                      <a:pt x="31" y="36"/>
                    </a:lnTo>
                    <a:lnTo>
                      <a:pt x="33" y="36"/>
                    </a:lnTo>
                    <a:lnTo>
                      <a:pt x="33" y="36"/>
                    </a:lnTo>
                    <a:lnTo>
                      <a:pt x="34" y="39"/>
                    </a:lnTo>
                    <a:lnTo>
                      <a:pt x="33" y="40"/>
                    </a:lnTo>
                    <a:lnTo>
                      <a:pt x="30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17" y="42"/>
                    </a:lnTo>
                    <a:lnTo>
                      <a:pt x="10" y="42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7" y="47"/>
                    </a:lnTo>
                    <a:lnTo>
                      <a:pt x="10" y="47"/>
                    </a:lnTo>
                    <a:lnTo>
                      <a:pt x="17" y="46"/>
                    </a:lnTo>
                    <a:lnTo>
                      <a:pt x="26" y="46"/>
                    </a:lnTo>
                    <a:lnTo>
                      <a:pt x="27" y="46"/>
                    </a:lnTo>
                    <a:lnTo>
                      <a:pt x="29" y="46"/>
                    </a:lnTo>
                    <a:lnTo>
                      <a:pt x="29" y="46"/>
                    </a:lnTo>
                    <a:lnTo>
                      <a:pt x="30" y="52"/>
                    </a:lnTo>
                    <a:lnTo>
                      <a:pt x="31" y="53"/>
                    </a:lnTo>
                    <a:lnTo>
                      <a:pt x="34" y="53"/>
                    </a:lnTo>
                    <a:lnTo>
                      <a:pt x="34" y="53"/>
                    </a:lnTo>
                    <a:lnTo>
                      <a:pt x="37" y="52"/>
                    </a:lnTo>
                    <a:lnTo>
                      <a:pt x="38" y="54"/>
                    </a:lnTo>
                    <a:lnTo>
                      <a:pt x="38" y="56"/>
                    </a:lnTo>
                    <a:lnTo>
                      <a:pt x="40" y="57"/>
                    </a:lnTo>
                    <a:lnTo>
                      <a:pt x="40" y="57"/>
                    </a:lnTo>
                    <a:lnTo>
                      <a:pt x="41" y="60"/>
                    </a:lnTo>
                    <a:lnTo>
                      <a:pt x="40" y="62"/>
                    </a:lnTo>
                    <a:lnTo>
                      <a:pt x="38" y="64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26" y="67"/>
                    </a:lnTo>
                    <a:lnTo>
                      <a:pt x="24" y="69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30" y="73"/>
                    </a:lnTo>
                    <a:lnTo>
                      <a:pt x="34" y="73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50" y="70"/>
                    </a:lnTo>
                    <a:lnTo>
                      <a:pt x="53" y="70"/>
                    </a:lnTo>
                    <a:lnTo>
                      <a:pt x="60" y="73"/>
                    </a:lnTo>
                    <a:lnTo>
                      <a:pt x="75" y="81"/>
                    </a:lnTo>
                    <a:lnTo>
                      <a:pt x="75" y="81"/>
                    </a:lnTo>
                    <a:lnTo>
                      <a:pt x="84" y="83"/>
                    </a:lnTo>
                    <a:lnTo>
                      <a:pt x="93" y="81"/>
                    </a:lnTo>
                    <a:lnTo>
                      <a:pt x="100" y="79"/>
                    </a:lnTo>
                    <a:lnTo>
                      <a:pt x="101" y="77"/>
                    </a:lnTo>
                    <a:lnTo>
                      <a:pt x="102" y="74"/>
                    </a:lnTo>
                    <a:lnTo>
                      <a:pt x="102" y="74"/>
                    </a:lnTo>
                    <a:lnTo>
                      <a:pt x="104" y="73"/>
                    </a:lnTo>
                    <a:lnTo>
                      <a:pt x="107" y="73"/>
                    </a:lnTo>
                    <a:lnTo>
                      <a:pt x="111" y="71"/>
                    </a:lnTo>
                    <a:lnTo>
                      <a:pt x="118" y="70"/>
                    </a:lnTo>
                    <a:lnTo>
                      <a:pt x="122" y="69"/>
                    </a:lnTo>
                    <a:lnTo>
                      <a:pt x="122" y="69"/>
                    </a:lnTo>
                    <a:lnTo>
                      <a:pt x="132" y="63"/>
                    </a:lnTo>
                    <a:lnTo>
                      <a:pt x="138" y="62"/>
                    </a:lnTo>
                    <a:lnTo>
                      <a:pt x="145" y="60"/>
                    </a:lnTo>
                    <a:lnTo>
                      <a:pt x="145" y="6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28" name="Ireland">
                <a:extLst>
                  <a:ext uri="{FF2B5EF4-FFF2-40B4-BE49-F238E27FC236}">
                    <a16:creationId xmlns:a16="http://schemas.microsoft.com/office/drawing/2014/main" id="{966C789C-EED8-C87B-1D9A-0FFCFA8E2A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6273" y="2838835"/>
                <a:ext cx="100626" cy="116903"/>
              </a:xfrm>
              <a:custGeom>
                <a:avLst/>
                <a:gdLst/>
                <a:ahLst/>
                <a:cxnLst>
                  <a:cxn ang="0">
                    <a:pos x="64" y="24"/>
                  </a:cxn>
                  <a:cxn ang="0">
                    <a:pos x="58" y="18"/>
                  </a:cxn>
                  <a:cxn ang="0">
                    <a:pos x="51" y="15"/>
                  </a:cxn>
                  <a:cxn ang="0">
                    <a:pos x="50" y="21"/>
                  </a:cxn>
                  <a:cxn ang="0">
                    <a:pos x="48" y="24"/>
                  </a:cxn>
                  <a:cxn ang="0">
                    <a:pos x="38" y="20"/>
                  </a:cxn>
                  <a:cxn ang="0">
                    <a:pos x="38" y="18"/>
                  </a:cxn>
                  <a:cxn ang="0">
                    <a:pos x="43" y="10"/>
                  </a:cxn>
                  <a:cxn ang="0">
                    <a:pos x="46" y="7"/>
                  </a:cxn>
                  <a:cxn ang="0">
                    <a:pos x="47" y="1"/>
                  </a:cxn>
                  <a:cxn ang="0">
                    <a:pos x="46" y="1"/>
                  </a:cxn>
                  <a:cxn ang="0">
                    <a:pos x="34" y="0"/>
                  </a:cxn>
                  <a:cxn ang="0">
                    <a:pos x="30" y="2"/>
                  </a:cxn>
                  <a:cxn ang="0">
                    <a:pos x="28" y="4"/>
                  </a:cxn>
                  <a:cxn ang="0">
                    <a:pos x="33" y="8"/>
                  </a:cxn>
                  <a:cxn ang="0">
                    <a:pos x="37" y="11"/>
                  </a:cxn>
                  <a:cxn ang="0">
                    <a:pos x="36" y="14"/>
                  </a:cxn>
                  <a:cxn ang="0">
                    <a:pos x="28" y="17"/>
                  </a:cxn>
                  <a:cxn ang="0">
                    <a:pos x="24" y="18"/>
                  </a:cxn>
                  <a:cxn ang="0">
                    <a:pos x="16" y="18"/>
                  </a:cxn>
                  <a:cxn ang="0">
                    <a:pos x="7" y="18"/>
                  </a:cxn>
                  <a:cxn ang="0">
                    <a:pos x="6" y="20"/>
                  </a:cxn>
                  <a:cxn ang="0">
                    <a:pos x="7" y="24"/>
                  </a:cxn>
                  <a:cxn ang="0">
                    <a:pos x="9" y="28"/>
                  </a:cxn>
                  <a:cxn ang="0">
                    <a:pos x="9" y="31"/>
                  </a:cxn>
                  <a:cxn ang="0">
                    <a:pos x="7" y="37"/>
                  </a:cxn>
                  <a:cxn ang="0">
                    <a:pos x="16" y="42"/>
                  </a:cxn>
                  <a:cxn ang="0">
                    <a:pos x="18" y="45"/>
                  </a:cxn>
                  <a:cxn ang="0">
                    <a:pos x="13" y="51"/>
                  </a:cxn>
                  <a:cxn ang="0">
                    <a:pos x="11" y="55"/>
                  </a:cxn>
                  <a:cxn ang="0">
                    <a:pos x="10" y="59"/>
                  </a:cxn>
                  <a:cxn ang="0">
                    <a:pos x="3" y="64"/>
                  </a:cxn>
                  <a:cxn ang="0">
                    <a:pos x="1" y="66"/>
                  </a:cxn>
                  <a:cxn ang="0">
                    <a:pos x="1" y="69"/>
                  </a:cxn>
                  <a:cxn ang="0">
                    <a:pos x="10" y="78"/>
                  </a:cxn>
                  <a:cxn ang="0">
                    <a:pos x="17" y="79"/>
                  </a:cxn>
                  <a:cxn ang="0">
                    <a:pos x="30" y="76"/>
                  </a:cxn>
                  <a:cxn ang="0">
                    <a:pos x="44" y="68"/>
                  </a:cxn>
                  <a:cxn ang="0">
                    <a:pos x="47" y="65"/>
                  </a:cxn>
                  <a:cxn ang="0">
                    <a:pos x="54" y="64"/>
                  </a:cxn>
                  <a:cxn ang="0">
                    <a:pos x="64" y="64"/>
                  </a:cxn>
                  <a:cxn ang="0">
                    <a:pos x="67" y="61"/>
                  </a:cxn>
                  <a:cxn ang="0">
                    <a:pos x="68" y="45"/>
                  </a:cxn>
                  <a:cxn ang="0">
                    <a:pos x="64" y="27"/>
                  </a:cxn>
                  <a:cxn ang="0">
                    <a:pos x="64" y="24"/>
                  </a:cxn>
                </a:cxnLst>
                <a:rect l="0" t="0" r="r" b="b"/>
                <a:pathLst>
                  <a:path w="68" h="79">
                    <a:moveTo>
                      <a:pt x="64" y="24"/>
                    </a:moveTo>
                    <a:lnTo>
                      <a:pt x="64" y="24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4" y="15"/>
                    </a:lnTo>
                    <a:lnTo>
                      <a:pt x="51" y="15"/>
                    </a:lnTo>
                    <a:lnTo>
                      <a:pt x="50" y="18"/>
                    </a:lnTo>
                    <a:lnTo>
                      <a:pt x="50" y="21"/>
                    </a:lnTo>
                    <a:lnTo>
                      <a:pt x="50" y="21"/>
                    </a:lnTo>
                    <a:lnTo>
                      <a:pt x="48" y="24"/>
                    </a:lnTo>
                    <a:lnTo>
                      <a:pt x="46" y="22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18"/>
                    </a:lnTo>
                    <a:lnTo>
                      <a:pt x="38" y="15"/>
                    </a:lnTo>
                    <a:lnTo>
                      <a:pt x="43" y="10"/>
                    </a:lnTo>
                    <a:lnTo>
                      <a:pt x="43" y="10"/>
                    </a:lnTo>
                    <a:lnTo>
                      <a:pt x="46" y="7"/>
                    </a:lnTo>
                    <a:lnTo>
                      <a:pt x="47" y="1"/>
                    </a:lnTo>
                    <a:lnTo>
                      <a:pt x="47" y="1"/>
                    </a:lnTo>
                    <a:lnTo>
                      <a:pt x="46" y="1"/>
                    </a:lnTo>
                    <a:lnTo>
                      <a:pt x="46" y="1"/>
                    </a:lnTo>
                    <a:lnTo>
                      <a:pt x="40" y="0"/>
                    </a:lnTo>
                    <a:lnTo>
                      <a:pt x="34" y="0"/>
                    </a:lnTo>
                    <a:lnTo>
                      <a:pt x="31" y="1"/>
                    </a:lnTo>
                    <a:lnTo>
                      <a:pt x="30" y="2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0" y="7"/>
                    </a:lnTo>
                    <a:lnTo>
                      <a:pt x="33" y="8"/>
                    </a:lnTo>
                    <a:lnTo>
                      <a:pt x="36" y="10"/>
                    </a:lnTo>
                    <a:lnTo>
                      <a:pt x="37" y="11"/>
                    </a:lnTo>
                    <a:lnTo>
                      <a:pt x="37" y="11"/>
                    </a:lnTo>
                    <a:lnTo>
                      <a:pt x="36" y="14"/>
                    </a:lnTo>
                    <a:lnTo>
                      <a:pt x="33" y="15"/>
                    </a:lnTo>
                    <a:lnTo>
                      <a:pt x="28" y="17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20"/>
                    </a:lnTo>
                    <a:lnTo>
                      <a:pt x="16" y="18"/>
                    </a:lnTo>
                    <a:lnTo>
                      <a:pt x="11" y="18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6" y="20"/>
                    </a:lnTo>
                    <a:lnTo>
                      <a:pt x="4" y="21"/>
                    </a:lnTo>
                    <a:lnTo>
                      <a:pt x="7" y="24"/>
                    </a:lnTo>
                    <a:lnTo>
                      <a:pt x="9" y="27"/>
                    </a:lnTo>
                    <a:lnTo>
                      <a:pt x="9" y="28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7" y="34"/>
                    </a:lnTo>
                    <a:lnTo>
                      <a:pt x="7" y="37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7" y="44"/>
                    </a:lnTo>
                    <a:lnTo>
                      <a:pt x="18" y="45"/>
                    </a:lnTo>
                    <a:lnTo>
                      <a:pt x="16" y="48"/>
                    </a:lnTo>
                    <a:lnTo>
                      <a:pt x="13" y="51"/>
                    </a:lnTo>
                    <a:lnTo>
                      <a:pt x="11" y="54"/>
                    </a:lnTo>
                    <a:lnTo>
                      <a:pt x="11" y="55"/>
                    </a:lnTo>
                    <a:lnTo>
                      <a:pt x="11" y="55"/>
                    </a:lnTo>
                    <a:lnTo>
                      <a:pt x="10" y="59"/>
                    </a:lnTo>
                    <a:lnTo>
                      <a:pt x="7" y="61"/>
                    </a:lnTo>
                    <a:lnTo>
                      <a:pt x="3" y="64"/>
                    </a:lnTo>
                    <a:lnTo>
                      <a:pt x="1" y="66"/>
                    </a:lnTo>
                    <a:lnTo>
                      <a:pt x="1" y="66"/>
                    </a:lnTo>
                    <a:lnTo>
                      <a:pt x="0" y="68"/>
                    </a:lnTo>
                    <a:lnTo>
                      <a:pt x="1" y="69"/>
                    </a:lnTo>
                    <a:lnTo>
                      <a:pt x="4" y="74"/>
                    </a:lnTo>
                    <a:lnTo>
                      <a:pt x="10" y="78"/>
                    </a:lnTo>
                    <a:lnTo>
                      <a:pt x="17" y="79"/>
                    </a:lnTo>
                    <a:lnTo>
                      <a:pt x="17" y="79"/>
                    </a:lnTo>
                    <a:lnTo>
                      <a:pt x="23" y="78"/>
                    </a:lnTo>
                    <a:lnTo>
                      <a:pt x="30" y="76"/>
                    </a:lnTo>
                    <a:lnTo>
                      <a:pt x="37" y="72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47" y="65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8" y="65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7" y="61"/>
                    </a:lnTo>
                    <a:lnTo>
                      <a:pt x="67" y="56"/>
                    </a:lnTo>
                    <a:lnTo>
                      <a:pt x="68" y="45"/>
                    </a:lnTo>
                    <a:lnTo>
                      <a:pt x="67" y="34"/>
                    </a:lnTo>
                    <a:lnTo>
                      <a:pt x="64" y="27"/>
                    </a:lnTo>
                    <a:lnTo>
                      <a:pt x="64" y="27"/>
                    </a:lnTo>
                    <a:lnTo>
                      <a:pt x="64" y="24"/>
                    </a:lnTo>
                    <a:lnTo>
                      <a:pt x="64" y="2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29" name="Denmark">
                <a:extLst>
                  <a:ext uri="{FF2B5EF4-FFF2-40B4-BE49-F238E27FC236}">
                    <a16:creationId xmlns:a16="http://schemas.microsoft.com/office/drawing/2014/main" id="{6227B498-25E4-509B-AB99-BEFD338917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15768" y="2750047"/>
                <a:ext cx="109504" cy="105065"/>
              </a:xfrm>
              <a:custGeom>
                <a:avLst/>
                <a:gdLst/>
                <a:ahLst/>
                <a:cxnLst>
                  <a:cxn ang="0">
                    <a:pos x="37" y="24"/>
                  </a:cxn>
                  <a:cxn ang="0">
                    <a:pos x="39" y="14"/>
                  </a:cxn>
                  <a:cxn ang="0">
                    <a:pos x="40" y="7"/>
                  </a:cxn>
                  <a:cxn ang="0">
                    <a:pos x="40" y="0"/>
                  </a:cxn>
                  <a:cxn ang="0">
                    <a:pos x="30" y="3"/>
                  </a:cxn>
                  <a:cxn ang="0">
                    <a:pos x="26" y="10"/>
                  </a:cxn>
                  <a:cxn ang="0">
                    <a:pos x="19" y="11"/>
                  </a:cxn>
                  <a:cxn ang="0">
                    <a:pos x="19" y="15"/>
                  </a:cxn>
                  <a:cxn ang="0">
                    <a:pos x="19" y="18"/>
                  </a:cxn>
                  <a:cxn ang="0">
                    <a:pos x="13" y="15"/>
                  </a:cxn>
                  <a:cxn ang="0">
                    <a:pos x="7" y="15"/>
                  </a:cxn>
                  <a:cxn ang="0">
                    <a:pos x="2" y="25"/>
                  </a:cxn>
                  <a:cxn ang="0">
                    <a:pos x="2" y="44"/>
                  </a:cxn>
                  <a:cxn ang="0">
                    <a:pos x="6" y="51"/>
                  </a:cxn>
                  <a:cxn ang="0">
                    <a:pos x="9" y="58"/>
                  </a:cxn>
                  <a:cxn ang="0">
                    <a:pos x="10" y="65"/>
                  </a:cxn>
                  <a:cxn ang="0">
                    <a:pos x="26" y="67"/>
                  </a:cxn>
                  <a:cxn ang="0">
                    <a:pos x="27" y="62"/>
                  </a:cxn>
                  <a:cxn ang="0">
                    <a:pos x="24" y="58"/>
                  </a:cxn>
                  <a:cxn ang="0">
                    <a:pos x="33" y="60"/>
                  </a:cxn>
                  <a:cxn ang="0">
                    <a:pos x="40" y="62"/>
                  </a:cxn>
                  <a:cxn ang="0">
                    <a:pos x="44" y="60"/>
                  </a:cxn>
                  <a:cxn ang="0">
                    <a:pos x="40" y="50"/>
                  </a:cxn>
                  <a:cxn ang="0">
                    <a:pos x="34" y="51"/>
                  </a:cxn>
                  <a:cxn ang="0">
                    <a:pos x="32" y="47"/>
                  </a:cxn>
                  <a:cxn ang="0">
                    <a:pos x="36" y="38"/>
                  </a:cxn>
                  <a:cxn ang="0">
                    <a:pos x="44" y="34"/>
                  </a:cxn>
                  <a:cxn ang="0">
                    <a:pos x="46" y="31"/>
                  </a:cxn>
                  <a:cxn ang="0">
                    <a:pos x="39" y="25"/>
                  </a:cxn>
                  <a:cxn ang="0">
                    <a:pos x="73" y="40"/>
                  </a:cxn>
                  <a:cxn ang="0">
                    <a:pos x="69" y="44"/>
                  </a:cxn>
                  <a:cxn ang="0">
                    <a:pos x="64" y="38"/>
                  </a:cxn>
                  <a:cxn ang="0">
                    <a:pos x="61" y="41"/>
                  </a:cxn>
                  <a:cxn ang="0">
                    <a:pos x="53" y="44"/>
                  </a:cxn>
                  <a:cxn ang="0">
                    <a:pos x="52" y="50"/>
                  </a:cxn>
                  <a:cxn ang="0">
                    <a:pos x="59" y="60"/>
                  </a:cxn>
                  <a:cxn ang="0">
                    <a:pos x="60" y="62"/>
                  </a:cxn>
                  <a:cxn ang="0">
                    <a:pos x="54" y="64"/>
                  </a:cxn>
                  <a:cxn ang="0">
                    <a:pos x="56" y="68"/>
                  </a:cxn>
                  <a:cxn ang="0">
                    <a:pos x="61" y="70"/>
                  </a:cxn>
                  <a:cxn ang="0">
                    <a:pos x="70" y="61"/>
                  </a:cxn>
                  <a:cxn ang="0">
                    <a:pos x="71" y="54"/>
                  </a:cxn>
                  <a:cxn ang="0">
                    <a:pos x="74" y="40"/>
                  </a:cxn>
                </a:cxnLst>
                <a:rect l="0" t="0" r="r" b="b"/>
                <a:pathLst>
                  <a:path w="74" h="71">
                    <a:moveTo>
                      <a:pt x="39" y="25"/>
                    </a:moveTo>
                    <a:lnTo>
                      <a:pt x="39" y="25"/>
                    </a:lnTo>
                    <a:lnTo>
                      <a:pt x="37" y="24"/>
                    </a:lnTo>
                    <a:lnTo>
                      <a:pt x="36" y="20"/>
                    </a:lnTo>
                    <a:lnTo>
                      <a:pt x="36" y="17"/>
                    </a:lnTo>
                    <a:lnTo>
                      <a:pt x="39" y="14"/>
                    </a:lnTo>
                    <a:lnTo>
                      <a:pt x="39" y="14"/>
                    </a:lnTo>
                    <a:lnTo>
                      <a:pt x="40" y="11"/>
                    </a:lnTo>
                    <a:lnTo>
                      <a:pt x="40" y="7"/>
                    </a:lnTo>
                    <a:lnTo>
                      <a:pt x="40" y="3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7" y="0"/>
                    </a:lnTo>
                    <a:lnTo>
                      <a:pt x="33" y="0"/>
                    </a:lnTo>
                    <a:lnTo>
                      <a:pt x="30" y="3"/>
                    </a:lnTo>
                    <a:lnTo>
                      <a:pt x="29" y="7"/>
                    </a:lnTo>
                    <a:lnTo>
                      <a:pt x="29" y="7"/>
                    </a:lnTo>
                    <a:lnTo>
                      <a:pt x="26" y="10"/>
                    </a:lnTo>
                    <a:lnTo>
                      <a:pt x="23" y="11"/>
                    </a:lnTo>
                    <a:lnTo>
                      <a:pt x="20" y="11"/>
                    </a:lnTo>
                    <a:lnTo>
                      <a:pt x="19" y="11"/>
                    </a:lnTo>
                    <a:lnTo>
                      <a:pt x="19" y="11"/>
                    </a:lnTo>
                    <a:lnTo>
                      <a:pt x="19" y="13"/>
                    </a:lnTo>
                    <a:lnTo>
                      <a:pt x="19" y="15"/>
                    </a:lnTo>
                    <a:lnTo>
                      <a:pt x="20" y="17"/>
                    </a:lnTo>
                    <a:lnTo>
                      <a:pt x="19" y="18"/>
                    </a:lnTo>
                    <a:lnTo>
                      <a:pt x="19" y="18"/>
                    </a:lnTo>
                    <a:lnTo>
                      <a:pt x="17" y="20"/>
                    </a:lnTo>
                    <a:lnTo>
                      <a:pt x="16" y="18"/>
                    </a:lnTo>
                    <a:lnTo>
                      <a:pt x="13" y="15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7" y="15"/>
                    </a:lnTo>
                    <a:lnTo>
                      <a:pt x="5" y="18"/>
                    </a:lnTo>
                    <a:lnTo>
                      <a:pt x="2" y="25"/>
                    </a:lnTo>
                    <a:lnTo>
                      <a:pt x="2" y="25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3" y="48"/>
                    </a:lnTo>
                    <a:lnTo>
                      <a:pt x="6" y="51"/>
                    </a:lnTo>
                    <a:lnTo>
                      <a:pt x="7" y="55"/>
                    </a:lnTo>
                    <a:lnTo>
                      <a:pt x="9" y="58"/>
                    </a:lnTo>
                    <a:lnTo>
                      <a:pt x="9" y="58"/>
                    </a:lnTo>
                    <a:lnTo>
                      <a:pt x="9" y="61"/>
                    </a:lnTo>
                    <a:lnTo>
                      <a:pt x="10" y="65"/>
                    </a:lnTo>
                    <a:lnTo>
                      <a:pt x="10" y="65"/>
                    </a:lnTo>
                    <a:lnTo>
                      <a:pt x="19" y="65"/>
                    </a:lnTo>
                    <a:lnTo>
                      <a:pt x="26" y="67"/>
                    </a:lnTo>
                    <a:lnTo>
                      <a:pt x="26" y="67"/>
                    </a:lnTo>
                    <a:lnTo>
                      <a:pt x="32" y="67"/>
                    </a:lnTo>
                    <a:lnTo>
                      <a:pt x="32" y="67"/>
                    </a:lnTo>
                    <a:lnTo>
                      <a:pt x="27" y="62"/>
                    </a:lnTo>
                    <a:lnTo>
                      <a:pt x="26" y="60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6" y="57"/>
                    </a:lnTo>
                    <a:lnTo>
                      <a:pt x="27" y="57"/>
                    </a:lnTo>
                    <a:lnTo>
                      <a:pt x="33" y="60"/>
                    </a:lnTo>
                    <a:lnTo>
                      <a:pt x="33" y="60"/>
                    </a:lnTo>
                    <a:lnTo>
                      <a:pt x="36" y="61"/>
                    </a:lnTo>
                    <a:lnTo>
                      <a:pt x="40" y="62"/>
                    </a:lnTo>
                    <a:lnTo>
                      <a:pt x="43" y="61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3" y="52"/>
                    </a:lnTo>
                    <a:lnTo>
                      <a:pt x="42" y="50"/>
                    </a:lnTo>
                    <a:lnTo>
                      <a:pt x="40" y="50"/>
                    </a:lnTo>
                    <a:lnTo>
                      <a:pt x="39" y="50"/>
                    </a:lnTo>
                    <a:lnTo>
                      <a:pt x="39" y="50"/>
                    </a:lnTo>
                    <a:lnTo>
                      <a:pt x="34" y="51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7"/>
                    </a:lnTo>
                    <a:lnTo>
                      <a:pt x="33" y="44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37" y="37"/>
                    </a:lnTo>
                    <a:lnTo>
                      <a:pt x="42" y="35"/>
                    </a:lnTo>
                    <a:lnTo>
                      <a:pt x="44" y="34"/>
                    </a:lnTo>
                    <a:lnTo>
                      <a:pt x="46" y="33"/>
                    </a:lnTo>
                    <a:lnTo>
                      <a:pt x="46" y="33"/>
                    </a:lnTo>
                    <a:lnTo>
                      <a:pt x="46" y="31"/>
                    </a:lnTo>
                    <a:lnTo>
                      <a:pt x="43" y="28"/>
                    </a:lnTo>
                    <a:lnTo>
                      <a:pt x="39" y="25"/>
                    </a:lnTo>
                    <a:lnTo>
                      <a:pt x="39" y="25"/>
                    </a:lnTo>
                    <a:close/>
                    <a:moveTo>
                      <a:pt x="74" y="40"/>
                    </a:moveTo>
                    <a:lnTo>
                      <a:pt x="74" y="40"/>
                    </a:lnTo>
                    <a:lnTo>
                      <a:pt x="73" y="40"/>
                    </a:lnTo>
                    <a:lnTo>
                      <a:pt x="71" y="41"/>
                    </a:lnTo>
                    <a:lnTo>
                      <a:pt x="69" y="44"/>
                    </a:lnTo>
                    <a:lnTo>
                      <a:pt x="69" y="44"/>
                    </a:lnTo>
                    <a:lnTo>
                      <a:pt x="67" y="43"/>
                    </a:lnTo>
                    <a:lnTo>
                      <a:pt x="66" y="40"/>
                    </a:lnTo>
                    <a:lnTo>
                      <a:pt x="64" y="38"/>
                    </a:lnTo>
                    <a:lnTo>
                      <a:pt x="63" y="40"/>
                    </a:lnTo>
                    <a:lnTo>
                      <a:pt x="63" y="40"/>
                    </a:lnTo>
                    <a:lnTo>
                      <a:pt x="61" y="41"/>
                    </a:lnTo>
                    <a:lnTo>
                      <a:pt x="60" y="41"/>
                    </a:lnTo>
                    <a:lnTo>
                      <a:pt x="56" y="41"/>
                    </a:lnTo>
                    <a:lnTo>
                      <a:pt x="53" y="44"/>
                    </a:lnTo>
                    <a:lnTo>
                      <a:pt x="53" y="44"/>
                    </a:lnTo>
                    <a:lnTo>
                      <a:pt x="52" y="47"/>
                    </a:lnTo>
                    <a:lnTo>
                      <a:pt x="52" y="50"/>
                    </a:lnTo>
                    <a:lnTo>
                      <a:pt x="53" y="54"/>
                    </a:lnTo>
                    <a:lnTo>
                      <a:pt x="56" y="57"/>
                    </a:lnTo>
                    <a:lnTo>
                      <a:pt x="59" y="60"/>
                    </a:lnTo>
                    <a:lnTo>
                      <a:pt x="59" y="60"/>
                    </a:lnTo>
                    <a:lnTo>
                      <a:pt x="60" y="61"/>
                    </a:lnTo>
                    <a:lnTo>
                      <a:pt x="60" y="62"/>
                    </a:lnTo>
                    <a:lnTo>
                      <a:pt x="57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3" y="64"/>
                    </a:lnTo>
                    <a:lnTo>
                      <a:pt x="53" y="67"/>
                    </a:lnTo>
                    <a:lnTo>
                      <a:pt x="56" y="68"/>
                    </a:lnTo>
                    <a:lnTo>
                      <a:pt x="59" y="71"/>
                    </a:lnTo>
                    <a:lnTo>
                      <a:pt x="59" y="71"/>
                    </a:lnTo>
                    <a:lnTo>
                      <a:pt x="61" y="70"/>
                    </a:lnTo>
                    <a:lnTo>
                      <a:pt x="63" y="70"/>
                    </a:lnTo>
                    <a:lnTo>
                      <a:pt x="67" y="65"/>
                    </a:lnTo>
                    <a:lnTo>
                      <a:pt x="70" y="61"/>
                    </a:lnTo>
                    <a:lnTo>
                      <a:pt x="70" y="57"/>
                    </a:lnTo>
                    <a:lnTo>
                      <a:pt x="70" y="57"/>
                    </a:lnTo>
                    <a:lnTo>
                      <a:pt x="71" y="54"/>
                    </a:lnTo>
                    <a:lnTo>
                      <a:pt x="73" y="48"/>
                    </a:lnTo>
                    <a:lnTo>
                      <a:pt x="74" y="43"/>
                    </a:lnTo>
                    <a:lnTo>
                      <a:pt x="74" y="40"/>
                    </a:lnTo>
                    <a:lnTo>
                      <a:pt x="74" y="4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30" name="Sweden">
                <a:extLst>
                  <a:ext uri="{FF2B5EF4-FFF2-40B4-BE49-F238E27FC236}">
                    <a16:creationId xmlns:a16="http://schemas.microsoft.com/office/drawing/2014/main" id="{26FACE03-3D3B-5FE5-2911-11DC909EEF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92717" y="2317950"/>
                <a:ext cx="295957" cy="512006"/>
              </a:xfrm>
              <a:custGeom>
                <a:avLst/>
                <a:gdLst/>
                <a:ahLst/>
                <a:cxnLst>
                  <a:cxn ang="0">
                    <a:pos x="194" y="71"/>
                  </a:cxn>
                  <a:cxn ang="0">
                    <a:pos x="196" y="57"/>
                  </a:cxn>
                  <a:cxn ang="0">
                    <a:pos x="192" y="43"/>
                  </a:cxn>
                  <a:cxn ang="0">
                    <a:pos x="190" y="26"/>
                  </a:cxn>
                  <a:cxn ang="0">
                    <a:pos x="157" y="7"/>
                  </a:cxn>
                  <a:cxn ang="0">
                    <a:pos x="142" y="3"/>
                  </a:cxn>
                  <a:cxn ang="0">
                    <a:pos x="133" y="17"/>
                  </a:cxn>
                  <a:cxn ang="0">
                    <a:pos x="112" y="13"/>
                  </a:cxn>
                  <a:cxn ang="0">
                    <a:pos x="109" y="24"/>
                  </a:cxn>
                  <a:cxn ang="0">
                    <a:pos x="89" y="32"/>
                  </a:cxn>
                  <a:cxn ang="0">
                    <a:pos x="79" y="47"/>
                  </a:cxn>
                  <a:cxn ang="0">
                    <a:pos x="76" y="57"/>
                  </a:cxn>
                  <a:cxn ang="0">
                    <a:pos x="66" y="77"/>
                  </a:cxn>
                  <a:cxn ang="0">
                    <a:pos x="52" y="81"/>
                  </a:cxn>
                  <a:cxn ang="0">
                    <a:pos x="51" y="101"/>
                  </a:cxn>
                  <a:cxn ang="0">
                    <a:pos x="42" y="124"/>
                  </a:cxn>
                  <a:cxn ang="0">
                    <a:pos x="45" y="134"/>
                  </a:cxn>
                  <a:cxn ang="0">
                    <a:pos x="27" y="137"/>
                  </a:cxn>
                  <a:cxn ang="0">
                    <a:pos x="15" y="160"/>
                  </a:cxn>
                  <a:cxn ang="0">
                    <a:pos x="17" y="178"/>
                  </a:cxn>
                  <a:cxn ang="0">
                    <a:pos x="15" y="194"/>
                  </a:cxn>
                  <a:cxn ang="0">
                    <a:pos x="27" y="208"/>
                  </a:cxn>
                  <a:cxn ang="0">
                    <a:pos x="18" y="216"/>
                  </a:cxn>
                  <a:cxn ang="0">
                    <a:pos x="22" y="236"/>
                  </a:cxn>
                  <a:cxn ang="0">
                    <a:pos x="11" y="239"/>
                  </a:cxn>
                  <a:cxn ang="0">
                    <a:pos x="8" y="261"/>
                  </a:cxn>
                  <a:cxn ang="0">
                    <a:pos x="0" y="262"/>
                  </a:cxn>
                  <a:cxn ang="0">
                    <a:pos x="4" y="276"/>
                  </a:cxn>
                  <a:cxn ang="0">
                    <a:pos x="12" y="296"/>
                  </a:cxn>
                  <a:cxn ang="0">
                    <a:pos x="21" y="312"/>
                  </a:cxn>
                  <a:cxn ang="0">
                    <a:pos x="24" y="326"/>
                  </a:cxn>
                  <a:cxn ang="0">
                    <a:pos x="28" y="342"/>
                  </a:cxn>
                  <a:cxn ang="0">
                    <a:pos x="42" y="344"/>
                  </a:cxn>
                  <a:cxn ang="0">
                    <a:pos x="49" y="332"/>
                  </a:cxn>
                  <a:cxn ang="0">
                    <a:pos x="62" y="327"/>
                  </a:cxn>
                  <a:cxn ang="0">
                    <a:pos x="75" y="320"/>
                  </a:cxn>
                  <a:cxn ang="0">
                    <a:pos x="82" y="322"/>
                  </a:cxn>
                  <a:cxn ang="0">
                    <a:pos x="83" y="309"/>
                  </a:cxn>
                  <a:cxn ang="0">
                    <a:pos x="83" y="298"/>
                  </a:cxn>
                  <a:cxn ang="0">
                    <a:pos x="91" y="266"/>
                  </a:cxn>
                  <a:cxn ang="0">
                    <a:pos x="110" y="252"/>
                  </a:cxn>
                  <a:cxn ang="0">
                    <a:pos x="119" y="239"/>
                  </a:cxn>
                  <a:cxn ang="0">
                    <a:pos x="101" y="221"/>
                  </a:cxn>
                  <a:cxn ang="0">
                    <a:pos x="91" y="201"/>
                  </a:cxn>
                  <a:cxn ang="0">
                    <a:pos x="96" y="185"/>
                  </a:cxn>
                  <a:cxn ang="0">
                    <a:pos x="105" y="169"/>
                  </a:cxn>
                  <a:cxn ang="0">
                    <a:pos x="116" y="155"/>
                  </a:cxn>
                  <a:cxn ang="0">
                    <a:pos x="149" y="135"/>
                  </a:cxn>
                  <a:cxn ang="0">
                    <a:pos x="157" y="118"/>
                  </a:cxn>
                  <a:cxn ang="0">
                    <a:pos x="162" y="103"/>
                  </a:cxn>
                  <a:cxn ang="0">
                    <a:pos x="174" y="88"/>
                  </a:cxn>
                  <a:cxn ang="0">
                    <a:pos x="196" y="87"/>
                  </a:cxn>
                  <a:cxn ang="0">
                    <a:pos x="118" y="288"/>
                  </a:cxn>
                  <a:cxn ang="0">
                    <a:pos x="106" y="309"/>
                  </a:cxn>
                  <a:cxn ang="0">
                    <a:pos x="120" y="289"/>
                  </a:cxn>
                </a:cxnLst>
                <a:rect l="0" t="0" r="r" b="b"/>
                <a:pathLst>
                  <a:path w="200" h="346">
                    <a:moveTo>
                      <a:pt x="197" y="80"/>
                    </a:moveTo>
                    <a:lnTo>
                      <a:pt x="197" y="80"/>
                    </a:lnTo>
                    <a:lnTo>
                      <a:pt x="194" y="74"/>
                    </a:lnTo>
                    <a:lnTo>
                      <a:pt x="193" y="73"/>
                    </a:lnTo>
                    <a:lnTo>
                      <a:pt x="194" y="71"/>
                    </a:lnTo>
                    <a:lnTo>
                      <a:pt x="194" y="71"/>
                    </a:lnTo>
                    <a:lnTo>
                      <a:pt x="196" y="71"/>
                    </a:lnTo>
                    <a:lnTo>
                      <a:pt x="197" y="70"/>
                    </a:lnTo>
                    <a:lnTo>
                      <a:pt x="199" y="66"/>
                    </a:lnTo>
                    <a:lnTo>
                      <a:pt x="197" y="60"/>
                    </a:lnTo>
                    <a:lnTo>
                      <a:pt x="196" y="57"/>
                    </a:lnTo>
                    <a:lnTo>
                      <a:pt x="196" y="57"/>
                    </a:lnTo>
                    <a:lnTo>
                      <a:pt x="194" y="56"/>
                    </a:lnTo>
                    <a:lnTo>
                      <a:pt x="193" y="54"/>
                    </a:lnTo>
                    <a:lnTo>
                      <a:pt x="193" y="50"/>
                    </a:lnTo>
                    <a:lnTo>
                      <a:pt x="193" y="46"/>
                    </a:lnTo>
                    <a:lnTo>
                      <a:pt x="193" y="44"/>
                    </a:lnTo>
                    <a:lnTo>
                      <a:pt x="192" y="43"/>
                    </a:lnTo>
                    <a:lnTo>
                      <a:pt x="192" y="43"/>
                    </a:lnTo>
                    <a:lnTo>
                      <a:pt x="190" y="40"/>
                    </a:lnTo>
                    <a:lnTo>
                      <a:pt x="190" y="37"/>
                    </a:lnTo>
                    <a:lnTo>
                      <a:pt x="192" y="27"/>
                    </a:lnTo>
                    <a:lnTo>
                      <a:pt x="192" y="27"/>
                    </a:lnTo>
                    <a:lnTo>
                      <a:pt x="190" y="26"/>
                    </a:lnTo>
                    <a:lnTo>
                      <a:pt x="189" y="24"/>
                    </a:lnTo>
                    <a:lnTo>
                      <a:pt x="183" y="20"/>
                    </a:lnTo>
                    <a:lnTo>
                      <a:pt x="167" y="14"/>
                    </a:lnTo>
                    <a:lnTo>
                      <a:pt x="167" y="14"/>
                    </a:lnTo>
                    <a:lnTo>
                      <a:pt x="163" y="10"/>
                    </a:lnTo>
                    <a:lnTo>
                      <a:pt x="157" y="7"/>
                    </a:lnTo>
                    <a:lnTo>
                      <a:pt x="153" y="3"/>
                    </a:lnTo>
                    <a:lnTo>
                      <a:pt x="149" y="0"/>
                    </a:lnTo>
                    <a:lnTo>
                      <a:pt x="149" y="0"/>
                    </a:lnTo>
                    <a:lnTo>
                      <a:pt x="146" y="0"/>
                    </a:lnTo>
                    <a:lnTo>
                      <a:pt x="145" y="0"/>
                    </a:lnTo>
                    <a:lnTo>
                      <a:pt x="142" y="3"/>
                    </a:lnTo>
                    <a:lnTo>
                      <a:pt x="140" y="7"/>
                    </a:lnTo>
                    <a:lnTo>
                      <a:pt x="140" y="13"/>
                    </a:lnTo>
                    <a:lnTo>
                      <a:pt x="140" y="13"/>
                    </a:lnTo>
                    <a:lnTo>
                      <a:pt x="139" y="16"/>
                    </a:lnTo>
                    <a:lnTo>
                      <a:pt x="136" y="17"/>
                    </a:lnTo>
                    <a:lnTo>
                      <a:pt x="133" y="17"/>
                    </a:lnTo>
                    <a:lnTo>
                      <a:pt x="129" y="16"/>
                    </a:lnTo>
                    <a:lnTo>
                      <a:pt x="129" y="16"/>
                    </a:lnTo>
                    <a:lnTo>
                      <a:pt x="126" y="14"/>
                    </a:lnTo>
                    <a:lnTo>
                      <a:pt x="122" y="14"/>
                    </a:lnTo>
                    <a:lnTo>
                      <a:pt x="118" y="14"/>
                    </a:lnTo>
                    <a:lnTo>
                      <a:pt x="112" y="13"/>
                    </a:lnTo>
                    <a:lnTo>
                      <a:pt x="112" y="13"/>
                    </a:lnTo>
                    <a:lnTo>
                      <a:pt x="110" y="12"/>
                    </a:lnTo>
                    <a:lnTo>
                      <a:pt x="109" y="13"/>
                    </a:lnTo>
                    <a:lnTo>
                      <a:pt x="108" y="16"/>
                    </a:lnTo>
                    <a:lnTo>
                      <a:pt x="109" y="24"/>
                    </a:lnTo>
                    <a:lnTo>
                      <a:pt x="109" y="24"/>
                    </a:lnTo>
                    <a:lnTo>
                      <a:pt x="108" y="27"/>
                    </a:lnTo>
                    <a:lnTo>
                      <a:pt x="105" y="29"/>
                    </a:lnTo>
                    <a:lnTo>
                      <a:pt x="96" y="29"/>
                    </a:lnTo>
                    <a:lnTo>
                      <a:pt x="96" y="29"/>
                    </a:lnTo>
                    <a:lnTo>
                      <a:pt x="92" y="29"/>
                    </a:lnTo>
                    <a:lnTo>
                      <a:pt x="89" y="32"/>
                    </a:lnTo>
                    <a:lnTo>
                      <a:pt x="85" y="34"/>
                    </a:lnTo>
                    <a:lnTo>
                      <a:pt x="85" y="37"/>
                    </a:lnTo>
                    <a:lnTo>
                      <a:pt x="85" y="37"/>
                    </a:lnTo>
                    <a:lnTo>
                      <a:pt x="83" y="41"/>
                    </a:lnTo>
                    <a:lnTo>
                      <a:pt x="81" y="44"/>
                    </a:lnTo>
                    <a:lnTo>
                      <a:pt x="79" y="47"/>
                    </a:lnTo>
                    <a:lnTo>
                      <a:pt x="79" y="49"/>
                    </a:lnTo>
                    <a:lnTo>
                      <a:pt x="79" y="49"/>
                    </a:lnTo>
                    <a:lnTo>
                      <a:pt x="81" y="51"/>
                    </a:lnTo>
                    <a:lnTo>
                      <a:pt x="79" y="54"/>
                    </a:lnTo>
                    <a:lnTo>
                      <a:pt x="76" y="57"/>
                    </a:lnTo>
                    <a:lnTo>
                      <a:pt x="76" y="57"/>
                    </a:lnTo>
                    <a:lnTo>
                      <a:pt x="72" y="64"/>
                    </a:lnTo>
                    <a:lnTo>
                      <a:pt x="68" y="70"/>
                    </a:lnTo>
                    <a:lnTo>
                      <a:pt x="68" y="70"/>
                    </a:lnTo>
                    <a:lnTo>
                      <a:pt x="66" y="71"/>
                    </a:lnTo>
                    <a:lnTo>
                      <a:pt x="66" y="74"/>
                    </a:lnTo>
                    <a:lnTo>
                      <a:pt x="66" y="77"/>
                    </a:lnTo>
                    <a:lnTo>
                      <a:pt x="65" y="78"/>
                    </a:lnTo>
                    <a:lnTo>
                      <a:pt x="65" y="78"/>
                    </a:lnTo>
                    <a:lnTo>
                      <a:pt x="61" y="80"/>
                    </a:lnTo>
                    <a:lnTo>
                      <a:pt x="58" y="81"/>
                    </a:lnTo>
                    <a:lnTo>
                      <a:pt x="55" y="81"/>
                    </a:lnTo>
                    <a:lnTo>
                      <a:pt x="52" y="81"/>
                    </a:lnTo>
                    <a:lnTo>
                      <a:pt x="52" y="81"/>
                    </a:lnTo>
                    <a:lnTo>
                      <a:pt x="51" y="84"/>
                    </a:lnTo>
                    <a:lnTo>
                      <a:pt x="51" y="87"/>
                    </a:lnTo>
                    <a:lnTo>
                      <a:pt x="52" y="97"/>
                    </a:lnTo>
                    <a:lnTo>
                      <a:pt x="52" y="97"/>
                    </a:lnTo>
                    <a:lnTo>
                      <a:pt x="51" y="101"/>
                    </a:lnTo>
                    <a:lnTo>
                      <a:pt x="48" y="107"/>
                    </a:lnTo>
                    <a:lnTo>
                      <a:pt x="41" y="117"/>
                    </a:lnTo>
                    <a:lnTo>
                      <a:pt x="41" y="117"/>
                    </a:lnTo>
                    <a:lnTo>
                      <a:pt x="39" y="121"/>
                    </a:lnTo>
                    <a:lnTo>
                      <a:pt x="41" y="123"/>
                    </a:lnTo>
                    <a:lnTo>
                      <a:pt x="42" y="124"/>
                    </a:lnTo>
                    <a:lnTo>
                      <a:pt x="45" y="125"/>
                    </a:lnTo>
                    <a:lnTo>
                      <a:pt x="45" y="125"/>
                    </a:lnTo>
                    <a:lnTo>
                      <a:pt x="46" y="127"/>
                    </a:lnTo>
                    <a:lnTo>
                      <a:pt x="46" y="128"/>
                    </a:lnTo>
                    <a:lnTo>
                      <a:pt x="45" y="134"/>
                    </a:lnTo>
                    <a:lnTo>
                      <a:pt x="45" y="134"/>
                    </a:lnTo>
                    <a:lnTo>
                      <a:pt x="42" y="137"/>
                    </a:lnTo>
                    <a:lnTo>
                      <a:pt x="39" y="137"/>
                    </a:lnTo>
                    <a:lnTo>
                      <a:pt x="34" y="135"/>
                    </a:lnTo>
                    <a:lnTo>
                      <a:pt x="34" y="135"/>
                    </a:lnTo>
                    <a:lnTo>
                      <a:pt x="31" y="135"/>
                    </a:lnTo>
                    <a:lnTo>
                      <a:pt x="27" y="137"/>
                    </a:lnTo>
                    <a:lnTo>
                      <a:pt x="22" y="141"/>
                    </a:lnTo>
                    <a:lnTo>
                      <a:pt x="18" y="145"/>
                    </a:lnTo>
                    <a:lnTo>
                      <a:pt x="18" y="145"/>
                    </a:lnTo>
                    <a:lnTo>
                      <a:pt x="15" y="151"/>
                    </a:lnTo>
                    <a:lnTo>
                      <a:pt x="15" y="155"/>
                    </a:lnTo>
                    <a:lnTo>
                      <a:pt x="15" y="160"/>
                    </a:lnTo>
                    <a:lnTo>
                      <a:pt x="17" y="162"/>
                    </a:lnTo>
                    <a:lnTo>
                      <a:pt x="17" y="162"/>
                    </a:lnTo>
                    <a:lnTo>
                      <a:pt x="17" y="165"/>
                    </a:lnTo>
                    <a:lnTo>
                      <a:pt x="15" y="168"/>
                    </a:lnTo>
                    <a:lnTo>
                      <a:pt x="15" y="172"/>
                    </a:lnTo>
                    <a:lnTo>
                      <a:pt x="17" y="178"/>
                    </a:lnTo>
                    <a:lnTo>
                      <a:pt x="17" y="178"/>
                    </a:lnTo>
                    <a:lnTo>
                      <a:pt x="18" y="182"/>
                    </a:lnTo>
                    <a:lnTo>
                      <a:pt x="17" y="187"/>
                    </a:lnTo>
                    <a:lnTo>
                      <a:pt x="17" y="189"/>
                    </a:lnTo>
                    <a:lnTo>
                      <a:pt x="15" y="194"/>
                    </a:lnTo>
                    <a:lnTo>
                      <a:pt x="15" y="194"/>
                    </a:lnTo>
                    <a:lnTo>
                      <a:pt x="18" y="197"/>
                    </a:lnTo>
                    <a:lnTo>
                      <a:pt x="21" y="199"/>
                    </a:lnTo>
                    <a:lnTo>
                      <a:pt x="25" y="201"/>
                    </a:lnTo>
                    <a:lnTo>
                      <a:pt x="27" y="205"/>
                    </a:lnTo>
                    <a:lnTo>
                      <a:pt x="27" y="205"/>
                    </a:lnTo>
                    <a:lnTo>
                      <a:pt x="27" y="208"/>
                    </a:lnTo>
                    <a:lnTo>
                      <a:pt x="25" y="211"/>
                    </a:lnTo>
                    <a:lnTo>
                      <a:pt x="22" y="212"/>
                    </a:lnTo>
                    <a:lnTo>
                      <a:pt x="21" y="214"/>
                    </a:lnTo>
                    <a:lnTo>
                      <a:pt x="21" y="214"/>
                    </a:lnTo>
                    <a:lnTo>
                      <a:pt x="18" y="214"/>
                    </a:lnTo>
                    <a:lnTo>
                      <a:pt x="18" y="216"/>
                    </a:lnTo>
                    <a:lnTo>
                      <a:pt x="19" y="219"/>
                    </a:lnTo>
                    <a:lnTo>
                      <a:pt x="21" y="221"/>
                    </a:lnTo>
                    <a:lnTo>
                      <a:pt x="21" y="221"/>
                    </a:lnTo>
                    <a:lnTo>
                      <a:pt x="22" y="224"/>
                    </a:lnTo>
                    <a:lnTo>
                      <a:pt x="24" y="228"/>
                    </a:lnTo>
                    <a:lnTo>
                      <a:pt x="22" y="236"/>
                    </a:lnTo>
                    <a:lnTo>
                      <a:pt x="22" y="236"/>
                    </a:lnTo>
                    <a:lnTo>
                      <a:pt x="19" y="238"/>
                    </a:lnTo>
                    <a:lnTo>
                      <a:pt x="15" y="238"/>
                    </a:lnTo>
                    <a:lnTo>
                      <a:pt x="12" y="238"/>
                    </a:lnTo>
                    <a:lnTo>
                      <a:pt x="11" y="238"/>
                    </a:lnTo>
                    <a:lnTo>
                      <a:pt x="11" y="239"/>
                    </a:lnTo>
                    <a:lnTo>
                      <a:pt x="11" y="239"/>
                    </a:lnTo>
                    <a:lnTo>
                      <a:pt x="11" y="243"/>
                    </a:lnTo>
                    <a:lnTo>
                      <a:pt x="11" y="246"/>
                    </a:lnTo>
                    <a:lnTo>
                      <a:pt x="9" y="252"/>
                    </a:lnTo>
                    <a:lnTo>
                      <a:pt x="9" y="252"/>
                    </a:lnTo>
                    <a:lnTo>
                      <a:pt x="8" y="261"/>
                    </a:lnTo>
                    <a:lnTo>
                      <a:pt x="7" y="263"/>
                    </a:lnTo>
                    <a:lnTo>
                      <a:pt x="7" y="263"/>
                    </a:lnTo>
                    <a:lnTo>
                      <a:pt x="5" y="263"/>
                    </a:lnTo>
                    <a:lnTo>
                      <a:pt x="5" y="263"/>
                    </a:lnTo>
                    <a:lnTo>
                      <a:pt x="2" y="262"/>
                    </a:lnTo>
                    <a:lnTo>
                      <a:pt x="0" y="262"/>
                    </a:lnTo>
                    <a:lnTo>
                      <a:pt x="0" y="262"/>
                    </a:lnTo>
                    <a:lnTo>
                      <a:pt x="0" y="263"/>
                    </a:lnTo>
                    <a:lnTo>
                      <a:pt x="0" y="263"/>
                    </a:lnTo>
                    <a:lnTo>
                      <a:pt x="1" y="269"/>
                    </a:lnTo>
                    <a:lnTo>
                      <a:pt x="1" y="273"/>
                    </a:lnTo>
                    <a:lnTo>
                      <a:pt x="4" y="276"/>
                    </a:lnTo>
                    <a:lnTo>
                      <a:pt x="7" y="280"/>
                    </a:lnTo>
                    <a:lnTo>
                      <a:pt x="7" y="280"/>
                    </a:lnTo>
                    <a:lnTo>
                      <a:pt x="9" y="283"/>
                    </a:lnTo>
                    <a:lnTo>
                      <a:pt x="11" y="288"/>
                    </a:lnTo>
                    <a:lnTo>
                      <a:pt x="11" y="292"/>
                    </a:lnTo>
                    <a:lnTo>
                      <a:pt x="12" y="296"/>
                    </a:lnTo>
                    <a:lnTo>
                      <a:pt x="12" y="296"/>
                    </a:lnTo>
                    <a:lnTo>
                      <a:pt x="15" y="300"/>
                    </a:lnTo>
                    <a:lnTo>
                      <a:pt x="17" y="305"/>
                    </a:lnTo>
                    <a:lnTo>
                      <a:pt x="18" y="307"/>
                    </a:lnTo>
                    <a:lnTo>
                      <a:pt x="21" y="312"/>
                    </a:lnTo>
                    <a:lnTo>
                      <a:pt x="21" y="312"/>
                    </a:lnTo>
                    <a:lnTo>
                      <a:pt x="24" y="315"/>
                    </a:lnTo>
                    <a:lnTo>
                      <a:pt x="25" y="317"/>
                    </a:lnTo>
                    <a:lnTo>
                      <a:pt x="25" y="320"/>
                    </a:lnTo>
                    <a:lnTo>
                      <a:pt x="24" y="323"/>
                    </a:lnTo>
                    <a:lnTo>
                      <a:pt x="24" y="323"/>
                    </a:lnTo>
                    <a:lnTo>
                      <a:pt x="24" y="326"/>
                    </a:lnTo>
                    <a:lnTo>
                      <a:pt x="25" y="327"/>
                    </a:lnTo>
                    <a:lnTo>
                      <a:pt x="28" y="329"/>
                    </a:lnTo>
                    <a:lnTo>
                      <a:pt x="29" y="330"/>
                    </a:lnTo>
                    <a:lnTo>
                      <a:pt x="29" y="330"/>
                    </a:lnTo>
                    <a:lnTo>
                      <a:pt x="28" y="337"/>
                    </a:lnTo>
                    <a:lnTo>
                      <a:pt x="28" y="342"/>
                    </a:lnTo>
                    <a:lnTo>
                      <a:pt x="29" y="344"/>
                    </a:lnTo>
                    <a:lnTo>
                      <a:pt x="29" y="344"/>
                    </a:lnTo>
                    <a:lnTo>
                      <a:pt x="31" y="346"/>
                    </a:lnTo>
                    <a:lnTo>
                      <a:pt x="34" y="346"/>
                    </a:lnTo>
                    <a:lnTo>
                      <a:pt x="42" y="344"/>
                    </a:lnTo>
                    <a:lnTo>
                      <a:pt x="42" y="344"/>
                    </a:lnTo>
                    <a:lnTo>
                      <a:pt x="45" y="343"/>
                    </a:lnTo>
                    <a:lnTo>
                      <a:pt x="48" y="340"/>
                    </a:lnTo>
                    <a:lnTo>
                      <a:pt x="48" y="335"/>
                    </a:lnTo>
                    <a:lnTo>
                      <a:pt x="48" y="335"/>
                    </a:lnTo>
                    <a:lnTo>
                      <a:pt x="48" y="332"/>
                    </a:lnTo>
                    <a:lnTo>
                      <a:pt x="49" y="332"/>
                    </a:lnTo>
                    <a:lnTo>
                      <a:pt x="51" y="330"/>
                    </a:lnTo>
                    <a:lnTo>
                      <a:pt x="52" y="329"/>
                    </a:lnTo>
                    <a:lnTo>
                      <a:pt x="52" y="329"/>
                    </a:lnTo>
                    <a:lnTo>
                      <a:pt x="54" y="327"/>
                    </a:lnTo>
                    <a:lnTo>
                      <a:pt x="58" y="326"/>
                    </a:lnTo>
                    <a:lnTo>
                      <a:pt x="62" y="327"/>
                    </a:lnTo>
                    <a:lnTo>
                      <a:pt x="66" y="327"/>
                    </a:lnTo>
                    <a:lnTo>
                      <a:pt x="66" y="327"/>
                    </a:lnTo>
                    <a:lnTo>
                      <a:pt x="69" y="329"/>
                    </a:lnTo>
                    <a:lnTo>
                      <a:pt x="72" y="327"/>
                    </a:lnTo>
                    <a:lnTo>
                      <a:pt x="73" y="325"/>
                    </a:lnTo>
                    <a:lnTo>
                      <a:pt x="75" y="320"/>
                    </a:lnTo>
                    <a:lnTo>
                      <a:pt x="75" y="320"/>
                    </a:lnTo>
                    <a:lnTo>
                      <a:pt x="76" y="319"/>
                    </a:lnTo>
                    <a:lnTo>
                      <a:pt x="78" y="319"/>
                    </a:lnTo>
                    <a:lnTo>
                      <a:pt x="81" y="323"/>
                    </a:lnTo>
                    <a:lnTo>
                      <a:pt x="81" y="323"/>
                    </a:lnTo>
                    <a:lnTo>
                      <a:pt x="82" y="322"/>
                    </a:lnTo>
                    <a:lnTo>
                      <a:pt x="85" y="319"/>
                    </a:lnTo>
                    <a:lnTo>
                      <a:pt x="89" y="307"/>
                    </a:lnTo>
                    <a:lnTo>
                      <a:pt x="89" y="307"/>
                    </a:lnTo>
                    <a:lnTo>
                      <a:pt x="91" y="305"/>
                    </a:lnTo>
                    <a:lnTo>
                      <a:pt x="89" y="303"/>
                    </a:lnTo>
                    <a:lnTo>
                      <a:pt x="83" y="309"/>
                    </a:lnTo>
                    <a:lnTo>
                      <a:pt x="83" y="309"/>
                    </a:lnTo>
                    <a:lnTo>
                      <a:pt x="82" y="310"/>
                    </a:lnTo>
                    <a:lnTo>
                      <a:pt x="81" y="310"/>
                    </a:lnTo>
                    <a:lnTo>
                      <a:pt x="81" y="307"/>
                    </a:lnTo>
                    <a:lnTo>
                      <a:pt x="83" y="298"/>
                    </a:lnTo>
                    <a:lnTo>
                      <a:pt x="83" y="298"/>
                    </a:lnTo>
                    <a:lnTo>
                      <a:pt x="85" y="292"/>
                    </a:lnTo>
                    <a:lnTo>
                      <a:pt x="85" y="286"/>
                    </a:lnTo>
                    <a:lnTo>
                      <a:pt x="86" y="275"/>
                    </a:lnTo>
                    <a:lnTo>
                      <a:pt x="86" y="275"/>
                    </a:lnTo>
                    <a:lnTo>
                      <a:pt x="89" y="269"/>
                    </a:lnTo>
                    <a:lnTo>
                      <a:pt x="91" y="266"/>
                    </a:lnTo>
                    <a:lnTo>
                      <a:pt x="95" y="265"/>
                    </a:lnTo>
                    <a:lnTo>
                      <a:pt x="95" y="265"/>
                    </a:lnTo>
                    <a:lnTo>
                      <a:pt x="101" y="263"/>
                    </a:lnTo>
                    <a:lnTo>
                      <a:pt x="106" y="259"/>
                    </a:lnTo>
                    <a:lnTo>
                      <a:pt x="109" y="255"/>
                    </a:lnTo>
                    <a:lnTo>
                      <a:pt x="110" y="252"/>
                    </a:lnTo>
                    <a:lnTo>
                      <a:pt x="110" y="252"/>
                    </a:lnTo>
                    <a:lnTo>
                      <a:pt x="110" y="251"/>
                    </a:lnTo>
                    <a:lnTo>
                      <a:pt x="110" y="249"/>
                    </a:lnTo>
                    <a:lnTo>
                      <a:pt x="113" y="245"/>
                    </a:lnTo>
                    <a:lnTo>
                      <a:pt x="118" y="242"/>
                    </a:lnTo>
                    <a:lnTo>
                      <a:pt x="119" y="239"/>
                    </a:lnTo>
                    <a:lnTo>
                      <a:pt x="119" y="239"/>
                    </a:lnTo>
                    <a:lnTo>
                      <a:pt x="118" y="235"/>
                    </a:lnTo>
                    <a:lnTo>
                      <a:pt x="113" y="229"/>
                    </a:lnTo>
                    <a:lnTo>
                      <a:pt x="105" y="222"/>
                    </a:lnTo>
                    <a:lnTo>
                      <a:pt x="105" y="222"/>
                    </a:lnTo>
                    <a:lnTo>
                      <a:pt x="101" y="221"/>
                    </a:lnTo>
                    <a:lnTo>
                      <a:pt x="96" y="221"/>
                    </a:lnTo>
                    <a:lnTo>
                      <a:pt x="93" y="219"/>
                    </a:lnTo>
                    <a:lnTo>
                      <a:pt x="93" y="219"/>
                    </a:lnTo>
                    <a:lnTo>
                      <a:pt x="93" y="219"/>
                    </a:lnTo>
                    <a:lnTo>
                      <a:pt x="92" y="211"/>
                    </a:lnTo>
                    <a:lnTo>
                      <a:pt x="91" y="201"/>
                    </a:lnTo>
                    <a:lnTo>
                      <a:pt x="91" y="201"/>
                    </a:lnTo>
                    <a:lnTo>
                      <a:pt x="92" y="197"/>
                    </a:lnTo>
                    <a:lnTo>
                      <a:pt x="93" y="192"/>
                    </a:lnTo>
                    <a:lnTo>
                      <a:pt x="96" y="189"/>
                    </a:lnTo>
                    <a:lnTo>
                      <a:pt x="96" y="185"/>
                    </a:lnTo>
                    <a:lnTo>
                      <a:pt x="96" y="185"/>
                    </a:lnTo>
                    <a:lnTo>
                      <a:pt x="98" y="178"/>
                    </a:lnTo>
                    <a:lnTo>
                      <a:pt x="99" y="175"/>
                    </a:lnTo>
                    <a:lnTo>
                      <a:pt x="101" y="172"/>
                    </a:lnTo>
                    <a:lnTo>
                      <a:pt x="101" y="172"/>
                    </a:lnTo>
                    <a:lnTo>
                      <a:pt x="103" y="171"/>
                    </a:lnTo>
                    <a:lnTo>
                      <a:pt x="105" y="169"/>
                    </a:lnTo>
                    <a:lnTo>
                      <a:pt x="106" y="167"/>
                    </a:lnTo>
                    <a:lnTo>
                      <a:pt x="109" y="165"/>
                    </a:lnTo>
                    <a:lnTo>
                      <a:pt x="109" y="165"/>
                    </a:lnTo>
                    <a:lnTo>
                      <a:pt x="112" y="164"/>
                    </a:lnTo>
                    <a:lnTo>
                      <a:pt x="113" y="160"/>
                    </a:lnTo>
                    <a:lnTo>
                      <a:pt x="116" y="155"/>
                    </a:lnTo>
                    <a:lnTo>
                      <a:pt x="120" y="152"/>
                    </a:lnTo>
                    <a:lnTo>
                      <a:pt x="120" y="152"/>
                    </a:lnTo>
                    <a:lnTo>
                      <a:pt x="126" y="150"/>
                    </a:lnTo>
                    <a:lnTo>
                      <a:pt x="135" y="144"/>
                    </a:lnTo>
                    <a:lnTo>
                      <a:pt x="135" y="144"/>
                    </a:lnTo>
                    <a:lnTo>
                      <a:pt x="149" y="135"/>
                    </a:lnTo>
                    <a:lnTo>
                      <a:pt x="156" y="130"/>
                    </a:lnTo>
                    <a:lnTo>
                      <a:pt x="160" y="125"/>
                    </a:lnTo>
                    <a:lnTo>
                      <a:pt x="160" y="125"/>
                    </a:lnTo>
                    <a:lnTo>
                      <a:pt x="160" y="124"/>
                    </a:lnTo>
                    <a:lnTo>
                      <a:pt x="159" y="121"/>
                    </a:lnTo>
                    <a:lnTo>
                      <a:pt x="157" y="118"/>
                    </a:lnTo>
                    <a:lnTo>
                      <a:pt x="156" y="114"/>
                    </a:lnTo>
                    <a:lnTo>
                      <a:pt x="156" y="113"/>
                    </a:lnTo>
                    <a:lnTo>
                      <a:pt x="157" y="110"/>
                    </a:lnTo>
                    <a:lnTo>
                      <a:pt x="157" y="110"/>
                    </a:lnTo>
                    <a:lnTo>
                      <a:pt x="162" y="105"/>
                    </a:lnTo>
                    <a:lnTo>
                      <a:pt x="162" y="103"/>
                    </a:lnTo>
                    <a:lnTo>
                      <a:pt x="162" y="100"/>
                    </a:lnTo>
                    <a:lnTo>
                      <a:pt x="165" y="97"/>
                    </a:lnTo>
                    <a:lnTo>
                      <a:pt x="165" y="97"/>
                    </a:lnTo>
                    <a:lnTo>
                      <a:pt x="170" y="94"/>
                    </a:lnTo>
                    <a:lnTo>
                      <a:pt x="174" y="88"/>
                    </a:lnTo>
                    <a:lnTo>
                      <a:pt x="174" y="88"/>
                    </a:lnTo>
                    <a:lnTo>
                      <a:pt x="177" y="87"/>
                    </a:lnTo>
                    <a:lnTo>
                      <a:pt x="182" y="87"/>
                    </a:lnTo>
                    <a:lnTo>
                      <a:pt x="186" y="87"/>
                    </a:lnTo>
                    <a:lnTo>
                      <a:pt x="192" y="87"/>
                    </a:lnTo>
                    <a:lnTo>
                      <a:pt x="192" y="87"/>
                    </a:lnTo>
                    <a:lnTo>
                      <a:pt x="196" y="87"/>
                    </a:lnTo>
                    <a:lnTo>
                      <a:pt x="200" y="87"/>
                    </a:lnTo>
                    <a:lnTo>
                      <a:pt x="200" y="87"/>
                    </a:lnTo>
                    <a:lnTo>
                      <a:pt x="199" y="83"/>
                    </a:lnTo>
                    <a:lnTo>
                      <a:pt x="197" y="80"/>
                    </a:lnTo>
                    <a:lnTo>
                      <a:pt x="197" y="80"/>
                    </a:lnTo>
                    <a:close/>
                    <a:moveTo>
                      <a:pt x="118" y="288"/>
                    </a:moveTo>
                    <a:lnTo>
                      <a:pt x="118" y="288"/>
                    </a:lnTo>
                    <a:lnTo>
                      <a:pt x="115" y="289"/>
                    </a:lnTo>
                    <a:lnTo>
                      <a:pt x="112" y="290"/>
                    </a:lnTo>
                    <a:lnTo>
                      <a:pt x="108" y="298"/>
                    </a:lnTo>
                    <a:lnTo>
                      <a:pt x="106" y="305"/>
                    </a:lnTo>
                    <a:lnTo>
                      <a:pt x="106" y="309"/>
                    </a:lnTo>
                    <a:lnTo>
                      <a:pt x="106" y="309"/>
                    </a:lnTo>
                    <a:lnTo>
                      <a:pt x="108" y="309"/>
                    </a:lnTo>
                    <a:lnTo>
                      <a:pt x="110" y="306"/>
                    </a:lnTo>
                    <a:lnTo>
                      <a:pt x="116" y="299"/>
                    </a:lnTo>
                    <a:lnTo>
                      <a:pt x="120" y="292"/>
                    </a:lnTo>
                    <a:lnTo>
                      <a:pt x="120" y="289"/>
                    </a:lnTo>
                    <a:lnTo>
                      <a:pt x="118" y="288"/>
                    </a:lnTo>
                    <a:lnTo>
                      <a:pt x="118" y="288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31" name="Estonia">
                <a:extLst>
                  <a:ext uri="{FF2B5EF4-FFF2-40B4-BE49-F238E27FC236}">
                    <a16:creationId xmlns:a16="http://schemas.microsoft.com/office/drawing/2014/main" id="{8A48C517-CCFB-2780-5DBB-818D156490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8361" y="2681977"/>
                <a:ext cx="143539" cy="69550"/>
              </a:xfrm>
              <a:custGeom>
                <a:avLst/>
                <a:gdLst/>
                <a:ahLst/>
                <a:cxnLst>
                  <a:cxn ang="0">
                    <a:pos x="92" y="12"/>
                  </a:cxn>
                  <a:cxn ang="0">
                    <a:pos x="97" y="5"/>
                  </a:cxn>
                  <a:cxn ang="0">
                    <a:pos x="95" y="2"/>
                  </a:cxn>
                  <a:cxn ang="0">
                    <a:pos x="92" y="3"/>
                  </a:cxn>
                  <a:cxn ang="0">
                    <a:pos x="77" y="2"/>
                  </a:cxn>
                  <a:cxn ang="0">
                    <a:pos x="61" y="0"/>
                  </a:cxn>
                  <a:cxn ang="0">
                    <a:pos x="45" y="2"/>
                  </a:cxn>
                  <a:cxn ang="0">
                    <a:pos x="31" y="6"/>
                  </a:cxn>
                  <a:cxn ang="0">
                    <a:pos x="28" y="9"/>
                  </a:cxn>
                  <a:cxn ang="0">
                    <a:pos x="21" y="13"/>
                  </a:cxn>
                  <a:cxn ang="0">
                    <a:pos x="23" y="15"/>
                  </a:cxn>
                  <a:cxn ang="0">
                    <a:pos x="24" y="17"/>
                  </a:cxn>
                  <a:cxn ang="0">
                    <a:pos x="24" y="23"/>
                  </a:cxn>
                  <a:cxn ang="0">
                    <a:pos x="26" y="26"/>
                  </a:cxn>
                  <a:cxn ang="0">
                    <a:pos x="31" y="32"/>
                  </a:cxn>
                  <a:cxn ang="0">
                    <a:pos x="36" y="30"/>
                  </a:cxn>
                  <a:cxn ang="0">
                    <a:pos x="40" y="32"/>
                  </a:cxn>
                  <a:cxn ang="0">
                    <a:pos x="38" y="37"/>
                  </a:cxn>
                  <a:cxn ang="0">
                    <a:pos x="38" y="37"/>
                  </a:cxn>
                  <a:cxn ang="0">
                    <a:pos x="48" y="37"/>
                  </a:cxn>
                  <a:cxn ang="0">
                    <a:pos x="55" y="37"/>
                  </a:cxn>
                  <a:cxn ang="0">
                    <a:pos x="68" y="46"/>
                  </a:cxn>
                  <a:cxn ang="0">
                    <a:pos x="71" y="47"/>
                  </a:cxn>
                  <a:cxn ang="0">
                    <a:pos x="87" y="47"/>
                  </a:cxn>
                  <a:cxn ang="0">
                    <a:pos x="87" y="46"/>
                  </a:cxn>
                  <a:cxn ang="0">
                    <a:pos x="87" y="43"/>
                  </a:cxn>
                  <a:cxn ang="0">
                    <a:pos x="92" y="40"/>
                  </a:cxn>
                  <a:cxn ang="0">
                    <a:pos x="91" y="37"/>
                  </a:cxn>
                  <a:cxn ang="0">
                    <a:pos x="88" y="29"/>
                  </a:cxn>
                  <a:cxn ang="0">
                    <a:pos x="87" y="25"/>
                  </a:cxn>
                  <a:cxn ang="0">
                    <a:pos x="87" y="20"/>
                  </a:cxn>
                  <a:cxn ang="0">
                    <a:pos x="92" y="12"/>
                  </a:cxn>
                  <a:cxn ang="0">
                    <a:pos x="8" y="23"/>
                  </a:cxn>
                  <a:cxn ang="0">
                    <a:pos x="6" y="25"/>
                  </a:cxn>
                  <a:cxn ang="0">
                    <a:pos x="0" y="32"/>
                  </a:cxn>
                  <a:cxn ang="0">
                    <a:pos x="1" y="37"/>
                  </a:cxn>
                  <a:cxn ang="0">
                    <a:pos x="1" y="37"/>
                  </a:cxn>
                  <a:cxn ang="0">
                    <a:pos x="11" y="33"/>
                  </a:cxn>
                  <a:cxn ang="0">
                    <a:pos x="18" y="26"/>
                  </a:cxn>
                  <a:cxn ang="0">
                    <a:pos x="17" y="23"/>
                  </a:cxn>
                  <a:cxn ang="0">
                    <a:pos x="8" y="23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0" y="15"/>
                  </a:cxn>
                  <a:cxn ang="0">
                    <a:pos x="4" y="16"/>
                  </a:cxn>
                  <a:cxn ang="0">
                    <a:pos x="6" y="17"/>
                  </a:cxn>
                  <a:cxn ang="0">
                    <a:pos x="10" y="19"/>
                  </a:cxn>
                  <a:cxn ang="0">
                    <a:pos x="16" y="16"/>
                  </a:cxn>
                </a:cxnLst>
                <a:rect l="0" t="0" r="r" b="b"/>
                <a:pathLst>
                  <a:path w="97" h="47">
                    <a:moveTo>
                      <a:pt x="92" y="12"/>
                    </a:moveTo>
                    <a:lnTo>
                      <a:pt x="92" y="12"/>
                    </a:lnTo>
                    <a:lnTo>
                      <a:pt x="97" y="7"/>
                    </a:lnTo>
                    <a:lnTo>
                      <a:pt x="97" y="5"/>
                    </a:lnTo>
                    <a:lnTo>
                      <a:pt x="95" y="2"/>
                    </a:lnTo>
                    <a:lnTo>
                      <a:pt x="95" y="2"/>
                    </a:lnTo>
                    <a:lnTo>
                      <a:pt x="92" y="3"/>
                    </a:lnTo>
                    <a:lnTo>
                      <a:pt x="92" y="3"/>
                    </a:lnTo>
                    <a:lnTo>
                      <a:pt x="85" y="3"/>
                    </a:lnTo>
                    <a:lnTo>
                      <a:pt x="77" y="2"/>
                    </a:lnTo>
                    <a:lnTo>
                      <a:pt x="70" y="0"/>
                    </a:lnTo>
                    <a:lnTo>
                      <a:pt x="61" y="0"/>
                    </a:lnTo>
                    <a:lnTo>
                      <a:pt x="61" y="0"/>
                    </a:lnTo>
                    <a:lnTo>
                      <a:pt x="45" y="2"/>
                    </a:lnTo>
                    <a:lnTo>
                      <a:pt x="37" y="3"/>
                    </a:lnTo>
                    <a:lnTo>
                      <a:pt x="31" y="6"/>
                    </a:lnTo>
                    <a:lnTo>
                      <a:pt x="31" y="6"/>
                    </a:lnTo>
                    <a:lnTo>
                      <a:pt x="28" y="9"/>
                    </a:lnTo>
                    <a:lnTo>
                      <a:pt x="24" y="10"/>
                    </a:lnTo>
                    <a:lnTo>
                      <a:pt x="21" y="13"/>
                    </a:lnTo>
                    <a:lnTo>
                      <a:pt x="21" y="13"/>
                    </a:lnTo>
                    <a:lnTo>
                      <a:pt x="23" y="15"/>
                    </a:lnTo>
                    <a:lnTo>
                      <a:pt x="23" y="15"/>
                    </a:lnTo>
                    <a:lnTo>
                      <a:pt x="24" y="17"/>
                    </a:lnTo>
                    <a:lnTo>
                      <a:pt x="24" y="20"/>
                    </a:lnTo>
                    <a:lnTo>
                      <a:pt x="24" y="23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30"/>
                    </a:lnTo>
                    <a:lnTo>
                      <a:pt x="31" y="32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8" y="30"/>
                    </a:lnTo>
                    <a:lnTo>
                      <a:pt x="40" y="32"/>
                    </a:lnTo>
                    <a:lnTo>
                      <a:pt x="40" y="34"/>
                    </a:lnTo>
                    <a:lnTo>
                      <a:pt x="38" y="37"/>
                    </a:lnTo>
                    <a:lnTo>
                      <a:pt x="38" y="37"/>
                    </a:lnTo>
                    <a:lnTo>
                      <a:pt x="38" y="37"/>
                    </a:lnTo>
                    <a:lnTo>
                      <a:pt x="38" y="37"/>
                    </a:lnTo>
                    <a:lnTo>
                      <a:pt x="48" y="37"/>
                    </a:lnTo>
                    <a:lnTo>
                      <a:pt x="55" y="37"/>
                    </a:lnTo>
                    <a:lnTo>
                      <a:pt x="55" y="37"/>
                    </a:lnTo>
                    <a:lnTo>
                      <a:pt x="63" y="43"/>
                    </a:lnTo>
                    <a:lnTo>
                      <a:pt x="68" y="46"/>
                    </a:lnTo>
                    <a:lnTo>
                      <a:pt x="71" y="47"/>
                    </a:lnTo>
                    <a:lnTo>
                      <a:pt x="71" y="47"/>
                    </a:lnTo>
                    <a:lnTo>
                      <a:pt x="77" y="47"/>
                    </a:lnTo>
                    <a:lnTo>
                      <a:pt x="87" y="47"/>
                    </a:lnTo>
                    <a:lnTo>
                      <a:pt x="87" y="47"/>
                    </a:lnTo>
                    <a:lnTo>
                      <a:pt x="87" y="46"/>
                    </a:lnTo>
                    <a:lnTo>
                      <a:pt x="87" y="43"/>
                    </a:lnTo>
                    <a:lnTo>
                      <a:pt x="87" y="43"/>
                    </a:lnTo>
                    <a:lnTo>
                      <a:pt x="91" y="42"/>
                    </a:lnTo>
                    <a:lnTo>
                      <a:pt x="92" y="40"/>
                    </a:lnTo>
                    <a:lnTo>
                      <a:pt x="91" y="37"/>
                    </a:lnTo>
                    <a:lnTo>
                      <a:pt x="91" y="37"/>
                    </a:lnTo>
                    <a:lnTo>
                      <a:pt x="90" y="34"/>
                    </a:lnTo>
                    <a:lnTo>
                      <a:pt x="88" y="29"/>
                    </a:lnTo>
                    <a:lnTo>
                      <a:pt x="88" y="29"/>
                    </a:lnTo>
                    <a:lnTo>
                      <a:pt x="87" y="25"/>
                    </a:lnTo>
                    <a:lnTo>
                      <a:pt x="87" y="20"/>
                    </a:lnTo>
                    <a:lnTo>
                      <a:pt x="87" y="20"/>
                    </a:lnTo>
                    <a:lnTo>
                      <a:pt x="90" y="17"/>
                    </a:lnTo>
                    <a:lnTo>
                      <a:pt x="92" y="12"/>
                    </a:lnTo>
                    <a:lnTo>
                      <a:pt x="92" y="12"/>
                    </a:lnTo>
                    <a:close/>
                    <a:moveTo>
                      <a:pt x="8" y="23"/>
                    </a:moveTo>
                    <a:lnTo>
                      <a:pt x="8" y="23"/>
                    </a:lnTo>
                    <a:lnTo>
                      <a:pt x="6" y="25"/>
                    </a:lnTo>
                    <a:lnTo>
                      <a:pt x="3" y="27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1" y="37"/>
                    </a:lnTo>
                    <a:lnTo>
                      <a:pt x="1" y="37"/>
                    </a:lnTo>
                    <a:lnTo>
                      <a:pt x="1" y="37"/>
                    </a:lnTo>
                    <a:lnTo>
                      <a:pt x="6" y="36"/>
                    </a:lnTo>
                    <a:lnTo>
                      <a:pt x="11" y="33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0" y="25"/>
                    </a:lnTo>
                    <a:lnTo>
                      <a:pt x="17" y="23"/>
                    </a:lnTo>
                    <a:lnTo>
                      <a:pt x="14" y="23"/>
                    </a:lnTo>
                    <a:lnTo>
                      <a:pt x="8" y="23"/>
                    </a:lnTo>
                    <a:lnTo>
                      <a:pt x="8" y="23"/>
                    </a:lnTo>
                    <a:close/>
                    <a:moveTo>
                      <a:pt x="16" y="16"/>
                    </a:moveTo>
                    <a:lnTo>
                      <a:pt x="16" y="16"/>
                    </a:lnTo>
                    <a:lnTo>
                      <a:pt x="16" y="16"/>
                    </a:lnTo>
                    <a:lnTo>
                      <a:pt x="14" y="15"/>
                    </a:lnTo>
                    <a:lnTo>
                      <a:pt x="10" y="15"/>
                    </a:lnTo>
                    <a:lnTo>
                      <a:pt x="6" y="16"/>
                    </a:lnTo>
                    <a:lnTo>
                      <a:pt x="4" y="16"/>
                    </a:lnTo>
                    <a:lnTo>
                      <a:pt x="6" y="17"/>
                    </a:lnTo>
                    <a:lnTo>
                      <a:pt x="6" y="17"/>
                    </a:lnTo>
                    <a:lnTo>
                      <a:pt x="7" y="19"/>
                    </a:lnTo>
                    <a:lnTo>
                      <a:pt x="10" y="19"/>
                    </a:lnTo>
                    <a:lnTo>
                      <a:pt x="13" y="19"/>
                    </a:lnTo>
                    <a:lnTo>
                      <a:pt x="16" y="16"/>
                    </a:lnTo>
                    <a:lnTo>
                      <a:pt x="16" y="16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32" name="Uzbekistan">
                <a:extLst>
                  <a:ext uri="{FF2B5EF4-FFF2-40B4-BE49-F238E27FC236}">
                    <a16:creationId xmlns:a16="http://schemas.microsoft.com/office/drawing/2014/main" id="{30FF7563-2865-C1A1-0A0C-24AD4391FF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6323" y="3139231"/>
                <a:ext cx="412860" cy="245644"/>
              </a:xfrm>
              <a:custGeom>
                <a:avLst/>
                <a:gdLst/>
                <a:ahLst/>
                <a:cxnLst>
                  <a:cxn ang="0">
                    <a:pos x="262" y="84"/>
                  </a:cxn>
                  <a:cxn ang="0">
                    <a:pos x="253" y="83"/>
                  </a:cxn>
                  <a:cxn ang="0">
                    <a:pos x="241" y="84"/>
                  </a:cxn>
                  <a:cxn ang="0">
                    <a:pos x="232" y="78"/>
                  </a:cxn>
                  <a:cxn ang="0">
                    <a:pos x="214" y="85"/>
                  </a:cxn>
                  <a:cxn ang="0">
                    <a:pos x="208" y="95"/>
                  </a:cxn>
                  <a:cxn ang="0">
                    <a:pos x="202" y="94"/>
                  </a:cxn>
                  <a:cxn ang="0">
                    <a:pos x="188" y="87"/>
                  </a:cxn>
                  <a:cxn ang="0">
                    <a:pos x="175" y="83"/>
                  </a:cxn>
                  <a:cxn ang="0">
                    <a:pos x="167" y="70"/>
                  </a:cxn>
                  <a:cxn ang="0">
                    <a:pos x="165" y="53"/>
                  </a:cxn>
                  <a:cxn ang="0">
                    <a:pos x="155" y="46"/>
                  </a:cxn>
                  <a:cxn ang="0">
                    <a:pos x="133" y="41"/>
                  </a:cxn>
                  <a:cxn ang="0">
                    <a:pos x="105" y="41"/>
                  </a:cxn>
                  <a:cxn ang="0">
                    <a:pos x="96" y="41"/>
                  </a:cxn>
                  <a:cxn ang="0">
                    <a:pos x="76" y="24"/>
                  </a:cxn>
                  <a:cxn ang="0">
                    <a:pos x="57" y="33"/>
                  </a:cxn>
                  <a:cxn ang="0">
                    <a:pos x="53" y="24"/>
                  </a:cxn>
                  <a:cxn ang="0">
                    <a:pos x="54" y="4"/>
                  </a:cxn>
                  <a:cxn ang="0">
                    <a:pos x="50" y="3"/>
                  </a:cxn>
                  <a:cxn ang="0">
                    <a:pos x="46" y="24"/>
                  </a:cxn>
                  <a:cxn ang="0">
                    <a:pos x="41" y="23"/>
                  </a:cxn>
                  <a:cxn ang="0">
                    <a:pos x="2" y="11"/>
                  </a:cxn>
                  <a:cxn ang="0">
                    <a:pos x="0" y="83"/>
                  </a:cxn>
                  <a:cxn ang="0">
                    <a:pos x="14" y="84"/>
                  </a:cxn>
                  <a:cxn ang="0">
                    <a:pos x="17" y="74"/>
                  </a:cxn>
                  <a:cxn ang="0">
                    <a:pos x="29" y="68"/>
                  </a:cxn>
                  <a:cxn ang="0">
                    <a:pos x="34" y="63"/>
                  </a:cxn>
                  <a:cxn ang="0">
                    <a:pos x="40" y="60"/>
                  </a:cxn>
                  <a:cxn ang="0">
                    <a:pos x="51" y="63"/>
                  </a:cxn>
                  <a:cxn ang="0">
                    <a:pos x="66" y="67"/>
                  </a:cxn>
                  <a:cxn ang="0">
                    <a:pos x="70" y="84"/>
                  </a:cxn>
                  <a:cxn ang="0">
                    <a:pos x="94" y="87"/>
                  </a:cxn>
                  <a:cxn ang="0">
                    <a:pos x="100" y="97"/>
                  </a:cxn>
                  <a:cxn ang="0">
                    <a:pos x="107" y="110"/>
                  </a:cxn>
                  <a:cxn ang="0">
                    <a:pos x="124" y="122"/>
                  </a:cxn>
                  <a:cxn ang="0">
                    <a:pos x="142" y="132"/>
                  </a:cxn>
                  <a:cxn ang="0">
                    <a:pos x="155" y="142"/>
                  </a:cxn>
                  <a:cxn ang="0">
                    <a:pos x="167" y="145"/>
                  </a:cxn>
                  <a:cxn ang="0">
                    <a:pos x="175" y="158"/>
                  </a:cxn>
                  <a:cxn ang="0">
                    <a:pos x="185" y="162"/>
                  </a:cxn>
                  <a:cxn ang="0">
                    <a:pos x="195" y="166"/>
                  </a:cxn>
                  <a:cxn ang="0">
                    <a:pos x="199" y="152"/>
                  </a:cxn>
                  <a:cxn ang="0">
                    <a:pos x="202" y="147"/>
                  </a:cxn>
                  <a:cxn ang="0">
                    <a:pos x="199" y="135"/>
                  </a:cxn>
                  <a:cxn ang="0">
                    <a:pos x="191" y="125"/>
                  </a:cxn>
                  <a:cxn ang="0">
                    <a:pos x="192" y="121"/>
                  </a:cxn>
                  <a:cxn ang="0">
                    <a:pos x="206" y="115"/>
                  </a:cxn>
                  <a:cxn ang="0">
                    <a:pos x="211" y="108"/>
                  </a:cxn>
                  <a:cxn ang="0">
                    <a:pos x="218" y="100"/>
                  </a:cxn>
                  <a:cxn ang="0">
                    <a:pos x="231" y="97"/>
                  </a:cxn>
                  <a:cxn ang="0">
                    <a:pos x="241" y="94"/>
                  </a:cxn>
                  <a:cxn ang="0">
                    <a:pos x="235" y="107"/>
                  </a:cxn>
                  <a:cxn ang="0">
                    <a:pos x="253" y="104"/>
                  </a:cxn>
                  <a:cxn ang="0">
                    <a:pos x="266" y="104"/>
                  </a:cxn>
                  <a:cxn ang="0">
                    <a:pos x="271" y="100"/>
                  </a:cxn>
                  <a:cxn ang="0">
                    <a:pos x="276" y="94"/>
                  </a:cxn>
                </a:cxnLst>
                <a:rect l="0" t="0" r="r" b="b"/>
                <a:pathLst>
                  <a:path w="279" h="166">
                    <a:moveTo>
                      <a:pt x="276" y="94"/>
                    </a:moveTo>
                    <a:lnTo>
                      <a:pt x="276" y="94"/>
                    </a:lnTo>
                    <a:lnTo>
                      <a:pt x="269" y="88"/>
                    </a:lnTo>
                    <a:lnTo>
                      <a:pt x="262" y="84"/>
                    </a:lnTo>
                    <a:lnTo>
                      <a:pt x="256" y="83"/>
                    </a:lnTo>
                    <a:lnTo>
                      <a:pt x="255" y="83"/>
                    </a:lnTo>
                    <a:lnTo>
                      <a:pt x="253" y="83"/>
                    </a:lnTo>
                    <a:lnTo>
                      <a:pt x="253" y="83"/>
                    </a:lnTo>
                    <a:lnTo>
                      <a:pt x="252" y="85"/>
                    </a:lnTo>
                    <a:lnTo>
                      <a:pt x="248" y="87"/>
                    </a:lnTo>
                    <a:lnTo>
                      <a:pt x="243" y="85"/>
                    </a:lnTo>
                    <a:lnTo>
                      <a:pt x="241" y="84"/>
                    </a:lnTo>
                    <a:lnTo>
                      <a:pt x="241" y="84"/>
                    </a:lnTo>
                    <a:lnTo>
                      <a:pt x="239" y="81"/>
                    </a:lnTo>
                    <a:lnTo>
                      <a:pt x="236" y="78"/>
                    </a:lnTo>
                    <a:lnTo>
                      <a:pt x="232" y="78"/>
                    </a:lnTo>
                    <a:lnTo>
                      <a:pt x="226" y="80"/>
                    </a:lnTo>
                    <a:lnTo>
                      <a:pt x="226" y="80"/>
                    </a:lnTo>
                    <a:lnTo>
                      <a:pt x="219" y="83"/>
                    </a:lnTo>
                    <a:lnTo>
                      <a:pt x="214" y="85"/>
                    </a:lnTo>
                    <a:lnTo>
                      <a:pt x="211" y="90"/>
                    </a:lnTo>
                    <a:lnTo>
                      <a:pt x="209" y="92"/>
                    </a:lnTo>
                    <a:lnTo>
                      <a:pt x="209" y="92"/>
                    </a:lnTo>
                    <a:lnTo>
                      <a:pt x="208" y="95"/>
                    </a:lnTo>
                    <a:lnTo>
                      <a:pt x="205" y="97"/>
                    </a:lnTo>
                    <a:lnTo>
                      <a:pt x="204" y="97"/>
                    </a:lnTo>
                    <a:lnTo>
                      <a:pt x="202" y="94"/>
                    </a:lnTo>
                    <a:lnTo>
                      <a:pt x="202" y="94"/>
                    </a:lnTo>
                    <a:lnTo>
                      <a:pt x="201" y="91"/>
                    </a:lnTo>
                    <a:lnTo>
                      <a:pt x="197" y="90"/>
                    </a:lnTo>
                    <a:lnTo>
                      <a:pt x="188" y="87"/>
                    </a:lnTo>
                    <a:lnTo>
                      <a:pt x="188" y="87"/>
                    </a:lnTo>
                    <a:lnTo>
                      <a:pt x="179" y="85"/>
                    </a:lnTo>
                    <a:lnTo>
                      <a:pt x="177" y="85"/>
                    </a:lnTo>
                    <a:lnTo>
                      <a:pt x="175" y="84"/>
                    </a:lnTo>
                    <a:lnTo>
                      <a:pt x="175" y="83"/>
                    </a:lnTo>
                    <a:lnTo>
                      <a:pt x="175" y="83"/>
                    </a:lnTo>
                    <a:lnTo>
                      <a:pt x="172" y="78"/>
                    </a:lnTo>
                    <a:lnTo>
                      <a:pt x="170" y="74"/>
                    </a:lnTo>
                    <a:lnTo>
                      <a:pt x="167" y="70"/>
                    </a:lnTo>
                    <a:lnTo>
                      <a:pt x="165" y="65"/>
                    </a:lnTo>
                    <a:lnTo>
                      <a:pt x="165" y="65"/>
                    </a:lnTo>
                    <a:lnTo>
                      <a:pt x="165" y="57"/>
                    </a:lnTo>
                    <a:lnTo>
                      <a:pt x="165" y="53"/>
                    </a:lnTo>
                    <a:lnTo>
                      <a:pt x="162" y="51"/>
                    </a:lnTo>
                    <a:lnTo>
                      <a:pt x="162" y="51"/>
                    </a:lnTo>
                    <a:lnTo>
                      <a:pt x="158" y="48"/>
                    </a:lnTo>
                    <a:lnTo>
                      <a:pt x="155" y="46"/>
                    </a:lnTo>
                    <a:lnTo>
                      <a:pt x="152" y="43"/>
                    </a:lnTo>
                    <a:lnTo>
                      <a:pt x="150" y="41"/>
                    </a:lnTo>
                    <a:lnTo>
                      <a:pt x="150" y="41"/>
                    </a:lnTo>
                    <a:lnTo>
                      <a:pt x="133" y="41"/>
                    </a:lnTo>
                    <a:lnTo>
                      <a:pt x="117" y="40"/>
                    </a:lnTo>
                    <a:lnTo>
                      <a:pt x="117" y="40"/>
                    </a:lnTo>
                    <a:lnTo>
                      <a:pt x="113" y="40"/>
                    </a:lnTo>
                    <a:lnTo>
                      <a:pt x="105" y="41"/>
                    </a:lnTo>
                    <a:lnTo>
                      <a:pt x="100" y="43"/>
                    </a:lnTo>
                    <a:lnTo>
                      <a:pt x="97" y="43"/>
                    </a:lnTo>
                    <a:lnTo>
                      <a:pt x="96" y="41"/>
                    </a:lnTo>
                    <a:lnTo>
                      <a:pt x="96" y="41"/>
                    </a:lnTo>
                    <a:lnTo>
                      <a:pt x="88" y="31"/>
                    </a:lnTo>
                    <a:lnTo>
                      <a:pt x="77" y="21"/>
                    </a:lnTo>
                    <a:lnTo>
                      <a:pt x="77" y="21"/>
                    </a:lnTo>
                    <a:lnTo>
                      <a:pt x="76" y="24"/>
                    </a:lnTo>
                    <a:lnTo>
                      <a:pt x="73" y="28"/>
                    </a:lnTo>
                    <a:lnTo>
                      <a:pt x="73" y="28"/>
                    </a:lnTo>
                    <a:lnTo>
                      <a:pt x="64" y="33"/>
                    </a:lnTo>
                    <a:lnTo>
                      <a:pt x="57" y="33"/>
                    </a:lnTo>
                    <a:lnTo>
                      <a:pt x="54" y="33"/>
                    </a:lnTo>
                    <a:lnTo>
                      <a:pt x="53" y="31"/>
                    </a:lnTo>
                    <a:lnTo>
                      <a:pt x="53" y="28"/>
                    </a:lnTo>
                    <a:lnTo>
                      <a:pt x="53" y="24"/>
                    </a:lnTo>
                    <a:lnTo>
                      <a:pt x="53" y="24"/>
                    </a:lnTo>
                    <a:lnTo>
                      <a:pt x="56" y="17"/>
                    </a:lnTo>
                    <a:lnTo>
                      <a:pt x="56" y="9"/>
                    </a:lnTo>
                    <a:lnTo>
                      <a:pt x="54" y="4"/>
                    </a:lnTo>
                    <a:lnTo>
                      <a:pt x="53" y="3"/>
                    </a:lnTo>
                    <a:lnTo>
                      <a:pt x="51" y="1"/>
                    </a:lnTo>
                    <a:lnTo>
                      <a:pt x="51" y="1"/>
                    </a:lnTo>
                    <a:lnTo>
                      <a:pt x="50" y="3"/>
                    </a:lnTo>
                    <a:lnTo>
                      <a:pt x="49" y="6"/>
                    </a:lnTo>
                    <a:lnTo>
                      <a:pt x="47" y="13"/>
                    </a:lnTo>
                    <a:lnTo>
                      <a:pt x="47" y="21"/>
                    </a:lnTo>
                    <a:lnTo>
                      <a:pt x="46" y="24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3" y="24"/>
                    </a:lnTo>
                    <a:lnTo>
                      <a:pt x="41" y="23"/>
                    </a:lnTo>
                    <a:lnTo>
                      <a:pt x="40" y="17"/>
                    </a:lnTo>
                    <a:lnTo>
                      <a:pt x="40" y="9"/>
                    </a:lnTo>
                    <a:lnTo>
                      <a:pt x="43" y="0"/>
                    </a:lnTo>
                    <a:lnTo>
                      <a:pt x="2" y="11"/>
                    </a:lnTo>
                    <a:lnTo>
                      <a:pt x="0" y="83"/>
                    </a:lnTo>
                    <a:lnTo>
                      <a:pt x="0" y="83"/>
                    </a:lnTo>
                    <a:lnTo>
                      <a:pt x="0" y="83"/>
                    </a:lnTo>
                    <a:lnTo>
                      <a:pt x="0" y="83"/>
                    </a:lnTo>
                    <a:lnTo>
                      <a:pt x="6" y="84"/>
                    </a:lnTo>
                    <a:lnTo>
                      <a:pt x="12" y="85"/>
                    </a:lnTo>
                    <a:lnTo>
                      <a:pt x="12" y="85"/>
                    </a:lnTo>
                    <a:lnTo>
                      <a:pt x="14" y="84"/>
                    </a:lnTo>
                    <a:lnTo>
                      <a:pt x="16" y="83"/>
                    </a:lnTo>
                    <a:lnTo>
                      <a:pt x="17" y="77"/>
                    </a:lnTo>
                    <a:lnTo>
                      <a:pt x="17" y="77"/>
                    </a:lnTo>
                    <a:lnTo>
                      <a:pt x="17" y="74"/>
                    </a:lnTo>
                    <a:lnTo>
                      <a:pt x="20" y="71"/>
                    </a:lnTo>
                    <a:lnTo>
                      <a:pt x="24" y="70"/>
                    </a:lnTo>
                    <a:lnTo>
                      <a:pt x="29" y="68"/>
                    </a:lnTo>
                    <a:lnTo>
                      <a:pt x="29" y="68"/>
                    </a:lnTo>
                    <a:lnTo>
                      <a:pt x="30" y="68"/>
                    </a:lnTo>
                    <a:lnTo>
                      <a:pt x="32" y="65"/>
                    </a:lnTo>
                    <a:lnTo>
                      <a:pt x="33" y="64"/>
                    </a:lnTo>
                    <a:lnTo>
                      <a:pt x="34" y="63"/>
                    </a:lnTo>
                    <a:lnTo>
                      <a:pt x="34" y="63"/>
                    </a:lnTo>
                    <a:lnTo>
                      <a:pt x="37" y="61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43" y="58"/>
                    </a:lnTo>
                    <a:lnTo>
                      <a:pt x="46" y="58"/>
                    </a:lnTo>
                    <a:lnTo>
                      <a:pt x="51" y="63"/>
                    </a:lnTo>
                    <a:lnTo>
                      <a:pt x="51" y="63"/>
                    </a:lnTo>
                    <a:lnTo>
                      <a:pt x="57" y="64"/>
                    </a:lnTo>
                    <a:lnTo>
                      <a:pt x="64" y="67"/>
                    </a:lnTo>
                    <a:lnTo>
                      <a:pt x="64" y="67"/>
                    </a:lnTo>
                    <a:lnTo>
                      <a:pt x="66" y="67"/>
                    </a:lnTo>
                    <a:lnTo>
                      <a:pt x="67" y="68"/>
                    </a:lnTo>
                    <a:lnTo>
                      <a:pt x="69" y="74"/>
                    </a:lnTo>
                    <a:lnTo>
                      <a:pt x="70" y="84"/>
                    </a:lnTo>
                    <a:lnTo>
                      <a:pt x="70" y="84"/>
                    </a:lnTo>
                    <a:lnTo>
                      <a:pt x="70" y="84"/>
                    </a:lnTo>
                    <a:lnTo>
                      <a:pt x="73" y="85"/>
                    </a:lnTo>
                    <a:lnTo>
                      <a:pt x="80" y="85"/>
                    </a:lnTo>
                    <a:lnTo>
                      <a:pt x="94" y="87"/>
                    </a:lnTo>
                    <a:lnTo>
                      <a:pt x="94" y="87"/>
                    </a:lnTo>
                    <a:lnTo>
                      <a:pt x="96" y="87"/>
                    </a:lnTo>
                    <a:lnTo>
                      <a:pt x="97" y="90"/>
                    </a:lnTo>
                    <a:lnTo>
                      <a:pt x="100" y="97"/>
                    </a:lnTo>
                    <a:lnTo>
                      <a:pt x="100" y="97"/>
                    </a:lnTo>
                    <a:lnTo>
                      <a:pt x="104" y="104"/>
                    </a:lnTo>
                    <a:lnTo>
                      <a:pt x="107" y="110"/>
                    </a:lnTo>
                    <a:lnTo>
                      <a:pt x="107" y="110"/>
                    </a:lnTo>
                    <a:lnTo>
                      <a:pt x="110" y="112"/>
                    </a:lnTo>
                    <a:lnTo>
                      <a:pt x="114" y="115"/>
                    </a:lnTo>
                    <a:lnTo>
                      <a:pt x="120" y="118"/>
                    </a:lnTo>
                    <a:lnTo>
                      <a:pt x="124" y="122"/>
                    </a:lnTo>
                    <a:lnTo>
                      <a:pt x="124" y="122"/>
                    </a:lnTo>
                    <a:lnTo>
                      <a:pt x="127" y="125"/>
                    </a:lnTo>
                    <a:lnTo>
                      <a:pt x="131" y="128"/>
                    </a:lnTo>
                    <a:lnTo>
                      <a:pt x="142" y="132"/>
                    </a:lnTo>
                    <a:lnTo>
                      <a:pt x="142" y="132"/>
                    </a:lnTo>
                    <a:lnTo>
                      <a:pt x="147" y="135"/>
                    </a:lnTo>
                    <a:lnTo>
                      <a:pt x="151" y="139"/>
                    </a:lnTo>
                    <a:lnTo>
                      <a:pt x="155" y="142"/>
                    </a:lnTo>
                    <a:lnTo>
                      <a:pt x="158" y="144"/>
                    </a:lnTo>
                    <a:lnTo>
                      <a:pt x="158" y="144"/>
                    </a:lnTo>
                    <a:lnTo>
                      <a:pt x="162" y="144"/>
                    </a:lnTo>
                    <a:lnTo>
                      <a:pt x="167" y="145"/>
                    </a:lnTo>
                    <a:lnTo>
                      <a:pt x="172" y="148"/>
                    </a:lnTo>
                    <a:lnTo>
                      <a:pt x="174" y="159"/>
                    </a:lnTo>
                    <a:lnTo>
                      <a:pt x="174" y="159"/>
                    </a:lnTo>
                    <a:lnTo>
                      <a:pt x="175" y="158"/>
                    </a:lnTo>
                    <a:lnTo>
                      <a:pt x="175" y="158"/>
                    </a:lnTo>
                    <a:lnTo>
                      <a:pt x="179" y="158"/>
                    </a:lnTo>
                    <a:lnTo>
                      <a:pt x="182" y="161"/>
                    </a:lnTo>
                    <a:lnTo>
                      <a:pt x="185" y="162"/>
                    </a:lnTo>
                    <a:lnTo>
                      <a:pt x="188" y="164"/>
                    </a:lnTo>
                    <a:lnTo>
                      <a:pt x="188" y="164"/>
                    </a:lnTo>
                    <a:lnTo>
                      <a:pt x="192" y="164"/>
                    </a:lnTo>
                    <a:lnTo>
                      <a:pt x="195" y="166"/>
                    </a:lnTo>
                    <a:lnTo>
                      <a:pt x="195" y="166"/>
                    </a:lnTo>
                    <a:lnTo>
                      <a:pt x="195" y="159"/>
                    </a:lnTo>
                    <a:lnTo>
                      <a:pt x="197" y="155"/>
                    </a:lnTo>
                    <a:lnTo>
                      <a:pt x="199" y="152"/>
                    </a:lnTo>
                    <a:lnTo>
                      <a:pt x="202" y="149"/>
                    </a:lnTo>
                    <a:lnTo>
                      <a:pt x="202" y="149"/>
                    </a:lnTo>
                    <a:lnTo>
                      <a:pt x="202" y="148"/>
                    </a:lnTo>
                    <a:lnTo>
                      <a:pt x="202" y="147"/>
                    </a:lnTo>
                    <a:lnTo>
                      <a:pt x="202" y="142"/>
                    </a:lnTo>
                    <a:lnTo>
                      <a:pt x="201" y="139"/>
                    </a:lnTo>
                    <a:lnTo>
                      <a:pt x="199" y="135"/>
                    </a:lnTo>
                    <a:lnTo>
                      <a:pt x="199" y="135"/>
                    </a:lnTo>
                    <a:lnTo>
                      <a:pt x="199" y="134"/>
                    </a:lnTo>
                    <a:lnTo>
                      <a:pt x="198" y="131"/>
                    </a:lnTo>
                    <a:lnTo>
                      <a:pt x="195" y="128"/>
                    </a:lnTo>
                    <a:lnTo>
                      <a:pt x="191" y="125"/>
                    </a:lnTo>
                    <a:lnTo>
                      <a:pt x="189" y="124"/>
                    </a:lnTo>
                    <a:lnTo>
                      <a:pt x="189" y="122"/>
                    </a:lnTo>
                    <a:lnTo>
                      <a:pt x="189" y="122"/>
                    </a:lnTo>
                    <a:lnTo>
                      <a:pt x="192" y="121"/>
                    </a:lnTo>
                    <a:lnTo>
                      <a:pt x="197" y="120"/>
                    </a:lnTo>
                    <a:lnTo>
                      <a:pt x="205" y="117"/>
                    </a:lnTo>
                    <a:lnTo>
                      <a:pt x="205" y="117"/>
                    </a:lnTo>
                    <a:lnTo>
                      <a:pt x="206" y="115"/>
                    </a:lnTo>
                    <a:lnTo>
                      <a:pt x="208" y="112"/>
                    </a:lnTo>
                    <a:lnTo>
                      <a:pt x="208" y="110"/>
                    </a:lnTo>
                    <a:lnTo>
                      <a:pt x="211" y="108"/>
                    </a:lnTo>
                    <a:lnTo>
                      <a:pt x="211" y="108"/>
                    </a:lnTo>
                    <a:lnTo>
                      <a:pt x="212" y="107"/>
                    </a:lnTo>
                    <a:lnTo>
                      <a:pt x="215" y="105"/>
                    </a:lnTo>
                    <a:lnTo>
                      <a:pt x="218" y="100"/>
                    </a:lnTo>
                    <a:lnTo>
                      <a:pt x="218" y="100"/>
                    </a:lnTo>
                    <a:lnTo>
                      <a:pt x="219" y="98"/>
                    </a:lnTo>
                    <a:lnTo>
                      <a:pt x="224" y="98"/>
                    </a:lnTo>
                    <a:lnTo>
                      <a:pt x="226" y="98"/>
                    </a:lnTo>
                    <a:lnTo>
                      <a:pt x="231" y="97"/>
                    </a:lnTo>
                    <a:lnTo>
                      <a:pt x="231" y="97"/>
                    </a:lnTo>
                    <a:lnTo>
                      <a:pt x="236" y="94"/>
                    </a:lnTo>
                    <a:lnTo>
                      <a:pt x="239" y="94"/>
                    </a:lnTo>
                    <a:lnTo>
                      <a:pt x="241" y="94"/>
                    </a:lnTo>
                    <a:lnTo>
                      <a:pt x="241" y="94"/>
                    </a:lnTo>
                    <a:lnTo>
                      <a:pt x="241" y="97"/>
                    </a:lnTo>
                    <a:lnTo>
                      <a:pt x="239" y="100"/>
                    </a:lnTo>
                    <a:lnTo>
                      <a:pt x="235" y="107"/>
                    </a:lnTo>
                    <a:lnTo>
                      <a:pt x="235" y="107"/>
                    </a:lnTo>
                    <a:lnTo>
                      <a:pt x="246" y="107"/>
                    </a:lnTo>
                    <a:lnTo>
                      <a:pt x="251" y="105"/>
                    </a:lnTo>
                    <a:lnTo>
                      <a:pt x="253" y="104"/>
                    </a:lnTo>
                    <a:lnTo>
                      <a:pt x="253" y="104"/>
                    </a:lnTo>
                    <a:lnTo>
                      <a:pt x="256" y="104"/>
                    </a:lnTo>
                    <a:lnTo>
                      <a:pt x="261" y="104"/>
                    </a:lnTo>
                    <a:lnTo>
                      <a:pt x="266" y="104"/>
                    </a:lnTo>
                    <a:lnTo>
                      <a:pt x="268" y="104"/>
                    </a:lnTo>
                    <a:lnTo>
                      <a:pt x="269" y="101"/>
                    </a:lnTo>
                    <a:lnTo>
                      <a:pt x="269" y="101"/>
                    </a:lnTo>
                    <a:lnTo>
                      <a:pt x="271" y="100"/>
                    </a:lnTo>
                    <a:lnTo>
                      <a:pt x="272" y="98"/>
                    </a:lnTo>
                    <a:lnTo>
                      <a:pt x="276" y="98"/>
                    </a:lnTo>
                    <a:lnTo>
                      <a:pt x="279" y="97"/>
                    </a:lnTo>
                    <a:lnTo>
                      <a:pt x="276" y="94"/>
                    </a:lnTo>
                    <a:lnTo>
                      <a:pt x="276" y="9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33" name="Norway">
                <a:extLst>
                  <a:ext uri="{FF2B5EF4-FFF2-40B4-BE49-F238E27FC236}">
                    <a16:creationId xmlns:a16="http://schemas.microsoft.com/office/drawing/2014/main" id="{3E5FBEA0-A136-FCA0-D2FA-A7678A18EC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4739" y="2227685"/>
                <a:ext cx="609671" cy="507566"/>
              </a:xfrm>
              <a:custGeom>
                <a:avLst/>
                <a:gdLst/>
                <a:ahLst/>
                <a:cxnLst>
                  <a:cxn ang="0">
                    <a:pos x="383" y="30"/>
                  </a:cxn>
                  <a:cxn ang="0">
                    <a:pos x="411" y="21"/>
                  </a:cxn>
                  <a:cxn ang="0">
                    <a:pos x="375" y="9"/>
                  </a:cxn>
                  <a:cxn ang="0">
                    <a:pos x="368" y="9"/>
                  </a:cxn>
                  <a:cxn ang="0">
                    <a:pos x="346" y="20"/>
                  </a:cxn>
                  <a:cxn ang="0">
                    <a:pos x="320" y="27"/>
                  </a:cxn>
                  <a:cxn ang="0">
                    <a:pos x="333" y="4"/>
                  </a:cxn>
                  <a:cxn ang="0">
                    <a:pos x="309" y="6"/>
                  </a:cxn>
                  <a:cxn ang="0">
                    <a:pos x="293" y="14"/>
                  </a:cxn>
                  <a:cxn ang="0">
                    <a:pos x="284" y="33"/>
                  </a:cxn>
                  <a:cxn ang="0">
                    <a:pos x="289" y="13"/>
                  </a:cxn>
                  <a:cxn ang="0">
                    <a:pos x="269" y="13"/>
                  </a:cxn>
                  <a:cxn ang="0">
                    <a:pos x="257" y="26"/>
                  </a:cxn>
                  <a:cxn ang="0">
                    <a:pos x="253" y="33"/>
                  </a:cxn>
                  <a:cxn ang="0">
                    <a:pos x="249" y="41"/>
                  </a:cxn>
                  <a:cxn ang="0">
                    <a:pos x="232" y="36"/>
                  </a:cxn>
                  <a:cxn ang="0">
                    <a:pos x="219" y="38"/>
                  </a:cxn>
                  <a:cxn ang="0">
                    <a:pos x="203" y="44"/>
                  </a:cxn>
                  <a:cxn ang="0">
                    <a:pos x="196" y="57"/>
                  </a:cxn>
                  <a:cxn ang="0">
                    <a:pos x="189" y="65"/>
                  </a:cxn>
                  <a:cxn ang="0">
                    <a:pos x="172" y="68"/>
                  </a:cxn>
                  <a:cxn ang="0">
                    <a:pos x="158" y="67"/>
                  </a:cxn>
                  <a:cxn ang="0">
                    <a:pos x="129" y="90"/>
                  </a:cxn>
                  <a:cxn ang="0">
                    <a:pos x="161" y="78"/>
                  </a:cxn>
                  <a:cxn ang="0">
                    <a:pos x="183" y="78"/>
                  </a:cxn>
                  <a:cxn ang="0">
                    <a:pos x="171" y="84"/>
                  </a:cxn>
                  <a:cxn ang="0">
                    <a:pos x="151" y="105"/>
                  </a:cxn>
                  <a:cxn ang="0">
                    <a:pos x="127" y="142"/>
                  </a:cxn>
                  <a:cxn ang="0">
                    <a:pos x="118" y="168"/>
                  </a:cxn>
                  <a:cxn ang="0">
                    <a:pos x="107" y="182"/>
                  </a:cxn>
                  <a:cxn ang="0">
                    <a:pos x="82" y="194"/>
                  </a:cxn>
                  <a:cxn ang="0">
                    <a:pos x="65" y="211"/>
                  </a:cxn>
                  <a:cxn ang="0">
                    <a:pos x="50" y="221"/>
                  </a:cxn>
                  <a:cxn ang="0">
                    <a:pos x="43" y="233"/>
                  </a:cxn>
                  <a:cxn ang="0">
                    <a:pos x="13" y="246"/>
                  </a:cxn>
                  <a:cxn ang="0">
                    <a:pos x="4" y="260"/>
                  </a:cxn>
                  <a:cxn ang="0">
                    <a:pos x="3" y="282"/>
                  </a:cxn>
                  <a:cxn ang="0">
                    <a:pos x="14" y="296"/>
                  </a:cxn>
                  <a:cxn ang="0">
                    <a:pos x="16" y="302"/>
                  </a:cxn>
                  <a:cxn ang="0">
                    <a:pos x="4" y="304"/>
                  </a:cxn>
                  <a:cxn ang="0">
                    <a:pos x="18" y="312"/>
                  </a:cxn>
                  <a:cxn ang="0">
                    <a:pos x="8" y="327"/>
                  </a:cxn>
                  <a:cxn ang="0">
                    <a:pos x="75" y="322"/>
                  </a:cxn>
                  <a:cxn ang="0">
                    <a:pos x="92" y="312"/>
                  </a:cxn>
                  <a:cxn ang="0">
                    <a:pos x="109" y="313"/>
                  </a:cxn>
                  <a:cxn ang="0">
                    <a:pos x="122" y="285"/>
                  </a:cxn>
                  <a:cxn ang="0">
                    <a:pos x="125" y="262"/>
                  </a:cxn>
                  <a:cxn ang="0">
                    <a:pos x="117" y="223"/>
                  </a:cxn>
                  <a:cxn ang="0">
                    <a:pos x="142" y="198"/>
                  </a:cxn>
                  <a:cxn ang="0">
                    <a:pos x="151" y="162"/>
                  </a:cxn>
                  <a:cxn ang="0">
                    <a:pos x="166" y="135"/>
                  </a:cxn>
                  <a:cxn ang="0">
                    <a:pos x="183" y="102"/>
                  </a:cxn>
                  <a:cxn ang="0">
                    <a:pos x="209" y="74"/>
                  </a:cxn>
                  <a:cxn ang="0">
                    <a:pos x="240" y="74"/>
                  </a:cxn>
                  <a:cxn ang="0">
                    <a:pos x="262" y="54"/>
                  </a:cxn>
                  <a:cxn ang="0">
                    <a:pos x="309" y="68"/>
                  </a:cxn>
                  <a:cxn ang="0">
                    <a:pos x="327" y="63"/>
                  </a:cxn>
                  <a:cxn ang="0">
                    <a:pos x="344" y="36"/>
                  </a:cxn>
                  <a:cxn ang="0">
                    <a:pos x="383" y="46"/>
                  </a:cxn>
                  <a:cxn ang="0">
                    <a:pos x="408" y="44"/>
                  </a:cxn>
                </a:cxnLst>
                <a:rect l="0" t="0" r="r" b="b"/>
                <a:pathLst>
                  <a:path w="412" h="343">
                    <a:moveTo>
                      <a:pt x="400" y="40"/>
                    </a:moveTo>
                    <a:lnTo>
                      <a:pt x="400" y="40"/>
                    </a:lnTo>
                    <a:lnTo>
                      <a:pt x="398" y="41"/>
                    </a:lnTo>
                    <a:lnTo>
                      <a:pt x="395" y="41"/>
                    </a:lnTo>
                    <a:lnTo>
                      <a:pt x="394" y="41"/>
                    </a:lnTo>
                    <a:lnTo>
                      <a:pt x="393" y="38"/>
                    </a:lnTo>
                    <a:lnTo>
                      <a:pt x="393" y="38"/>
                    </a:lnTo>
                    <a:lnTo>
                      <a:pt x="391" y="36"/>
                    </a:lnTo>
                    <a:lnTo>
                      <a:pt x="388" y="34"/>
                    </a:lnTo>
                    <a:lnTo>
                      <a:pt x="384" y="31"/>
                    </a:lnTo>
                    <a:lnTo>
                      <a:pt x="383" y="30"/>
                    </a:lnTo>
                    <a:lnTo>
                      <a:pt x="383" y="30"/>
                    </a:lnTo>
                    <a:lnTo>
                      <a:pt x="383" y="30"/>
                    </a:lnTo>
                    <a:lnTo>
                      <a:pt x="385" y="30"/>
                    </a:lnTo>
                    <a:lnTo>
                      <a:pt x="391" y="31"/>
                    </a:lnTo>
                    <a:lnTo>
                      <a:pt x="391" y="31"/>
                    </a:lnTo>
                    <a:lnTo>
                      <a:pt x="393" y="33"/>
                    </a:lnTo>
                    <a:lnTo>
                      <a:pt x="395" y="31"/>
                    </a:lnTo>
                    <a:lnTo>
                      <a:pt x="401" y="28"/>
                    </a:lnTo>
                    <a:lnTo>
                      <a:pt x="401" y="28"/>
                    </a:lnTo>
                    <a:lnTo>
                      <a:pt x="404" y="26"/>
                    </a:lnTo>
                    <a:lnTo>
                      <a:pt x="408" y="26"/>
                    </a:lnTo>
                    <a:lnTo>
                      <a:pt x="411" y="26"/>
                    </a:lnTo>
                    <a:lnTo>
                      <a:pt x="412" y="24"/>
                    </a:lnTo>
                    <a:lnTo>
                      <a:pt x="412" y="24"/>
                    </a:lnTo>
                    <a:lnTo>
                      <a:pt x="411" y="21"/>
                    </a:lnTo>
                    <a:lnTo>
                      <a:pt x="408" y="19"/>
                    </a:lnTo>
                    <a:lnTo>
                      <a:pt x="404" y="16"/>
                    </a:lnTo>
                    <a:lnTo>
                      <a:pt x="404" y="16"/>
                    </a:lnTo>
                    <a:lnTo>
                      <a:pt x="400" y="13"/>
                    </a:lnTo>
                    <a:lnTo>
                      <a:pt x="395" y="11"/>
                    </a:lnTo>
                    <a:lnTo>
                      <a:pt x="391" y="11"/>
                    </a:lnTo>
                    <a:lnTo>
                      <a:pt x="391" y="11"/>
                    </a:lnTo>
                    <a:lnTo>
                      <a:pt x="388" y="11"/>
                    </a:lnTo>
                    <a:lnTo>
                      <a:pt x="387" y="11"/>
                    </a:lnTo>
                    <a:lnTo>
                      <a:pt x="383" y="7"/>
                    </a:lnTo>
                    <a:lnTo>
                      <a:pt x="383" y="7"/>
                    </a:lnTo>
                    <a:lnTo>
                      <a:pt x="380" y="7"/>
                    </a:lnTo>
                    <a:lnTo>
                      <a:pt x="375" y="9"/>
                    </a:lnTo>
                    <a:lnTo>
                      <a:pt x="373" y="11"/>
                    </a:lnTo>
                    <a:lnTo>
                      <a:pt x="371" y="16"/>
                    </a:lnTo>
                    <a:lnTo>
                      <a:pt x="371" y="16"/>
                    </a:lnTo>
                    <a:lnTo>
                      <a:pt x="370" y="20"/>
                    </a:lnTo>
                    <a:lnTo>
                      <a:pt x="368" y="20"/>
                    </a:lnTo>
                    <a:lnTo>
                      <a:pt x="367" y="20"/>
                    </a:lnTo>
                    <a:lnTo>
                      <a:pt x="367" y="17"/>
                    </a:lnTo>
                    <a:lnTo>
                      <a:pt x="367" y="17"/>
                    </a:lnTo>
                    <a:lnTo>
                      <a:pt x="367" y="14"/>
                    </a:lnTo>
                    <a:lnTo>
                      <a:pt x="367" y="11"/>
                    </a:lnTo>
                    <a:lnTo>
                      <a:pt x="367" y="10"/>
                    </a:lnTo>
                    <a:lnTo>
                      <a:pt x="368" y="9"/>
                    </a:lnTo>
                    <a:lnTo>
                      <a:pt x="368" y="9"/>
                    </a:lnTo>
                    <a:lnTo>
                      <a:pt x="371" y="7"/>
                    </a:lnTo>
                    <a:lnTo>
                      <a:pt x="370" y="4"/>
                    </a:lnTo>
                    <a:lnTo>
                      <a:pt x="367" y="1"/>
                    </a:lnTo>
                    <a:lnTo>
                      <a:pt x="363" y="0"/>
                    </a:lnTo>
                    <a:lnTo>
                      <a:pt x="363" y="0"/>
                    </a:lnTo>
                    <a:lnTo>
                      <a:pt x="357" y="0"/>
                    </a:lnTo>
                    <a:lnTo>
                      <a:pt x="353" y="3"/>
                    </a:lnTo>
                    <a:lnTo>
                      <a:pt x="351" y="6"/>
                    </a:lnTo>
                    <a:lnTo>
                      <a:pt x="353" y="9"/>
                    </a:lnTo>
                    <a:lnTo>
                      <a:pt x="353" y="9"/>
                    </a:lnTo>
                    <a:lnTo>
                      <a:pt x="351" y="11"/>
                    </a:lnTo>
                    <a:lnTo>
                      <a:pt x="350" y="16"/>
                    </a:lnTo>
                    <a:lnTo>
                      <a:pt x="346" y="20"/>
                    </a:lnTo>
                    <a:lnTo>
                      <a:pt x="343" y="21"/>
                    </a:lnTo>
                    <a:lnTo>
                      <a:pt x="343" y="21"/>
                    </a:lnTo>
                    <a:lnTo>
                      <a:pt x="341" y="20"/>
                    </a:lnTo>
                    <a:lnTo>
                      <a:pt x="341" y="20"/>
                    </a:lnTo>
                    <a:lnTo>
                      <a:pt x="341" y="16"/>
                    </a:lnTo>
                    <a:lnTo>
                      <a:pt x="343" y="7"/>
                    </a:lnTo>
                    <a:lnTo>
                      <a:pt x="343" y="7"/>
                    </a:lnTo>
                    <a:lnTo>
                      <a:pt x="341" y="6"/>
                    </a:lnTo>
                    <a:lnTo>
                      <a:pt x="340" y="6"/>
                    </a:lnTo>
                    <a:lnTo>
                      <a:pt x="333" y="13"/>
                    </a:lnTo>
                    <a:lnTo>
                      <a:pt x="333" y="13"/>
                    </a:lnTo>
                    <a:lnTo>
                      <a:pt x="324" y="23"/>
                    </a:lnTo>
                    <a:lnTo>
                      <a:pt x="320" y="27"/>
                    </a:lnTo>
                    <a:lnTo>
                      <a:pt x="317" y="28"/>
                    </a:lnTo>
                    <a:lnTo>
                      <a:pt x="317" y="28"/>
                    </a:lnTo>
                    <a:lnTo>
                      <a:pt x="316" y="27"/>
                    </a:lnTo>
                    <a:lnTo>
                      <a:pt x="314" y="24"/>
                    </a:lnTo>
                    <a:lnTo>
                      <a:pt x="316" y="21"/>
                    </a:lnTo>
                    <a:lnTo>
                      <a:pt x="320" y="19"/>
                    </a:lnTo>
                    <a:lnTo>
                      <a:pt x="320" y="19"/>
                    </a:lnTo>
                    <a:lnTo>
                      <a:pt x="324" y="14"/>
                    </a:lnTo>
                    <a:lnTo>
                      <a:pt x="326" y="10"/>
                    </a:lnTo>
                    <a:lnTo>
                      <a:pt x="329" y="7"/>
                    </a:lnTo>
                    <a:lnTo>
                      <a:pt x="330" y="6"/>
                    </a:lnTo>
                    <a:lnTo>
                      <a:pt x="330" y="6"/>
                    </a:lnTo>
                    <a:lnTo>
                      <a:pt x="333" y="4"/>
                    </a:lnTo>
                    <a:lnTo>
                      <a:pt x="333" y="3"/>
                    </a:lnTo>
                    <a:lnTo>
                      <a:pt x="331" y="1"/>
                    </a:lnTo>
                    <a:lnTo>
                      <a:pt x="329" y="0"/>
                    </a:lnTo>
                    <a:lnTo>
                      <a:pt x="329" y="0"/>
                    </a:lnTo>
                    <a:lnTo>
                      <a:pt x="324" y="0"/>
                    </a:lnTo>
                    <a:lnTo>
                      <a:pt x="323" y="1"/>
                    </a:lnTo>
                    <a:lnTo>
                      <a:pt x="320" y="7"/>
                    </a:lnTo>
                    <a:lnTo>
                      <a:pt x="320" y="7"/>
                    </a:lnTo>
                    <a:lnTo>
                      <a:pt x="317" y="7"/>
                    </a:lnTo>
                    <a:lnTo>
                      <a:pt x="313" y="6"/>
                    </a:lnTo>
                    <a:lnTo>
                      <a:pt x="310" y="4"/>
                    </a:lnTo>
                    <a:lnTo>
                      <a:pt x="309" y="6"/>
                    </a:lnTo>
                    <a:lnTo>
                      <a:pt x="309" y="6"/>
                    </a:lnTo>
                    <a:lnTo>
                      <a:pt x="307" y="6"/>
                    </a:lnTo>
                    <a:lnTo>
                      <a:pt x="306" y="7"/>
                    </a:lnTo>
                    <a:lnTo>
                      <a:pt x="304" y="9"/>
                    </a:lnTo>
                    <a:lnTo>
                      <a:pt x="306" y="11"/>
                    </a:lnTo>
                    <a:lnTo>
                      <a:pt x="306" y="11"/>
                    </a:lnTo>
                    <a:lnTo>
                      <a:pt x="306" y="14"/>
                    </a:lnTo>
                    <a:lnTo>
                      <a:pt x="306" y="16"/>
                    </a:lnTo>
                    <a:lnTo>
                      <a:pt x="304" y="16"/>
                    </a:lnTo>
                    <a:lnTo>
                      <a:pt x="302" y="14"/>
                    </a:lnTo>
                    <a:lnTo>
                      <a:pt x="302" y="14"/>
                    </a:lnTo>
                    <a:lnTo>
                      <a:pt x="300" y="11"/>
                    </a:lnTo>
                    <a:lnTo>
                      <a:pt x="297" y="13"/>
                    </a:lnTo>
                    <a:lnTo>
                      <a:pt x="293" y="14"/>
                    </a:lnTo>
                    <a:lnTo>
                      <a:pt x="292" y="17"/>
                    </a:lnTo>
                    <a:lnTo>
                      <a:pt x="292" y="17"/>
                    </a:lnTo>
                    <a:lnTo>
                      <a:pt x="289" y="20"/>
                    </a:lnTo>
                    <a:lnTo>
                      <a:pt x="287" y="21"/>
                    </a:lnTo>
                    <a:lnTo>
                      <a:pt x="286" y="23"/>
                    </a:lnTo>
                    <a:lnTo>
                      <a:pt x="287" y="24"/>
                    </a:lnTo>
                    <a:lnTo>
                      <a:pt x="287" y="24"/>
                    </a:lnTo>
                    <a:lnTo>
                      <a:pt x="289" y="26"/>
                    </a:lnTo>
                    <a:lnTo>
                      <a:pt x="289" y="28"/>
                    </a:lnTo>
                    <a:lnTo>
                      <a:pt x="287" y="31"/>
                    </a:lnTo>
                    <a:lnTo>
                      <a:pt x="286" y="33"/>
                    </a:lnTo>
                    <a:lnTo>
                      <a:pt x="286" y="33"/>
                    </a:lnTo>
                    <a:lnTo>
                      <a:pt x="284" y="33"/>
                    </a:lnTo>
                    <a:lnTo>
                      <a:pt x="283" y="31"/>
                    </a:lnTo>
                    <a:lnTo>
                      <a:pt x="282" y="27"/>
                    </a:lnTo>
                    <a:lnTo>
                      <a:pt x="282" y="24"/>
                    </a:lnTo>
                    <a:lnTo>
                      <a:pt x="280" y="23"/>
                    </a:lnTo>
                    <a:lnTo>
                      <a:pt x="280" y="23"/>
                    </a:lnTo>
                    <a:lnTo>
                      <a:pt x="280" y="23"/>
                    </a:lnTo>
                    <a:lnTo>
                      <a:pt x="277" y="21"/>
                    </a:lnTo>
                    <a:lnTo>
                      <a:pt x="279" y="20"/>
                    </a:lnTo>
                    <a:lnTo>
                      <a:pt x="280" y="17"/>
                    </a:lnTo>
                    <a:lnTo>
                      <a:pt x="283" y="16"/>
                    </a:lnTo>
                    <a:lnTo>
                      <a:pt x="283" y="16"/>
                    </a:lnTo>
                    <a:lnTo>
                      <a:pt x="286" y="16"/>
                    </a:lnTo>
                    <a:lnTo>
                      <a:pt x="289" y="13"/>
                    </a:lnTo>
                    <a:lnTo>
                      <a:pt x="290" y="10"/>
                    </a:lnTo>
                    <a:lnTo>
                      <a:pt x="292" y="9"/>
                    </a:lnTo>
                    <a:lnTo>
                      <a:pt x="292" y="9"/>
                    </a:lnTo>
                    <a:lnTo>
                      <a:pt x="290" y="7"/>
                    </a:lnTo>
                    <a:lnTo>
                      <a:pt x="289" y="6"/>
                    </a:lnTo>
                    <a:lnTo>
                      <a:pt x="286" y="7"/>
                    </a:lnTo>
                    <a:lnTo>
                      <a:pt x="286" y="10"/>
                    </a:lnTo>
                    <a:lnTo>
                      <a:pt x="286" y="10"/>
                    </a:lnTo>
                    <a:lnTo>
                      <a:pt x="284" y="11"/>
                    </a:lnTo>
                    <a:lnTo>
                      <a:pt x="282" y="13"/>
                    </a:lnTo>
                    <a:lnTo>
                      <a:pt x="273" y="11"/>
                    </a:lnTo>
                    <a:lnTo>
                      <a:pt x="273" y="11"/>
                    </a:lnTo>
                    <a:lnTo>
                      <a:pt x="269" y="13"/>
                    </a:lnTo>
                    <a:lnTo>
                      <a:pt x="269" y="16"/>
                    </a:lnTo>
                    <a:lnTo>
                      <a:pt x="270" y="20"/>
                    </a:lnTo>
                    <a:lnTo>
                      <a:pt x="273" y="23"/>
                    </a:lnTo>
                    <a:lnTo>
                      <a:pt x="273" y="23"/>
                    </a:lnTo>
                    <a:lnTo>
                      <a:pt x="276" y="26"/>
                    </a:lnTo>
                    <a:lnTo>
                      <a:pt x="274" y="27"/>
                    </a:lnTo>
                    <a:lnTo>
                      <a:pt x="272" y="27"/>
                    </a:lnTo>
                    <a:lnTo>
                      <a:pt x="269" y="26"/>
                    </a:lnTo>
                    <a:lnTo>
                      <a:pt x="269" y="26"/>
                    </a:lnTo>
                    <a:lnTo>
                      <a:pt x="266" y="24"/>
                    </a:lnTo>
                    <a:lnTo>
                      <a:pt x="263" y="24"/>
                    </a:lnTo>
                    <a:lnTo>
                      <a:pt x="257" y="26"/>
                    </a:lnTo>
                    <a:lnTo>
                      <a:pt x="257" y="26"/>
                    </a:lnTo>
                    <a:lnTo>
                      <a:pt x="256" y="27"/>
                    </a:lnTo>
                    <a:lnTo>
                      <a:pt x="257" y="28"/>
                    </a:lnTo>
                    <a:lnTo>
                      <a:pt x="260" y="30"/>
                    </a:lnTo>
                    <a:lnTo>
                      <a:pt x="265" y="33"/>
                    </a:lnTo>
                    <a:lnTo>
                      <a:pt x="266" y="34"/>
                    </a:lnTo>
                    <a:lnTo>
                      <a:pt x="266" y="34"/>
                    </a:lnTo>
                    <a:lnTo>
                      <a:pt x="265" y="34"/>
                    </a:lnTo>
                    <a:lnTo>
                      <a:pt x="263" y="34"/>
                    </a:lnTo>
                    <a:lnTo>
                      <a:pt x="260" y="33"/>
                    </a:lnTo>
                    <a:lnTo>
                      <a:pt x="259" y="33"/>
                    </a:lnTo>
                    <a:lnTo>
                      <a:pt x="259" y="33"/>
                    </a:lnTo>
                    <a:lnTo>
                      <a:pt x="256" y="34"/>
                    </a:lnTo>
                    <a:lnTo>
                      <a:pt x="253" y="33"/>
                    </a:lnTo>
                    <a:lnTo>
                      <a:pt x="252" y="31"/>
                    </a:lnTo>
                    <a:lnTo>
                      <a:pt x="250" y="28"/>
                    </a:lnTo>
                    <a:lnTo>
                      <a:pt x="250" y="28"/>
                    </a:lnTo>
                    <a:lnTo>
                      <a:pt x="249" y="27"/>
                    </a:lnTo>
                    <a:lnTo>
                      <a:pt x="247" y="27"/>
                    </a:lnTo>
                    <a:lnTo>
                      <a:pt x="245" y="27"/>
                    </a:lnTo>
                    <a:lnTo>
                      <a:pt x="243" y="30"/>
                    </a:lnTo>
                    <a:lnTo>
                      <a:pt x="243" y="30"/>
                    </a:lnTo>
                    <a:lnTo>
                      <a:pt x="245" y="31"/>
                    </a:lnTo>
                    <a:lnTo>
                      <a:pt x="245" y="31"/>
                    </a:lnTo>
                    <a:lnTo>
                      <a:pt x="247" y="33"/>
                    </a:lnTo>
                    <a:lnTo>
                      <a:pt x="249" y="36"/>
                    </a:lnTo>
                    <a:lnTo>
                      <a:pt x="249" y="41"/>
                    </a:lnTo>
                    <a:lnTo>
                      <a:pt x="249" y="41"/>
                    </a:lnTo>
                    <a:lnTo>
                      <a:pt x="247" y="44"/>
                    </a:lnTo>
                    <a:lnTo>
                      <a:pt x="245" y="44"/>
                    </a:lnTo>
                    <a:lnTo>
                      <a:pt x="243" y="41"/>
                    </a:lnTo>
                    <a:lnTo>
                      <a:pt x="243" y="38"/>
                    </a:lnTo>
                    <a:lnTo>
                      <a:pt x="243" y="38"/>
                    </a:lnTo>
                    <a:lnTo>
                      <a:pt x="243" y="36"/>
                    </a:lnTo>
                    <a:lnTo>
                      <a:pt x="240" y="36"/>
                    </a:lnTo>
                    <a:lnTo>
                      <a:pt x="238" y="36"/>
                    </a:lnTo>
                    <a:lnTo>
                      <a:pt x="235" y="37"/>
                    </a:lnTo>
                    <a:lnTo>
                      <a:pt x="235" y="37"/>
                    </a:lnTo>
                    <a:lnTo>
                      <a:pt x="232" y="38"/>
                    </a:lnTo>
                    <a:lnTo>
                      <a:pt x="232" y="36"/>
                    </a:lnTo>
                    <a:lnTo>
                      <a:pt x="233" y="31"/>
                    </a:lnTo>
                    <a:lnTo>
                      <a:pt x="233" y="28"/>
                    </a:lnTo>
                    <a:lnTo>
                      <a:pt x="233" y="28"/>
                    </a:lnTo>
                    <a:lnTo>
                      <a:pt x="230" y="27"/>
                    </a:lnTo>
                    <a:lnTo>
                      <a:pt x="229" y="27"/>
                    </a:lnTo>
                    <a:lnTo>
                      <a:pt x="222" y="30"/>
                    </a:lnTo>
                    <a:lnTo>
                      <a:pt x="222" y="30"/>
                    </a:lnTo>
                    <a:lnTo>
                      <a:pt x="216" y="31"/>
                    </a:lnTo>
                    <a:lnTo>
                      <a:pt x="216" y="31"/>
                    </a:lnTo>
                    <a:lnTo>
                      <a:pt x="218" y="34"/>
                    </a:lnTo>
                    <a:lnTo>
                      <a:pt x="218" y="34"/>
                    </a:lnTo>
                    <a:lnTo>
                      <a:pt x="219" y="37"/>
                    </a:lnTo>
                    <a:lnTo>
                      <a:pt x="219" y="38"/>
                    </a:lnTo>
                    <a:lnTo>
                      <a:pt x="218" y="41"/>
                    </a:lnTo>
                    <a:lnTo>
                      <a:pt x="216" y="41"/>
                    </a:lnTo>
                    <a:lnTo>
                      <a:pt x="216" y="41"/>
                    </a:lnTo>
                    <a:lnTo>
                      <a:pt x="212" y="41"/>
                    </a:lnTo>
                    <a:lnTo>
                      <a:pt x="210" y="43"/>
                    </a:lnTo>
                    <a:lnTo>
                      <a:pt x="210" y="46"/>
                    </a:lnTo>
                    <a:lnTo>
                      <a:pt x="210" y="46"/>
                    </a:lnTo>
                    <a:lnTo>
                      <a:pt x="210" y="47"/>
                    </a:lnTo>
                    <a:lnTo>
                      <a:pt x="208" y="48"/>
                    </a:lnTo>
                    <a:lnTo>
                      <a:pt x="206" y="47"/>
                    </a:lnTo>
                    <a:lnTo>
                      <a:pt x="205" y="46"/>
                    </a:lnTo>
                    <a:lnTo>
                      <a:pt x="205" y="46"/>
                    </a:lnTo>
                    <a:lnTo>
                      <a:pt x="203" y="44"/>
                    </a:lnTo>
                    <a:lnTo>
                      <a:pt x="201" y="44"/>
                    </a:lnTo>
                    <a:lnTo>
                      <a:pt x="196" y="44"/>
                    </a:lnTo>
                    <a:lnTo>
                      <a:pt x="193" y="47"/>
                    </a:lnTo>
                    <a:lnTo>
                      <a:pt x="193" y="47"/>
                    </a:lnTo>
                    <a:lnTo>
                      <a:pt x="189" y="53"/>
                    </a:lnTo>
                    <a:lnTo>
                      <a:pt x="186" y="56"/>
                    </a:lnTo>
                    <a:lnTo>
                      <a:pt x="186" y="58"/>
                    </a:lnTo>
                    <a:lnTo>
                      <a:pt x="186" y="58"/>
                    </a:lnTo>
                    <a:lnTo>
                      <a:pt x="186" y="60"/>
                    </a:lnTo>
                    <a:lnTo>
                      <a:pt x="189" y="58"/>
                    </a:lnTo>
                    <a:lnTo>
                      <a:pt x="192" y="57"/>
                    </a:lnTo>
                    <a:lnTo>
                      <a:pt x="196" y="57"/>
                    </a:lnTo>
                    <a:lnTo>
                      <a:pt x="196" y="57"/>
                    </a:lnTo>
                    <a:lnTo>
                      <a:pt x="198" y="58"/>
                    </a:lnTo>
                    <a:lnTo>
                      <a:pt x="198" y="60"/>
                    </a:lnTo>
                    <a:lnTo>
                      <a:pt x="198" y="61"/>
                    </a:lnTo>
                    <a:lnTo>
                      <a:pt x="198" y="63"/>
                    </a:lnTo>
                    <a:lnTo>
                      <a:pt x="198" y="63"/>
                    </a:lnTo>
                    <a:lnTo>
                      <a:pt x="199" y="65"/>
                    </a:lnTo>
                    <a:lnTo>
                      <a:pt x="199" y="67"/>
                    </a:lnTo>
                    <a:lnTo>
                      <a:pt x="199" y="68"/>
                    </a:lnTo>
                    <a:lnTo>
                      <a:pt x="196" y="67"/>
                    </a:lnTo>
                    <a:lnTo>
                      <a:pt x="196" y="67"/>
                    </a:lnTo>
                    <a:lnTo>
                      <a:pt x="193" y="65"/>
                    </a:lnTo>
                    <a:lnTo>
                      <a:pt x="192" y="64"/>
                    </a:lnTo>
                    <a:lnTo>
                      <a:pt x="189" y="65"/>
                    </a:lnTo>
                    <a:lnTo>
                      <a:pt x="188" y="68"/>
                    </a:lnTo>
                    <a:lnTo>
                      <a:pt x="188" y="68"/>
                    </a:lnTo>
                    <a:lnTo>
                      <a:pt x="188" y="70"/>
                    </a:lnTo>
                    <a:lnTo>
                      <a:pt x="185" y="70"/>
                    </a:lnTo>
                    <a:lnTo>
                      <a:pt x="181" y="64"/>
                    </a:lnTo>
                    <a:lnTo>
                      <a:pt x="181" y="64"/>
                    </a:lnTo>
                    <a:lnTo>
                      <a:pt x="181" y="63"/>
                    </a:lnTo>
                    <a:lnTo>
                      <a:pt x="179" y="64"/>
                    </a:lnTo>
                    <a:lnTo>
                      <a:pt x="176" y="65"/>
                    </a:lnTo>
                    <a:lnTo>
                      <a:pt x="175" y="68"/>
                    </a:lnTo>
                    <a:lnTo>
                      <a:pt x="173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7"/>
                    </a:lnTo>
                    <a:lnTo>
                      <a:pt x="172" y="65"/>
                    </a:lnTo>
                    <a:lnTo>
                      <a:pt x="173" y="63"/>
                    </a:lnTo>
                    <a:lnTo>
                      <a:pt x="176" y="58"/>
                    </a:lnTo>
                    <a:lnTo>
                      <a:pt x="176" y="57"/>
                    </a:lnTo>
                    <a:lnTo>
                      <a:pt x="176" y="56"/>
                    </a:lnTo>
                    <a:lnTo>
                      <a:pt x="176" y="56"/>
                    </a:lnTo>
                    <a:lnTo>
                      <a:pt x="175" y="54"/>
                    </a:lnTo>
                    <a:lnTo>
                      <a:pt x="172" y="56"/>
                    </a:lnTo>
                    <a:lnTo>
                      <a:pt x="166" y="63"/>
                    </a:lnTo>
                    <a:lnTo>
                      <a:pt x="166" y="63"/>
                    </a:lnTo>
                    <a:lnTo>
                      <a:pt x="162" y="65"/>
                    </a:lnTo>
                    <a:lnTo>
                      <a:pt x="158" y="67"/>
                    </a:lnTo>
                    <a:lnTo>
                      <a:pt x="156" y="68"/>
                    </a:lnTo>
                    <a:lnTo>
                      <a:pt x="156" y="70"/>
                    </a:lnTo>
                    <a:lnTo>
                      <a:pt x="156" y="70"/>
                    </a:lnTo>
                    <a:lnTo>
                      <a:pt x="156" y="73"/>
                    </a:lnTo>
                    <a:lnTo>
                      <a:pt x="155" y="74"/>
                    </a:lnTo>
                    <a:lnTo>
                      <a:pt x="152" y="75"/>
                    </a:lnTo>
                    <a:lnTo>
                      <a:pt x="149" y="78"/>
                    </a:lnTo>
                    <a:lnTo>
                      <a:pt x="149" y="78"/>
                    </a:lnTo>
                    <a:lnTo>
                      <a:pt x="146" y="81"/>
                    </a:lnTo>
                    <a:lnTo>
                      <a:pt x="142" y="84"/>
                    </a:lnTo>
                    <a:lnTo>
                      <a:pt x="135" y="87"/>
                    </a:lnTo>
                    <a:lnTo>
                      <a:pt x="129" y="90"/>
                    </a:lnTo>
                    <a:lnTo>
                      <a:pt x="129" y="90"/>
                    </a:lnTo>
                    <a:lnTo>
                      <a:pt x="127" y="93"/>
                    </a:lnTo>
                    <a:lnTo>
                      <a:pt x="128" y="93"/>
                    </a:lnTo>
                    <a:lnTo>
                      <a:pt x="128" y="94"/>
                    </a:lnTo>
                    <a:lnTo>
                      <a:pt x="132" y="93"/>
                    </a:lnTo>
                    <a:lnTo>
                      <a:pt x="135" y="90"/>
                    </a:lnTo>
                    <a:lnTo>
                      <a:pt x="135" y="90"/>
                    </a:lnTo>
                    <a:lnTo>
                      <a:pt x="138" y="88"/>
                    </a:lnTo>
                    <a:lnTo>
                      <a:pt x="141" y="87"/>
                    </a:lnTo>
                    <a:lnTo>
                      <a:pt x="144" y="87"/>
                    </a:lnTo>
                    <a:lnTo>
                      <a:pt x="148" y="84"/>
                    </a:lnTo>
                    <a:lnTo>
                      <a:pt x="148" y="84"/>
                    </a:lnTo>
                    <a:lnTo>
                      <a:pt x="156" y="80"/>
                    </a:lnTo>
                    <a:lnTo>
                      <a:pt x="161" y="78"/>
                    </a:lnTo>
                    <a:lnTo>
                      <a:pt x="164" y="78"/>
                    </a:lnTo>
                    <a:lnTo>
                      <a:pt x="164" y="78"/>
                    </a:lnTo>
                    <a:lnTo>
                      <a:pt x="165" y="80"/>
                    </a:lnTo>
                    <a:lnTo>
                      <a:pt x="168" y="80"/>
                    </a:lnTo>
                    <a:lnTo>
                      <a:pt x="169" y="80"/>
                    </a:lnTo>
                    <a:lnTo>
                      <a:pt x="172" y="77"/>
                    </a:lnTo>
                    <a:lnTo>
                      <a:pt x="172" y="77"/>
                    </a:lnTo>
                    <a:lnTo>
                      <a:pt x="175" y="75"/>
                    </a:lnTo>
                    <a:lnTo>
                      <a:pt x="178" y="74"/>
                    </a:lnTo>
                    <a:lnTo>
                      <a:pt x="179" y="75"/>
                    </a:lnTo>
                    <a:lnTo>
                      <a:pt x="182" y="77"/>
                    </a:lnTo>
                    <a:lnTo>
                      <a:pt x="182" y="77"/>
                    </a:lnTo>
                    <a:lnTo>
                      <a:pt x="183" y="78"/>
                    </a:lnTo>
                    <a:lnTo>
                      <a:pt x="181" y="80"/>
                    </a:lnTo>
                    <a:lnTo>
                      <a:pt x="181" y="83"/>
                    </a:lnTo>
                    <a:lnTo>
                      <a:pt x="181" y="85"/>
                    </a:lnTo>
                    <a:lnTo>
                      <a:pt x="181" y="85"/>
                    </a:lnTo>
                    <a:lnTo>
                      <a:pt x="182" y="87"/>
                    </a:lnTo>
                    <a:lnTo>
                      <a:pt x="181" y="90"/>
                    </a:lnTo>
                    <a:lnTo>
                      <a:pt x="178" y="90"/>
                    </a:lnTo>
                    <a:lnTo>
                      <a:pt x="176" y="88"/>
                    </a:lnTo>
                    <a:lnTo>
                      <a:pt x="176" y="88"/>
                    </a:lnTo>
                    <a:lnTo>
                      <a:pt x="175" y="85"/>
                    </a:lnTo>
                    <a:lnTo>
                      <a:pt x="173" y="84"/>
                    </a:lnTo>
                    <a:lnTo>
                      <a:pt x="172" y="84"/>
                    </a:lnTo>
                    <a:lnTo>
                      <a:pt x="171" y="84"/>
                    </a:lnTo>
                    <a:lnTo>
                      <a:pt x="171" y="84"/>
                    </a:lnTo>
                    <a:lnTo>
                      <a:pt x="166" y="88"/>
                    </a:lnTo>
                    <a:lnTo>
                      <a:pt x="165" y="91"/>
                    </a:lnTo>
                    <a:lnTo>
                      <a:pt x="162" y="91"/>
                    </a:lnTo>
                    <a:lnTo>
                      <a:pt x="162" y="91"/>
                    </a:lnTo>
                    <a:lnTo>
                      <a:pt x="161" y="93"/>
                    </a:lnTo>
                    <a:lnTo>
                      <a:pt x="158" y="95"/>
                    </a:lnTo>
                    <a:lnTo>
                      <a:pt x="156" y="98"/>
                    </a:lnTo>
                    <a:lnTo>
                      <a:pt x="156" y="102"/>
                    </a:lnTo>
                    <a:lnTo>
                      <a:pt x="156" y="102"/>
                    </a:lnTo>
                    <a:lnTo>
                      <a:pt x="155" y="105"/>
                    </a:lnTo>
                    <a:lnTo>
                      <a:pt x="154" y="105"/>
                    </a:lnTo>
                    <a:lnTo>
                      <a:pt x="151" y="105"/>
                    </a:lnTo>
                    <a:lnTo>
                      <a:pt x="151" y="108"/>
                    </a:lnTo>
                    <a:lnTo>
                      <a:pt x="151" y="108"/>
                    </a:lnTo>
                    <a:lnTo>
                      <a:pt x="148" y="112"/>
                    </a:lnTo>
                    <a:lnTo>
                      <a:pt x="145" y="117"/>
                    </a:lnTo>
                    <a:lnTo>
                      <a:pt x="135" y="128"/>
                    </a:lnTo>
                    <a:lnTo>
                      <a:pt x="135" y="128"/>
                    </a:lnTo>
                    <a:lnTo>
                      <a:pt x="132" y="132"/>
                    </a:lnTo>
                    <a:lnTo>
                      <a:pt x="132" y="135"/>
                    </a:lnTo>
                    <a:lnTo>
                      <a:pt x="134" y="137"/>
                    </a:lnTo>
                    <a:lnTo>
                      <a:pt x="132" y="139"/>
                    </a:lnTo>
                    <a:lnTo>
                      <a:pt x="132" y="139"/>
                    </a:lnTo>
                    <a:lnTo>
                      <a:pt x="131" y="142"/>
                    </a:lnTo>
                    <a:lnTo>
                      <a:pt x="127" y="142"/>
                    </a:lnTo>
                    <a:lnTo>
                      <a:pt x="122" y="141"/>
                    </a:lnTo>
                    <a:lnTo>
                      <a:pt x="121" y="142"/>
                    </a:lnTo>
                    <a:lnTo>
                      <a:pt x="121" y="142"/>
                    </a:lnTo>
                    <a:lnTo>
                      <a:pt x="119" y="145"/>
                    </a:lnTo>
                    <a:lnTo>
                      <a:pt x="119" y="149"/>
                    </a:lnTo>
                    <a:lnTo>
                      <a:pt x="119" y="154"/>
                    </a:lnTo>
                    <a:lnTo>
                      <a:pt x="118" y="157"/>
                    </a:lnTo>
                    <a:lnTo>
                      <a:pt x="118" y="157"/>
                    </a:lnTo>
                    <a:lnTo>
                      <a:pt x="117" y="159"/>
                    </a:lnTo>
                    <a:lnTo>
                      <a:pt x="117" y="162"/>
                    </a:lnTo>
                    <a:lnTo>
                      <a:pt x="118" y="168"/>
                    </a:lnTo>
                    <a:lnTo>
                      <a:pt x="118" y="168"/>
                    </a:lnTo>
                    <a:lnTo>
                      <a:pt x="118" y="168"/>
                    </a:lnTo>
                    <a:lnTo>
                      <a:pt x="117" y="169"/>
                    </a:lnTo>
                    <a:lnTo>
                      <a:pt x="114" y="168"/>
                    </a:lnTo>
                    <a:lnTo>
                      <a:pt x="109" y="168"/>
                    </a:lnTo>
                    <a:lnTo>
                      <a:pt x="108" y="168"/>
                    </a:lnTo>
                    <a:lnTo>
                      <a:pt x="108" y="169"/>
                    </a:lnTo>
                    <a:lnTo>
                      <a:pt x="108" y="169"/>
                    </a:lnTo>
                    <a:lnTo>
                      <a:pt x="107" y="171"/>
                    </a:lnTo>
                    <a:lnTo>
                      <a:pt x="104" y="172"/>
                    </a:lnTo>
                    <a:lnTo>
                      <a:pt x="97" y="172"/>
                    </a:lnTo>
                    <a:lnTo>
                      <a:pt x="97" y="172"/>
                    </a:lnTo>
                    <a:lnTo>
                      <a:pt x="97" y="174"/>
                    </a:lnTo>
                    <a:lnTo>
                      <a:pt x="100" y="176"/>
                    </a:lnTo>
                    <a:lnTo>
                      <a:pt x="107" y="182"/>
                    </a:lnTo>
                    <a:lnTo>
                      <a:pt x="107" y="182"/>
                    </a:lnTo>
                    <a:lnTo>
                      <a:pt x="107" y="184"/>
                    </a:lnTo>
                    <a:lnTo>
                      <a:pt x="107" y="185"/>
                    </a:lnTo>
                    <a:lnTo>
                      <a:pt x="105" y="186"/>
                    </a:lnTo>
                    <a:lnTo>
                      <a:pt x="102" y="186"/>
                    </a:lnTo>
                    <a:lnTo>
                      <a:pt x="101" y="185"/>
                    </a:lnTo>
                    <a:lnTo>
                      <a:pt x="101" y="185"/>
                    </a:lnTo>
                    <a:lnTo>
                      <a:pt x="101" y="184"/>
                    </a:lnTo>
                    <a:lnTo>
                      <a:pt x="100" y="184"/>
                    </a:lnTo>
                    <a:lnTo>
                      <a:pt x="97" y="185"/>
                    </a:lnTo>
                    <a:lnTo>
                      <a:pt x="87" y="191"/>
                    </a:lnTo>
                    <a:lnTo>
                      <a:pt x="87" y="191"/>
                    </a:lnTo>
                    <a:lnTo>
                      <a:pt x="82" y="194"/>
                    </a:lnTo>
                    <a:lnTo>
                      <a:pt x="81" y="196"/>
                    </a:lnTo>
                    <a:lnTo>
                      <a:pt x="80" y="199"/>
                    </a:lnTo>
                    <a:lnTo>
                      <a:pt x="77" y="201"/>
                    </a:lnTo>
                    <a:lnTo>
                      <a:pt x="77" y="201"/>
                    </a:lnTo>
                    <a:lnTo>
                      <a:pt x="75" y="201"/>
                    </a:lnTo>
                    <a:lnTo>
                      <a:pt x="74" y="202"/>
                    </a:lnTo>
                    <a:lnTo>
                      <a:pt x="72" y="205"/>
                    </a:lnTo>
                    <a:lnTo>
                      <a:pt x="71" y="209"/>
                    </a:lnTo>
                    <a:lnTo>
                      <a:pt x="70" y="212"/>
                    </a:lnTo>
                    <a:lnTo>
                      <a:pt x="70" y="212"/>
                    </a:lnTo>
                    <a:lnTo>
                      <a:pt x="68" y="213"/>
                    </a:lnTo>
                    <a:lnTo>
                      <a:pt x="67" y="213"/>
                    </a:lnTo>
                    <a:lnTo>
                      <a:pt x="65" y="211"/>
                    </a:lnTo>
                    <a:lnTo>
                      <a:pt x="64" y="208"/>
                    </a:lnTo>
                    <a:lnTo>
                      <a:pt x="63" y="206"/>
                    </a:lnTo>
                    <a:lnTo>
                      <a:pt x="60" y="206"/>
                    </a:lnTo>
                    <a:lnTo>
                      <a:pt x="60" y="206"/>
                    </a:lnTo>
                    <a:lnTo>
                      <a:pt x="57" y="206"/>
                    </a:lnTo>
                    <a:lnTo>
                      <a:pt x="55" y="208"/>
                    </a:lnTo>
                    <a:lnTo>
                      <a:pt x="57" y="211"/>
                    </a:lnTo>
                    <a:lnTo>
                      <a:pt x="58" y="215"/>
                    </a:lnTo>
                    <a:lnTo>
                      <a:pt x="58" y="215"/>
                    </a:lnTo>
                    <a:lnTo>
                      <a:pt x="58" y="218"/>
                    </a:lnTo>
                    <a:lnTo>
                      <a:pt x="57" y="218"/>
                    </a:lnTo>
                    <a:lnTo>
                      <a:pt x="53" y="218"/>
                    </a:lnTo>
                    <a:lnTo>
                      <a:pt x="50" y="221"/>
                    </a:lnTo>
                    <a:lnTo>
                      <a:pt x="50" y="221"/>
                    </a:lnTo>
                    <a:lnTo>
                      <a:pt x="45" y="222"/>
                    </a:lnTo>
                    <a:lnTo>
                      <a:pt x="41" y="223"/>
                    </a:lnTo>
                    <a:lnTo>
                      <a:pt x="37" y="223"/>
                    </a:lnTo>
                    <a:lnTo>
                      <a:pt x="34" y="226"/>
                    </a:lnTo>
                    <a:lnTo>
                      <a:pt x="34" y="226"/>
                    </a:lnTo>
                    <a:lnTo>
                      <a:pt x="34" y="228"/>
                    </a:lnTo>
                    <a:lnTo>
                      <a:pt x="34" y="228"/>
                    </a:lnTo>
                    <a:lnTo>
                      <a:pt x="37" y="229"/>
                    </a:lnTo>
                    <a:lnTo>
                      <a:pt x="40" y="230"/>
                    </a:lnTo>
                    <a:lnTo>
                      <a:pt x="43" y="232"/>
                    </a:lnTo>
                    <a:lnTo>
                      <a:pt x="43" y="232"/>
                    </a:lnTo>
                    <a:lnTo>
                      <a:pt x="43" y="233"/>
                    </a:lnTo>
                    <a:lnTo>
                      <a:pt x="41" y="233"/>
                    </a:lnTo>
                    <a:lnTo>
                      <a:pt x="38" y="233"/>
                    </a:lnTo>
                    <a:lnTo>
                      <a:pt x="28" y="232"/>
                    </a:lnTo>
                    <a:lnTo>
                      <a:pt x="28" y="232"/>
                    </a:lnTo>
                    <a:lnTo>
                      <a:pt x="26" y="233"/>
                    </a:lnTo>
                    <a:lnTo>
                      <a:pt x="24" y="235"/>
                    </a:lnTo>
                    <a:lnTo>
                      <a:pt x="23" y="238"/>
                    </a:lnTo>
                    <a:lnTo>
                      <a:pt x="20" y="238"/>
                    </a:lnTo>
                    <a:lnTo>
                      <a:pt x="20" y="238"/>
                    </a:lnTo>
                    <a:lnTo>
                      <a:pt x="17" y="239"/>
                    </a:lnTo>
                    <a:lnTo>
                      <a:pt x="14" y="240"/>
                    </a:lnTo>
                    <a:lnTo>
                      <a:pt x="13" y="243"/>
                    </a:lnTo>
                    <a:lnTo>
                      <a:pt x="13" y="246"/>
                    </a:lnTo>
                    <a:lnTo>
                      <a:pt x="13" y="246"/>
                    </a:lnTo>
                    <a:lnTo>
                      <a:pt x="14" y="248"/>
                    </a:lnTo>
                    <a:lnTo>
                      <a:pt x="13" y="249"/>
                    </a:lnTo>
                    <a:lnTo>
                      <a:pt x="10" y="249"/>
                    </a:lnTo>
                    <a:lnTo>
                      <a:pt x="7" y="248"/>
                    </a:lnTo>
                    <a:lnTo>
                      <a:pt x="7" y="248"/>
                    </a:lnTo>
                    <a:lnTo>
                      <a:pt x="4" y="246"/>
                    </a:lnTo>
                    <a:lnTo>
                      <a:pt x="3" y="249"/>
                    </a:lnTo>
                    <a:lnTo>
                      <a:pt x="0" y="255"/>
                    </a:lnTo>
                    <a:lnTo>
                      <a:pt x="0" y="255"/>
                    </a:lnTo>
                    <a:lnTo>
                      <a:pt x="0" y="258"/>
                    </a:lnTo>
                    <a:lnTo>
                      <a:pt x="3" y="259"/>
                    </a:lnTo>
                    <a:lnTo>
                      <a:pt x="4" y="260"/>
                    </a:lnTo>
                    <a:lnTo>
                      <a:pt x="6" y="262"/>
                    </a:lnTo>
                    <a:lnTo>
                      <a:pt x="6" y="262"/>
                    </a:lnTo>
                    <a:lnTo>
                      <a:pt x="3" y="266"/>
                    </a:lnTo>
                    <a:lnTo>
                      <a:pt x="3" y="267"/>
                    </a:lnTo>
                    <a:lnTo>
                      <a:pt x="4" y="269"/>
                    </a:lnTo>
                    <a:lnTo>
                      <a:pt x="4" y="269"/>
                    </a:lnTo>
                    <a:lnTo>
                      <a:pt x="6" y="269"/>
                    </a:lnTo>
                    <a:lnTo>
                      <a:pt x="6" y="272"/>
                    </a:lnTo>
                    <a:lnTo>
                      <a:pt x="3" y="275"/>
                    </a:lnTo>
                    <a:lnTo>
                      <a:pt x="3" y="275"/>
                    </a:lnTo>
                    <a:lnTo>
                      <a:pt x="1" y="276"/>
                    </a:lnTo>
                    <a:lnTo>
                      <a:pt x="0" y="277"/>
                    </a:lnTo>
                    <a:lnTo>
                      <a:pt x="3" y="282"/>
                    </a:lnTo>
                    <a:lnTo>
                      <a:pt x="3" y="282"/>
                    </a:lnTo>
                    <a:lnTo>
                      <a:pt x="3" y="285"/>
                    </a:lnTo>
                    <a:lnTo>
                      <a:pt x="1" y="286"/>
                    </a:lnTo>
                    <a:lnTo>
                      <a:pt x="0" y="289"/>
                    </a:lnTo>
                    <a:lnTo>
                      <a:pt x="1" y="292"/>
                    </a:lnTo>
                    <a:lnTo>
                      <a:pt x="1" y="292"/>
                    </a:lnTo>
                    <a:lnTo>
                      <a:pt x="4" y="293"/>
                    </a:lnTo>
                    <a:lnTo>
                      <a:pt x="6" y="293"/>
                    </a:lnTo>
                    <a:lnTo>
                      <a:pt x="8" y="293"/>
                    </a:lnTo>
                    <a:lnTo>
                      <a:pt x="10" y="295"/>
                    </a:lnTo>
                    <a:lnTo>
                      <a:pt x="10" y="295"/>
                    </a:lnTo>
                    <a:lnTo>
                      <a:pt x="11" y="296"/>
                    </a:lnTo>
                    <a:lnTo>
                      <a:pt x="14" y="296"/>
                    </a:lnTo>
                    <a:lnTo>
                      <a:pt x="21" y="290"/>
                    </a:lnTo>
                    <a:lnTo>
                      <a:pt x="21" y="290"/>
                    </a:lnTo>
                    <a:lnTo>
                      <a:pt x="23" y="289"/>
                    </a:lnTo>
                    <a:lnTo>
                      <a:pt x="24" y="289"/>
                    </a:lnTo>
                    <a:lnTo>
                      <a:pt x="26" y="290"/>
                    </a:lnTo>
                    <a:lnTo>
                      <a:pt x="26" y="293"/>
                    </a:lnTo>
                    <a:lnTo>
                      <a:pt x="26" y="295"/>
                    </a:lnTo>
                    <a:lnTo>
                      <a:pt x="24" y="295"/>
                    </a:lnTo>
                    <a:lnTo>
                      <a:pt x="24" y="295"/>
                    </a:lnTo>
                    <a:lnTo>
                      <a:pt x="20" y="295"/>
                    </a:lnTo>
                    <a:lnTo>
                      <a:pt x="17" y="296"/>
                    </a:lnTo>
                    <a:lnTo>
                      <a:pt x="16" y="299"/>
                    </a:lnTo>
                    <a:lnTo>
                      <a:pt x="16" y="302"/>
                    </a:lnTo>
                    <a:lnTo>
                      <a:pt x="16" y="302"/>
                    </a:lnTo>
                    <a:lnTo>
                      <a:pt x="14" y="304"/>
                    </a:lnTo>
                    <a:lnTo>
                      <a:pt x="13" y="304"/>
                    </a:lnTo>
                    <a:lnTo>
                      <a:pt x="10" y="303"/>
                    </a:lnTo>
                    <a:lnTo>
                      <a:pt x="8" y="300"/>
                    </a:lnTo>
                    <a:lnTo>
                      <a:pt x="8" y="300"/>
                    </a:lnTo>
                    <a:lnTo>
                      <a:pt x="8" y="299"/>
                    </a:lnTo>
                    <a:lnTo>
                      <a:pt x="7" y="297"/>
                    </a:lnTo>
                    <a:lnTo>
                      <a:pt x="6" y="299"/>
                    </a:lnTo>
                    <a:lnTo>
                      <a:pt x="3" y="302"/>
                    </a:lnTo>
                    <a:lnTo>
                      <a:pt x="3" y="303"/>
                    </a:lnTo>
                    <a:lnTo>
                      <a:pt x="4" y="304"/>
                    </a:lnTo>
                    <a:lnTo>
                      <a:pt x="4" y="304"/>
                    </a:lnTo>
                    <a:lnTo>
                      <a:pt x="4" y="307"/>
                    </a:lnTo>
                    <a:lnTo>
                      <a:pt x="4" y="309"/>
                    </a:lnTo>
                    <a:lnTo>
                      <a:pt x="3" y="312"/>
                    </a:lnTo>
                    <a:lnTo>
                      <a:pt x="3" y="314"/>
                    </a:lnTo>
                    <a:lnTo>
                      <a:pt x="3" y="314"/>
                    </a:lnTo>
                    <a:lnTo>
                      <a:pt x="3" y="316"/>
                    </a:lnTo>
                    <a:lnTo>
                      <a:pt x="6" y="316"/>
                    </a:lnTo>
                    <a:lnTo>
                      <a:pt x="8" y="316"/>
                    </a:lnTo>
                    <a:lnTo>
                      <a:pt x="11" y="313"/>
                    </a:lnTo>
                    <a:lnTo>
                      <a:pt x="11" y="313"/>
                    </a:lnTo>
                    <a:lnTo>
                      <a:pt x="14" y="310"/>
                    </a:lnTo>
                    <a:lnTo>
                      <a:pt x="16" y="310"/>
                    </a:lnTo>
                    <a:lnTo>
                      <a:pt x="18" y="312"/>
                    </a:lnTo>
                    <a:lnTo>
                      <a:pt x="20" y="314"/>
                    </a:lnTo>
                    <a:lnTo>
                      <a:pt x="20" y="314"/>
                    </a:lnTo>
                    <a:lnTo>
                      <a:pt x="20" y="316"/>
                    </a:lnTo>
                    <a:lnTo>
                      <a:pt x="18" y="316"/>
                    </a:lnTo>
                    <a:lnTo>
                      <a:pt x="17" y="317"/>
                    </a:lnTo>
                    <a:lnTo>
                      <a:pt x="16" y="320"/>
                    </a:lnTo>
                    <a:lnTo>
                      <a:pt x="16" y="320"/>
                    </a:lnTo>
                    <a:lnTo>
                      <a:pt x="16" y="323"/>
                    </a:lnTo>
                    <a:lnTo>
                      <a:pt x="14" y="323"/>
                    </a:lnTo>
                    <a:lnTo>
                      <a:pt x="11" y="323"/>
                    </a:lnTo>
                    <a:lnTo>
                      <a:pt x="10" y="326"/>
                    </a:lnTo>
                    <a:lnTo>
                      <a:pt x="10" y="326"/>
                    </a:lnTo>
                    <a:lnTo>
                      <a:pt x="8" y="327"/>
                    </a:lnTo>
                    <a:lnTo>
                      <a:pt x="10" y="329"/>
                    </a:lnTo>
                    <a:lnTo>
                      <a:pt x="14" y="333"/>
                    </a:lnTo>
                    <a:lnTo>
                      <a:pt x="21" y="337"/>
                    </a:lnTo>
                    <a:lnTo>
                      <a:pt x="26" y="339"/>
                    </a:lnTo>
                    <a:lnTo>
                      <a:pt x="26" y="339"/>
                    </a:lnTo>
                    <a:lnTo>
                      <a:pt x="34" y="341"/>
                    </a:lnTo>
                    <a:lnTo>
                      <a:pt x="38" y="343"/>
                    </a:lnTo>
                    <a:lnTo>
                      <a:pt x="45" y="343"/>
                    </a:lnTo>
                    <a:lnTo>
                      <a:pt x="45" y="343"/>
                    </a:lnTo>
                    <a:lnTo>
                      <a:pt x="48" y="343"/>
                    </a:lnTo>
                    <a:lnTo>
                      <a:pt x="53" y="340"/>
                    </a:lnTo>
                    <a:lnTo>
                      <a:pt x="63" y="333"/>
                    </a:lnTo>
                    <a:lnTo>
                      <a:pt x="75" y="322"/>
                    </a:lnTo>
                    <a:lnTo>
                      <a:pt x="75" y="322"/>
                    </a:lnTo>
                    <a:lnTo>
                      <a:pt x="77" y="320"/>
                    </a:lnTo>
                    <a:lnTo>
                      <a:pt x="80" y="320"/>
                    </a:lnTo>
                    <a:lnTo>
                      <a:pt x="82" y="320"/>
                    </a:lnTo>
                    <a:lnTo>
                      <a:pt x="85" y="319"/>
                    </a:lnTo>
                    <a:lnTo>
                      <a:pt x="85" y="319"/>
                    </a:lnTo>
                    <a:lnTo>
                      <a:pt x="88" y="316"/>
                    </a:lnTo>
                    <a:lnTo>
                      <a:pt x="88" y="313"/>
                    </a:lnTo>
                    <a:lnTo>
                      <a:pt x="88" y="310"/>
                    </a:lnTo>
                    <a:lnTo>
                      <a:pt x="90" y="307"/>
                    </a:lnTo>
                    <a:lnTo>
                      <a:pt x="90" y="307"/>
                    </a:lnTo>
                    <a:lnTo>
                      <a:pt x="91" y="309"/>
                    </a:lnTo>
                    <a:lnTo>
                      <a:pt x="92" y="312"/>
                    </a:lnTo>
                    <a:lnTo>
                      <a:pt x="95" y="314"/>
                    </a:lnTo>
                    <a:lnTo>
                      <a:pt x="97" y="316"/>
                    </a:lnTo>
                    <a:lnTo>
                      <a:pt x="97" y="316"/>
                    </a:lnTo>
                    <a:lnTo>
                      <a:pt x="100" y="319"/>
                    </a:lnTo>
                    <a:lnTo>
                      <a:pt x="100" y="323"/>
                    </a:lnTo>
                    <a:lnTo>
                      <a:pt x="100" y="323"/>
                    </a:lnTo>
                    <a:lnTo>
                      <a:pt x="102" y="323"/>
                    </a:lnTo>
                    <a:lnTo>
                      <a:pt x="105" y="324"/>
                    </a:lnTo>
                    <a:lnTo>
                      <a:pt x="105" y="324"/>
                    </a:lnTo>
                    <a:lnTo>
                      <a:pt x="107" y="324"/>
                    </a:lnTo>
                    <a:lnTo>
                      <a:pt x="107" y="324"/>
                    </a:lnTo>
                    <a:lnTo>
                      <a:pt x="108" y="322"/>
                    </a:lnTo>
                    <a:lnTo>
                      <a:pt x="109" y="313"/>
                    </a:lnTo>
                    <a:lnTo>
                      <a:pt x="109" y="313"/>
                    </a:lnTo>
                    <a:lnTo>
                      <a:pt x="111" y="307"/>
                    </a:lnTo>
                    <a:lnTo>
                      <a:pt x="111" y="304"/>
                    </a:lnTo>
                    <a:lnTo>
                      <a:pt x="111" y="300"/>
                    </a:lnTo>
                    <a:lnTo>
                      <a:pt x="111" y="300"/>
                    </a:lnTo>
                    <a:lnTo>
                      <a:pt x="111" y="299"/>
                    </a:lnTo>
                    <a:lnTo>
                      <a:pt x="112" y="299"/>
                    </a:lnTo>
                    <a:lnTo>
                      <a:pt x="115" y="299"/>
                    </a:lnTo>
                    <a:lnTo>
                      <a:pt x="119" y="299"/>
                    </a:lnTo>
                    <a:lnTo>
                      <a:pt x="122" y="297"/>
                    </a:lnTo>
                    <a:lnTo>
                      <a:pt x="122" y="297"/>
                    </a:lnTo>
                    <a:lnTo>
                      <a:pt x="124" y="289"/>
                    </a:lnTo>
                    <a:lnTo>
                      <a:pt x="122" y="285"/>
                    </a:lnTo>
                    <a:lnTo>
                      <a:pt x="121" y="282"/>
                    </a:lnTo>
                    <a:lnTo>
                      <a:pt x="121" y="282"/>
                    </a:lnTo>
                    <a:lnTo>
                      <a:pt x="119" y="280"/>
                    </a:lnTo>
                    <a:lnTo>
                      <a:pt x="118" y="277"/>
                    </a:lnTo>
                    <a:lnTo>
                      <a:pt x="118" y="275"/>
                    </a:lnTo>
                    <a:lnTo>
                      <a:pt x="121" y="275"/>
                    </a:lnTo>
                    <a:lnTo>
                      <a:pt x="121" y="275"/>
                    </a:lnTo>
                    <a:lnTo>
                      <a:pt x="122" y="273"/>
                    </a:lnTo>
                    <a:lnTo>
                      <a:pt x="125" y="272"/>
                    </a:lnTo>
                    <a:lnTo>
                      <a:pt x="127" y="269"/>
                    </a:lnTo>
                    <a:lnTo>
                      <a:pt x="127" y="266"/>
                    </a:lnTo>
                    <a:lnTo>
                      <a:pt x="127" y="266"/>
                    </a:lnTo>
                    <a:lnTo>
                      <a:pt x="125" y="262"/>
                    </a:lnTo>
                    <a:lnTo>
                      <a:pt x="121" y="260"/>
                    </a:lnTo>
                    <a:lnTo>
                      <a:pt x="118" y="258"/>
                    </a:lnTo>
                    <a:lnTo>
                      <a:pt x="115" y="255"/>
                    </a:lnTo>
                    <a:lnTo>
                      <a:pt x="115" y="255"/>
                    </a:lnTo>
                    <a:lnTo>
                      <a:pt x="117" y="250"/>
                    </a:lnTo>
                    <a:lnTo>
                      <a:pt x="117" y="248"/>
                    </a:lnTo>
                    <a:lnTo>
                      <a:pt x="118" y="243"/>
                    </a:lnTo>
                    <a:lnTo>
                      <a:pt x="117" y="239"/>
                    </a:lnTo>
                    <a:lnTo>
                      <a:pt x="117" y="239"/>
                    </a:lnTo>
                    <a:lnTo>
                      <a:pt x="115" y="233"/>
                    </a:lnTo>
                    <a:lnTo>
                      <a:pt x="115" y="229"/>
                    </a:lnTo>
                    <a:lnTo>
                      <a:pt x="117" y="226"/>
                    </a:lnTo>
                    <a:lnTo>
                      <a:pt x="117" y="223"/>
                    </a:lnTo>
                    <a:lnTo>
                      <a:pt x="117" y="223"/>
                    </a:lnTo>
                    <a:lnTo>
                      <a:pt x="115" y="221"/>
                    </a:lnTo>
                    <a:lnTo>
                      <a:pt x="115" y="216"/>
                    </a:lnTo>
                    <a:lnTo>
                      <a:pt x="115" y="212"/>
                    </a:lnTo>
                    <a:lnTo>
                      <a:pt x="118" y="206"/>
                    </a:lnTo>
                    <a:lnTo>
                      <a:pt x="118" y="206"/>
                    </a:lnTo>
                    <a:lnTo>
                      <a:pt x="122" y="202"/>
                    </a:lnTo>
                    <a:lnTo>
                      <a:pt x="127" y="198"/>
                    </a:lnTo>
                    <a:lnTo>
                      <a:pt x="131" y="196"/>
                    </a:lnTo>
                    <a:lnTo>
                      <a:pt x="134" y="196"/>
                    </a:lnTo>
                    <a:lnTo>
                      <a:pt x="134" y="196"/>
                    </a:lnTo>
                    <a:lnTo>
                      <a:pt x="139" y="198"/>
                    </a:lnTo>
                    <a:lnTo>
                      <a:pt x="142" y="198"/>
                    </a:lnTo>
                    <a:lnTo>
                      <a:pt x="145" y="195"/>
                    </a:lnTo>
                    <a:lnTo>
                      <a:pt x="145" y="195"/>
                    </a:lnTo>
                    <a:lnTo>
                      <a:pt x="146" y="189"/>
                    </a:lnTo>
                    <a:lnTo>
                      <a:pt x="146" y="188"/>
                    </a:lnTo>
                    <a:lnTo>
                      <a:pt x="145" y="186"/>
                    </a:lnTo>
                    <a:lnTo>
                      <a:pt x="145" y="186"/>
                    </a:lnTo>
                    <a:lnTo>
                      <a:pt x="142" y="185"/>
                    </a:lnTo>
                    <a:lnTo>
                      <a:pt x="141" y="184"/>
                    </a:lnTo>
                    <a:lnTo>
                      <a:pt x="139" y="182"/>
                    </a:lnTo>
                    <a:lnTo>
                      <a:pt x="141" y="178"/>
                    </a:lnTo>
                    <a:lnTo>
                      <a:pt x="141" y="178"/>
                    </a:lnTo>
                    <a:lnTo>
                      <a:pt x="148" y="168"/>
                    </a:lnTo>
                    <a:lnTo>
                      <a:pt x="151" y="162"/>
                    </a:lnTo>
                    <a:lnTo>
                      <a:pt x="152" y="158"/>
                    </a:lnTo>
                    <a:lnTo>
                      <a:pt x="152" y="158"/>
                    </a:lnTo>
                    <a:lnTo>
                      <a:pt x="151" y="148"/>
                    </a:lnTo>
                    <a:lnTo>
                      <a:pt x="151" y="145"/>
                    </a:lnTo>
                    <a:lnTo>
                      <a:pt x="152" y="142"/>
                    </a:lnTo>
                    <a:lnTo>
                      <a:pt x="152" y="142"/>
                    </a:lnTo>
                    <a:lnTo>
                      <a:pt x="155" y="142"/>
                    </a:lnTo>
                    <a:lnTo>
                      <a:pt x="158" y="142"/>
                    </a:lnTo>
                    <a:lnTo>
                      <a:pt x="161" y="141"/>
                    </a:lnTo>
                    <a:lnTo>
                      <a:pt x="165" y="139"/>
                    </a:lnTo>
                    <a:lnTo>
                      <a:pt x="165" y="139"/>
                    </a:lnTo>
                    <a:lnTo>
                      <a:pt x="166" y="138"/>
                    </a:lnTo>
                    <a:lnTo>
                      <a:pt x="166" y="135"/>
                    </a:lnTo>
                    <a:lnTo>
                      <a:pt x="166" y="132"/>
                    </a:lnTo>
                    <a:lnTo>
                      <a:pt x="168" y="131"/>
                    </a:lnTo>
                    <a:lnTo>
                      <a:pt x="168" y="131"/>
                    </a:lnTo>
                    <a:lnTo>
                      <a:pt x="172" y="125"/>
                    </a:lnTo>
                    <a:lnTo>
                      <a:pt x="176" y="118"/>
                    </a:lnTo>
                    <a:lnTo>
                      <a:pt x="176" y="118"/>
                    </a:lnTo>
                    <a:lnTo>
                      <a:pt x="179" y="115"/>
                    </a:lnTo>
                    <a:lnTo>
                      <a:pt x="181" y="112"/>
                    </a:lnTo>
                    <a:lnTo>
                      <a:pt x="179" y="110"/>
                    </a:lnTo>
                    <a:lnTo>
                      <a:pt x="179" y="110"/>
                    </a:lnTo>
                    <a:lnTo>
                      <a:pt x="179" y="108"/>
                    </a:lnTo>
                    <a:lnTo>
                      <a:pt x="181" y="105"/>
                    </a:lnTo>
                    <a:lnTo>
                      <a:pt x="183" y="102"/>
                    </a:lnTo>
                    <a:lnTo>
                      <a:pt x="185" y="98"/>
                    </a:lnTo>
                    <a:lnTo>
                      <a:pt x="185" y="98"/>
                    </a:lnTo>
                    <a:lnTo>
                      <a:pt x="185" y="95"/>
                    </a:lnTo>
                    <a:lnTo>
                      <a:pt x="189" y="93"/>
                    </a:lnTo>
                    <a:lnTo>
                      <a:pt x="192" y="90"/>
                    </a:lnTo>
                    <a:lnTo>
                      <a:pt x="196" y="90"/>
                    </a:lnTo>
                    <a:lnTo>
                      <a:pt x="196" y="90"/>
                    </a:lnTo>
                    <a:lnTo>
                      <a:pt x="205" y="90"/>
                    </a:lnTo>
                    <a:lnTo>
                      <a:pt x="208" y="88"/>
                    </a:lnTo>
                    <a:lnTo>
                      <a:pt x="209" y="85"/>
                    </a:lnTo>
                    <a:lnTo>
                      <a:pt x="209" y="85"/>
                    </a:lnTo>
                    <a:lnTo>
                      <a:pt x="208" y="77"/>
                    </a:lnTo>
                    <a:lnTo>
                      <a:pt x="209" y="74"/>
                    </a:lnTo>
                    <a:lnTo>
                      <a:pt x="210" y="73"/>
                    </a:lnTo>
                    <a:lnTo>
                      <a:pt x="212" y="74"/>
                    </a:lnTo>
                    <a:lnTo>
                      <a:pt x="212" y="74"/>
                    </a:lnTo>
                    <a:lnTo>
                      <a:pt x="218" y="75"/>
                    </a:lnTo>
                    <a:lnTo>
                      <a:pt x="222" y="75"/>
                    </a:lnTo>
                    <a:lnTo>
                      <a:pt x="226" y="75"/>
                    </a:lnTo>
                    <a:lnTo>
                      <a:pt x="229" y="77"/>
                    </a:lnTo>
                    <a:lnTo>
                      <a:pt x="229" y="77"/>
                    </a:lnTo>
                    <a:lnTo>
                      <a:pt x="233" y="78"/>
                    </a:lnTo>
                    <a:lnTo>
                      <a:pt x="236" y="78"/>
                    </a:lnTo>
                    <a:lnTo>
                      <a:pt x="239" y="77"/>
                    </a:lnTo>
                    <a:lnTo>
                      <a:pt x="240" y="74"/>
                    </a:lnTo>
                    <a:lnTo>
                      <a:pt x="240" y="74"/>
                    </a:lnTo>
                    <a:lnTo>
                      <a:pt x="240" y="68"/>
                    </a:lnTo>
                    <a:lnTo>
                      <a:pt x="242" y="64"/>
                    </a:lnTo>
                    <a:lnTo>
                      <a:pt x="245" y="61"/>
                    </a:lnTo>
                    <a:lnTo>
                      <a:pt x="246" y="61"/>
                    </a:lnTo>
                    <a:lnTo>
                      <a:pt x="249" y="61"/>
                    </a:lnTo>
                    <a:lnTo>
                      <a:pt x="249" y="61"/>
                    </a:lnTo>
                    <a:lnTo>
                      <a:pt x="250" y="63"/>
                    </a:lnTo>
                    <a:lnTo>
                      <a:pt x="250" y="63"/>
                    </a:lnTo>
                    <a:lnTo>
                      <a:pt x="253" y="58"/>
                    </a:lnTo>
                    <a:lnTo>
                      <a:pt x="255" y="57"/>
                    </a:lnTo>
                    <a:lnTo>
                      <a:pt x="259" y="54"/>
                    </a:lnTo>
                    <a:lnTo>
                      <a:pt x="262" y="54"/>
                    </a:lnTo>
                    <a:lnTo>
                      <a:pt x="262" y="54"/>
                    </a:lnTo>
                    <a:lnTo>
                      <a:pt x="266" y="57"/>
                    </a:lnTo>
                    <a:lnTo>
                      <a:pt x="269" y="61"/>
                    </a:lnTo>
                    <a:lnTo>
                      <a:pt x="273" y="65"/>
                    </a:lnTo>
                    <a:lnTo>
                      <a:pt x="279" y="67"/>
                    </a:lnTo>
                    <a:lnTo>
                      <a:pt x="279" y="67"/>
                    </a:lnTo>
                    <a:lnTo>
                      <a:pt x="290" y="70"/>
                    </a:lnTo>
                    <a:lnTo>
                      <a:pt x="293" y="70"/>
                    </a:lnTo>
                    <a:lnTo>
                      <a:pt x="296" y="68"/>
                    </a:lnTo>
                    <a:lnTo>
                      <a:pt x="296" y="68"/>
                    </a:lnTo>
                    <a:lnTo>
                      <a:pt x="299" y="67"/>
                    </a:lnTo>
                    <a:lnTo>
                      <a:pt x="302" y="68"/>
                    </a:lnTo>
                    <a:lnTo>
                      <a:pt x="304" y="68"/>
                    </a:lnTo>
                    <a:lnTo>
                      <a:pt x="309" y="68"/>
                    </a:lnTo>
                    <a:lnTo>
                      <a:pt x="309" y="68"/>
                    </a:lnTo>
                    <a:lnTo>
                      <a:pt x="310" y="68"/>
                    </a:lnTo>
                    <a:lnTo>
                      <a:pt x="311" y="70"/>
                    </a:lnTo>
                    <a:lnTo>
                      <a:pt x="313" y="71"/>
                    </a:lnTo>
                    <a:lnTo>
                      <a:pt x="314" y="73"/>
                    </a:lnTo>
                    <a:lnTo>
                      <a:pt x="317" y="71"/>
                    </a:lnTo>
                    <a:lnTo>
                      <a:pt x="317" y="71"/>
                    </a:lnTo>
                    <a:lnTo>
                      <a:pt x="320" y="67"/>
                    </a:lnTo>
                    <a:lnTo>
                      <a:pt x="320" y="64"/>
                    </a:lnTo>
                    <a:lnTo>
                      <a:pt x="321" y="63"/>
                    </a:lnTo>
                    <a:lnTo>
                      <a:pt x="324" y="63"/>
                    </a:lnTo>
                    <a:lnTo>
                      <a:pt x="324" y="63"/>
                    </a:lnTo>
                    <a:lnTo>
                      <a:pt x="327" y="63"/>
                    </a:lnTo>
                    <a:lnTo>
                      <a:pt x="329" y="61"/>
                    </a:lnTo>
                    <a:lnTo>
                      <a:pt x="329" y="57"/>
                    </a:lnTo>
                    <a:lnTo>
                      <a:pt x="327" y="48"/>
                    </a:lnTo>
                    <a:lnTo>
                      <a:pt x="327" y="48"/>
                    </a:lnTo>
                    <a:lnTo>
                      <a:pt x="329" y="47"/>
                    </a:lnTo>
                    <a:lnTo>
                      <a:pt x="329" y="46"/>
                    </a:lnTo>
                    <a:lnTo>
                      <a:pt x="333" y="43"/>
                    </a:lnTo>
                    <a:lnTo>
                      <a:pt x="336" y="41"/>
                    </a:lnTo>
                    <a:lnTo>
                      <a:pt x="337" y="38"/>
                    </a:lnTo>
                    <a:lnTo>
                      <a:pt x="337" y="38"/>
                    </a:lnTo>
                    <a:lnTo>
                      <a:pt x="339" y="37"/>
                    </a:lnTo>
                    <a:lnTo>
                      <a:pt x="340" y="36"/>
                    </a:lnTo>
                    <a:lnTo>
                      <a:pt x="344" y="36"/>
                    </a:lnTo>
                    <a:lnTo>
                      <a:pt x="350" y="36"/>
                    </a:lnTo>
                    <a:lnTo>
                      <a:pt x="353" y="34"/>
                    </a:lnTo>
                    <a:lnTo>
                      <a:pt x="353" y="34"/>
                    </a:lnTo>
                    <a:lnTo>
                      <a:pt x="356" y="31"/>
                    </a:lnTo>
                    <a:lnTo>
                      <a:pt x="360" y="31"/>
                    </a:lnTo>
                    <a:lnTo>
                      <a:pt x="363" y="31"/>
                    </a:lnTo>
                    <a:lnTo>
                      <a:pt x="367" y="34"/>
                    </a:lnTo>
                    <a:lnTo>
                      <a:pt x="367" y="34"/>
                    </a:lnTo>
                    <a:lnTo>
                      <a:pt x="370" y="37"/>
                    </a:lnTo>
                    <a:lnTo>
                      <a:pt x="375" y="40"/>
                    </a:lnTo>
                    <a:lnTo>
                      <a:pt x="381" y="43"/>
                    </a:lnTo>
                    <a:lnTo>
                      <a:pt x="383" y="44"/>
                    </a:lnTo>
                    <a:lnTo>
                      <a:pt x="383" y="46"/>
                    </a:lnTo>
                    <a:lnTo>
                      <a:pt x="383" y="46"/>
                    </a:lnTo>
                    <a:lnTo>
                      <a:pt x="383" y="54"/>
                    </a:lnTo>
                    <a:lnTo>
                      <a:pt x="383" y="54"/>
                    </a:lnTo>
                    <a:lnTo>
                      <a:pt x="387" y="51"/>
                    </a:lnTo>
                    <a:lnTo>
                      <a:pt x="391" y="51"/>
                    </a:lnTo>
                    <a:lnTo>
                      <a:pt x="391" y="51"/>
                    </a:lnTo>
                    <a:lnTo>
                      <a:pt x="394" y="50"/>
                    </a:lnTo>
                    <a:lnTo>
                      <a:pt x="397" y="47"/>
                    </a:lnTo>
                    <a:lnTo>
                      <a:pt x="401" y="46"/>
                    </a:lnTo>
                    <a:lnTo>
                      <a:pt x="404" y="44"/>
                    </a:lnTo>
                    <a:lnTo>
                      <a:pt x="404" y="44"/>
                    </a:lnTo>
                    <a:lnTo>
                      <a:pt x="407" y="44"/>
                    </a:lnTo>
                    <a:lnTo>
                      <a:pt x="408" y="44"/>
                    </a:lnTo>
                    <a:lnTo>
                      <a:pt x="411" y="43"/>
                    </a:lnTo>
                    <a:lnTo>
                      <a:pt x="412" y="38"/>
                    </a:lnTo>
                    <a:lnTo>
                      <a:pt x="412" y="38"/>
                    </a:lnTo>
                    <a:lnTo>
                      <a:pt x="408" y="37"/>
                    </a:lnTo>
                    <a:lnTo>
                      <a:pt x="405" y="37"/>
                    </a:lnTo>
                    <a:lnTo>
                      <a:pt x="401" y="37"/>
                    </a:lnTo>
                    <a:lnTo>
                      <a:pt x="400" y="40"/>
                    </a:lnTo>
                    <a:lnTo>
                      <a:pt x="400" y="4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34" name="Turkmenistan">
                <a:extLst>
                  <a:ext uri="{FF2B5EF4-FFF2-40B4-BE49-F238E27FC236}">
                    <a16:creationId xmlns:a16="http://schemas.microsoft.com/office/drawing/2014/main" id="{8030EB07-4804-EF70-AF31-1BAEB3CD8F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9374" y="3225058"/>
                <a:ext cx="334431" cy="211609"/>
              </a:xfrm>
              <a:custGeom>
                <a:avLst/>
                <a:gdLst/>
                <a:ahLst/>
                <a:cxnLst>
                  <a:cxn ang="0">
                    <a:pos x="214" y="86"/>
                  </a:cxn>
                  <a:cxn ang="0">
                    <a:pos x="203" y="81"/>
                  </a:cxn>
                  <a:cxn ang="0">
                    <a:pos x="183" y="70"/>
                  </a:cxn>
                  <a:cxn ang="0">
                    <a:pos x="172" y="60"/>
                  </a:cxn>
                  <a:cxn ang="0">
                    <a:pos x="159" y="52"/>
                  </a:cxn>
                  <a:cxn ang="0">
                    <a:pos x="149" y="32"/>
                  </a:cxn>
                  <a:cxn ang="0">
                    <a:pos x="132" y="27"/>
                  </a:cxn>
                  <a:cxn ang="0">
                    <a:pos x="122" y="26"/>
                  </a:cxn>
                  <a:cxn ang="0">
                    <a:pos x="116" y="9"/>
                  </a:cxn>
                  <a:cxn ang="0">
                    <a:pos x="103" y="5"/>
                  </a:cxn>
                  <a:cxn ang="0">
                    <a:pos x="92" y="2"/>
                  </a:cxn>
                  <a:cxn ang="0">
                    <a:pos x="85" y="6"/>
                  </a:cxn>
                  <a:cxn ang="0">
                    <a:pos x="81" y="10"/>
                  </a:cxn>
                  <a:cxn ang="0">
                    <a:pos x="69" y="19"/>
                  </a:cxn>
                  <a:cxn ang="0">
                    <a:pos x="64" y="27"/>
                  </a:cxn>
                  <a:cxn ang="0">
                    <a:pos x="52" y="25"/>
                  </a:cxn>
                  <a:cxn ang="0">
                    <a:pos x="41" y="22"/>
                  </a:cxn>
                  <a:cxn ang="0">
                    <a:pos x="25" y="7"/>
                  </a:cxn>
                  <a:cxn ang="0">
                    <a:pos x="10" y="7"/>
                  </a:cxn>
                  <a:cxn ang="0">
                    <a:pos x="4" y="15"/>
                  </a:cxn>
                  <a:cxn ang="0">
                    <a:pos x="12" y="12"/>
                  </a:cxn>
                  <a:cxn ang="0">
                    <a:pos x="21" y="25"/>
                  </a:cxn>
                  <a:cxn ang="0">
                    <a:pos x="28" y="29"/>
                  </a:cxn>
                  <a:cxn ang="0">
                    <a:pos x="32" y="36"/>
                  </a:cxn>
                  <a:cxn ang="0">
                    <a:pos x="20" y="40"/>
                  </a:cxn>
                  <a:cxn ang="0">
                    <a:pos x="2" y="36"/>
                  </a:cxn>
                  <a:cxn ang="0">
                    <a:pos x="0" y="44"/>
                  </a:cxn>
                  <a:cxn ang="0">
                    <a:pos x="4" y="53"/>
                  </a:cxn>
                  <a:cxn ang="0">
                    <a:pos x="5" y="63"/>
                  </a:cxn>
                  <a:cxn ang="0">
                    <a:pos x="7" y="64"/>
                  </a:cxn>
                  <a:cxn ang="0">
                    <a:pos x="14" y="67"/>
                  </a:cxn>
                  <a:cxn ang="0">
                    <a:pos x="18" y="80"/>
                  </a:cxn>
                  <a:cxn ang="0">
                    <a:pos x="18" y="101"/>
                  </a:cxn>
                  <a:cxn ang="0">
                    <a:pos x="31" y="99"/>
                  </a:cxn>
                  <a:cxn ang="0">
                    <a:pos x="45" y="89"/>
                  </a:cxn>
                  <a:cxn ang="0">
                    <a:pos x="56" y="87"/>
                  </a:cxn>
                  <a:cxn ang="0">
                    <a:pos x="75" y="87"/>
                  </a:cxn>
                  <a:cxn ang="0">
                    <a:pos x="86" y="93"/>
                  </a:cxn>
                  <a:cxn ang="0">
                    <a:pos x="91" y="96"/>
                  </a:cxn>
                  <a:cxn ang="0">
                    <a:pos x="106" y="99"/>
                  </a:cxn>
                  <a:cxn ang="0">
                    <a:pos x="111" y="104"/>
                  </a:cxn>
                  <a:cxn ang="0">
                    <a:pos x="118" y="108"/>
                  </a:cxn>
                  <a:cxn ang="0">
                    <a:pos x="126" y="116"/>
                  </a:cxn>
                  <a:cxn ang="0">
                    <a:pos x="138" y="117"/>
                  </a:cxn>
                  <a:cxn ang="0">
                    <a:pos x="142" y="137"/>
                  </a:cxn>
                  <a:cxn ang="0">
                    <a:pos x="153" y="138"/>
                  </a:cxn>
                  <a:cxn ang="0">
                    <a:pos x="157" y="143"/>
                  </a:cxn>
                  <a:cxn ang="0">
                    <a:pos x="169" y="134"/>
                  </a:cxn>
                  <a:cxn ang="0">
                    <a:pos x="179" y="128"/>
                  </a:cxn>
                  <a:cxn ang="0">
                    <a:pos x="192" y="121"/>
                  </a:cxn>
                  <a:cxn ang="0">
                    <a:pos x="202" y="106"/>
                  </a:cxn>
                  <a:cxn ang="0">
                    <a:pos x="207" y="103"/>
                  </a:cxn>
                  <a:cxn ang="0">
                    <a:pos x="220" y="100"/>
                  </a:cxn>
                </a:cxnLst>
                <a:rect l="0" t="0" r="r" b="b"/>
                <a:pathLst>
                  <a:path w="226" h="143">
                    <a:moveTo>
                      <a:pt x="224" y="90"/>
                    </a:moveTo>
                    <a:lnTo>
                      <a:pt x="224" y="90"/>
                    </a:lnTo>
                    <a:lnTo>
                      <a:pt x="219" y="87"/>
                    </a:lnTo>
                    <a:lnTo>
                      <a:pt x="214" y="86"/>
                    </a:lnTo>
                    <a:lnTo>
                      <a:pt x="210" y="86"/>
                    </a:lnTo>
                    <a:lnTo>
                      <a:pt x="210" y="86"/>
                    </a:lnTo>
                    <a:lnTo>
                      <a:pt x="207" y="84"/>
                    </a:lnTo>
                    <a:lnTo>
                      <a:pt x="203" y="81"/>
                    </a:lnTo>
                    <a:lnTo>
                      <a:pt x="199" y="77"/>
                    </a:lnTo>
                    <a:lnTo>
                      <a:pt x="194" y="74"/>
                    </a:lnTo>
                    <a:lnTo>
                      <a:pt x="194" y="74"/>
                    </a:lnTo>
                    <a:lnTo>
                      <a:pt x="183" y="70"/>
                    </a:lnTo>
                    <a:lnTo>
                      <a:pt x="179" y="67"/>
                    </a:lnTo>
                    <a:lnTo>
                      <a:pt x="176" y="64"/>
                    </a:lnTo>
                    <a:lnTo>
                      <a:pt x="176" y="64"/>
                    </a:lnTo>
                    <a:lnTo>
                      <a:pt x="172" y="60"/>
                    </a:lnTo>
                    <a:lnTo>
                      <a:pt x="166" y="57"/>
                    </a:lnTo>
                    <a:lnTo>
                      <a:pt x="162" y="54"/>
                    </a:lnTo>
                    <a:lnTo>
                      <a:pt x="159" y="52"/>
                    </a:lnTo>
                    <a:lnTo>
                      <a:pt x="159" y="52"/>
                    </a:lnTo>
                    <a:lnTo>
                      <a:pt x="156" y="46"/>
                    </a:lnTo>
                    <a:lnTo>
                      <a:pt x="152" y="39"/>
                    </a:lnTo>
                    <a:lnTo>
                      <a:pt x="152" y="39"/>
                    </a:lnTo>
                    <a:lnTo>
                      <a:pt x="149" y="32"/>
                    </a:lnTo>
                    <a:lnTo>
                      <a:pt x="148" y="29"/>
                    </a:lnTo>
                    <a:lnTo>
                      <a:pt x="146" y="29"/>
                    </a:lnTo>
                    <a:lnTo>
                      <a:pt x="146" y="29"/>
                    </a:lnTo>
                    <a:lnTo>
                      <a:pt x="132" y="27"/>
                    </a:lnTo>
                    <a:lnTo>
                      <a:pt x="125" y="27"/>
                    </a:lnTo>
                    <a:lnTo>
                      <a:pt x="122" y="26"/>
                    </a:lnTo>
                    <a:lnTo>
                      <a:pt x="122" y="26"/>
                    </a:lnTo>
                    <a:lnTo>
                      <a:pt x="122" y="26"/>
                    </a:lnTo>
                    <a:lnTo>
                      <a:pt x="121" y="16"/>
                    </a:lnTo>
                    <a:lnTo>
                      <a:pt x="119" y="10"/>
                    </a:lnTo>
                    <a:lnTo>
                      <a:pt x="118" y="9"/>
                    </a:lnTo>
                    <a:lnTo>
                      <a:pt x="116" y="9"/>
                    </a:lnTo>
                    <a:lnTo>
                      <a:pt x="116" y="9"/>
                    </a:lnTo>
                    <a:lnTo>
                      <a:pt x="109" y="6"/>
                    </a:lnTo>
                    <a:lnTo>
                      <a:pt x="103" y="5"/>
                    </a:lnTo>
                    <a:lnTo>
                      <a:pt x="103" y="5"/>
                    </a:lnTo>
                    <a:lnTo>
                      <a:pt x="98" y="0"/>
                    </a:lnTo>
                    <a:lnTo>
                      <a:pt x="95" y="0"/>
                    </a:lnTo>
                    <a:lnTo>
                      <a:pt x="92" y="2"/>
                    </a:lnTo>
                    <a:lnTo>
                      <a:pt x="92" y="2"/>
                    </a:lnTo>
                    <a:lnTo>
                      <a:pt x="89" y="3"/>
                    </a:lnTo>
                    <a:lnTo>
                      <a:pt x="86" y="5"/>
                    </a:lnTo>
                    <a:lnTo>
                      <a:pt x="86" y="5"/>
                    </a:lnTo>
                    <a:lnTo>
                      <a:pt x="85" y="6"/>
                    </a:lnTo>
                    <a:lnTo>
                      <a:pt x="84" y="7"/>
                    </a:lnTo>
                    <a:lnTo>
                      <a:pt x="82" y="10"/>
                    </a:lnTo>
                    <a:lnTo>
                      <a:pt x="81" y="10"/>
                    </a:lnTo>
                    <a:lnTo>
                      <a:pt x="81" y="10"/>
                    </a:lnTo>
                    <a:lnTo>
                      <a:pt x="76" y="12"/>
                    </a:lnTo>
                    <a:lnTo>
                      <a:pt x="72" y="13"/>
                    </a:lnTo>
                    <a:lnTo>
                      <a:pt x="69" y="16"/>
                    </a:lnTo>
                    <a:lnTo>
                      <a:pt x="69" y="19"/>
                    </a:lnTo>
                    <a:lnTo>
                      <a:pt x="69" y="19"/>
                    </a:lnTo>
                    <a:lnTo>
                      <a:pt x="68" y="25"/>
                    </a:lnTo>
                    <a:lnTo>
                      <a:pt x="66" y="26"/>
                    </a:lnTo>
                    <a:lnTo>
                      <a:pt x="64" y="27"/>
                    </a:lnTo>
                    <a:lnTo>
                      <a:pt x="64" y="27"/>
                    </a:lnTo>
                    <a:lnTo>
                      <a:pt x="58" y="26"/>
                    </a:lnTo>
                    <a:lnTo>
                      <a:pt x="52" y="25"/>
                    </a:lnTo>
                    <a:lnTo>
                      <a:pt x="52" y="25"/>
                    </a:lnTo>
                    <a:lnTo>
                      <a:pt x="51" y="25"/>
                    </a:lnTo>
                    <a:lnTo>
                      <a:pt x="48" y="26"/>
                    </a:lnTo>
                    <a:lnTo>
                      <a:pt x="44" y="25"/>
                    </a:lnTo>
                    <a:lnTo>
                      <a:pt x="41" y="22"/>
                    </a:lnTo>
                    <a:lnTo>
                      <a:pt x="41" y="22"/>
                    </a:lnTo>
                    <a:lnTo>
                      <a:pt x="35" y="16"/>
                    </a:lnTo>
                    <a:lnTo>
                      <a:pt x="31" y="10"/>
                    </a:lnTo>
                    <a:lnTo>
                      <a:pt x="25" y="7"/>
                    </a:lnTo>
                    <a:lnTo>
                      <a:pt x="21" y="6"/>
                    </a:lnTo>
                    <a:lnTo>
                      <a:pt x="21" y="6"/>
                    </a:lnTo>
                    <a:lnTo>
                      <a:pt x="15" y="6"/>
                    </a:lnTo>
                    <a:lnTo>
                      <a:pt x="10" y="7"/>
                    </a:lnTo>
                    <a:lnTo>
                      <a:pt x="7" y="9"/>
                    </a:lnTo>
                    <a:lnTo>
                      <a:pt x="5" y="10"/>
                    </a:lnTo>
                    <a:lnTo>
                      <a:pt x="4" y="12"/>
                    </a:lnTo>
                    <a:lnTo>
                      <a:pt x="4" y="15"/>
                    </a:lnTo>
                    <a:lnTo>
                      <a:pt x="4" y="15"/>
                    </a:lnTo>
                    <a:lnTo>
                      <a:pt x="7" y="13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5" y="13"/>
                    </a:lnTo>
                    <a:lnTo>
                      <a:pt x="18" y="15"/>
                    </a:lnTo>
                    <a:lnTo>
                      <a:pt x="20" y="20"/>
                    </a:lnTo>
                    <a:lnTo>
                      <a:pt x="21" y="25"/>
                    </a:lnTo>
                    <a:lnTo>
                      <a:pt x="22" y="26"/>
                    </a:lnTo>
                    <a:lnTo>
                      <a:pt x="24" y="27"/>
                    </a:lnTo>
                    <a:lnTo>
                      <a:pt x="24" y="27"/>
                    </a:lnTo>
                    <a:lnTo>
                      <a:pt x="28" y="29"/>
                    </a:lnTo>
                    <a:lnTo>
                      <a:pt x="32" y="32"/>
                    </a:lnTo>
                    <a:lnTo>
                      <a:pt x="34" y="34"/>
                    </a:lnTo>
                    <a:lnTo>
                      <a:pt x="34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28" y="37"/>
                    </a:lnTo>
                    <a:lnTo>
                      <a:pt x="24" y="39"/>
                    </a:lnTo>
                    <a:lnTo>
                      <a:pt x="20" y="40"/>
                    </a:lnTo>
                    <a:lnTo>
                      <a:pt x="15" y="40"/>
                    </a:lnTo>
                    <a:lnTo>
                      <a:pt x="15" y="40"/>
                    </a:lnTo>
                    <a:lnTo>
                      <a:pt x="7" y="36"/>
                    </a:lnTo>
                    <a:lnTo>
                      <a:pt x="2" y="36"/>
                    </a:lnTo>
                    <a:lnTo>
                      <a:pt x="2" y="37"/>
                    </a:lnTo>
                    <a:lnTo>
                      <a:pt x="1" y="40"/>
                    </a:lnTo>
                    <a:lnTo>
                      <a:pt x="1" y="40"/>
                    </a:lnTo>
                    <a:lnTo>
                      <a:pt x="0" y="44"/>
                    </a:lnTo>
                    <a:lnTo>
                      <a:pt x="0" y="49"/>
                    </a:lnTo>
                    <a:lnTo>
                      <a:pt x="0" y="52"/>
                    </a:lnTo>
                    <a:lnTo>
                      <a:pt x="4" y="53"/>
                    </a:lnTo>
                    <a:lnTo>
                      <a:pt x="4" y="53"/>
                    </a:lnTo>
                    <a:lnTo>
                      <a:pt x="8" y="53"/>
                    </a:lnTo>
                    <a:lnTo>
                      <a:pt x="10" y="56"/>
                    </a:lnTo>
                    <a:lnTo>
                      <a:pt x="8" y="59"/>
                    </a:lnTo>
                    <a:lnTo>
                      <a:pt x="5" y="63"/>
                    </a:lnTo>
                    <a:lnTo>
                      <a:pt x="5" y="63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7" y="64"/>
                    </a:lnTo>
                    <a:lnTo>
                      <a:pt x="11" y="64"/>
                    </a:lnTo>
                    <a:lnTo>
                      <a:pt x="14" y="66"/>
                    </a:lnTo>
                    <a:lnTo>
                      <a:pt x="14" y="67"/>
                    </a:lnTo>
                    <a:lnTo>
                      <a:pt x="14" y="67"/>
                    </a:lnTo>
                    <a:lnTo>
                      <a:pt x="15" y="70"/>
                    </a:lnTo>
                    <a:lnTo>
                      <a:pt x="17" y="71"/>
                    </a:lnTo>
                    <a:lnTo>
                      <a:pt x="18" y="74"/>
                    </a:lnTo>
                    <a:lnTo>
                      <a:pt x="18" y="80"/>
                    </a:lnTo>
                    <a:lnTo>
                      <a:pt x="18" y="80"/>
                    </a:lnTo>
                    <a:lnTo>
                      <a:pt x="17" y="90"/>
                    </a:lnTo>
                    <a:lnTo>
                      <a:pt x="18" y="101"/>
                    </a:lnTo>
                    <a:lnTo>
                      <a:pt x="18" y="101"/>
                    </a:lnTo>
                    <a:lnTo>
                      <a:pt x="25" y="100"/>
                    </a:lnTo>
                    <a:lnTo>
                      <a:pt x="28" y="100"/>
                    </a:lnTo>
                    <a:lnTo>
                      <a:pt x="31" y="99"/>
                    </a:lnTo>
                    <a:lnTo>
                      <a:pt x="31" y="99"/>
                    </a:lnTo>
                    <a:lnTo>
                      <a:pt x="37" y="93"/>
                    </a:lnTo>
                    <a:lnTo>
                      <a:pt x="41" y="90"/>
                    </a:lnTo>
                    <a:lnTo>
                      <a:pt x="45" y="89"/>
                    </a:lnTo>
                    <a:lnTo>
                      <a:pt x="45" y="89"/>
                    </a:lnTo>
                    <a:lnTo>
                      <a:pt x="51" y="89"/>
                    </a:lnTo>
                    <a:lnTo>
                      <a:pt x="54" y="89"/>
                    </a:lnTo>
                    <a:lnTo>
                      <a:pt x="56" y="87"/>
                    </a:lnTo>
                    <a:lnTo>
                      <a:pt x="56" y="87"/>
                    </a:lnTo>
                    <a:lnTo>
                      <a:pt x="59" y="86"/>
                    </a:lnTo>
                    <a:lnTo>
                      <a:pt x="65" y="84"/>
                    </a:lnTo>
                    <a:lnTo>
                      <a:pt x="71" y="86"/>
                    </a:lnTo>
                    <a:lnTo>
                      <a:pt x="75" y="87"/>
                    </a:lnTo>
                    <a:lnTo>
                      <a:pt x="75" y="87"/>
                    </a:lnTo>
                    <a:lnTo>
                      <a:pt x="78" y="90"/>
                    </a:lnTo>
                    <a:lnTo>
                      <a:pt x="81" y="91"/>
                    </a:lnTo>
                    <a:lnTo>
                      <a:pt x="86" y="93"/>
                    </a:lnTo>
                    <a:lnTo>
                      <a:pt x="86" y="93"/>
                    </a:lnTo>
                    <a:lnTo>
                      <a:pt x="88" y="93"/>
                    </a:lnTo>
                    <a:lnTo>
                      <a:pt x="89" y="94"/>
                    </a:lnTo>
                    <a:lnTo>
                      <a:pt x="91" y="96"/>
                    </a:lnTo>
                    <a:lnTo>
                      <a:pt x="95" y="97"/>
                    </a:lnTo>
                    <a:lnTo>
                      <a:pt x="95" y="97"/>
                    </a:lnTo>
                    <a:lnTo>
                      <a:pt x="103" y="97"/>
                    </a:lnTo>
                    <a:lnTo>
                      <a:pt x="106" y="99"/>
                    </a:lnTo>
                    <a:lnTo>
                      <a:pt x="108" y="101"/>
                    </a:lnTo>
                    <a:lnTo>
                      <a:pt x="108" y="101"/>
                    </a:lnTo>
                    <a:lnTo>
                      <a:pt x="109" y="103"/>
                    </a:lnTo>
                    <a:lnTo>
                      <a:pt x="111" y="104"/>
                    </a:lnTo>
                    <a:lnTo>
                      <a:pt x="112" y="106"/>
                    </a:lnTo>
                    <a:lnTo>
                      <a:pt x="115" y="107"/>
                    </a:lnTo>
                    <a:lnTo>
                      <a:pt x="115" y="107"/>
                    </a:lnTo>
                    <a:lnTo>
                      <a:pt x="118" y="108"/>
                    </a:lnTo>
                    <a:lnTo>
                      <a:pt x="121" y="111"/>
                    </a:lnTo>
                    <a:lnTo>
                      <a:pt x="123" y="114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33" y="116"/>
                    </a:lnTo>
                    <a:lnTo>
                      <a:pt x="136" y="116"/>
                    </a:lnTo>
                    <a:lnTo>
                      <a:pt x="138" y="117"/>
                    </a:lnTo>
                    <a:lnTo>
                      <a:pt x="138" y="117"/>
                    </a:lnTo>
                    <a:lnTo>
                      <a:pt x="138" y="126"/>
                    </a:lnTo>
                    <a:lnTo>
                      <a:pt x="140" y="137"/>
                    </a:lnTo>
                    <a:lnTo>
                      <a:pt x="140" y="137"/>
                    </a:lnTo>
                    <a:lnTo>
                      <a:pt x="142" y="137"/>
                    </a:lnTo>
                    <a:lnTo>
                      <a:pt x="143" y="137"/>
                    </a:lnTo>
                    <a:lnTo>
                      <a:pt x="143" y="137"/>
                    </a:lnTo>
                    <a:lnTo>
                      <a:pt x="149" y="137"/>
                    </a:lnTo>
                    <a:lnTo>
                      <a:pt x="153" y="138"/>
                    </a:lnTo>
                    <a:lnTo>
                      <a:pt x="155" y="140"/>
                    </a:lnTo>
                    <a:lnTo>
                      <a:pt x="155" y="140"/>
                    </a:lnTo>
                    <a:lnTo>
                      <a:pt x="156" y="141"/>
                    </a:lnTo>
                    <a:lnTo>
                      <a:pt x="157" y="143"/>
                    </a:lnTo>
                    <a:lnTo>
                      <a:pt x="163" y="141"/>
                    </a:lnTo>
                    <a:lnTo>
                      <a:pt x="167" y="140"/>
                    </a:lnTo>
                    <a:lnTo>
                      <a:pt x="169" y="137"/>
                    </a:lnTo>
                    <a:lnTo>
                      <a:pt x="169" y="134"/>
                    </a:lnTo>
                    <a:lnTo>
                      <a:pt x="169" y="134"/>
                    </a:lnTo>
                    <a:lnTo>
                      <a:pt x="170" y="133"/>
                    </a:lnTo>
                    <a:lnTo>
                      <a:pt x="172" y="131"/>
                    </a:lnTo>
                    <a:lnTo>
                      <a:pt x="179" y="128"/>
                    </a:lnTo>
                    <a:lnTo>
                      <a:pt x="187" y="126"/>
                    </a:lnTo>
                    <a:lnTo>
                      <a:pt x="190" y="124"/>
                    </a:lnTo>
                    <a:lnTo>
                      <a:pt x="192" y="121"/>
                    </a:lnTo>
                    <a:lnTo>
                      <a:pt x="192" y="121"/>
                    </a:lnTo>
                    <a:lnTo>
                      <a:pt x="196" y="110"/>
                    </a:lnTo>
                    <a:lnTo>
                      <a:pt x="197" y="107"/>
                    </a:lnTo>
                    <a:lnTo>
                      <a:pt x="200" y="106"/>
                    </a:lnTo>
                    <a:lnTo>
                      <a:pt x="202" y="106"/>
                    </a:lnTo>
                    <a:lnTo>
                      <a:pt x="202" y="106"/>
                    </a:lnTo>
                    <a:lnTo>
                      <a:pt x="203" y="106"/>
                    </a:lnTo>
                    <a:lnTo>
                      <a:pt x="204" y="106"/>
                    </a:lnTo>
                    <a:lnTo>
                      <a:pt x="207" y="103"/>
                    </a:lnTo>
                    <a:lnTo>
                      <a:pt x="210" y="100"/>
                    </a:lnTo>
                    <a:lnTo>
                      <a:pt x="214" y="99"/>
                    </a:lnTo>
                    <a:lnTo>
                      <a:pt x="214" y="99"/>
                    </a:lnTo>
                    <a:lnTo>
                      <a:pt x="220" y="100"/>
                    </a:lnTo>
                    <a:lnTo>
                      <a:pt x="223" y="101"/>
                    </a:lnTo>
                    <a:lnTo>
                      <a:pt x="226" y="101"/>
                    </a:lnTo>
                    <a:lnTo>
                      <a:pt x="224" y="9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35" name="Kasakhstan">
                <a:extLst>
                  <a:ext uri="{FF2B5EF4-FFF2-40B4-BE49-F238E27FC236}">
                    <a16:creationId xmlns:a16="http://schemas.microsoft.com/office/drawing/2014/main" id="{78535844-C55A-7E8B-F8C2-337E3F3431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19917" y="2834395"/>
                <a:ext cx="966299" cy="448375"/>
              </a:xfrm>
              <a:custGeom>
                <a:avLst/>
                <a:gdLst/>
                <a:ahLst/>
                <a:cxnLst>
                  <a:cxn ang="0">
                    <a:pos x="626" y="124"/>
                  </a:cxn>
                  <a:cxn ang="0">
                    <a:pos x="608" y="105"/>
                  </a:cxn>
                  <a:cxn ang="0">
                    <a:pos x="574" y="101"/>
                  </a:cxn>
                  <a:cxn ang="0">
                    <a:pos x="544" y="99"/>
                  </a:cxn>
                  <a:cxn ang="0">
                    <a:pos x="499" y="37"/>
                  </a:cxn>
                  <a:cxn ang="0">
                    <a:pos x="483" y="23"/>
                  </a:cxn>
                  <a:cxn ang="0">
                    <a:pos x="448" y="38"/>
                  </a:cxn>
                  <a:cxn ang="0">
                    <a:pos x="445" y="31"/>
                  </a:cxn>
                  <a:cxn ang="0">
                    <a:pos x="426" y="31"/>
                  </a:cxn>
                  <a:cxn ang="0">
                    <a:pos x="406" y="27"/>
                  </a:cxn>
                  <a:cxn ang="0">
                    <a:pos x="402" y="8"/>
                  </a:cxn>
                  <a:cxn ang="0">
                    <a:pos x="369" y="0"/>
                  </a:cxn>
                  <a:cxn ang="0">
                    <a:pos x="314" y="17"/>
                  </a:cxn>
                  <a:cxn ang="0">
                    <a:pos x="258" y="28"/>
                  </a:cxn>
                  <a:cxn ang="0">
                    <a:pos x="241" y="42"/>
                  </a:cxn>
                  <a:cxn ang="0">
                    <a:pos x="236" y="55"/>
                  </a:cxn>
                  <a:cxn ang="0">
                    <a:pos x="227" y="81"/>
                  </a:cxn>
                  <a:cxn ang="0">
                    <a:pos x="244" y="99"/>
                  </a:cxn>
                  <a:cxn ang="0">
                    <a:pos x="219" y="104"/>
                  </a:cxn>
                  <a:cxn ang="0">
                    <a:pos x="199" y="95"/>
                  </a:cxn>
                  <a:cxn ang="0">
                    <a:pos x="166" y="94"/>
                  </a:cxn>
                  <a:cxn ang="0">
                    <a:pos x="135" y="99"/>
                  </a:cxn>
                  <a:cxn ang="0">
                    <a:pos x="112" y="85"/>
                  </a:cxn>
                  <a:cxn ang="0">
                    <a:pos x="84" y="84"/>
                  </a:cxn>
                  <a:cxn ang="0">
                    <a:pos x="47" y="94"/>
                  </a:cxn>
                  <a:cxn ang="0">
                    <a:pos x="35" y="118"/>
                  </a:cxn>
                  <a:cxn ang="0">
                    <a:pos x="12" y="114"/>
                  </a:cxn>
                  <a:cxn ang="0">
                    <a:pos x="10" y="131"/>
                  </a:cxn>
                  <a:cxn ang="0">
                    <a:pos x="8" y="149"/>
                  </a:cxn>
                  <a:cxn ang="0">
                    <a:pos x="28" y="163"/>
                  </a:cxn>
                  <a:cxn ang="0">
                    <a:pos x="39" y="189"/>
                  </a:cxn>
                  <a:cxn ang="0">
                    <a:pos x="95" y="180"/>
                  </a:cxn>
                  <a:cxn ang="0">
                    <a:pos x="108" y="209"/>
                  </a:cxn>
                  <a:cxn ang="0">
                    <a:pos x="72" y="219"/>
                  </a:cxn>
                  <a:cxn ang="0">
                    <a:pos x="59" y="233"/>
                  </a:cxn>
                  <a:cxn ang="0">
                    <a:pos x="79" y="256"/>
                  </a:cxn>
                  <a:cxn ang="0">
                    <a:pos x="98" y="270"/>
                  </a:cxn>
                  <a:cxn ang="0">
                    <a:pos x="105" y="276"/>
                  </a:cxn>
                  <a:cxn ang="0">
                    <a:pos x="142" y="286"/>
                  </a:cxn>
                  <a:cxn ang="0">
                    <a:pos x="200" y="200"/>
                  </a:cxn>
                  <a:cxn ang="0">
                    <a:pos x="219" y="196"/>
                  </a:cxn>
                  <a:cxn ang="0">
                    <a:pos x="230" y="227"/>
                  </a:cxn>
                  <a:cxn ang="0">
                    <a:pos x="286" y="247"/>
                  </a:cxn>
                  <a:cxn ang="0">
                    <a:pos x="318" y="271"/>
                  </a:cxn>
                  <a:cxn ang="0">
                    <a:pos x="350" y="296"/>
                  </a:cxn>
                  <a:cxn ang="0">
                    <a:pos x="372" y="289"/>
                  </a:cxn>
                  <a:cxn ang="0">
                    <a:pos x="404" y="264"/>
                  </a:cxn>
                  <a:cxn ang="0">
                    <a:pos x="439" y="261"/>
                  </a:cxn>
                  <a:cxn ang="0">
                    <a:pos x="478" y="261"/>
                  </a:cxn>
                  <a:cxn ang="0">
                    <a:pos x="540" y="271"/>
                  </a:cxn>
                  <a:cxn ang="0">
                    <a:pos x="554" y="252"/>
                  </a:cxn>
                  <a:cxn ang="0">
                    <a:pos x="547" y="219"/>
                  </a:cxn>
                  <a:cxn ang="0">
                    <a:pos x="583" y="216"/>
                  </a:cxn>
                  <a:cxn ang="0">
                    <a:pos x="594" y="175"/>
                  </a:cxn>
                  <a:cxn ang="0">
                    <a:pos x="631" y="175"/>
                  </a:cxn>
                  <a:cxn ang="0">
                    <a:pos x="643" y="148"/>
                  </a:cxn>
                  <a:cxn ang="0">
                    <a:pos x="648" y="124"/>
                  </a:cxn>
                  <a:cxn ang="0">
                    <a:pos x="233" y="186"/>
                  </a:cxn>
                  <a:cxn ang="0">
                    <a:pos x="463" y="193"/>
                  </a:cxn>
                  <a:cxn ang="0">
                    <a:pos x="445" y="216"/>
                  </a:cxn>
                  <a:cxn ang="0">
                    <a:pos x="489" y="186"/>
                  </a:cxn>
                  <a:cxn ang="0">
                    <a:pos x="512" y="192"/>
                  </a:cxn>
                </a:cxnLst>
                <a:rect l="0" t="0" r="r" b="b"/>
                <a:pathLst>
                  <a:path w="653" h="303">
                    <a:moveTo>
                      <a:pt x="648" y="124"/>
                    </a:moveTo>
                    <a:lnTo>
                      <a:pt x="648" y="124"/>
                    </a:lnTo>
                    <a:lnTo>
                      <a:pt x="648" y="122"/>
                    </a:lnTo>
                    <a:lnTo>
                      <a:pt x="647" y="122"/>
                    </a:lnTo>
                    <a:lnTo>
                      <a:pt x="643" y="124"/>
                    </a:lnTo>
                    <a:lnTo>
                      <a:pt x="643" y="124"/>
                    </a:lnTo>
                    <a:lnTo>
                      <a:pt x="637" y="125"/>
                    </a:lnTo>
                    <a:lnTo>
                      <a:pt x="630" y="126"/>
                    </a:lnTo>
                    <a:lnTo>
                      <a:pt x="630" y="126"/>
                    </a:lnTo>
                    <a:lnTo>
                      <a:pt x="627" y="125"/>
                    </a:lnTo>
                    <a:lnTo>
                      <a:pt x="626" y="124"/>
                    </a:lnTo>
                    <a:lnTo>
                      <a:pt x="623" y="121"/>
                    </a:lnTo>
                    <a:lnTo>
                      <a:pt x="623" y="119"/>
                    </a:lnTo>
                    <a:lnTo>
                      <a:pt x="623" y="119"/>
                    </a:lnTo>
                    <a:lnTo>
                      <a:pt x="621" y="115"/>
                    </a:lnTo>
                    <a:lnTo>
                      <a:pt x="620" y="114"/>
                    </a:lnTo>
                    <a:lnTo>
                      <a:pt x="618" y="114"/>
                    </a:lnTo>
                    <a:lnTo>
                      <a:pt x="618" y="114"/>
                    </a:lnTo>
                    <a:lnTo>
                      <a:pt x="616" y="112"/>
                    </a:lnTo>
                    <a:lnTo>
                      <a:pt x="614" y="112"/>
                    </a:lnTo>
                    <a:lnTo>
                      <a:pt x="611" y="109"/>
                    </a:lnTo>
                    <a:lnTo>
                      <a:pt x="608" y="105"/>
                    </a:lnTo>
                    <a:lnTo>
                      <a:pt x="608" y="105"/>
                    </a:lnTo>
                    <a:lnTo>
                      <a:pt x="606" y="101"/>
                    </a:lnTo>
                    <a:lnTo>
                      <a:pt x="604" y="99"/>
                    </a:lnTo>
                    <a:lnTo>
                      <a:pt x="598" y="96"/>
                    </a:lnTo>
                    <a:lnTo>
                      <a:pt x="598" y="96"/>
                    </a:lnTo>
                    <a:lnTo>
                      <a:pt x="596" y="96"/>
                    </a:lnTo>
                    <a:lnTo>
                      <a:pt x="590" y="98"/>
                    </a:lnTo>
                    <a:lnTo>
                      <a:pt x="583" y="101"/>
                    </a:lnTo>
                    <a:lnTo>
                      <a:pt x="583" y="101"/>
                    </a:lnTo>
                    <a:lnTo>
                      <a:pt x="579" y="101"/>
                    </a:lnTo>
                    <a:lnTo>
                      <a:pt x="574" y="101"/>
                    </a:lnTo>
                    <a:lnTo>
                      <a:pt x="567" y="98"/>
                    </a:lnTo>
                    <a:lnTo>
                      <a:pt x="567" y="98"/>
                    </a:lnTo>
                    <a:lnTo>
                      <a:pt x="563" y="96"/>
                    </a:lnTo>
                    <a:lnTo>
                      <a:pt x="560" y="94"/>
                    </a:lnTo>
                    <a:lnTo>
                      <a:pt x="557" y="91"/>
                    </a:lnTo>
                    <a:lnTo>
                      <a:pt x="554" y="89"/>
                    </a:lnTo>
                    <a:lnTo>
                      <a:pt x="554" y="89"/>
                    </a:lnTo>
                    <a:lnTo>
                      <a:pt x="552" y="92"/>
                    </a:lnTo>
                    <a:lnTo>
                      <a:pt x="549" y="95"/>
                    </a:lnTo>
                    <a:lnTo>
                      <a:pt x="547" y="98"/>
                    </a:lnTo>
                    <a:lnTo>
                      <a:pt x="544" y="99"/>
                    </a:lnTo>
                    <a:lnTo>
                      <a:pt x="544" y="99"/>
                    </a:lnTo>
                    <a:lnTo>
                      <a:pt x="543" y="99"/>
                    </a:lnTo>
                    <a:lnTo>
                      <a:pt x="542" y="96"/>
                    </a:lnTo>
                    <a:lnTo>
                      <a:pt x="537" y="89"/>
                    </a:lnTo>
                    <a:lnTo>
                      <a:pt x="533" y="79"/>
                    </a:lnTo>
                    <a:lnTo>
                      <a:pt x="529" y="71"/>
                    </a:lnTo>
                    <a:lnTo>
                      <a:pt x="529" y="71"/>
                    </a:lnTo>
                    <a:lnTo>
                      <a:pt x="515" y="51"/>
                    </a:lnTo>
                    <a:lnTo>
                      <a:pt x="507" y="42"/>
                    </a:lnTo>
                    <a:lnTo>
                      <a:pt x="503" y="38"/>
                    </a:lnTo>
                    <a:lnTo>
                      <a:pt x="499" y="37"/>
                    </a:lnTo>
                    <a:lnTo>
                      <a:pt x="499" y="37"/>
                    </a:lnTo>
                    <a:lnTo>
                      <a:pt x="493" y="32"/>
                    </a:lnTo>
                    <a:lnTo>
                      <a:pt x="492" y="30"/>
                    </a:lnTo>
                    <a:lnTo>
                      <a:pt x="492" y="27"/>
                    </a:lnTo>
                    <a:lnTo>
                      <a:pt x="495" y="24"/>
                    </a:lnTo>
                    <a:lnTo>
                      <a:pt x="495" y="24"/>
                    </a:lnTo>
                    <a:lnTo>
                      <a:pt x="495" y="23"/>
                    </a:lnTo>
                    <a:lnTo>
                      <a:pt x="495" y="23"/>
                    </a:lnTo>
                    <a:lnTo>
                      <a:pt x="492" y="21"/>
                    </a:lnTo>
                    <a:lnTo>
                      <a:pt x="488" y="23"/>
                    </a:lnTo>
                    <a:lnTo>
                      <a:pt x="483" y="23"/>
                    </a:lnTo>
                    <a:lnTo>
                      <a:pt x="483" y="23"/>
                    </a:lnTo>
                    <a:lnTo>
                      <a:pt x="476" y="28"/>
                    </a:lnTo>
                    <a:lnTo>
                      <a:pt x="473" y="30"/>
                    </a:lnTo>
                    <a:lnTo>
                      <a:pt x="469" y="31"/>
                    </a:lnTo>
                    <a:lnTo>
                      <a:pt x="469" y="31"/>
                    </a:lnTo>
                    <a:lnTo>
                      <a:pt x="465" y="32"/>
                    </a:lnTo>
                    <a:lnTo>
                      <a:pt x="460" y="35"/>
                    </a:lnTo>
                    <a:lnTo>
                      <a:pt x="456" y="38"/>
                    </a:lnTo>
                    <a:lnTo>
                      <a:pt x="452" y="38"/>
                    </a:lnTo>
                    <a:lnTo>
                      <a:pt x="452" y="38"/>
                    </a:lnTo>
                    <a:lnTo>
                      <a:pt x="448" y="38"/>
                    </a:lnTo>
                    <a:lnTo>
                      <a:pt x="445" y="41"/>
                    </a:lnTo>
                    <a:lnTo>
                      <a:pt x="442" y="42"/>
                    </a:lnTo>
                    <a:lnTo>
                      <a:pt x="441" y="42"/>
                    </a:lnTo>
                    <a:lnTo>
                      <a:pt x="439" y="41"/>
                    </a:lnTo>
                    <a:lnTo>
                      <a:pt x="439" y="41"/>
                    </a:lnTo>
                    <a:lnTo>
                      <a:pt x="438" y="40"/>
                    </a:lnTo>
                    <a:lnTo>
                      <a:pt x="438" y="38"/>
                    </a:lnTo>
                    <a:lnTo>
                      <a:pt x="441" y="35"/>
                    </a:lnTo>
                    <a:lnTo>
                      <a:pt x="443" y="34"/>
                    </a:lnTo>
                    <a:lnTo>
                      <a:pt x="445" y="31"/>
                    </a:lnTo>
                    <a:lnTo>
                      <a:pt x="445" y="31"/>
                    </a:lnTo>
                    <a:lnTo>
                      <a:pt x="443" y="30"/>
                    </a:lnTo>
                    <a:lnTo>
                      <a:pt x="442" y="30"/>
                    </a:lnTo>
                    <a:lnTo>
                      <a:pt x="439" y="31"/>
                    </a:lnTo>
                    <a:lnTo>
                      <a:pt x="436" y="30"/>
                    </a:lnTo>
                    <a:lnTo>
                      <a:pt x="436" y="30"/>
                    </a:lnTo>
                    <a:lnTo>
                      <a:pt x="432" y="27"/>
                    </a:lnTo>
                    <a:lnTo>
                      <a:pt x="429" y="27"/>
                    </a:lnTo>
                    <a:lnTo>
                      <a:pt x="429" y="28"/>
                    </a:lnTo>
                    <a:lnTo>
                      <a:pt x="429" y="28"/>
                    </a:lnTo>
                    <a:lnTo>
                      <a:pt x="428" y="30"/>
                    </a:lnTo>
                    <a:lnTo>
                      <a:pt x="426" y="31"/>
                    </a:lnTo>
                    <a:lnTo>
                      <a:pt x="425" y="30"/>
                    </a:lnTo>
                    <a:lnTo>
                      <a:pt x="425" y="28"/>
                    </a:lnTo>
                    <a:lnTo>
                      <a:pt x="425" y="28"/>
                    </a:lnTo>
                    <a:lnTo>
                      <a:pt x="424" y="25"/>
                    </a:lnTo>
                    <a:lnTo>
                      <a:pt x="422" y="24"/>
                    </a:lnTo>
                    <a:lnTo>
                      <a:pt x="421" y="23"/>
                    </a:lnTo>
                    <a:lnTo>
                      <a:pt x="418" y="24"/>
                    </a:lnTo>
                    <a:lnTo>
                      <a:pt x="418" y="24"/>
                    </a:lnTo>
                    <a:lnTo>
                      <a:pt x="415" y="25"/>
                    </a:lnTo>
                    <a:lnTo>
                      <a:pt x="411" y="27"/>
                    </a:lnTo>
                    <a:lnTo>
                      <a:pt x="406" y="27"/>
                    </a:lnTo>
                    <a:lnTo>
                      <a:pt x="404" y="27"/>
                    </a:lnTo>
                    <a:lnTo>
                      <a:pt x="404" y="27"/>
                    </a:lnTo>
                    <a:lnTo>
                      <a:pt x="404" y="24"/>
                    </a:lnTo>
                    <a:lnTo>
                      <a:pt x="404" y="23"/>
                    </a:lnTo>
                    <a:lnTo>
                      <a:pt x="405" y="20"/>
                    </a:lnTo>
                    <a:lnTo>
                      <a:pt x="405" y="20"/>
                    </a:lnTo>
                    <a:lnTo>
                      <a:pt x="405" y="17"/>
                    </a:lnTo>
                    <a:lnTo>
                      <a:pt x="404" y="14"/>
                    </a:lnTo>
                    <a:lnTo>
                      <a:pt x="402" y="11"/>
                    </a:lnTo>
                    <a:lnTo>
                      <a:pt x="402" y="8"/>
                    </a:lnTo>
                    <a:lnTo>
                      <a:pt x="402" y="8"/>
                    </a:lnTo>
                    <a:lnTo>
                      <a:pt x="402" y="5"/>
                    </a:lnTo>
                    <a:lnTo>
                      <a:pt x="399" y="3"/>
                    </a:lnTo>
                    <a:lnTo>
                      <a:pt x="395" y="1"/>
                    </a:lnTo>
                    <a:lnTo>
                      <a:pt x="392" y="1"/>
                    </a:lnTo>
                    <a:lnTo>
                      <a:pt x="392" y="1"/>
                    </a:lnTo>
                    <a:lnTo>
                      <a:pt x="389" y="3"/>
                    </a:lnTo>
                    <a:lnTo>
                      <a:pt x="387" y="3"/>
                    </a:lnTo>
                    <a:lnTo>
                      <a:pt x="379" y="0"/>
                    </a:lnTo>
                    <a:lnTo>
                      <a:pt x="379" y="0"/>
                    </a:lnTo>
                    <a:lnTo>
                      <a:pt x="375" y="0"/>
                    </a:lnTo>
                    <a:lnTo>
                      <a:pt x="369" y="0"/>
                    </a:lnTo>
                    <a:lnTo>
                      <a:pt x="362" y="3"/>
                    </a:lnTo>
                    <a:lnTo>
                      <a:pt x="359" y="4"/>
                    </a:lnTo>
                    <a:lnTo>
                      <a:pt x="359" y="4"/>
                    </a:lnTo>
                    <a:lnTo>
                      <a:pt x="359" y="5"/>
                    </a:lnTo>
                    <a:lnTo>
                      <a:pt x="357" y="7"/>
                    </a:lnTo>
                    <a:lnTo>
                      <a:pt x="350" y="10"/>
                    </a:lnTo>
                    <a:lnTo>
                      <a:pt x="337" y="13"/>
                    </a:lnTo>
                    <a:lnTo>
                      <a:pt x="337" y="13"/>
                    </a:lnTo>
                    <a:lnTo>
                      <a:pt x="325" y="15"/>
                    </a:lnTo>
                    <a:lnTo>
                      <a:pt x="314" y="17"/>
                    </a:lnTo>
                    <a:lnTo>
                      <a:pt x="314" y="17"/>
                    </a:lnTo>
                    <a:lnTo>
                      <a:pt x="305" y="20"/>
                    </a:lnTo>
                    <a:lnTo>
                      <a:pt x="303" y="21"/>
                    </a:lnTo>
                    <a:lnTo>
                      <a:pt x="297" y="21"/>
                    </a:lnTo>
                    <a:lnTo>
                      <a:pt x="297" y="21"/>
                    </a:lnTo>
                    <a:lnTo>
                      <a:pt x="286" y="23"/>
                    </a:lnTo>
                    <a:lnTo>
                      <a:pt x="278" y="24"/>
                    </a:lnTo>
                    <a:lnTo>
                      <a:pt x="273" y="27"/>
                    </a:lnTo>
                    <a:lnTo>
                      <a:pt x="273" y="27"/>
                    </a:lnTo>
                    <a:lnTo>
                      <a:pt x="268" y="28"/>
                    </a:lnTo>
                    <a:lnTo>
                      <a:pt x="263" y="28"/>
                    </a:lnTo>
                    <a:lnTo>
                      <a:pt x="258" y="28"/>
                    </a:lnTo>
                    <a:lnTo>
                      <a:pt x="254" y="28"/>
                    </a:lnTo>
                    <a:lnTo>
                      <a:pt x="254" y="28"/>
                    </a:lnTo>
                    <a:lnTo>
                      <a:pt x="250" y="30"/>
                    </a:lnTo>
                    <a:lnTo>
                      <a:pt x="247" y="30"/>
                    </a:lnTo>
                    <a:lnTo>
                      <a:pt x="243" y="30"/>
                    </a:lnTo>
                    <a:lnTo>
                      <a:pt x="240" y="30"/>
                    </a:lnTo>
                    <a:lnTo>
                      <a:pt x="240" y="30"/>
                    </a:lnTo>
                    <a:lnTo>
                      <a:pt x="240" y="31"/>
                    </a:lnTo>
                    <a:lnTo>
                      <a:pt x="239" y="35"/>
                    </a:lnTo>
                    <a:lnTo>
                      <a:pt x="240" y="40"/>
                    </a:lnTo>
                    <a:lnTo>
                      <a:pt x="241" y="42"/>
                    </a:lnTo>
                    <a:lnTo>
                      <a:pt x="241" y="42"/>
                    </a:lnTo>
                    <a:lnTo>
                      <a:pt x="244" y="45"/>
                    </a:lnTo>
                    <a:lnTo>
                      <a:pt x="249" y="47"/>
                    </a:lnTo>
                    <a:lnTo>
                      <a:pt x="253" y="48"/>
                    </a:lnTo>
                    <a:lnTo>
                      <a:pt x="256" y="50"/>
                    </a:lnTo>
                    <a:lnTo>
                      <a:pt x="256" y="50"/>
                    </a:lnTo>
                    <a:lnTo>
                      <a:pt x="254" y="51"/>
                    </a:lnTo>
                    <a:lnTo>
                      <a:pt x="250" y="52"/>
                    </a:lnTo>
                    <a:lnTo>
                      <a:pt x="239" y="52"/>
                    </a:lnTo>
                    <a:lnTo>
                      <a:pt x="239" y="52"/>
                    </a:lnTo>
                    <a:lnTo>
                      <a:pt x="236" y="55"/>
                    </a:lnTo>
                    <a:lnTo>
                      <a:pt x="234" y="58"/>
                    </a:lnTo>
                    <a:lnTo>
                      <a:pt x="234" y="61"/>
                    </a:lnTo>
                    <a:lnTo>
                      <a:pt x="236" y="64"/>
                    </a:lnTo>
                    <a:lnTo>
                      <a:pt x="236" y="64"/>
                    </a:lnTo>
                    <a:lnTo>
                      <a:pt x="236" y="67"/>
                    </a:lnTo>
                    <a:lnTo>
                      <a:pt x="233" y="69"/>
                    </a:lnTo>
                    <a:lnTo>
                      <a:pt x="226" y="72"/>
                    </a:lnTo>
                    <a:lnTo>
                      <a:pt x="226" y="72"/>
                    </a:lnTo>
                    <a:lnTo>
                      <a:pt x="224" y="75"/>
                    </a:lnTo>
                    <a:lnTo>
                      <a:pt x="224" y="78"/>
                    </a:lnTo>
                    <a:lnTo>
                      <a:pt x="227" y="81"/>
                    </a:lnTo>
                    <a:lnTo>
                      <a:pt x="230" y="81"/>
                    </a:lnTo>
                    <a:lnTo>
                      <a:pt x="230" y="81"/>
                    </a:lnTo>
                    <a:lnTo>
                      <a:pt x="233" y="82"/>
                    </a:lnTo>
                    <a:lnTo>
                      <a:pt x="236" y="84"/>
                    </a:lnTo>
                    <a:lnTo>
                      <a:pt x="241" y="85"/>
                    </a:lnTo>
                    <a:lnTo>
                      <a:pt x="241" y="85"/>
                    </a:lnTo>
                    <a:lnTo>
                      <a:pt x="243" y="87"/>
                    </a:lnTo>
                    <a:lnTo>
                      <a:pt x="244" y="89"/>
                    </a:lnTo>
                    <a:lnTo>
                      <a:pt x="246" y="96"/>
                    </a:lnTo>
                    <a:lnTo>
                      <a:pt x="246" y="96"/>
                    </a:lnTo>
                    <a:lnTo>
                      <a:pt x="244" y="99"/>
                    </a:lnTo>
                    <a:lnTo>
                      <a:pt x="243" y="101"/>
                    </a:lnTo>
                    <a:lnTo>
                      <a:pt x="240" y="102"/>
                    </a:lnTo>
                    <a:lnTo>
                      <a:pt x="236" y="102"/>
                    </a:lnTo>
                    <a:lnTo>
                      <a:pt x="236" y="102"/>
                    </a:lnTo>
                    <a:lnTo>
                      <a:pt x="231" y="101"/>
                    </a:lnTo>
                    <a:lnTo>
                      <a:pt x="229" y="99"/>
                    </a:lnTo>
                    <a:lnTo>
                      <a:pt x="223" y="96"/>
                    </a:lnTo>
                    <a:lnTo>
                      <a:pt x="223" y="96"/>
                    </a:lnTo>
                    <a:lnTo>
                      <a:pt x="222" y="98"/>
                    </a:lnTo>
                    <a:lnTo>
                      <a:pt x="220" y="101"/>
                    </a:lnTo>
                    <a:lnTo>
                      <a:pt x="219" y="104"/>
                    </a:lnTo>
                    <a:lnTo>
                      <a:pt x="217" y="105"/>
                    </a:lnTo>
                    <a:lnTo>
                      <a:pt x="217" y="105"/>
                    </a:lnTo>
                    <a:lnTo>
                      <a:pt x="216" y="105"/>
                    </a:lnTo>
                    <a:lnTo>
                      <a:pt x="214" y="104"/>
                    </a:lnTo>
                    <a:lnTo>
                      <a:pt x="213" y="101"/>
                    </a:lnTo>
                    <a:lnTo>
                      <a:pt x="210" y="99"/>
                    </a:lnTo>
                    <a:lnTo>
                      <a:pt x="210" y="99"/>
                    </a:lnTo>
                    <a:lnTo>
                      <a:pt x="203" y="99"/>
                    </a:lnTo>
                    <a:lnTo>
                      <a:pt x="202" y="98"/>
                    </a:lnTo>
                    <a:lnTo>
                      <a:pt x="199" y="95"/>
                    </a:lnTo>
                    <a:lnTo>
                      <a:pt x="199" y="95"/>
                    </a:lnTo>
                    <a:lnTo>
                      <a:pt x="197" y="92"/>
                    </a:lnTo>
                    <a:lnTo>
                      <a:pt x="193" y="91"/>
                    </a:lnTo>
                    <a:lnTo>
                      <a:pt x="187" y="92"/>
                    </a:lnTo>
                    <a:lnTo>
                      <a:pt x="183" y="94"/>
                    </a:lnTo>
                    <a:lnTo>
                      <a:pt x="183" y="94"/>
                    </a:lnTo>
                    <a:lnTo>
                      <a:pt x="180" y="96"/>
                    </a:lnTo>
                    <a:lnTo>
                      <a:pt x="179" y="96"/>
                    </a:lnTo>
                    <a:lnTo>
                      <a:pt x="175" y="94"/>
                    </a:lnTo>
                    <a:lnTo>
                      <a:pt x="175" y="94"/>
                    </a:lnTo>
                    <a:lnTo>
                      <a:pt x="170" y="92"/>
                    </a:lnTo>
                    <a:lnTo>
                      <a:pt x="166" y="94"/>
                    </a:lnTo>
                    <a:lnTo>
                      <a:pt x="162" y="96"/>
                    </a:lnTo>
                    <a:lnTo>
                      <a:pt x="159" y="98"/>
                    </a:lnTo>
                    <a:lnTo>
                      <a:pt x="159" y="98"/>
                    </a:lnTo>
                    <a:lnTo>
                      <a:pt x="156" y="101"/>
                    </a:lnTo>
                    <a:lnTo>
                      <a:pt x="153" y="102"/>
                    </a:lnTo>
                    <a:lnTo>
                      <a:pt x="149" y="102"/>
                    </a:lnTo>
                    <a:lnTo>
                      <a:pt x="143" y="99"/>
                    </a:lnTo>
                    <a:lnTo>
                      <a:pt x="143" y="99"/>
                    </a:lnTo>
                    <a:lnTo>
                      <a:pt x="138" y="96"/>
                    </a:lnTo>
                    <a:lnTo>
                      <a:pt x="135" y="98"/>
                    </a:lnTo>
                    <a:lnTo>
                      <a:pt x="135" y="99"/>
                    </a:lnTo>
                    <a:lnTo>
                      <a:pt x="135" y="99"/>
                    </a:lnTo>
                    <a:lnTo>
                      <a:pt x="133" y="102"/>
                    </a:lnTo>
                    <a:lnTo>
                      <a:pt x="132" y="102"/>
                    </a:lnTo>
                    <a:lnTo>
                      <a:pt x="130" y="99"/>
                    </a:lnTo>
                    <a:lnTo>
                      <a:pt x="130" y="98"/>
                    </a:lnTo>
                    <a:lnTo>
                      <a:pt x="130" y="98"/>
                    </a:lnTo>
                    <a:lnTo>
                      <a:pt x="129" y="95"/>
                    </a:lnTo>
                    <a:lnTo>
                      <a:pt x="125" y="92"/>
                    </a:lnTo>
                    <a:lnTo>
                      <a:pt x="116" y="87"/>
                    </a:lnTo>
                    <a:lnTo>
                      <a:pt x="116" y="87"/>
                    </a:lnTo>
                    <a:lnTo>
                      <a:pt x="112" y="85"/>
                    </a:lnTo>
                    <a:lnTo>
                      <a:pt x="106" y="84"/>
                    </a:lnTo>
                    <a:lnTo>
                      <a:pt x="101" y="82"/>
                    </a:lnTo>
                    <a:lnTo>
                      <a:pt x="98" y="81"/>
                    </a:lnTo>
                    <a:lnTo>
                      <a:pt x="98" y="81"/>
                    </a:lnTo>
                    <a:lnTo>
                      <a:pt x="96" y="79"/>
                    </a:lnTo>
                    <a:lnTo>
                      <a:pt x="93" y="78"/>
                    </a:lnTo>
                    <a:lnTo>
                      <a:pt x="89" y="78"/>
                    </a:lnTo>
                    <a:lnTo>
                      <a:pt x="86" y="81"/>
                    </a:lnTo>
                    <a:lnTo>
                      <a:pt x="86" y="81"/>
                    </a:lnTo>
                    <a:lnTo>
                      <a:pt x="85" y="84"/>
                    </a:lnTo>
                    <a:lnTo>
                      <a:pt x="84" y="84"/>
                    </a:lnTo>
                    <a:lnTo>
                      <a:pt x="78" y="81"/>
                    </a:lnTo>
                    <a:lnTo>
                      <a:pt x="78" y="81"/>
                    </a:lnTo>
                    <a:lnTo>
                      <a:pt x="75" y="81"/>
                    </a:lnTo>
                    <a:lnTo>
                      <a:pt x="72" y="81"/>
                    </a:lnTo>
                    <a:lnTo>
                      <a:pt x="66" y="84"/>
                    </a:lnTo>
                    <a:lnTo>
                      <a:pt x="66" y="84"/>
                    </a:lnTo>
                    <a:lnTo>
                      <a:pt x="58" y="89"/>
                    </a:lnTo>
                    <a:lnTo>
                      <a:pt x="54" y="91"/>
                    </a:lnTo>
                    <a:lnTo>
                      <a:pt x="49" y="92"/>
                    </a:lnTo>
                    <a:lnTo>
                      <a:pt x="49" y="92"/>
                    </a:lnTo>
                    <a:lnTo>
                      <a:pt x="47" y="94"/>
                    </a:lnTo>
                    <a:lnTo>
                      <a:pt x="45" y="95"/>
                    </a:lnTo>
                    <a:lnTo>
                      <a:pt x="44" y="98"/>
                    </a:lnTo>
                    <a:lnTo>
                      <a:pt x="41" y="99"/>
                    </a:lnTo>
                    <a:lnTo>
                      <a:pt x="41" y="99"/>
                    </a:lnTo>
                    <a:lnTo>
                      <a:pt x="37" y="101"/>
                    </a:lnTo>
                    <a:lnTo>
                      <a:pt x="35" y="104"/>
                    </a:lnTo>
                    <a:lnTo>
                      <a:pt x="37" y="108"/>
                    </a:lnTo>
                    <a:lnTo>
                      <a:pt x="37" y="108"/>
                    </a:lnTo>
                    <a:lnTo>
                      <a:pt x="38" y="114"/>
                    </a:lnTo>
                    <a:lnTo>
                      <a:pt x="38" y="116"/>
                    </a:lnTo>
                    <a:lnTo>
                      <a:pt x="35" y="118"/>
                    </a:lnTo>
                    <a:lnTo>
                      <a:pt x="35" y="118"/>
                    </a:lnTo>
                    <a:lnTo>
                      <a:pt x="32" y="119"/>
                    </a:lnTo>
                    <a:lnTo>
                      <a:pt x="31" y="118"/>
                    </a:lnTo>
                    <a:lnTo>
                      <a:pt x="28" y="115"/>
                    </a:lnTo>
                    <a:lnTo>
                      <a:pt x="25" y="111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18" y="106"/>
                    </a:lnTo>
                    <a:lnTo>
                      <a:pt x="15" y="108"/>
                    </a:lnTo>
                    <a:lnTo>
                      <a:pt x="14" y="109"/>
                    </a:lnTo>
                    <a:lnTo>
                      <a:pt x="12" y="114"/>
                    </a:lnTo>
                    <a:lnTo>
                      <a:pt x="12" y="114"/>
                    </a:lnTo>
                    <a:lnTo>
                      <a:pt x="12" y="116"/>
                    </a:lnTo>
                    <a:lnTo>
                      <a:pt x="10" y="118"/>
                    </a:lnTo>
                    <a:lnTo>
                      <a:pt x="7" y="121"/>
                    </a:lnTo>
                    <a:lnTo>
                      <a:pt x="4" y="124"/>
                    </a:lnTo>
                    <a:lnTo>
                      <a:pt x="4" y="124"/>
                    </a:lnTo>
                    <a:lnTo>
                      <a:pt x="4" y="126"/>
                    </a:lnTo>
                    <a:lnTo>
                      <a:pt x="5" y="128"/>
                    </a:lnTo>
                    <a:lnTo>
                      <a:pt x="8" y="129"/>
                    </a:lnTo>
                    <a:lnTo>
                      <a:pt x="10" y="131"/>
                    </a:lnTo>
                    <a:lnTo>
                      <a:pt x="10" y="131"/>
                    </a:lnTo>
                    <a:lnTo>
                      <a:pt x="8" y="133"/>
                    </a:lnTo>
                    <a:lnTo>
                      <a:pt x="7" y="135"/>
                    </a:lnTo>
                    <a:lnTo>
                      <a:pt x="4" y="136"/>
                    </a:lnTo>
                    <a:lnTo>
                      <a:pt x="4" y="136"/>
                    </a:lnTo>
                    <a:lnTo>
                      <a:pt x="1" y="141"/>
                    </a:lnTo>
                    <a:lnTo>
                      <a:pt x="0" y="143"/>
                    </a:lnTo>
                    <a:lnTo>
                      <a:pt x="0" y="146"/>
                    </a:lnTo>
                    <a:lnTo>
                      <a:pt x="0" y="146"/>
                    </a:lnTo>
                    <a:lnTo>
                      <a:pt x="2" y="148"/>
                    </a:lnTo>
                    <a:lnTo>
                      <a:pt x="5" y="148"/>
                    </a:lnTo>
                    <a:lnTo>
                      <a:pt x="8" y="149"/>
                    </a:lnTo>
                    <a:lnTo>
                      <a:pt x="10" y="152"/>
                    </a:lnTo>
                    <a:lnTo>
                      <a:pt x="10" y="152"/>
                    </a:lnTo>
                    <a:lnTo>
                      <a:pt x="10" y="159"/>
                    </a:lnTo>
                    <a:lnTo>
                      <a:pt x="10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8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5" y="162"/>
                    </a:lnTo>
                    <a:lnTo>
                      <a:pt x="28" y="163"/>
                    </a:lnTo>
                    <a:lnTo>
                      <a:pt x="34" y="172"/>
                    </a:lnTo>
                    <a:lnTo>
                      <a:pt x="34" y="172"/>
                    </a:lnTo>
                    <a:lnTo>
                      <a:pt x="38" y="179"/>
                    </a:lnTo>
                    <a:lnTo>
                      <a:pt x="38" y="180"/>
                    </a:lnTo>
                    <a:lnTo>
                      <a:pt x="35" y="182"/>
                    </a:lnTo>
                    <a:lnTo>
                      <a:pt x="35" y="182"/>
                    </a:lnTo>
                    <a:lnTo>
                      <a:pt x="34" y="183"/>
                    </a:lnTo>
                    <a:lnTo>
                      <a:pt x="34" y="185"/>
                    </a:lnTo>
                    <a:lnTo>
                      <a:pt x="35" y="186"/>
                    </a:lnTo>
                    <a:lnTo>
                      <a:pt x="39" y="189"/>
                    </a:lnTo>
                    <a:lnTo>
                      <a:pt x="39" y="189"/>
                    </a:lnTo>
                    <a:lnTo>
                      <a:pt x="44" y="192"/>
                    </a:lnTo>
                    <a:lnTo>
                      <a:pt x="44" y="192"/>
                    </a:lnTo>
                    <a:lnTo>
                      <a:pt x="48" y="190"/>
                    </a:lnTo>
                    <a:lnTo>
                      <a:pt x="48" y="190"/>
                    </a:lnTo>
                    <a:lnTo>
                      <a:pt x="55" y="185"/>
                    </a:lnTo>
                    <a:lnTo>
                      <a:pt x="64" y="180"/>
                    </a:lnTo>
                    <a:lnTo>
                      <a:pt x="72" y="179"/>
                    </a:lnTo>
                    <a:lnTo>
                      <a:pt x="81" y="179"/>
                    </a:lnTo>
                    <a:lnTo>
                      <a:pt x="81" y="179"/>
                    </a:lnTo>
                    <a:lnTo>
                      <a:pt x="89" y="180"/>
                    </a:lnTo>
                    <a:lnTo>
                      <a:pt x="95" y="180"/>
                    </a:lnTo>
                    <a:lnTo>
                      <a:pt x="101" y="180"/>
                    </a:lnTo>
                    <a:lnTo>
                      <a:pt x="103" y="182"/>
                    </a:lnTo>
                    <a:lnTo>
                      <a:pt x="106" y="183"/>
                    </a:lnTo>
                    <a:lnTo>
                      <a:pt x="106" y="183"/>
                    </a:lnTo>
                    <a:lnTo>
                      <a:pt x="106" y="186"/>
                    </a:lnTo>
                    <a:lnTo>
                      <a:pt x="108" y="189"/>
                    </a:lnTo>
                    <a:lnTo>
                      <a:pt x="108" y="196"/>
                    </a:lnTo>
                    <a:lnTo>
                      <a:pt x="108" y="203"/>
                    </a:lnTo>
                    <a:lnTo>
                      <a:pt x="108" y="207"/>
                    </a:lnTo>
                    <a:lnTo>
                      <a:pt x="108" y="207"/>
                    </a:lnTo>
                    <a:lnTo>
                      <a:pt x="108" y="209"/>
                    </a:lnTo>
                    <a:lnTo>
                      <a:pt x="106" y="210"/>
                    </a:lnTo>
                    <a:lnTo>
                      <a:pt x="103" y="212"/>
                    </a:lnTo>
                    <a:lnTo>
                      <a:pt x="98" y="212"/>
                    </a:lnTo>
                    <a:lnTo>
                      <a:pt x="92" y="212"/>
                    </a:lnTo>
                    <a:lnTo>
                      <a:pt x="92" y="212"/>
                    </a:lnTo>
                    <a:lnTo>
                      <a:pt x="85" y="212"/>
                    </a:lnTo>
                    <a:lnTo>
                      <a:pt x="78" y="213"/>
                    </a:lnTo>
                    <a:lnTo>
                      <a:pt x="74" y="216"/>
                    </a:lnTo>
                    <a:lnTo>
                      <a:pt x="72" y="217"/>
                    </a:lnTo>
                    <a:lnTo>
                      <a:pt x="72" y="219"/>
                    </a:lnTo>
                    <a:lnTo>
                      <a:pt x="72" y="219"/>
                    </a:lnTo>
                    <a:lnTo>
                      <a:pt x="75" y="227"/>
                    </a:lnTo>
                    <a:lnTo>
                      <a:pt x="75" y="229"/>
                    </a:lnTo>
                    <a:lnTo>
                      <a:pt x="74" y="229"/>
                    </a:lnTo>
                    <a:lnTo>
                      <a:pt x="69" y="227"/>
                    </a:lnTo>
                    <a:lnTo>
                      <a:pt x="69" y="227"/>
                    </a:lnTo>
                    <a:lnTo>
                      <a:pt x="66" y="226"/>
                    </a:lnTo>
                    <a:lnTo>
                      <a:pt x="64" y="226"/>
                    </a:lnTo>
                    <a:lnTo>
                      <a:pt x="61" y="227"/>
                    </a:lnTo>
                    <a:lnTo>
                      <a:pt x="59" y="229"/>
                    </a:lnTo>
                    <a:lnTo>
                      <a:pt x="59" y="232"/>
                    </a:lnTo>
                    <a:lnTo>
                      <a:pt x="59" y="233"/>
                    </a:lnTo>
                    <a:lnTo>
                      <a:pt x="62" y="233"/>
                    </a:lnTo>
                    <a:lnTo>
                      <a:pt x="62" y="233"/>
                    </a:lnTo>
                    <a:lnTo>
                      <a:pt x="65" y="234"/>
                    </a:lnTo>
                    <a:lnTo>
                      <a:pt x="69" y="236"/>
                    </a:lnTo>
                    <a:lnTo>
                      <a:pt x="72" y="240"/>
                    </a:lnTo>
                    <a:lnTo>
                      <a:pt x="74" y="243"/>
                    </a:lnTo>
                    <a:lnTo>
                      <a:pt x="74" y="243"/>
                    </a:lnTo>
                    <a:lnTo>
                      <a:pt x="75" y="252"/>
                    </a:lnTo>
                    <a:lnTo>
                      <a:pt x="76" y="254"/>
                    </a:lnTo>
                    <a:lnTo>
                      <a:pt x="78" y="256"/>
                    </a:lnTo>
                    <a:lnTo>
                      <a:pt x="79" y="256"/>
                    </a:lnTo>
                    <a:lnTo>
                      <a:pt x="79" y="256"/>
                    </a:lnTo>
                    <a:lnTo>
                      <a:pt x="82" y="256"/>
                    </a:lnTo>
                    <a:lnTo>
                      <a:pt x="84" y="259"/>
                    </a:lnTo>
                    <a:lnTo>
                      <a:pt x="86" y="261"/>
                    </a:lnTo>
                    <a:lnTo>
                      <a:pt x="91" y="263"/>
                    </a:lnTo>
                    <a:lnTo>
                      <a:pt x="91" y="263"/>
                    </a:lnTo>
                    <a:lnTo>
                      <a:pt x="95" y="263"/>
                    </a:lnTo>
                    <a:lnTo>
                      <a:pt x="99" y="264"/>
                    </a:lnTo>
                    <a:lnTo>
                      <a:pt x="101" y="266"/>
                    </a:lnTo>
                    <a:lnTo>
                      <a:pt x="98" y="270"/>
                    </a:lnTo>
                    <a:lnTo>
                      <a:pt x="98" y="270"/>
                    </a:lnTo>
                    <a:lnTo>
                      <a:pt x="96" y="273"/>
                    </a:lnTo>
                    <a:lnTo>
                      <a:pt x="96" y="277"/>
                    </a:lnTo>
                    <a:lnTo>
                      <a:pt x="98" y="284"/>
                    </a:lnTo>
                    <a:lnTo>
                      <a:pt x="101" y="290"/>
                    </a:lnTo>
                    <a:lnTo>
                      <a:pt x="102" y="290"/>
                    </a:lnTo>
                    <a:lnTo>
                      <a:pt x="103" y="290"/>
                    </a:lnTo>
                    <a:lnTo>
                      <a:pt x="103" y="290"/>
                    </a:lnTo>
                    <a:lnTo>
                      <a:pt x="103" y="284"/>
                    </a:lnTo>
                    <a:lnTo>
                      <a:pt x="105" y="279"/>
                    </a:lnTo>
                    <a:lnTo>
                      <a:pt x="105" y="279"/>
                    </a:lnTo>
                    <a:lnTo>
                      <a:pt x="105" y="276"/>
                    </a:lnTo>
                    <a:lnTo>
                      <a:pt x="106" y="274"/>
                    </a:lnTo>
                    <a:lnTo>
                      <a:pt x="108" y="273"/>
                    </a:lnTo>
                    <a:lnTo>
                      <a:pt x="111" y="271"/>
                    </a:lnTo>
                    <a:lnTo>
                      <a:pt x="116" y="270"/>
                    </a:lnTo>
                    <a:lnTo>
                      <a:pt x="122" y="270"/>
                    </a:lnTo>
                    <a:lnTo>
                      <a:pt x="122" y="270"/>
                    </a:lnTo>
                    <a:lnTo>
                      <a:pt x="126" y="271"/>
                    </a:lnTo>
                    <a:lnTo>
                      <a:pt x="132" y="274"/>
                    </a:lnTo>
                    <a:lnTo>
                      <a:pt x="136" y="280"/>
                    </a:lnTo>
                    <a:lnTo>
                      <a:pt x="142" y="286"/>
                    </a:lnTo>
                    <a:lnTo>
                      <a:pt x="142" y="286"/>
                    </a:lnTo>
                    <a:lnTo>
                      <a:pt x="146" y="289"/>
                    </a:lnTo>
                    <a:lnTo>
                      <a:pt x="149" y="290"/>
                    </a:lnTo>
                    <a:lnTo>
                      <a:pt x="152" y="289"/>
                    </a:lnTo>
                    <a:lnTo>
                      <a:pt x="153" y="289"/>
                    </a:lnTo>
                    <a:lnTo>
                      <a:pt x="155" y="217"/>
                    </a:lnTo>
                    <a:lnTo>
                      <a:pt x="196" y="206"/>
                    </a:lnTo>
                    <a:lnTo>
                      <a:pt x="196" y="206"/>
                    </a:lnTo>
                    <a:lnTo>
                      <a:pt x="197" y="203"/>
                    </a:lnTo>
                    <a:lnTo>
                      <a:pt x="197" y="203"/>
                    </a:lnTo>
                    <a:lnTo>
                      <a:pt x="199" y="202"/>
                    </a:lnTo>
                    <a:lnTo>
                      <a:pt x="200" y="200"/>
                    </a:lnTo>
                    <a:lnTo>
                      <a:pt x="204" y="200"/>
                    </a:lnTo>
                    <a:lnTo>
                      <a:pt x="209" y="202"/>
                    </a:lnTo>
                    <a:lnTo>
                      <a:pt x="212" y="205"/>
                    </a:lnTo>
                    <a:lnTo>
                      <a:pt x="212" y="205"/>
                    </a:lnTo>
                    <a:lnTo>
                      <a:pt x="212" y="205"/>
                    </a:lnTo>
                    <a:lnTo>
                      <a:pt x="213" y="203"/>
                    </a:lnTo>
                    <a:lnTo>
                      <a:pt x="213" y="200"/>
                    </a:lnTo>
                    <a:lnTo>
                      <a:pt x="214" y="197"/>
                    </a:lnTo>
                    <a:lnTo>
                      <a:pt x="216" y="196"/>
                    </a:lnTo>
                    <a:lnTo>
                      <a:pt x="219" y="196"/>
                    </a:lnTo>
                    <a:lnTo>
                      <a:pt x="219" y="196"/>
                    </a:lnTo>
                    <a:lnTo>
                      <a:pt x="220" y="197"/>
                    </a:lnTo>
                    <a:lnTo>
                      <a:pt x="220" y="197"/>
                    </a:lnTo>
                    <a:lnTo>
                      <a:pt x="220" y="202"/>
                    </a:lnTo>
                    <a:lnTo>
                      <a:pt x="220" y="205"/>
                    </a:lnTo>
                    <a:lnTo>
                      <a:pt x="220" y="206"/>
                    </a:lnTo>
                    <a:lnTo>
                      <a:pt x="222" y="206"/>
                    </a:lnTo>
                    <a:lnTo>
                      <a:pt x="222" y="206"/>
                    </a:lnTo>
                    <a:lnTo>
                      <a:pt x="224" y="207"/>
                    </a:lnTo>
                    <a:lnTo>
                      <a:pt x="229" y="213"/>
                    </a:lnTo>
                    <a:lnTo>
                      <a:pt x="230" y="220"/>
                    </a:lnTo>
                    <a:lnTo>
                      <a:pt x="230" y="227"/>
                    </a:lnTo>
                    <a:lnTo>
                      <a:pt x="230" y="227"/>
                    </a:lnTo>
                    <a:lnTo>
                      <a:pt x="241" y="237"/>
                    </a:lnTo>
                    <a:lnTo>
                      <a:pt x="249" y="247"/>
                    </a:lnTo>
                    <a:lnTo>
                      <a:pt x="249" y="247"/>
                    </a:lnTo>
                    <a:lnTo>
                      <a:pt x="250" y="249"/>
                    </a:lnTo>
                    <a:lnTo>
                      <a:pt x="253" y="249"/>
                    </a:lnTo>
                    <a:lnTo>
                      <a:pt x="258" y="247"/>
                    </a:lnTo>
                    <a:lnTo>
                      <a:pt x="266" y="246"/>
                    </a:lnTo>
                    <a:lnTo>
                      <a:pt x="270" y="246"/>
                    </a:lnTo>
                    <a:lnTo>
                      <a:pt x="270" y="246"/>
                    </a:lnTo>
                    <a:lnTo>
                      <a:pt x="286" y="247"/>
                    </a:lnTo>
                    <a:lnTo>
                      <a:pt x="303" y="247"/>
                    </a:lnTo>
                    <a:lnTo>
                      <a:pt x="303" y="247"/>
                    </a:lnTo>
                    <a:lnTo>
                      <a:pt x="305" y="249"/>
                    </a:lnTo>
                    <a:lnTo>
                      <a:pt x="308" y="252"/>
                    </a:lnTo>
                    <a:lnTo>
                      <a:pt x="311" y="254"/>
                    </a:lnTo>
                    <a:lnTo>
                      <a:pt x="315" y="257"/>
                    </a:lnTo>
                    <a:lnTo>
                      <a:pt x="315" y="257"/>
                    </a:lnTo>
                    <a:lnTo>
                      <a:pt x="318" y="259"/>
                    </a:lnTo>
                    <a:lnTo>
                      <a:pt x="318" y="263"/>
                    </a:lnTo>
                    <a:lnTo>
                      <a:pt x="318" y="271"/>
                    </a:lnTo>
                    <a:lnTo>
                      <a:pt x="318" y="271"/>
                    </a:lnTo>
                    <a:lnTo>
                      <a:pt x="320" y="276"/>
                    </a:lnTo>
                    <a:lnTo>
                      <a:pt x="323" y="280"/>
                    </a:lnTo>
                    <a:lnTo>
                      <a:pt x="325" y="284"/>
                    </a:lnTo>
                    <a:lnTo>
                      <a:pt x="328" y="289"/>
                    </a:lnTo>
                    <a:lnTo>
                      <a:pt x="328" y="289"/>
                    </a:lnTo>
                    <a:lnTo>
                      <a:pt x="328" y="290"/>
                    </a:lnTo>
                    <a:lnTo>
                      <a:pt x="330" y="291"/>
                    </a:lnTo>
                    <a:lnTo>
                      <a:pt x="332" y="291"/>
                    </a:lnTo>
                    <a:lnTo>
                      <a:pt x="341" y="293"/>
                    </a:lnTo>
                    <a:lnTo>
                      <a:pt x="341" y="293"/>
                    </a:lnTo>
                    <a:lnTo>
                      <a:pt x="350" y="296"/>
                    </a:lnTo>
                    <a:lnTo>
                      <a:pt x="354" y="297"/>
                    </a:lnTo>
                    <a:lnTo>
                      <a:pt x="355" y="300"/>
                    </a:lnTo>
                    <a:lnTo>
                      <a:pt x="355" y="300"/>
                    </a:lnTo>
                    <a:lnTo>
                      <a:pt x="357" y="303"/>
                    </a:lnTo>
                    <a:lnTo>
                      <a:pt x="358" y="303"/>
                    </a:lnTo>
                    <a:lnTo>
                      <a:pt x="361" y="301"/>
                    </a:lnTo>
                    <a:lnTo>
                      <a:pt x="362" y="298"/>
                    </a:lnTo>
                    <a:lnTo>
                      <a:pt x="362" y="298"/>
                    </a:lnTo>
                    <a:lnTo>
                      <a:pt x="364" y="296"/>
                    </a:lnTo>
                    <a:lnTo>
                      <a:pt x="367" y="291"/>
                    </a:lnTo>
                    <a:lnTo>
                      <a:pt x="372" y="289"/>
                    </a:lnTo>
                    <a:lnTo>
                      <a:pt x="379" y="286"/>
                    </a:lnTo>
                    <a:lnTo>
                      <a:pt x="379" y="286"/>
                    </a:lnTo>
                    <a:lnTo>
                      <a:pt x="384" y="284"/>
                    </a:lnTo>
                    <a:lnTo>
                      <a:pt x="388" y="284"/>
                    </a:lnTo>
                    <a:lnTo>
                      <a:pt x="388" y="284"/>
                    </a:lnTo>
                    <a:lnTo>
                      <a:pt x="391" y="279"/>
                    </a:lnTo>
                    <a:lnTo>
                      <a:pt x="394" y="276"/>
                    </a:lnTo>
                    <a:lnTo>
                      <a:pt x="394" y="276"/>
                    </a:lnTo>
                    <a:lnTo>
                      <a:pt x="399" y="271"/>
                    </a:lnTo>
                    <a:lnTo>
                      <a:pt x="402" y="269"/>
                    </a:lnTo>
                    <a:lnTo>
                      <a:pt x="404" y="264"/>
                    </a:lnTo>
                    <a:lnTo>
                      <a:pt x="404" y="264"/>
                    </a:lnTo>
                    <a:lnTo>
                      <a:pt x="404" y="263"/>
                    </a:lnTo>
                    <a:lnTo>
                      <a:pt x="405" y="261"/>
                    </a:lnTo>
                    <a:lnTo>
                      <a:pt x="411" y="261"/>
                    </a:lnTo>
                    <a:lnTo>
                      <a:pt x="418" y="261"/>
                    </a:lnTo>
                    <a:lnTo>
                      <a:pt x="425" y="264"/>
                    </a:lnTo>
                    <a:lnTo>
                      <a:pt x="425" y="264"/>
                    </a:lnTo>
                    <a:lnTo>
                      <a:pt x="431" y="267"/>
                    </a:lnTo>
                    <a:lnTo>
                      <a:pt x="435" y="267"/>
                    </a:lnTo>
                    <a:lnTo>
                      <a:pt x="438" y="266"/>
                    </a:lnTo>
                    <a:lnTo>
                      <a:pt x="439" y="261"/>
                    </a:lnTo>
                    <a:lnTo>
                      <a:pt x="439" y="261"/>
                    </a:lnTo>
                    <a:lnTo>
                      <a:pt x="439" y="260"/>
                    </a:lnTo>
                    <a:lnTo>
                      <a:pt x="441" y="257"/>
                    </a:lnTo>
                    <a:lnTo>
                      <a:pt x="446" y="256"/>
                    </a:lnTo>
                    <a:lnTo>
                      <a:pt x="452" y="254"/>
                    </a:lnTo>
                    <a:lnTo>
                      <a:pt x="456" y="256"/>
                    </a:lnTo>
                    <a:lnTo>
                      <a:pt x="456" y="256"/>
                    </a:lnTo>
                    <a:lnTo>
                      <a:pt x="466" y="260"/>
                    </a:lnTo>
                    <a:lnTo>
                      <a:pt x="472" y="261"/>
                    </a:lnTo>
                    <a:lnTo>
                      <a:pt x="478" y="261"/>
                    </a:lnTo>
                    <a:lnTo>
                      <a:pt x="478" y="261"/>
                    </a:lnTo>
                    <a:lnTo>
                      <a:pt x="485" y="260"/>
                    </a:lnTo>
                    <a:lnTo>
                      <a:pt x="497" y="261"/>
                    </a:lnTo>
                    <a:lnTo>
                      <a:pt x="519" y="264"/>
                    </a:lnTo>
                    <a:lnTo>
                      <a:pt x="519" y="264"/>
                    </a:lnTo>
                    <a:lnTo>
                      <a:pt x="523" y="264"/>
                    </a:lnTo>
                    <a:lnTo>
                      <a:pt x="526" y="264"/>
                    </a:lnTo>
                    <a:lnTo>
                      <a:pt x="529" y="264"/>
                    </a:lnTo>
                    <a:lnTo>
                      <a:pt x="533" y="269"/>
                    </a:lnTo>
                    <a:lnTo>
                      <a:pt x="533" y="269"/>
                    </a:lnTo>
                    <a:lnTo>
                      <a:pt x="537" y="270"/>
                    </a:lnTo>
                    <a:lnTo>
                      <a:pt x="540" y="271"/>
                    </a:lnTo>
                    <a:lnTo>
                      <a:pt x="543" y="271"/>
                    </a:lnTo>
                    <a:lnTo>
                      <a:pt x="547" y="273"/>
                    </a:lnTo>
                    <a:lnTo>
                      <a:pt x="547" y="273"/>
                    </a:lnTo>
                    <a:lnTo>
                      <a:pt x="546" y="267"/>
                    </a:lnTo>
                    <a:lnTo>
                      <a:pt x="546" y="267"/>
                    </a:lnTo>
                    <a:lnTo>
                      <a:pt x="547" y="263"/>
                    </a:lnTo>
                    <a:lnTo>
                      <a:pt x="550" y="260"/>
                    </a:lnTo>
                    <a:lnTo>
                      <a:pt x="553" y="257"/>
                    </a:lnTo>
                    <a:lnTo>
                      <a:pt x="554" y="254"/>
                    </a:lnTo>
                    <a:lnTo>
                      <a:pt x="554" y="254"/>
                    </a:lnTo>
                    <a:lnTo>
                      <a:pt x="554" y="252"/>
                    </a:lnTo>
                    <a:lnTo>
                      <a:pt x="552" y="246"/>
                    </a:lnTo>
                    <a:lnTo>
                      <a:pt x="550" y="240"/>
                    </a:lnTo>
                    <a:lnTo>
                      <a:pt x="549" y="237"/>
                    </a:lnTo>
                    <a:lnTo>
                      <a:pt x="549" y="237"/>
                    </a:lnTo>
                    <a:lnTo>
                      <a:pt x="549" y="229"/>
                    </a:lnTo>
                    <a:lnTo>
                      <a:pt x="547" y="226"/>
                    </a:lnTo>
                    <a:lnTo>
                      <a:pt x="544" y="223"/>
                    </a:lnTo>
                    <a:lnTo>
                      <a:pt x="544" y="223"/>
                    </a:lnTo>
                    <a:lnTo>
                      <a:pt x="544" y="222"/>
                    </a:lnTo>
                    <a:lnTo>
                      <a:pt x="544" y="222"/>
                    </a:lnTo>
                    <a:lnTo>
                      <a:pt x="547" y="219"/>
                    </a:lnTo>
                    <a:lnTo>
                      <a:pt x="554" y="216"/>
                    </a:lnTo>
                    <a:lnTo>
                      <a:pt x="554" y="216"/>
                    </a:lnTo>
                    <a:lnTo>
                      <a:pt x="559" y="216"/>
                    </a:lnTo>
                    <a:lnTo>
                      <a:pt x="563" y="215"/>
                    </a:lnTo>
                    <a:lnTo>
                      <a:pt x="567" y="213"/>
                    </a:lnTo>
                    <a:lnTo>
                      <a:pt x="569" y="213"/>
                    </a:lnTo>
                    <a:lnTo>
                      <a:pt x="569" y="213"/>
                    </a:lnTo>
                    <a:lnTo>
                      <a:pt x="574" y="216"/>
                    </a:lnTo>
                    <a:lnTo>
                      <a:pt x="581" y="216"/>
                    </a:lnTo>
                    <a:lnTo>
                      <a:pt x="581" y="216"/>
                    </a:lnTo>
                    <a:lnTo>
                      <a:pt x="583" y="216"/>
                    </a:lnTo>
                    <a:lnTo>
                      <a:pt x="583" y="213"/>
                    </a:lnTo>
                    <a:lnTo>
                      <a:pt x="583" y="212"/>
                    </a:lnTo>
                    <a:lnTo>
                      <a:pt x="581" y="209"/>
                    </a:lnTo>
                    <a:lnTo>
                      <a:pt x="581" y="209"/>
                    </a:lnTo>
                    <a:lnTo>
                      <a:pt x="580" y="207"/>
                    </a:lnTo>
                    <a:lnTo>
                      <a:pt x="581" y="205"/>
                    </a:lnTo>
                    <a:lnTo>
                      <a:pt x="584" y="196"/>
                    </a:lnTo>
                    <a:lnTo>
                      <a:pt x="590" y="179"/>
                    </a:lnTo>
                    <a:lnTo>
                      <a:pt x="590" y="179"/>
                    </a:lnTo>
                    <a:lnTo>
                      <a:pt x="593" y="175"/>
                    </a:lnTo>
                    <a:lnTo>
                      <a:pt x="594" y="175"/>
                    </a:lnTo>
                    <a:lnTo>
                      <a:pt x="597" y="178"/>
                    </a:lnTo>
                    <a:lnTo>
                      <a:pt x="601" y="179"/>
                    </a:lnTo>
                    <a:lnTo>
                      <a:pt x="601" y="179"/>
                    </a:lnTo>
                    <a:lnTo>
                      <a:pt x="610" y="179"/>
                    </a:lnTo>
                    <a:lnTo>
                      <a:pt x="616" y="179"/>
                    </a:lnTo>
                    <a:lnTo>
                      <a:pt x="616" y="179"/>
                    </a:lnTo>
                    <a:lnTo>
                      <a:pt x="620" y="180"/>
                    </a:lnTo>
                    <a:lnTo>
                      <a:pt x="624" y="179"/>
                    </a:lnTo>
                    <a:lnTo>
                      <a:pt x="628" y="176"/>
                    </a:lnTo>
                    <a:lnTo>
                      <a:pt x="631" y="175"/>
                    </a:lnTo>
                    <a:lnTo>
                      <a:pt x="631" y="175"/>
                    </a:lnTo>
                    <a:lnTo>
                      <a:pt x="631" y="172"/>
                    </a:lnTo>
                    <a:lnTo>
                      <a:pt x="631" y="169"/>
                    </a:lnTo>
                    <a:lnTo>
                      <a:pt x="630" y="166"/>
                    </a:lnTo>
                    <a:lnTo>
                      <a:pt x="628" y="162"/>
                    </a:lnTo>
                    <a:lnTo>
                      <a:pt x="628" y="162"/>
                    </a:lnTo>
                    <a:lnTo>
                      <a:pt x="630" y="156"/>
                    </a:lnTo>
                    <a:lnTo>
                      <a:pt x="633" y="152"/>
                    </a:lnTo>
                    <a:lnTo>
                      <a:pt x="635" y="149"/>
                    </a:lnTo>
                    <a:lnTo>
                      <a:pt x="640" y="149"/>
                    </a:lnTo>
                    <a:lnTo>
                      <a:pt x="640" y="149"/>
                    </a:lnTo>
                    <a:lnTo>
                      <a:pt x="643" y="148"/>
                    </a:lnTo>
                    <a:lnTo>
                      <a:pt x="645" y="146"/>
                    </a:lnTo>
                    <a:lnTo>
                      <a:pt x="645" y="143"/>
                    </a:lnTo>
                    <a:lnTo>
                      <a:pt x="647" y="141"/>
                    </a:lnTo>
                    <a:lnTo>
                      <a:pt x="647" y="141"/>
                    </a:lnTo>
                    <a:lnTo>
                      <a:pt x="647" y="138"/>
                    </a:lnTo>
                    <a:lnTo>
                      <a:pt x="648" y="135"/>
                    </a:lnTo>
                    <a:lnTo>
                      <a:pt x="651" y="133"/>
                    </a:lnTo>
                    <a:lnTo>
                      <a:pt x="653" y="129"/>
                    </a:lnTo>
                    <a:lnTo>
                      <a:pt x="653" y="129"/>
                    </a:lnTo>
                    <a:lnTo>
                      <a:pt x="650" y="126"/>
                    </a:lnTo>
                    <a:lnTo>
                      <a:pt x="648" y="124"/>
                    </a:lnTo>
                    <a:lnTo>
                      <a:pt x="648" y="124"/>
                    </a:lnTo>
                    <a:close/>
                    <a:moveTo>
                      <a:pt x="243" y="193"/>
                    </a:moveTo>
                    <a:lnTo>
                      <a:pt x="243" y="193"/>
                    </a:lnTo>
                    <a:lnTo>
                      <a:pt x="239" y="195"/>
                    </a:lnTo>
                    <a:lnTo>
                      <a:pt x="231" y="193"/>
                    </a:lnTo>
                    <a:lnTo>
                      <a:pt x="224" y="190"/>
                    </a:lnTo>
                    <a:lnTo>
                      <a:pt x="220" y="188"/>
                    </a:lnTo>
                    <a:lnTo>
                      <a:pt x="220" y="188"/>
                    </a:lnTo>
                    <a:lnTo>
                      <a:pt x="222" y="186"/>
                    </a:lnTo>
                    <a:lnTo>
                      <a:pt x="224" y="186"/>
                    </a:lnTo>
                    <a:lnTo>
                      <a:pt x="233" y="186"/>
                    </a:lnTo>
                    <a:lnTo>
                      <a:pt x="241" y="189"/>
                    </a:lnTo>
                    <a:lnTo>
                      <a:pt x="243" y="192"/>
                    </a:lnTo>
                    <a:lnTo>
                      <a:pt x="243" y="193"/>
                    </a:lnTo>
                    <a:lnTo>
                      <a:pt x="243" y="193"/>
                    </a:lnTo>
                    <a:close/>
                    <a:moveTo>
                      <a:pt x="512" y="192"/>
                    </a:moveTo>
                    <a:lnTo>
                      <a:pt x="512" y="192"/>
                    </a:lnTo>
                    <a:lnTo>
                      <a:pt x="499" y="190"/>
                    </a:lnTo>
                    <a:lnTo>
                      <a:pt x="485" y="190"/>
                    </a:lnTo>
                    <a:lnTo>
                      <a:pt x="476" y="190"/>
                    </a:lnTo>
                    <a:lnTo>
                      <a:pt x="469" y="192"/>
                    </a:lnTo>
                    <a:lnTo>
                      <a:pt x="463" y="193"/>
                    </a:lnTo>
                    <a:lnTo>
                      <a:pt x="458" y="197"/>
                    </a:lnTo>
                    <a:lnTo>
                      <a:pt x="458" y="197"/>
                    </a:lnTo>
                    <a:lnTo>
                      <a:pt x="453" y="202"/>
                    </a:lnTo>
                    <a:lnTo>
                      <a:pt x="452" y="206"/>
                    </a:lnTo>
                    <a:lnTo>
                      <a:pt x="451" y="213"/>
                    </a:lnTo>
                    <a:lnTo>
                      <a:pt x="451" y="216"/>
                    </a:lnTo>
                    <a:lnTo>
                      <a:pt x="451" y="217"/>
                    </a:lnTo>
                    <a:lnTo>
                      <a:pt x="449" y="219"/>
                    </a:lnTo>
                    <a:lnTo>
                      <a:pt x="449" y="219"/>
                    </a:lnTo>
                    <a:lnTo>
                      <a:pt x="446" y="217"/>
                    </a:lnTo>
                    <a:lnTo>
                      <a:pt x="445" y="216"/>
                    </a:lnTo>
                    <a:lnTo>
                      <a:pt x="443" y="207"/>
                    </a:lnTo>
                    <a:lnTo>
                      <a:pt x="443" y="199"/>
                    </a:lnTo>
                    <a:lnTo>
                      <a:pt x="445" y="195"/>
                    </a:lnTo>
                    <a:lnTo>
                      <a:pt x="448" y="192"/>
                    </a:lnTo>
                    <a:lnTo>
                      <a:pt x="448" y="192"/>
                    </a:lnTo>
                    <a:lnTo>
                      <a:pt x="451" y="190"/>
                    </a:lnTo>
                    <a:lnTo>
                      <a:pt x="455" y="188"/>
                    </a:lnTo>
                    <a:lnTo>
                      <a:pt x="465" y="185"/>
                    </a:lnTo>
                    <a:lnTo>
                      <a:pt x="478" y="185"/>
                    </a:lnTo>
                    <a:lnTo>
                      <a:pt x="489" y="186"/>
                    </a:lnTo>
                    <a:lnTo>
                      <a:pt x="489" y="186"/>
                    </a:lnTo>
                    <a:lnTo>
                      <a:pt x="500" y="188"/>
                    </a:lnTo>
                    <a:lnTo>
                      <a:pt x="512" y="186"/>
                    </a:lnTo>
                    <a:lnTo>
                      <a:pt x="523" y="185"/>
                    </a:lnTo>
                    <a:lnTo>
                      <a:pt x="529" y="185"/>
                    </a:lnTo>
                    <a:lnTo>
                      <a:pt x="529" y="185"/>
                    </a:lnTo>
                    <a:lnTo>
                      <a:pt x="529" y="185"/>
                    </a:lnTo>
                    <a:lnTo>
                      <a:pt x="529" y="186"/>
                    </a:lnTo>
                    <a:lnTo>
                      <a:pt x="526" y="188"/>
                    </a:lnTo>
                    <a:lnTo>
                      <a:pt x="520" y="190"/>
                    </a:lnTo>
                    <a:lnTo>
                      <a:pt x="512" y="192"/>
                    </a:lnTo>
                    <a:lnTo>
                      <a:pt x="512" y="192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36" name="Tajikistan">
                <a:extLst>
                  <a:ext uri="{FF2B5EF4-FFF2-40B4-BE49-F238E27FC236}">
                    <a16:creationId xmlns:a16="http://schemas.microsoft.com/office/drawing/2014/main" id="{67E72D5E-B755-CEEB-E17A-1F564051F2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6003" y="3278331"/>
                <a:ext cx="182014" cy="119863"/>
              </a:xfrm>
              <a:custGeom>
                <a:avLst/>
                <a:gdLst/>
                <a:ahLst/>
                <a:cxnLst>
                  <a:cxn ang="0">
                    <a:pos x="103" y="68"/>
                  </a:cxn>
                  <a:cxn ang="0">
                    <a:pos x="107" y="70"/>
                  </a:cxn>
                  <a:cxn ang="0">
                    <a:pos x="117" y="72"/>
                  </a:cxn>
                  <a:cxn ang="0">
                    <a:pos x="120" y="51"/>
                  </a:cxn>
                  <a:cxn ang="0">
                    <a:pos x="117" y="47"/>
                  </a:cxn>
                  <a:cxn ang="0">
                    <a:pos x="101" y="27"/>
                  </a:cxn>
                  <a:cxn ang="0">
                    <a:pos x="86" y="28"/>
                  </a:cxn>
                  <a:cxn ang="0">
                    <a:pos x="77" y="27"/>
                  </a:cxn>
                  <a:cxn ang="0">
                    <a:pos x="67" y="26"/>
                  </a:cxn>
                  <a:cxn ang="0">
                    <a:pos x="64" y="24"/>
                  </a:cxn>
                  <a:cxn ang="0">
                    <a:pos x="54" y="26"/>
                  </a:cxn>
                  <a:cxn ang="0">
                    <a:pos x="50" y="24"/>
                  </a:cxn>
                  <a:cxn ang="0">
                    <a:pos x="33" y="24"/>
                  </a:cxn>
                  <a:cxn ang="0">
                    <a:pos x="30" y="23"/>
                  </a:cxn>
                  <a:cxn ang="0">
                    <a:pos x="37" y="14"/>
                  </a:cxn>
                  <a:cxn ang="0">
                    <a:pos x="46" y="13"/>
                  </a:cxn>
                  <a:cxn ang="0">
                    <a:pos x="52" y="3"/>
                  </a:cxn>
                  <a:cxn ang="0">
                    <a:pos x="50" y="0"/>
                  </a:cxn>
                  <a:cxn ang="0">
                    <a:pos x="42" y="3"/>
                  </a:cxn>
                  <a:cxn ang="0">
                    <a:pos x="30" y="4"/>
                  </a:cxn>
                  <a:cxn ang="0">
                    <a:pos x="26" y="11"/>
                  </a:cxn>
                  <a:cxn ang="0">
                    <a:pos x="22" y="14"/>
                  </a:cxn>
                  <a:cxn ang="0">
                    <a:pos x="17" y="21"/>
                  </a:cxn>
                  <a:cxn ang="0">
                    <a:pos x="8" y="26"/>
                  </a:cxn>
                  <a:cxn ang="0">
                    <a:pos x="0" y="28"/>
                  </a:cxn>
                  <a:cxn ang="0">
                    <a:pos x="6" y="34"/>
                  </a:cxn>
                  <a:cxn ang="0">
                    <a:pos x="10" y="41"/>
                  </a:cxn>
                  <a:cxn ang="0">
                    <a:pos x="13" y="48"/>
                  </a:cxn>
                  <a:cxn ang="0">
                    <a:pos x="13" y="55"/>
                  </a:cxn>
                  <a:cxn ang="0">
                    <a:pos x="8" y="61"/>
                  </a:cxn>
                  <a:cxn ang="0">
                    <a:pos x="6" y="72"/>
                  </a:cxn>
                  <a:cxn ang="0">
                    <a:pos x="13" y="72"/>
                  </a:cxn>
                  <a:cxn ang="0">
                    <a:pos x="17" y="71"/>
                  </a:cxn>
                  <a:cxn ang="0">
                    <a:pos x="29" y="70"/>
                  </a:cxn>
                  <a:cxn ang="0">
                    <a:pos x="30" y="67"/>
                  </a:cxn>
                  <a:cxn ang="0">
                    <a:pos x="43" y="63"/>
                  </a:cxn>
                  <a:cxn ang="0">
                    <a:pos x="45" y="61"/>
                  </a:cxn>
                  <a:cxn ang="0">
                    <a:pos x="54" y="48"/>
                  </a:cxn>
                  <a:cxn ang="0">
                    <a:pos x="62" y="47"/>
                  </a:cxn>
                  <a:cxn ang="0">
                    <a:pos x="63" y="57"/>
                  </a:cxn>
                  <a:cxn ang="0">
                    <a:pos x="66" y="60"/>
                  </a:cxn>
                  <a:cxn ang="0">
                    <a:pos x="67" y="70"/>
                  </a:cxn>
                  <a:cxn ang="0">
                    <a:pos x="67" y="80"/>
                  </a:cxn>
                  <a:cxn ang="0">
                    <a:pos x="74" y="80"/>
                  </a:cxn>
                  <a:cxn ang="0">
                    <a:pos x="83" y="77"/>
                  </a:cxn>
                  <a:cxn ang="0">
                    <a:pos x="100" y="65"/>
                  </a:cxn>
                </a:cxnLst>
                <a:rect l="0" t="0" r="r" b="b"/>
                <a:pathLst>
                  <a:path w="123" h="81">
                    <a:moveTo>
                      <a:pt x="100" y="65"/>
                    </a:moveTo>
                    <a:lnTo>
                      <a:pt x="100" y="65"/>
                    </a:lnTo>
                    <a:lnTo>
                      <a:pt x="103" y="68"/>
                    </a:lnTo>
                    <a:lnTo>
                      <a:pt x="104" y="70"/>
                    </a:lnTo>
                    <a:lnTo>
                      <a:pt x="107" y="70"/>
                    </a:lnTo>
                    <a:lnTo>
                      <a:pt x="107" y="70"/>
                    </a:lnTo>
                    <a:lnTo>
                      <a:pt x="111" y="70"/>
                    </a:lnTo>
                    <a:lnTo>
                      <a:pt x="117" y="72"/>
                    </a:lnTo>
                    <a:lnTo>
                      <a:pt x="117" y="72"/>
                    </a:lnTo>
                    <a:lnTo>
                      <a:pt x="123" y="72"/>
                    </a:lnTo>
                    <a:lnTo>
                      <a:pt x="123" y="72"/>
                    </a:lnTo>
                    <a:lnTo>
                      <a:pt x="120" y="51"/>
                    </a:lnTo>
                    <a:lnTo>
                      <a:pt x="120" y="51"/>
                    </a:lnTo>
                    <a:lnTo>
                      <a:pt x="118" y="48"/>
                    </a:lnTo>
                    <a:lnTo>
                      <a:pt x="117" y="47"/>
                    </a:lnTo>
                    <a:lnTo>
                      <a:pt x="111" y="44"/>
                    </a:lnTo>
                    <a:lnTo>
                      <a:pt x="104" y="41"/>
                    </a:lnTo>
                    <a:lnTo>
                      <a:pt x="101" y="27"/>
                    </a:lnTo>
                    <a:lnTo>
                      <a:pt x="101" y="27"/>
                    </a:lnTo>
                    <a:lnTo>
                      <a:pt x="91" y="28"/>
                    </a:lnTo>
                    <a:lnTo>
                      <a:pt x="86" y="28"/>
                    </a:lnTo>
                    <a:lnTo>
                      <a:pt x="80" y="28"/>
                    </a:lnTo>
                    <a:lnTo>
                      <a:pt x="80" y="28"/>
                    </a:lnTo>
                    <a:lnTo>
                      <a:pt x="77" y="27"/>
                    </a:lnTo>
                    <a:lnTo>
                      <a:pt x="74" y="28"/>
                    </a:lnTo>
                    <a:lnTo>
                      <a:pt x="70" y="27"/>
                    </a:lnTo>
                    <a:lnTo>
                      <a:pt x="67" y="26"/>
                    </a:lnTo>
                    <a:lnTo>
                      <a:pt x="67" y="26"/>
                    </a:lnTo>
                    <a:lnTo>
                      <a:pt x="66" y="24"/>
                    </a:lnTo>
                    <a:lnTo>
                      <a:pt x="64" y="24"/>
                    </a:lnTo>
                    <a:lnTo>
                      <a:pt x="62" y="24"/>
                    </a:lnTo>
                    <a:lnTo>
                      <a:pt x="57" y="26"/>
                    </a:lnTo>
                    <a:lnTo>
                      <a:pt x="54" y="26"/>
                    </a:lnTo>
                    <a:lnTo>
                      <a:pt x="53" y="24"/>
                    </a:lnTo>
                    <a:lnTo>
                      <a:pt x="53" y="24"/>
                    </a:lnTo>
                    <a:lnTo>
                      <a:pt x="50" y="24"/>
                    </a:lnTo>
                    <a:lnTo>
                      <a:pt x="47" y="23"/>
                    </a:lnTo>
                    <a:lnTo>
                      <a:pt x="39" y="24"/>
                    </a:lnTo>
                    <a:lnTo>
                      <a:pt x="33" y="24"/>
                    </a:lnTo>
                    <a:lnTo>
                      <a:pt x="30" y="24"/>
                    </a:lnTo>
                    <a:lnTo>
                      <a:pt x="30" y="23"/>
                    </a:lnTo>
                    <a:lnTo>
                      <a:pt x="30" y="23"/>
                    </a:lnTo>
                    <a:lnTo>
                      <a:pt x="30" y="20"/>
                    </a:lnTo>
                    <a:lnTo>
                      <a:pt x="33" y="17"/>
                    </a:lnTo>
                    <a:lnTo>
                      <a:pt x="37" y="14"/>
                    </a:lnTo>
                    <a:lnTo>
                      <a:pt x="42" y="13"/>
                    </a:lnTo>
                    <a:lnTo>
                      <a:pt x="42" y="13"/>
                    </a:lnTo>
                    <a:lnTo>
                      <a:pt x="46" y="13"/>
                    </a:lnTo>
                    <a:lnTo>
                      <a:pt x="46" y="13"/>
                    </a:lnTo>
                    <a:lnTo>
                      <a:pt x="50" y="6"/>
                    </a:lnTo>
                    <a:lnTo>
                      <a:pt x="52" y="3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0" y="0"/>
                    </a:lnTo>
                    <a:lnTo>
                      <a:pt x="47" y="0"/>
                    </a:lnTo>
                    <a:lnTo>
                      <a:pt x="42" y="3"/>
                    </a:lnTo>
                    <a:lnTo>
                      <a:pt x="42" y="3"/>
                    </a:lnTo>
                    <a:lnTo>
                      <a:pt x="37" y="4"/>
                    </a:lnTo>
                    <a:lnTo>
                      <a:pt x="35" y="4"/>
                    </a:lnTo>
                    <a:lnTo>
                      <a:pt x="30" y="4"/>
                    </a:lnTo>
                    <a:lnTo>
                      <a:pt x="29" y="6"/>
                    </a:lnTo>
                    <a:lnTo>
                      <a:pt x="29" y="6"/>
                    </a:lnTo>
                    <a:lnTo>
                      <a:pt x="26" y="11"/>
                    </a:lnTo>
                    <a:lnTo>
                      <a:pt x="23" y="13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19" y="16"/>
                    </a:lnTo>
                    <a:lnTo>
                      <a:pt x="19" y="18"/>
                    </a:lnTo>
                    <a:lnTo>
                      <a:pt x="17" y="21"/>
                    </a:lnTo>
                    <a:lnTo>
                      <a:pt x="16" y="23"/>
                    </a:lnTo>
                    <a:lnTo>
                      <a:pt x="16" y="23"/>
                    </a:lnTo>
                    <a:lnTo>
                      <a:pt x="8" y="26"/>
                    </a:lnTo>
                    <a:lnTo>
                      <a:pt x="3" y="27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2" y="31"/>
                    </a:lnTo>
                    <a:lnTo>
                      <a:pt x="6" y="34"/>
                    </a:lnTo>
                    <a:lnTo>
                      <a:pt x="9" y="37"/>
                    </a:lnTo>
                    <a:lnTo>
                      <a:pt x="10" y="40"/>
                    </a:lnTo>
                    <a:lnTo>
                      <a:pt x="10" y="41"/>
                    </a:lnTo>
                    <a:lnTo>
                      <a:pt x="10" y="41"/>
                    </a:lnTo>
                    <a:lnTo>
                      <a:pt x="12" y="45"/>
                    </a:lnTo>
                    <a:lnTo>
                      <a:pt x="13" y="48"/>
                    </a:lnTo>
                    <a:lnTo>
                      <a:pt x="13" y="53"/>
                    </a:lnTo>
                    <a:lnTo>
                      <a:pt x="13" y="54"/>
                    </a:lnTo>
                    <a:lnTo>
                      <a:pt x="13" y="55"/>
                    </a:lnTo>
                    <a:lnTo>
                      <a:pt x="13" y="55"/>
                    </a:lnTo>
                    <a:lnTo>
                      <a:pt x="10" y="58"/>
                    </a:lnTo>
                    <a:lnTo>
                      <a:pt x="8" y="61"/>
                    </a:lnTo>
                    <a:lnTo>
                      <a:pt x="6" y="65"/>
                    </a:lnTo>
                    <a:lnTo>
                      <a:pt x="6" y="72"/>
                    </a:lnTo>
                    <a:lnTo>
                      <a:pt x="6" y="72"/>
                    </a:lnTo>
                    <a:lnTo>
                      <a:pt x="10" y="74"/>
                    </a:lnTo>
                    <a:lnTo>
                      <a:pt x="12" y="74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5" y="71"/>
                    </a:lnTo>
                    <a:lnTo>
                      <a:pt x="17" y="71"/>
                    </a:lnTo>
                    <a:lnTo>
                      <a:pt x="23" y="71"/>
                    </a:lnTo>
                    <a:lnTo>
                      <a:pt x="27" y="70"/>
                    </a:lnTo>
                    <a:lnTo>
                      <a:pt x="29" y="70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67"/>
                    </a:lnTo>
                    <a:lnTo>
                      <a:pt x="32" y="65"/>
                    </a:lnTo>
                    <a:lnTo>
                      <a:pt x="37" y="64"/>
                    </a:lnTo>
                    <a:lnTo>
                      <a:pt x="43" y="63"/>
                    </a:lnTo>
                    <a:lnTo>
                      <a:pt x="45" y="63"/>
                    </a:lnTo>
                    <a:lnTo>
                      <a:pt x="45" y="61"/>
                    </a:lnTo>
                    <a:lnTo>
                      <a:pt x="45" y="61"/>
                    </a:lnTo>
                    <a:lnTo>
                      <a:pt x="46" y="57"/>
                    </a:lnTo>
                    <a:lnTo>
                      <a:pt x="50" y="53"/>
                    </a:lnTo>
                    <a:lnTo>
                      <a:pt x="54" y="48"/>
                    </a:lnTo>
                    <a:lnTo>
                      <a:pt x="60" y="47"/>
                    </a:lnTo>
                    <a:lnTo>
                      <a:pt x="60" y="47"/>
                    </a:lnTo>
                    <a:lnTo>
                      <a:pt x="62" y="47"/>
                    </a:lnTo>
                    <a:lnTo>
                      <a:pt x="62" y="48"/>
                    </a:lnTo>
                    <a:lnTo>
                      <a:pt x="63" y="53"/>
                    </a:lnTo>
                    <a:lnTo>
                      <a:pt x="63" y="57"/>
                    </a:lnTo>
                    <a:lnTo>
                      <a:pt x="64" y="58"/>
                    </a:lnTo>
                    <a:lnTo>
                      <a:pt x="66" y="60"/>
                    </a:lnTo>
                    <a:lnTo>
                      <a:pt x="66" y="60"/>
                    </a:lnTo>
                    <a:lnTo>
                      <a:pt x="67" y="61"/>
                    </a:lnTo>
                    <a:lnTo>
                      <a:pt x="69" y="64"/>
                    </a:lnTo>
                    <a:lnTo>
                      <a:pt x="67" y="70"/>
                    </a:lnTo>
                    <a:lnTo>
                      <a:pt x="66" y="75"/>
                    </a:lnTo>
                    <a:lnTo>
                      <a:pt x="66" y="77"/>
                    </a:lnTo>
                    <a:lnTo>
                      <a:pt x="67" y="80"/>
                    </a:lnTo>
                    <a:lnTo>
                      <a:pt x="67" y="80"/>
                    </a:lnTo>
                    <a:lnTo>
                      <a:pt x="70" y="81"/>
                    </a:lnTo>
                    <a:lnTo>
                      <a:pt x="74" y="80"/>
                    </a:lnTo>
                    <a:lnTo>
                      <a:pt x="74" y="80"/>
                    </a:lnTo>
                    <a:lnTo>
                      <a:pt x="83" y="77"/>
                    </a:lnTo>
                    <a:lnTo>
                      <a:pt x="83" y="77"/>
                    </a:lnTo>
                    <a:lnTo>
                      <a:pt x="93" y="68"/>
                    </a:lnTo>
                    <a:lnTo>
                      <a:pt x="97" y="65"/>
                    </a:lnTo>
                    <a:lnTo>
                      <a:pt x="100" y="65"/>
                    </a:lnTo>
                    <a:lnTo>
                      <a:pt x="100" y="65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37" name="Armenia">
                <a:extLst>
                  <a:ext uri="{FF2B5EF4-FFF2-40B4-BE49-F238E27FC236}">
                    <a16:creationId xmlns:a16="http://schemas.microsoft.com/office/drawing/2014/main" id="{122D71F0-122F-AC07-6A2A-43A0F802B0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1488" y="3263533"/>
                <a:ext cx="79908" cy="66591"/>
              </a:xfrm>
              <a:custGeom>
                <a:avLst/>
                <a:gdLst/>
                <a:ahLst/>
                <a:cxnLst>
                  <a:cxn ang="0">
                    <a:pos x="51" y="36"/>
                  </a:cxn>
                  <a:cxn ang="0">
                    <a:pos x="51" y="36"/>
                  </a:cxn>
                  <a:cxn ang="0">
                    <a:pos x="48" y="33"/>
                  </a:cxn>
                  <a:cxn ang="0">
                    <a:pos x="45" y="30"/>
                  </a:cxn>
                  <a:cxn ang="0">
                    <a:pos x="43" y="27"/>
                  </a:cxn>
                  <a:cxn ang="0">
                    <a:pos x="41" y="24"/>
                  </a:cxn>
                  <a:cxn ang="0">
                    <a:pos x="41" y="24"/>
                  </a:cxn>
                  <a:cxn ang="0">
                    <a:pos x="40" y="20"/>
                  </a:cxn>
                  <a:cxn ang="0">
                    <a:pos x="37" y="17"/>
                  </a:cxn>
                  <a:cxn ang="0">
                    <a:pos x="36" y="14"/>
                  </a:cxn>
                  <a:cxn ang="0">
                    <a:pos x="36" y="11"/>
                  </a:cxn>
                  <a:cxn ang="0">
                    <a:pos x="36" y="11"/>
                  </a:cxn>
                  <a:cxn ang="0">
                    <a:pos x="34" y="8"/>
                  </a:cxn>
                  <a:cxn ang="0">
                    <a:pos x="34" y="6"/>
                  </a:cxn>
                  <a:cxn ang="0">
                    <a:pos x="30" y="1"/>
                  </a:cxn>
                  <a:cxn ang="0">
                    <a:pos x="30" y="1"/>
                  </a:cxn>
                  <a:cxn ang="0">
                    <a:pos x="23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6"/>
                  </a:cxn>
                  <a:cxn ang="0">
                    <a:pos x="1" y="8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3" y="20"/>
                  </a:cxn>
                  <a:cxn ang="0">
                    <a:pos x="16" y="21"/>
                  </a:cxn>
                  <a:cxn ang="0">
                    <a:pos x="16" y="21"/>
                  </a:cxn>
                  <a:cxn ang="0">
                    <a:pos x="18" y="27"/>
                  </a:cxn>
                  <a:cxn ang="0">
                    <a:pos x="18" y="27"/>
                  </a:cxn>
                  <a:cxn ang="0">
                    <a:pos x="20" y="27"/>
                  </a:cxn>
                  <a:cxn ang="0">
                    <a:pos x="20" y="27"/>
                  </a:cxn>
                  <a:cxn ang="0">
                    <a:pos x="23" y="28"/>
                  </a:cxn>
                  <a:cxn ang="0">
                    <a:pos x="24" y="31"/>
                  </a:cxn>
                  <a:cxn ang="0">
                    <a:pos x="24" y="31"/>
                  </a:cxn>
                  <a:cxn ang="0">
                    <a:pos x="28" y="33"/>
                  </a:cxn>
                  <a:cxn ang="0">
                    <a:pos x="33" y="34"/>
                  </a:cxn>
                  <a:cxn ang="0">
                    <a:pos x="33" y="34"/>
                  </a:cxn>
                  <a:cxn ang="0">
                    <a:pos x="36" y="34"/>
                  </a:cxn>
                  <a:cxn ang="0">
                    <a:pos x="37" y="36"/>
                  </a:cxn>
                  <a:cxn ang="0">
                    <a:pos x="40" y="37"/>
                  </a:cxn>
                  <a:cxn ang="0">
                    <a:pos x="40" y="37"/>
                  </a:cxn>
                  <a:cxn ang="0">
                    <a:pos x="43" y="41"/>
                  </a:cxn>
                  <a:cxn ang="0">
                    <a:pos x="43" y="45"/>
                  </a:cxn>
                  <a:cxn ang="0">
                    <a:pos x="43" y="45"/>
                  </a:cxn>
                  <a:cxn ang="0">
                    <a:pos x="48" y="45"/>
                  </a:cxn>
                  <a:cxn ang="0">
                    <a:pos x="54" y="44"/>
                  </a:cxn>
                  <a:cxn ang="0">
                    <a:pos x="54" y="44"/>
                  </a:cxn>
                  <a:cxn ang="0">
                    <a:pos x="51" y="38"/>
                  </a:cxn>
                  <a:cxn ang="0">
                    <a:pos x="51" y="36"/>
                  </a:cxn>
                  <a:cxn ang="0">
                    <a:pos x="51" y="36"/>
                  </a:cxn>
                </a:cxnLst>
                <a:rect l="0" t="0" r="r" b="b"/>
                <a:pathLst>
                  <a:path w="54" h="45">
                    <a:moveTo>
                      <a:pt x="51" y="36"/>
                    </a:moveTo>
                    <a:lnTo>
                      <a:pt x="51" y="36"/>
                    </a:lnTo>
                    <a:lnTo>
                      <a:pt x="48" y="33"/>
                    </a:lnTo>
                    <a:lnTo>
                      <a:pt x="45" y="30"/>
                    </a:lnTo>
                    <a:lnTo>
                      <a:pt x="43" y="27"/>
                    </a:lnTo>
                    <a:lnTo>
                      <a:pt x="41" y="24"/>
                    </a:lnTo>
                    <a:lnTo>
                      <a:pt x="41" y="24"/>
                    </a:lnTo>
                    <a:lnTo>
                      <a:pt x="40" y="20"/>
                    </a:lnTo>
                    <a:lnTo>
                      <a:pt x="37" y="17"/>
                    </a:lnTo>
                    <a:lnTo>
                      <a:pt x="36" y="14"/>
                    </a:lnTo>
                    <a:lnTo>
                      <a:pt x="36" y="11"/>
                    </a:lnTo>
                    <a:lnTo>
                      <a:pt x="36" y="11"/>
                    </a:lnTo>
                    <a:lnTo>
                      <a:pt x="34" y="8"/>
                    </a:lnTo>
                    <a:lnTo>
                      <a:pt x="34" y="6"/>
                    </a:lnTo>
                    <a:lnTo>
                      <a:pt x="30" y="1"/>
                    </a:lnTo>
                    <a:lnTo>
                      <a:pt x="30" y="1"/>
                    </a:lnTo>
                    <a:lnTo>
                      <a:pt x="23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6"/>
                    </a:lnTo>
                    <a:lnTo>
                      <a:pt x="1" y="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3" y="20"/>
                    </a:lnTo>
                    <a:lnTo>
                      <a:pt x="16" y="21"/>
                    </a:lnTo>
                    <a:lnTo>
                      <a:pt x="16" y="21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20" y="27"/>
                    </a:lnTo>
                    <a:lnTo>
                      <a:pt x="20" y="27"/>
                    </a:lnTo>
                    <a:lnTo>
                      <a:pt x="23" y="28"/>
                    </a:lnTo>
                    <a:lnTo>
                      <a:pt x="24" y="31"/>
                    </a:lnTo>
                    <a:lnTo>
                      <a:pt x="24" y="31"/>
                    </a:lnTo>
                    <a:lnTo>
                      <a:pt x="28" y="33"/>
                    </a:lnTo>
                    <a:lnTo>
                      <a:pt x="33" y="34"/>
                    </a:lnTo>
                    <a:lnTo>
                      <a:pt x="33" y="34"/>
                    </a:lnTo>
                    <a:lnTo>
                      <a:pt x="36" y="34"/>
                    </a:lnTo>
                    <a:lnTo>
                      <a:pt x="37" y="36"/>
                    </a:lnTo>
                    <a:lnTo>
                      <a:pt x="40" y="37"/>
                    </a:lnTo>
                    <a:lnTo>
                      <a:pt x="40" y="37"/>
                    </a:lnTo>
                    <a:lnTo>
                      <a:pt x="43" y="41"/>
                    </a:lnTo>
                    <a:lnTo>
                      <a:pt x="43" y="45"/>
                    </a:lnTo>
                    <a:lnTo>
                      <a:pt x="43" y="45"/>
                    </a:lnTo>
                    <a:lnTo>
                      <a:pt x="48" y="45"/>
                    </a:lnTo>
                    <a:lnTo>
                      <a:pt x="54" y="44"/>
                    </a:lnTo>
                    <a:lnTo>
                      <a:pt x="54" y="44"/>
                    </a:lnTo>
                    <a:lnTo>
                      <a:pt x="51" y="38"/>
                    </a:lnTo>
                    <a:lnTo>
                      <a:pt x="51" y="36"/>
                    </a:lnTo>
                    <a:lnTo>
                      <a:pt x="51" y="36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38" name="Azerbajijan">
                <a:extLst>
                  <a:ext uri="{FF2B5EF4-FFF2-40B4-BE49-F238E27FC236}">
                    <a16:creationId xmlns:a16="http://schemas.microsoft.com/office/drawing/2014/main" id="{F205CCE3-2692-AF37-5CC3-FF16412CC3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77002" y="3247254"/>
                <a:ext cx="113944" cy="96186"/>
              </a:xfrm>
              <a:custGeom>
                <a:avLst/>
                <a:gdLst/>
                <a:ahLst/>
                <a:cxnLst>
                  <a:cxn ang="0">
                    <a:pos x="76" y="22"/>
                  </a:cxn>
                  <a:cxn ang="0">
                    <a:pos x="61" y="4"/>
                  </a:cxn>
                  <a:cxn ang="0">
                    <a:pos x="60" y="7"/>
                  </a:cxn>
                  <a:cxn ang="0">
                    <a:pos x="53" y="10"/>
                  </a:cxn>
                  <a:cxn ang="0">
                    <a:pos x="51" y="11"/>
                  </a:cxn>
                  <a:cxn ang="0">
                    <a:pos x="49" y="12"/>
                  </a:cxn>
                  <a:cxn ang="0">
                    <a:pos x="44" y="11"/>
                  </a:cxn>
                  <a:cxn ang="0">
                    <a:pos x="41" y="10"/>
                  </a:cxn>
                  <a:cxn ang="0">
                    <a:pos x="36" y="4"/>
                  </a:cxn>
                  <a:cxn ang="0">
                    <a:pos x="31" y="2"/>
                  </a:cxn>
                  <a:cxn ang="0">
                    <a:pos x="27" y="0"/>
                  </a:cxn>
                  <a:cxn ang="0">
                    <a:pos x="24" y="7"/>
                  </a:cxn>
                  <a:cxn ang="0">
                    <a:pos x="27" y="10"/>
                  </a:cxn>
                  <a:cxn ang="0">
                    <a:pos x="29" y="14"/>
                  </a:cxn>
                  <a:cxn ang="0">
                    <a:pos x="26" y="14"/>
                  </a:cxn>
                  <a:cxn ang="0">
                    <a:pos x="19" y="14"/>
                  </a:cxn>
                  <a:cxn ang="0">
                    <a:pos x="17" y="12"/>
                  </a:cxn>
                  <a:cxn ang="0">
                    <a:pos x="7" y="8"/>
                  </a:cxn>
                  <a:cxn ang="0">
                    <a:pos x="6" y="10"/>
                  </a:cxn>
                  <a:cxn ang="0">
                    <a:pos x="9" y="15"/>
                  </a:cxn>
                  <a:cxn ang="0">
                    <a:pos x="12" y="22"/>
                  </a:cxn>
                  <a:cxn ang="0">
                    <a:pos x="12" y="25"/>
                  </a:cxn>
                  <a:cxn ang="0">
                    <a:pos x="16" y="31"/>
                  </a:cxn>
                  <a:cxn ang="0">
                    <a:pos x="17" y="35"/>
                  </a:cxn>
                  <a:cxn ang="0">
                    <a:pos x="21" y="41"/>
                  </a:cxn>
                  <a:cxn ang="0">
                    <a:pos x="27" y="47"/>
                  </a:cxn>
                  <a:cxn ang="0">
                    <a:pos x="27" y="49"/>
                  </a:cxn>
                  <a:cxn ang="0">
                    <a:pos x="30" y="55"/>
                  </a:cxn>
                  <a:cxn ang="0">
                    <a:pos x="49" y="42"/>
                  </a:cxn>
                  <a:cxn ang="0">
                    <a:pos x="51" y="42"/>
                  </a:cxn>
                  <a:cxn ang="0">
                    <a:pos x="54" y="48"/>
                  </a:cxn>
                  <a:cxn ang="0">
                    <a:pos x="51" y="56"/>
                  </a:cxn>
                  <a:cxn ang="0">
                    <a:pos x="53" y="59"/>
                  </a:cxn>
                  <a:cxn ang="0">
                    <a:pos x="64" y="65"/>
                  </a:cxn>
                  <a:cxn ang="0">
                    <a:pos x="64" y="61"/>
                  </a:cxn>
                  <a:cxn ang="0">
                    <a:pos x="67" y="56"/>
                  </a:cxn>
                  <a:cxn ang="0">
                    <a:pos x="76" y="38"/>
                  </a:cxn>
                  <a:cxn ang="0">
                    <a:pos x="77" y="25"/>
                  </a:cxn>
                  <a:cxn ang="0">
                    <a:pos x="76" y="22"/>
                  </a:cxn>
                  <a:cxn ang="0">
                    <a:pos x="9" y="45"/>
                  </a:cxn>
                  <a:cxn ang="0">
                    <a:pos x="0" y="42"/>
                  </a:cxn>
                  <a:cxn ang="0">
                    <a:pos x="2" y="47"/>
                  </a:cxn>
                  <a:cxn ang="0">
                    <a:pos x="6" y="51"/>
                  </a:cxn>
                  <a:cxn ang="0">
                    <a:pos x="9" y="52"/>
                  </a:cxn>
                  <a:cxn ang="0">
                    <a:pos x="10" y="55"/>
                  </a:cxn>
                  <a:cxn ang="0">
                    <a:pos x="17" y="56"/>
                  </a:cxn>
                  <a:cxn ang="0">
                    <a:pos x="19" y="56"/>
                  </a:cxn>
                  <a:cxn ang="0">
                    <a:pos x="16" y="48"/>
                  </a:cxn>
                  <a:cxn ang="0">
                    <a:pos x="13" y="47"/>
                  </a:cxn>
                  <a:cxn ang="0">
                    <a:pos x="9" y="45"/>
                  </a:cxn>
                </a:cxnLst>
                <a:rect l="0" t="0" r="r" b="b"/>
                <a:pathLst>
                  <a:path w="77" h="65">
                    <a:moveTo>
                      <a:pt x="76" y="22"/>
                    </a:moveTo>
                    <a:lnTo>
                      <a:pt x="76" y="22"/>
                    </a:lnTo>
                    <a:lnTo>
                      <a:pt x="70" y="14"/>
                    </a:lnTo>
                    <a:lnTo>
                      <a:pt x="61" y="4"/>
                    </a:lnTo>
                    <a:lnTo>
                      <a:pt x="61" y="4"/>
                    </a:lnTo>
                    <a:lnTo>
                      <a:pt x="60" y="7"/>
                    </a:lnTo>
                    <a:lnTo>
                      <a:pt x="56" y="8"/>
                    </a:lnTo>
                    <a:lnTo>
                      <a:pt x="53" y="10"/>
                    </a:lnTo>
                    <a:lnTo>
                      <a:pt x="51" y="11"/>
                    </a:lnTo>
                    <a:lnTo>
                      <a:pt x="51" y="11"/>
                    </a:lnTo>
                    <a:lnTo>
                      <a:pt x="50" y="12"/>
                    </a:lnTo>
                    <a:lnTo>
                      <a:pt x="49" y="12"/>
                    </a:lnTo>
                    <a:lnTo>
                      <a:pt x="46" y="11"/>
                    </a:lnTo>
                    <a:lnTo>
                      <a:pt x="44" y="11"/>
                    </a:lnTo>
                    <a:lnTo>
                      <a:pt x="44" y="11"/>
                    </a:lnTo>
                    <a:lnTo>
                      <a:pt x="41" y="10"/>
                    </a:lnTo>
                    <a:lnTo>
                      <a:pt x="39" y="7"/>
                    </a:lnTo>
                    <a:lnTo>
                      <a:pt x="36" y="4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4" y="4"/>
                    </a:lnTo>
                    <a:lnTo>
                      <a:pt x="24" y="7"/>
                    </a:lnTo>
                    <a:lnTo>
                      <a:pt x="24" y="7"/>
                    </a:lnTo>
                    <a:lnTo>
                      <a:pt x="27" y="10"/>
                    </a:lnTo>
                    <a:lnTo>
                      <a:pt x="29" y="11"/>
                    </a:lnTo>
                    <a:lnTo>
                      <a:pt x="29" y="14"/>
                    </a:lnTo>
                    <a:lnTo>
                      <a:pt x="29" y="14"/>
                    </a:lnTo>
                    <a:lnTo>
                      <a:pt x="26" y="14"/>
                    </a:lnTo>
                    <a:lnTo>
                      <a:pt x="23" y="15"/>
                    </a:lnTo>
                    <a:lnTo>
                      <a:pt x="19" y="14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0" y="8"/>
                    </a:lnTo>
                    <a:lnTo>
                      <a:pt x="7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1"/>
                    </a:lnTo>
                    <a:lnTo>
                      <a:pt x="9" y="15"/>
                    </a:lnTo>
                    <a:lnTo>
                      <a:pt x="10" y="1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5"/>
                    </a:lnTo>
                    <a:lnTo>
                      <a:pt x="13" y="28"/>
                    </a:lnTo>
                    <a:lnTo>
                      <a:pt x="16" y="31"/>
                    </a:lnTo>
                    <a:lnTo>
                      <a:pt x="17" y="35"/>
                    </a:lnTo>
                    <a:lnTo>
                      <a:pt x="17" y="35"/>
                    </a:lnTo>
                    <a:lnTo>
                      <a:pt x="19" y="38"/>
                    </a:lnTo>
                    <a:lnTo>
                      <a:pt x="21" y="41"/>
                    </a:lnTo>
                    <a:lnTo>
                      <a:pt x="24" y="44"/>
                    </a:lnTo>
                    <a:lnTo>
                      <a:pt x="27" y="47"/>
                    </a:lnTo>
                    <a:lnTo>
                      <a:pt x="27" y="47"/>
                    </a:lnTo>
                    <a:lnTo>
                      <a:pt x="27" y="49"/>
                    </a:lnTo>
                    <a:lnTo>
                      <a:pt x="30" y="55"/>
                    </a:lnTo>
                    <a:lnTo>
                      <a:pt x="30" y="55"/>
                    </a:lnTo>
                    <a:lnTo>
                      <a:pt x="40" y="48"/>
                    </a:lnTo>
                    <a:lnTo>
                      <a:pt x="49" y="42"/>
                    </a:lnTo>
                    <a:lnTo>
                      <a:pt x="49" y="42"/>
                    </a:lnTo>
                    <a:lnTo>
                      <a:pt x="51" y="42"/>
                    </a:lnTo>
                    <a:lnTo>
                      <a:pt x="53" y="42"/>
                    </a:lnTo>
                    <a:lnTo>
                      <a:pt x="54" y="48"/>
                    </a:lnTo>
                    <a:lnTo>
                      <a:pt x="53" y="54"/>
                    </a:lnTo>
                    <a:lnTo>
                      <a:pt x="51" y="56"/>
                    </a:lnTo>
                    <a:lnTo>
                      <a:pt x="51" y="56"/>
                    </a:lnTo>
                    <a:lnTo>
                      <a:pt x="53" y="59"/>
                    </a:lnTo>
                    <a:lnTo>
                      <a:pt x="56" y="61"/>
                    </a:lnTo>
                    <a:lnTo>
                      <a:pt x="64" y="65"/>
                    </a:lnTo>
                    <a:lnTo>
                      <a:pt x="64" y="65"/>
                    </a:lnTo>
                    <a:lnTo>
                      <a:pt x="64" y="61"/>
                    </a:lnTo>
                    <a:lnTo>
                      <a:pt x="67" y="56"/>
                    </a:lnTo>
                    <a:lnTo>
                      <a:pt x="67" y="56"/>
                    </a:lnTo>
                    <a:lnTo>
                      <a:pt x="71" y="48"/>
                    </a:lnTo>
                    <a:lnTo>
                      <a:pt x="76" y="38"/>
                    </a:lnTo>
                    <a:lnTo>
                      <a:pt x="77" y="29"/>
                    </a:lnTo>
                    <a:lnTo>
                      <a:pt x="77" y="25"/>
                    </a:lnTo>
                    <a:lnTo>
                      <a:pt x="76" y="22"/>
                    </a:lnTo>
                    <a:lnTo>
                      <a:pt x="76" y="22"/>
                    </a:lnTo>
                    <a:close/>
                    <a:moveTo>
                      <a:pt x="9" y="45"/>
                    </a:moveTo>
                    <a:lnTo>
                      <a:pt x="9" y="45"/>
                    </a:lnTo>
                    <a:lnTo>
                      <a:pt x="4" y="44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2" y="47"/>
                    </a:lnTo>
                    <a:lnTo>
                      <a:pt x="3" y="48"/>
                    </a:lnTo>
                    <a:lnTo>
                      <a:pt x="6" y="51"/>
                    </a:lnTo>
                    <a:lnTo>
                      <a:pt x="6" y="51"/>
                    </a:lnTo>
                    <a:lnTo>
                      <a:pt x="9" y="52"/>
                    </a:lnTo>
                    <a:lnTo>
                      <a:pt x="9" y="54"/>
                    </a:lnTo>
                    <a:lnTo>
                      <a:pt x="10" y="55"/>
                    </a:lnTo>
                    <a:lnTo>
                      <a:pt x="17" y="56"/>
                    </a:lnTo>
                    <a:lnTo>
                      <a:pt x="17" y="56"/>
                    </a:lnTo>
                    <a:lnTo>
                      <a:pt x="19" y="56"/>
                    </a:lnTo>
                    <a:lnTo>
                      <a:pt x="19" y="56"/>
                    </a:lnTo>
                    <a:lnTo>
                      <a:pt x="19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3" y="47"/>
                    </a:lnTo>
                    <a:lnTo>
                      <a:pt x="12" y="45"/>
                    </a:lnTo>
                    <a:lnTo>
                      <a:pt x="9" y="45"/>
                    </a:lnTo>
                    <a:lnTo>
                      <a:pt x="9" y="45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39" name="Montenegro">
                <a:extLst>
                  <a:ext uri="{FF2B5EF4-FFF2-40B4-BE49-F238E27FC236}">
                    <a16:creationId xmlns:a16="http://schemas.microsoft.com/office/drawing/2014/main" id="{7609DDCE-AFF0-F1C6-459C-247DE38ECE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5493" y="3202862"/>
                <a:ext cx="28116" cy="36995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7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12" y="25"/>
                  </a:cxn>
                  <a:cxn ang="0">
                    <a:pos x="12" y="25"/>
                  </a:cxn>
                  <a:cxn ang="0">
                    <a:pos x="12" y="25"/>
                  </a:cxn>
                  <a:cxn ang="0">
                    <a:pos x="12" y="25"/>
                  </a:cxn>
                  <a:cxn ang="0">
                    <a:pos x="15" y="18"/>
                  </a:cxn>
                  <a:cxn ang="0">
                    <a:pos x="18" y="15"/>
                  </a:cxn>
                  <a:cxn ang="0">
                    <a:pos x="19" y="14"/>
                  </a:cxn>
                  <a:cxn ang="0">
                    <a:pos x="19" y="14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9" h="25">
                    <a:moveTo>
                      <a:pt x="6" y="0"/>
                    </a:moveTo>
                    <a:lnTo>
                      <a:pt x="6" y="0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12" y="25"/>
                    </a:lnTo>
                    <a:lnTo>
                      <a:pt x="12" y="25"/>
                    </a:lnTo>
                    <a:lnTo>
                      <a:pt x="12" y="25"/>
                    </a:lnTo>
                    <a:lnTo>
                      <a:pt x="12" y="25"/>
                    </a:lnTo>
                    <a:lnTo>
                      <a:pt x="15" y="18"/>
                    </a:lnTo>
                    <a:lnTo>
                      <a:pt x="18" y="15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40" name="Greenland">
                <a:extLst>
                  <a:ext uri="{FF2B5EF4-FFF2-40B4-BE49-F238E27FC236}">
                    <a16:creationId xmlns:a16="http://schemas.microsoft.com/office/drawing/2014/main" id="{FE23E2E7-6005-5221-6C1A-583F0F98B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83171" y="1589897"/>
                <a:ext cx="1453148" cy="1081722"/>
              </a:xfrm>
              <a:custGeom>
                <a:avLst/>
                <a:gdLst/>
                <a:ahLst/>
                <a:cxnLst>
                  <a:cxn ang="0">
                    <a:pos x="862" y="84"/>
                  </a:cxn>
                  <a:cxn ang="0">
                    <a:pos x="790" y="117"/>
                  </a:cxn>
                  <a:cxn ang="0">
                    <a:pos x="793" y="67"/>
                  </a:cxn>
                  <a:cxn ang="0">
                    <a:pos x="767" y="68"/>
                  </a:cxn>
                  <a:cxn ang="0">
                    <a:pos x="690" y="61"/>
                  </a:cxn>
                  <a:cxn ang="0">
                    <a:pos x="820" y="33"/>
                  </a:cxn>
                  <a:cxn ang="0">
                    <a:pos x="756" y="10"/>
                  </a:cxn>
                  <a:cxn ang="0">
                    <a:pos x="574" y="6"/>
                  </a:cxn>
                  <a:cxn ang="0">
                    <a:pos x="545" y="14"/>
                  </a:cxn>
                  <a:cxn ang="0">
                    <a:pos x="426" y="20"/>
                  </a:cxn>
                  <a:cxn ang="0">
                    <a:pos x="421" y="50"/>
                  </a:cxn>
                  <a:cxn ang="0">
                    <a:pos x="397" y="53"/>
                  </a:cxn>
                  <a:cxn ang="0">
                    <a:pos x="370" y="67"/>
                  </a:cxn>
                  <a:cxn ang="0">
                    <a:pos x="320" y="70"/>
                  </a:cxn>
                  <a:cxn ang="0">
                    <a:pos x="289" y="48"/>
                  </a:cxn>
                  <a:cxn ang="0">
                    <a:pos x="224" y="71"/>
                  </a:cxn>
                  <a:cxn ang="0">
                    <a:pos x="177" y="98"/>
                  </a:cxn>
                  <a:cxn ang="0">
                    <a:pos x="116" y="138"/>
                  </a:cxn>
                  <a:cxn ang="0">
                    <a:pos x="62" y="178"/>
                  </a:cxn>
                  <a:cxn ang="0">
                    <a:pos x="30" y="216"/>
                  </a:cxn>
                  <a:cxn ang="0">
                    <a:pos x="106" y="233"/>
                  </a:cxn>
                  <a:cxn ang="0">
                    <a:pos x="26" y="248"/>
                  </a:cxn>
                  <a:cxn ang="0">
                    <a:pos x="91" y="282"/>
                  </a:cxn>
                  <a:cxn ang="0">
                    <a:pos x="134" y="272"/>
                  </a:cxn>
                  <a:cxn ang="0">
                    <a:pos x="231" y="296"/>
                  </a:cxn>
                  <a:cxn ang="0">
                    <a:pos x="275" y="357"/>
                  </a:cxn>
                  <a:cxn ang="0">
                    <a:pos x="281" y="403"/>
                  </a:cxn>
                  <a:cxn ang="0">
                    <a:pos x="316" y="415"/>
                  </a:cxn>
                  <a:cxn ang="0">
                    <a:pos x="342" y="450"/>
                  </a:cxn>
                  <a:cxn ang="0">
                    <a:pos x="353" y="471"/>
                  </a:cxn>
                  <a:cxn ang="0">
                    <a:pos x="320" y="512"/>
                  </a:cxn>
                  <a:cxn ang="0">
                    <a:pos x="322" y="558"/>
                  </a:cxn>
                  <a:cxn ang="0">
                    <a:pos x="335" y="619"/>
                  </a:cxn>
                  <a:cxn ang="0">
                    <a:pos x="363" y="653"/>
                  </a:cxn>
                  <a:cxn ang="0">
                    <a:pos x="409" y="708"/>
                  </a:cxn>
                  <a:cxn ang="0">
                    <a:pos x="474" y="730"/>
                  </a:cxn>
                  <a:cxn ang="0">
                    <a:pos x="490" y="669"/>
                  </a:cxn>
                  <a:cxn ang="0">
                    <a:pos x="514" y="640"/>
                  </a:cxn>
                  <a:cxn ang="0">
                    <a:pos x="520" y="607"/>
                  </a:cxn>
                  <a:cxn ang="0">
                    <a:pos x="547" y="588"/>
                  </a:cxn>
                  <a:cxn ang="0">
                    <a:pos x="571" y="582"/>
                  </a:cxn>
                  <a:cxn ang="0">
                    <a:pos x="656" y="528"/>
                  </a:cxn>
                  <a:cxn ang="0">
                    <a:pos x="699" y="512"/>
                  </a:cxn>
                  <a:cxn ang="0">
                    <a:pos x="823" y="461"/>
                  </a:cxn>
                  <a:cxn ang="0">
                    <a:pos x="754" y="451"/>
                  </a:cxn>
                  <a:cxn ang="0">
                    <a:pos x="801" y="452"/>
                  </a:cxn>
                  <a:cxn ang="0">
                    <a:pos x="787" y="398"/>
                  </a:cxn>
                  <a:cxn ang="0">
                    <a:pos x="820" y="377"/>
                  </a:cxn>
                  <a:cxn ang="0">
                    <a:pos x="786" y="366"/>
                  </a:cxn>
                  <a:cxn ang="0">
                    <a:pos x="847" y="360"/>
                  </a:cxn>
                  <a:cxn ang="0">
                    <a:pos x="870" y="327"/>
                  </a:cxn>
                  <a:cxn ang="0">
                    <a:pos x="865" y="303"/>
                  </a:cxn>
                  <a:cxn ang="0">
                    <a:pos x="825" y="263"/>
                  </a:cxn>
                  <a:cxn ang="0">
                    <a:pos x="882" y="252"/>
                  </a:cxn>
                  <a:cxn ang="0">
                    <a:pos x="845" y="226"/>
                  </a:cxn>
                  <a:cxn ang="0">
                    <a:pos x="827" y="223"/>
                  </a:cxn>
                  <a:cxn ang="0">
                    <a:pos x="858" y="174"/>
                  </a:cxn>
                  <a:cxn ang="0">
                    <a:pos x="877" y="138"/>
                  </a:cxn>
                  <a:cxn ang="0">
                    <a:pos x="912" y="127"/>
                  </a:cxn>
                  <a:cxn ang="0">
                    <a:pos x="925" y="108"/>
                  </a:cxn>
                  <a:cxn ang="0">
                    <a:pos x="928" y="67"/>
                  </a:cxn>
                  <a:cxn ang="0">
                    <a:pos x="292" y="462"/>
                  </a:cxn>
                  <a:cxn ang="0">
                    <a:pos x="336" y="479"/>
                  </a:cxn>
                </a:cxnLst>
                <a:rect l="0" t="0" r="r" b="b"/>
                <a:pathLst>
                  <a:path w="982" h="731">
                    <a:moveTo>
                      <a:pt x="928" y="67"/>
                    </a:moveTo>
                    <a:lnTo>
                      <a:pt x="928" y="67"/>
                    </a:lnTo>
                    <a:lnTo>
                      <a:pt x="915" y="67"/>
                    </a:lnTo>
                    <a:lnTo>
                      <a:pt x="905" y="70"/>
                    </a:lnTo>
                    <a:lnTo>
                      <a:pt x="901" y="71"/>
                    </a:lnTo>
                    <a:lnTo>
                      <a:pt x="898" y="74"/>
                    </a:lnTo>
                    <a:lnTo>
                      <a:pt x="895" y="77"/>
                    </a:lnTo>
                    <a:lnTo>
                      <a:pt x="895" y="81"/>
                    </a:lnTo>
                    <a:lnTo>
                      <a:pt x="895" y="81"/>
                    </a:lnTo>
                    <a:lnTo>
                      <a:pt x="894" y="85"/>
                    </a:lnTo>
                    <a:lnTo>
                      <a:pt x="891" y="87"/>
                    </a:lnTo>
                    <a:lnTo>
                      <a:pt x="887" y="87"/>
                    </a:lnTo>
                    <a:lnTo>
                      <a:pt x="881" y="85"/>
                    </a:lnTo>
                    <a:lnTo>
                      <a:pt x="871" y="83"/>
                    </a:lnTo>
                    <a:lnTo>
                      <a:pt x="865" y="83"/>
                    </a:lnTo>
                    <a:lnTo>
                      <a:pt x="862" y="84"/>
                    </a:lnTo>
                    <a:lnTo>
                      <a:pt x="862" y="84"/>
                    </a:lnTo>
                    <a:lnTo>
                      <a:pt x="858" y="84"/>
                    </a:lnTo>
                    <a:lnTo>
                      <a:pt x="857" y="84"/>
                    </a:lnTo>
                    <a:lnTo>
                      <a:pt x="855" y="81"/>
                    </a:lnTo>
                    <a:lnTo>
                      <a:pt x="853" y="78"/>
                    </a:lnTo>
                    <a:lnTo>
                      <a:pt x="851" y="77"/>
                    </a:lnTo>
                    <a:lnTo>
                      <a:pt x="848" y="78"/>
                    </a:lnTo>
                    <a:lnTo>
                      <a:pt x="848" y="78"/>
                    </a:lnTo>
                    <a:lnTo>
                      <a:pt x="840" y="83"/>
                    </a:lnTo>
                    <a:lnTo>
                      <a:pt x="833" y="88"/>
                    </a:lnTo>
                    <a:lnTo>
                      <a:pt x="824" y="94"/>
                    </a:lnTo>
                    <a:lnTo>
                      <a:pt x="817" y="100"/>
                    </a:lnTo>
                    <a:lnTo>
                      <a:pt x="817" y="100"/>
                    </a:lnTo>
                    <a:lnTo>
                      <a:pt x="808" y="104"/>
                    </a:lnTo>
                    <a:lnTo>
                      <a:pt x="801" y="110"/>
                    </a:lnTo>
                    <a:lnTo>
                      <a:pt x="794" y="114"/>
                    </a:lnTo>
                    <a:lnTo>
                      <a:pt x="790" y="117"/>
                    </a:lnTo>
                    <a:lnTo>
                      <a:pt x="790" y="117"/>
                    </a:lnTo>
                    <a:lnTo>
                      <a:pt x="788" y="115"/>
                    </a:lnTo>
                    <a:lnTo>
                      <a:pt x="788" y="114"/>
                    </a:lnTo>
                    <a:lnTo>
                      <a:pt x="796" y="105"/>
                    </a:lnTo>
                    <a:lnTo>
                      <a:pt x="816" y="84"/>
                    </a:lnTo>
                    <a:lnTo>
                      <a:pt x="816" y="84"/>
                    </a:lnTo>
                    <a:lnTo>
                      <a:pt x="820" y="80"/>
                    </a:lnTo>
                    <a:lnTo>
                      <a:pt x="821" y="75"/>
                    </a:lnTo>
                    <a:lnTo>
                      <a:pt x="821" y="71"/>
                    </a:lnTo>
                    <a:lnTo>
                      <a:pt x="821" y="67"/>
                    </a:lnTo>
                    <a:lnTo>
                      <a:pt x="818" y="64"/>
                    </a:lnTo>
                    <a:lnTo>
                      <a:pt x="816" y="61"/>
                    </a:lnTo>
                    <a:lnTo>
                      <a:pt x="811" y="60"/>
                    </a:lnTo>
                    <a:lnTo>
                      <a:pt x="806" y="60"/>
                    </a:lnTo>
                    <a:lnTo>
                      <a:pt x="806" y="60"/>
                    </a:lnTo>
                    <a:lnTo>
                      <a:pt x="801" y="61"/>
                    </a:lnTo>
                    <a:lnTo>
                      <a:pt x="797" y="63"/>
                    </a:lnTo>
                    <a:lnTo>
                      <a:pt x="793" y="67"/>
                    </a:lnTo>
                    <a:lnTo>
                      <a:pt x="790" y="70"/>
                    </a:lnTo>
                    <a:lnTo>
                      <a:pt x="788" y="73"/>
                    </a:lnTo>
                    <a:lnTo>
                      <a:pt x="786" y="73"/>
                    </a:lnTo>
                    <a:lnTo>
                      <a:pt x="786" y="73"/>
                    </a:lnTo>
                    <a:lnTo>
                      <a:pt x="774" y="77"/>
                    </a:lnTo>
                    <a:lnTo>
                      <a:pt x="757" y="84"/>
                    </a:lnTo>
                    <a:lnTo>
                      <a:pt x="742" y="90"/>
                    </a:lnTo>
                    <a:lnTo>
                      <a:pt x="737" y="90"/>
                    </a:lnTo>
                    <a:lnTo>
                      <a:pt x="734" y="90"/>
                    </a:lnTo>
                    <a:lnTo>
                      <a:pt x="734" y="90"/>
                    </a:lnTo>
                    <a:lnTo>
                      <a:pt x="734" y="90"/>
                    </a:lnTo>
                    <a:lnTo>
                      <a:pt x="734" y="87"/>
                    </a:lnTo>
                    <a:lnTo>
                      <a:pt x="739" y="84"/>
                    </a:lnTo>
                    <a:lnTo>
                      <a:pt x="750" y="78"/>
                    </a:lnTo>
                    <a:lnTo>
                      <a:pt x="761" y="73"/>
                    </a:lnTo>
                    <a:lnTo>
                      <a:pt x="766" y="70"/>
                    </a:lnTo>
                    <a:lnTo>
                      <a:pt x="767" y="68"/>
                    </a:lnTo>
                    <a:lnTo>
                      <a:pt x="767" y="68"/>
                    </a:lnTo>
                    <a:lnTo>
                      <a:pt x="766" y="67"/>
                    </a:lnTo>
                    <a:lnTo>
                      <a:pt x="760" y="65"/>
                    </a:lnTo>
                    <a:lnTo>
                      <a:pt x="742" y="64"/>
                    </a:lnTo>
                    <a:lnTo>
                      <a:pt x="722" y="65"/>
                    </a:lnTo>
                    <a:lnTo>
                      <a:pt x="703" y="67"/>
                    </a:lnTo>
                    <a:lnTo>
                      <a:pt x="703" y="67"/>
                    </a:lnTo>
                    <a:lnTo>
                      <a:pt x="686" y="70"/>
                    </a:lnTo>
                    <a:lnTo>
                      <a:pt x="668" y="74"/>
                    </a:lnTo>
                    <a:lnTo>
                      <a:pt x="653" y="77"/>
                    </a:lnTo>
                    <a:lnTo>
                      <a:pt x="649" y="77"/>
                    </a:lnTo>
                    <a:lnTo>
                      <a:pt x="648" y="75"/>
                    </a:lnTo>
                    <a:lnTo>
                      <a:pt x="648" y="75"/>
                    </a:lnTo>
                    <a:lnTo>
                      <a:pt x="649" y="73"/>
                    </a:lnTo>
                    <a:lnTo>
                      <a:pt x="653" y="70"/>
                    </a:lnTo>
                    <a:lnTo>
                      <a:pt x="670" y="65"/>
                    </a:lnTo>
                    <a:lnTo>
                      <a:pt x="690" y="61"/>
                    </a:lnTo>
                    <a:lnTo>
                      <a:pt x="709" y="58"/>
                    </a:lnTo>
                    <a:lnTo>
                      <a:pt x="709" y="58"/>
                    </a:lnTo>
                    <a:lnTo>
                      <a:pt x="727" y="58"/>
                    </a:lnTo>
                    <a:lnTo>
                      <a:pt x="749" y="58"/>
                    </a:lnTo>
                    <a:lnTo>
                      <a:pt x="769" y="57"/>
                    </a:lnTo>
                    <a:lnTo>
                      <a:pt x="777" y="55"/>
                    </a:lnTo>
                    <a:lnTo>
                      <a:pt x="784" y="54"/>
                    </a:lnTo>
                    <a:lnTo>
                      <a:pt x="784" y="54"/>
                    </a:lnTo>
                    <a:lnTo>
                      <a:pt x="797" y="50"/>
                    </a:lnTo>
                    <a:lnTo>
                      <a:pt x="811" y="47"/>
                    </a:lnTo>
                    <a:lnTo>
                      <a:pt x="823" y="44"/>
                    </a:lnTo>
                    <a:lnTo>
                      <a:pt x="825" y="43"/>
                    </a:lnTo>
                    <a:lnTo>
                      <a:pt x="828" y="41"/>
                    </a:lnTo>
                    <a:lnTo>
                      <a:pt x="828" y="41"/>
                    </a:lnTo>
                    <a:lnTo>
                      <a:pt x="828" y="38"/>
                    </a:lnTo>
                    <a:lnTo>
                      <a:pt x="827" y="37"/>
                    </a:lnTo>
                    <a:lnTo>
                      <a:pt x="820" y="33"/>
                    </a:lnTo>
                    <a:lnTo>
                      <a:pt x="808" y="30"/>
                    </a:lnTo>
                    <a:lnTo>
                      <a:pt x="798" y="30"/>
                    </a:lnTo>
                    <a:lnTo>
                      <a:pt x="798" y="30"/>
                    </a:lnTo>
                    <a:lnTo>
                      <a:pt x="790" y="30"/>
                    </a:lnTo>
                    <a:lnTo>
                      <a:pt x="783" y="28"/>
                    </a:lnTo>
                    <a:lnTo>
                      <a:pt x="779" y="26"/>
                    </a:lnTo>
                    <a:lnTo>
                      <a:pt x="777" y="24"/>
                    </a:lnTo>
                    <a:lnTo>
                      <a:pt x="777" y="23"/>
                    </a:lnTo>
                    <a:lnTo>
                      <a:pt x="777" y="23"/>
                    </a:lnTo>
                    <a:lnTo>
                      <a:pt x="777" y="21"/>
                    </a:lnTo>
                    <a:lnTo>
                      <a:pt x="774" y="18"/>
                    </a:lnTo>
                    <a:lnTo>
                      <a:pt x="769" y="17"/>
                    </a:lnTo>
                    <a:lnTo>
                      <a:pt x="761" y="14"/>
                    </a:lnTo>
                    <a:lnTo>
                      <a:pt x="759" y="13"/>
                    </a:lnTo>
                    <a:lnTo>
                      <a:pt x="757" y="11"/>
                    </a:lnTo>
                    <a:lnTo>
                      <a:pt x="757" y="11"/>
                    </a:lnTo>
                    <a:lnTo>
                      <a:pt x="756" y="10"/>
                    </a:lnTo>
                    <a:lnTo>
                      <a:pt x="750" y="9"/>
                    </a:lnTo>
                    <a:lnTo>
                      <a:pt x="737" y="9"/>
                    </a:lnTo>
                    <a:lnTo>
                      <a:pt x="723" y="9"/>
                    </a:lnTo>
                    <a:lnTo>
                      <a:pt x="716" y="7"/>
                    </a:lnTo>
                    <a:lnTo>
                      <a:pt x="713" y="6"/>
                    </a:lnTo>
                    <a:lnTo>
                      <a:pt x="713" y="6"/>
                    </a:lnTo>
                    <a:lnTo>
                      <a:pt x="705" y="3"/>
                    </a:lnTo>
                    <a:lnTo>
                      <a:pt x="692" y="0"/>
                    </a:lnTo>
                    <a:lnTo>
                      <a:pt x="678" y="0"/>
                    </a:lnTo>
                    <a:lnTo>
                      <a:pt x="663" y="0"/>
                    </a:lnTo>
                    <a:lnTo>
                      <a:pt x="663" y="0"/>
                    </a:lnTo>
                    <a:lnTo>
                      <a:pt x="626" y="1"/>
                    </a:lnTo>
                    <a:lnTo>
                      <a:pt x="596" y="1"/>
                    </a:lnTo>
                    <a:lnTo>
                      <a:pt x="596" y="1"/>
                    </a:lnTo>
                    <a:lnTo>
                      <a:pt x="585" y="4"/>
                    </a:lnTo>
                    <a:lnTo>
                      <a:pt x="579" y="6"/>
                    </a:lnTo>
                    <a:lnTo>
                      <a:pt x="574" y="6"/>
                    </a:lnTo>
                    <a:lnTo>
                      <a:pt x="574" y="6"/>
                    </a:lnTo>
                    <a:lnTo>
                      <a:pt x="568" y="6"/>
                    </a:lnTo>
                    <a:lnTo>
                      <a:pt x="561" y="7"/>
                    </a:lnTo>
                    <a:lnTo>
                      <a:pt x="558" y="10"/>
                    </a:lnTo>
                    <a:lnTo>
                      <a:pt x="557" y="11"/>
                    </a:lnTo>
                    <a:lnTo>
                      <a:pt x="558" y="13"/>
                    </a:lnTo>
                    <a:lnTo>
                      <a:pt x="558" y="13"/>
                    </a:lnTo>
                    <a:lnTo>
                      <a:pt x="561" y="17"/>
                    </a:lnTo>
                    <a:lnTo>
                      <a:pt x="559" y="18"/>
                    </a:lnTo>
                    <a:lnTo>
                      <a:pt x="558" y="21"/>
                    </a:lnTo>
                    <a:lnTo>
                      <a:pt x="555" y="23"/>
                    </a:lnTo>
                    <a:lnTo>
                      <a:pt x="549" y="23"/>
                    </a:lnTo>
                    <a:lnTo>
                      <a:pt x="547" y="21"/>
                    </a:lnTo>
                    <a:lnTo>
                      <a:pt x="547" y="20"/>
                    </a:lnTo>
                    <a:lnTo>
                      <a:pt x="547" y="20"/>
                    </a:lnTo>
                    <a:lnTo>
                      <a:pt x="547" y="17"/>
                    </a:lnTo>
                    <a:lnTo>
                      <a:pt x="545" y="14"/>
                    </a:lnTo>
                    <a:lnTo>
                      <a:pt x="538" y="13"/>
                    </a:lnTo>
                    <a:lnTo>
                      <a:pt x="530" y="11"/>
                    </a:lnTo>
                    <a:lnTo>
                      <a:pt x="525" y="13"/>
                    </a:lnTo>
                    <a:lnTo>
                      <a:pt x="522" y="14"/>
                    </a:lnTo>
                    <a:lnTo>
                      <a:pt x="522" y="14"/>
                    </a:lnTo>
                    <a:lnTo>
                      <a:pt x="518" y="16"/>
                    </a:lnTo>
                    <a:lnTo>
                      <a:pt x="513" y="16"/>
                    </a:lnTo>
                    <a:lnTo>
                      <a:pt x="500" y="14"/>
                    </a:lnTo>
                    <a:lnTo>
                      <a:pt x="487" y="13"/>
                    </a:lnTo>
                    <a:lnTo>
                      <a:pt x="481" y="13"/>
                    </a:lnTo>
                    <a:lnTo>
                      <a:pt x="478" y="14"/>
                    </a:lnTo>
                    <a:lnTo>
                      <a:pt x="478" y="14"/>
                    </a:lnTo>
                    <a:lnTo>
                      <a:pt x="476" y="16"/>
                    </a:lnTo>
                    <a:lnTo>
                      <a:pt x="470" y="17"/>
                    </a:lnTo>
                    <a:lnTo>
                      <a:pt x="454" y="18"/>
                    </a:lnTo>
                    <a:lnTo>
                      <a:pt x="437" y="20"/>
                    </a:lnTo>
                    <a:lnTo>
                      <a:pt x="426" y="20"/>
                    </a:lnTo>
                    <a:lnTo>
                      <a:pt x="426" y="20"/>
                    </a:lnTo>
                    <a:lnTo>
                      <a:pt x="423" y="21"/>
                    </a:lnTo>
                    <a:lnTo>
                      <a:pt x="423" y="23"/>
                    </a:lnTo>
                    <a:lnTo>
                      <a:pt x="430" y="27"/>
                    </a:lnTo>
                    <a:lnTo>
                      <a:pt x="439" y="31"/>
                    </a:lnTo>
                    <a:lnTo>
                      <a:pt x="441" y="33"/>
                    </a:lnTo>
                    <a:lnTo>
                      <a:pt x="441" y="36"/>
                    </a:lnTo>
                    <a:lnTo>
                      <a:pt x="441" y="36"/>
                    </a:lnTo>
                    <a:lnTo>
                      <a:pt x="440" y="37"/>
                    </a:lnTo>
                    <a:lnTo>
                      <a:pt x="436" y="37"/>
                    </a:lnTo>
                    <a:lnTo>
                      <a:pt x="424" y="38"/>
                    </a:lnTo>
                    <a:lnTo>
                      <a:pt x="414" y="40"/>
                    </a:lnTo>
                    <a:lnTo>
                      <a:pt x="413" y="41"/>
                    </a:lnTo>
                    <a:lnTo>
                      <a:pt x="413" y="44"/>
                    </a:lnTo>
                    <a:lnTo>
                      <a:pt x="413" y="44"/>
                    </a:lnTo>
                    <a:lnTo>
                      <a:pt x="417" y="47"/>
                    </a:lnTo>
                    <a:lnTo>
                      <a:pt x="421" y="50"/>
                    </a:lnTo>
                    <a:lnTo>
                      <a:pt x="433" y="55"/>
                    </a:lnTo>
                    <a:lnTo>
                      <a:pt x="444" y="61"/>
                    </a:lnTo>
                    <a:lnTo>
                      <a:pt x="454" y="70"/>
                    </a:lnTo>
                    <a:lnTo>
                      <a:pt x="454" y="70"/>
                    </a:lnTo>
                    <a:lnTo>
                      <a:pt x="457" y="73"/>
                    </a:lnTo>
                    <a:lnTo>
                      <a:pt x="457" y="74"/>
                    </a:lnTo>
                    <a:lnTo>
                      <a:pt x="456" y="75"/>
                    </a:lnTo>
                    <a:lnTo>
                      <a:pt x="453" y="74"/>
                    </a:lnTo>
                    <a:lnTo>
                      <a:pt x="443" y="71"/>
                    </a:lnTo>
                    <a:lnTo>
                      <a:pt x="433" y="65"/>
                    </a:lnTo>
                    <a:lnTo>
                      <a:pt x="433" y="65"/>
                    </a:lnTo>
                    <a:lnTo>
                      <a:pt x="429" y="63"/>
                    </a:lnTo>
                    <a:lnTo>
                      <a:pt x="423" y="61"/>
                    </a:lnTo>
                    <a:lnTo>
                      <a:pt x="413" y="58"/>
                    </a:lnTo>
                    <a:lnTo>
                      <a:pt x="404" y="57"/>
                    </a:lnTo>
                    <a:lnTo>
                      <a:pt x="400" y="54"/>
                    </a:lnTo>
                    <a:lnTo>
                      <a:pt x="397" y="53"/>
                    </a:lnTo>
                    <a:lnTo>
                      <a:pt x="397" y="53"/>
                    </a:lnTo>
                    <a:lnTo>
                      <a:pt x="394" y="50"/>
                    </a:lnTo>
                    <a:lnTo>
                      <a:pt x="389" y="47"/>
                    </a:lnTo>
                    <a:lnTo>
                      <a:pt x="376" y="43"/>
                    </a:lnTo>
                    <a:lnTo>
                      <a:pt x="363" y="41"/>
                    </a:lnTo>
                    <a:lnTo>
                      <a:pt x="357" y="41"/>
                    </a:lnTo>
                    <a:lnTo>
                      <a:pt x="355" y="43"/>
                    </a:lnTo>
                    <a:lnTo>
                      <a:pt x="355" y="43"/>
                    </a:lnTo>
                    <a:lnTo>
                      <a:pt x="353" y="46"/>
                    </a:lnTo>
                    <a:lnTo>
                      <a:pt x="353" y="47"/>
                    </a:lnTo>
                    <a:lnTo>
                      <a:pt x="360" y="54"/>
                    </a:lnTo>
                    <a:lnTo>
                      <a:pt x="370" y="60"/>
                    </a:lnTo>
                    <a:lnTo>
                      <a:pt x="373" y="63"/>
                    </a:lnTo>
                    <a:lnTo>
                      <a:pt x="375" y="65"/>
                    </a:lnTo>
                    <a:lnTo>
                      <a:pt x="375" y="65"/>
                    </a:lnTo>
                    <a:lnTo>
                      <a:pt x="373" y="67"/>
                    </a:lnTo>
                    <a:lnTo>
                      <a:pt x="370" y="67"/>
                    </a:lnTo>
                    <a:lnTo>
                      <a:pt x="365" y="67"/>
                    </a:lnTo>
                    <a:lnTo>
                      <a:pt x="356" y="65"/>
                    </a:lnTo>
                    <a:lnTo>
                      <a:pt x="352" y="65"/>
                    </a:lnTo>
                    <a:lnTo>
                      <a:pt x="352" y="65"/>
                    </a:lnTo>
                    <a:lnTo>
                      <a:pt x="350" y="65"/>
                    </a:lnTo>
                    <a:lnTo>
                      <a:pt x="347" y="64"/>
                    </a:lnTo>
                    <a:lnTo>
                      <a:pt x="339" y="58"/>
                    </a:lnTo>
                    <a:lnTo>
                      <a:pt x="330" y="53"/>
                    </a:lnTo>
                    <a:lnTo>
                      <a:pt x="326" y="50"/>
                    </a:lnTo>
                    <a:lnTo>
                      <a:pt x="322" y="50"/>
                    </a:lnTo>
                    <a:lnTo>
                      <a:pt x="322" y="50"/>
                    </a:lnTo>
                    <a:lnTo>
                      <a:pt x="319" y="50"/>
                    </a:lnTo>
                    <a:lnTo>
                      <a:pt x="318" y="51"/>
                    </a:lnTo>
                    <a:lnTo>
                      <a:pt x="318" y="55"/>
                    </a:lnTo>
                    <a:lnTo>
                      <a:pt x="319" y="61"/>
                    </a:lnTo>
                    <a:lnTo>
                      <a:pt x="320" y="70"/>
                    </a:lnTo>
                    <a:lnTo>
                      <a:pt x="320" y="70"/>
                    </a:lnTo>
                    <a:lnTo>
                      <a:pt x="320" y="74"/>
                    </a:lnTo>
                    <a:lnTo>
                      <a:pt x="318" y="78"/>
                    </a:lnTo>
                    <a:lnTo>
                      <a:pt x="312" y="83"/>
                    </a:lnTo>
                    <a:lnTo>
                      <a:pt x="308" y="84"/>
                    </a:lnTo>
                    <a:lnTo>
                      <a:pt x="306" y="84"/>
                    </a:lnTo>
                    <a:lnTo>
                      <a:pt x="308" y="81"/>
                    </a:lnTo>
                    <a:lnTo>
                      <a:pt x="308" y="81"/>
                    </a:lnTo>
                    <a:lnTo>
                      <a:pt x="309" y="77"/>
                    </a:lnTo>
                    <a:lnTo>
                      <a:pt x="309" y="73"/>
                    </a:lnTo>
                    <a:lnTo>
                      <a:pt x="309" y="63"/>
                    </a:lnTo>
                    <a:lnTo>
                      <a:pt x="308" y="58"/>
                    </a:lnTo>
                    <a:lnTo>
                      <a:pt x="305" y="54"/>
                    </a:lnTo>
                    <a:lnTo>
                      <a:pt x="302" y="50"/>
                    </a:lnTo>
                    <a:lnTo>
                      <a:pt x="299" y="48"/>
                    </a:lnTo>
                    <a:lnTo>
                      <a:pt x="299" y="48"/>
                    </a:lnTo>
                    <a:lnTo>
                      <a:pt x="295" y="47"/>
                    </a:lnTo>
                    <a:lnTo>
                      <a:pt x="289" y="48"/>
                    </a:lnTo>
                    <a:lnTo>
                      <a:pt x="276" y="51"/>
                    </a:lnTo>
                    <a:lnTo>
                      <a:pt x="262" y="54"/>
                    </a:lnTo>
                    <a:lnTo>
                      <a:pt x="251" y="55"/>
                    </a:lnTo>
                    <a:lnTo>
                      <a:pt x="251" y="55"/>
                    </a:lnTo>
                    <a:lnTo>
                      <a:pt x="239" y="57"/>
                    </a:lnTo>
                    <a:lnTo>
                      <a:pt x="231" y="58"/>
                    </a:lnTo>
                    <a:lnTo>
                      <a:pt x="228" y="60"/>
                    </a:lnTo>
                    <a:lnTo>
                      <a:pt x="227" y="61"/>
                    </a:lnTo>
                    <a:lnTo>
                      <a:pt x="228" y="64"/>
                    </a:lnTo>
                    <a:lnTo>
                      <a:pt x="231" y="67"/>
                    </a:lnTo>
                    <a:lnTo>
                      <a:pt x="231" y="67"/>
                    </a:lnTo>
                    <a:lnTo>
                      <a:pt x="234" y="68"/>
                    </a:lnTo>
                    <a:lnTo>
                      <a:pt x="235" y="71"/>
                    </a:lnTo>
                    <a:lnTo>
                      <a:pt x="235" y="73"/>
                    </a:lnTo>
                    <a:lnTo>
                      <a:pt x="234" y="73"/>
                    </a:lnTo>
                    <a:lnTo>
                      <a:pt x="228" y="73"/>
                    </a:lnTo>
                    <a:lnTo>
                      <a:pt x="224" y="71"/>
                    </a:lnTo>
                    <a:lnTo>
                      <a:pt x="221" y="70"/>
                    </a:lnTo>
                    <a:lnTo>
                      <a:pt x="221" y="70"/>
                    </a:lnTo>
                    <a:lnTo>
                      <a:pt x="215" y="67"/>
                    </a:lnTo>
                    <a:lnTo>
                      <a:pt x="209" y="67"/>
                    </a:lnTo>
                    <a:lnTo>
                      <a:pt x="195" y="67"/>
                    </a:lnTo>
                    <a:lnTo>
                      <a:pt x="185" y="71"/>
                    </a:lnTo>
                    <a:lnTo>
                      <a:pt x="184" y="73"/>
                    </a:lnTo>
                    <a:lnTo>
                      <a:pt x="184" y="74"/>
                    </a:lnTo>
                    <a:lnTo>
                      <a:pt x="184" y="74"/>
                    </a:lnTo>
                    <a:lnTo>
                      <a:pt x="188" y="80"/>
                    </a:lnTo>
                    <a:lnTo>
                      <a:pt x="191" y="87"/>
                    </a:lnTo>
                    <a:lnTo>
                      <a:pt x="191" y="92"/>
                    </a:lnTo>
                    <a:lnTo>
                      <a:pt x="190" y="98"/>
                    </a:lnTo>
                    <a:lnTo>
                      <a:pt x="190" y="98"/>
                    </a:lnTo>
                    <a:lnTo>
                      <a:pt x="187" y="100"/>
                    </a:lnTo>
                    <a:lnTo>
                      <a:pt x="184" y="100"/>
                    </a:lnTo>
                    <a:lnTo>
                      <a:pt x="177" y="98"/>
                    </a:lnTo>
                    <a:lnTo>
                      <a:pt x="168" y="95"/>
                    </a:lnTo>
                    <a:lnTo>
                      <a:pt x="163" y="94"/>
                    </a:lnTo>
                    <a:lnTo>
                      <a:pt x="158" y="94"/>
                    </a:lnTo>
                    <a:lnTo>
                      <a:pt x="158" y="94"/>
                    </a:lnTo>
                    <a:lnTo>
                      <a:pt x="151" y="95"/>
                    </a:lnTo>
                    <a:lnTo>
                      <a:pt x="141" y="100"/>
                    </a:lnTo>
                    <a:lnTo>
                      <a:pt x="116" y="111"/>
                    </a:lnTo>
                    <a:lnTo>
                      <a:pt x="103" y="118"/>
                    </a:lnTo>
                    <a:lnTo>
                      <a:pt x="93" y="124"/>
                    </a:lnTo>
                    <a:lnTo>
                      <a:pt x="87" y="129"/>
                    </a:lnTo>
                    <a:lnTo>
                      <a:pt x="86" y="131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9" y="135"/>
                    </a:lnTo>
                    <a:lnTo>
                      <a:pt x="91" y="137"/>
                    </a:lnTo>
                    <a:lnTo>
                      <a:pt x="103" y="138"/>
                    </a:lnTo>
                    <a:lnTo>
                      <a:pt x="116" y="138"/>
                    </a:lnTo>
                    <a:lnTo>
                      <a:pt x="121" y="138"/>
                    </a:lnTo>
                    <a:lnTo>
                      <a:pt x="126" y="139"/>
                    </a:lnTo>
                    <a:lnTo>
                      <a:pt x="126" y="139"/>
                    </a:lnTo>
                    <a:lnTo>
                      <a:pt x="127" y="142"/>
                    </a:lnTo>
                    <a:lnTo>
                      <a:pt x="128" y="145"/>
                    </a:lnTo>
                    <a:lnTo>
                      <a:pt x="127" y="149"/>
                    </a:lnTo>
                    <a:lnTo>
                      <a:pt x="126" y="154"/>
                    </a:lnTo>
                    <a:lnTo>
                      <a:pt x="120" y="162"/>
                    </a:lnTo>
                    <a:lnTo>
                      <a:pt x="111" y="169"/>
                    </a:lnTo>
                    <a:lnTo>
                      <a:pt x="111" y="169"/>
                    </a:lnTo>
                    <a:lnTo>
                      <a:pt x="107" y="171"/>
                    </a:lnTo>
                    <a:lnTo>
                      <a:pt x="100" y="172"/>
                    </a:lnTo>
                    <a:lnTo>
                      <a:pt x="83" y="172"/>
                    </a:lnTo>
                    <a:lnTo>
                      <a:pt x="69" y="174"/>
                    </a:lnTo>
                    <a:lnTo>
                      <a:pt x="63" y="175"/>
                    </a:lnTo>
                    <a:lnTo>
                      <a:pt x="62" y="178"/>
                    </a:lnTo>
                    <a:lnTo>
                      <a:pt x="62" y="178"/>
                    </a:lnTo>
                    <a:lnTo>
                      <a:pt x="60" y="179"/>
                    </a:lnTo>
                    <a:lnTo>
                      <a:pt x="59" y="181"/>
                    </a:lnTo>
                    <a:lnTo>
                      <a:pt x="52" y="184"/>
                    </a:lnTo>
                    <a:lnTo>
                      <a:pt x="30" y="188"/>
                    </a:lnTo>
                    <a:lnTo>
                      <a:pt x="19" y="191"/>
                    </a:lnTo>
                    <a:lnTo>
                      <a:pt x="9" y="193"/>
                    </a:lnTo>
                    <a:lnTo>
                      <a:pt x="3" y="196"/>
                    </a:lnTo>
                    <a:lnTo>
                      <a:pt x="0" y="199"/>
                    </a:lnTo>
                    <a:lnTo>
                      <a:pt x="0" y="202"/>
                    </a:lnTo>
                    <a:lnTo>
                      <a:pt x="0" y="202"/>
                    </a:lnTo>
                    <a:lnTo>
                      <a:pt x="0" y="205"/>
                    </a:lnTo>
                    <a:lnTo>
                      <a:pt x="2" y="209"/>
                    </a:lnTo>
                    <a:lnTo>
                      <a:pt x="6" y="212"/>
                    </a:lnTo>
                    <a:lnTo>
                      <a:pt x="10" y="213"/>
                    </a:lnTo>
                    <a:lnTo>
                      <a:pt x="10" y="213"/>
                    </a:lnTo>
                    <a:lnTo>
                      <a:pt x="23" y="215"/>
                    </a:lnTo>
                    <a:lnTo>
                      <a:pt x="30" y="216"/>
                    </a:lnTo>
                    <a:lnTo>
                      <a:pt x="33" y="218"/>
                    </a:lnTo>
                    <a:lnTo>
                      <a:pt x="36" y="220"/>
                    </a:lnTo>
                    <a:lnTo>
                      <a:pt x="36" y="220"/>
                    </a:lnTo>
                    <a:lnTo>
                      <a:pt x="40" y="223"/>
                    </a:lnTo>
                    <a:lnTo>
                      <a:pt x="44" y="226"/>
                    </a:lnTo>
                    <a:lnTo>
                      <a:pt x="56" y="228"/>
                    </a:lnTo>
                    <a:lnTo>
                      <a:pt x="67" y="228"/>
                    </a:lnTo>
                    <a:lnTo>
                      <a:pt x="80" y="225"/>
                    </a:lnTo>
                    <a:lnTo>
                      <a:pt x="80" y="225"/>
                    </a:lnTo>
                    <a:lnTo>
                      <a:pt x="86" y="222"/>
                    </a:lnTo>
                    <a:lnTo>
                      <a:pt x="90" y="222"/>
                    </a:lnTo>
                    <a:lnTo>
                      <a:pt x="94" y="222"/>
                    </a:lnTo>
                    <a:lnTo>
                      <a:pt x="99" y="223"/>
                    </a:lnTo>
                    <a:lnTo>
                      <a:pt x="101" y="225"/>
                    </a:lnTo>
                    <a:lnTo>
                      <a:pt x="103" y="228"/>
                    </a:lnTo>
                    <a:lnTo>
                      <a:pt x="104" y="230"/>
                    </a:lnTo>
                    <a:lnTo>
                      <a:pt x="106" y="233"/>
                    </a:lnTo>
                    <a:lnTo>
                      <a:pt x="106" y="233"/>
                    </a:lnTo>
                    <a:lnTo>
                      <a:pt x="103" y="236"/>
                    </a:lnTo>
                    <a:lnTo>
                      <a:pt x="100" y="236"/>
                    </a:lnTo>
                    <a:lnTo>
                      <a:pt x="87" y="236"/>
                    </a:lnTo>
                    <a:lnTo>
                      <a:pt x="73" y="235"/>
                    </a:lnTo>
                    <a:lnTo>
                      <a:pt x="66" y="235"/>
                    </a:lnTo>
                    <a:lnTo>
                      <a:pt x="62" y="236"/>
                    </a:lnTo>
                    <a:lnTo>
                      <a:pt x="62" y="236"/>
                    </a:lnTo>
                    <a:lnTo>
                      <a:pt x="57" y="239"/>
                    </a:lnTo>
                    <a:lnTo>
                      <a:pt x="52" y="239"/>
                    </a:lnTo>
                    <a:lnTo>
                      <a:pt x="37" y="240"/>
                    </a:lnTo>
                    <a:lnTo>
                      <a:pt x="26" y="240"/>
                    </a:lnTo>
                    <a:lnTo>
                      <a:pt x="23" y="242"/>
                    </a:lnTo>
                    <a:lnTo>
                      <a:pt x="23" y="245"/>
                    </a:lnTo>
                    <a:lnTo>
                      <a:pt x="23" y="245"/>
                    </a:lnTo>
                    <a:lnTo>
                      <a:pt x="23" y="246"/>
                    </a:lnTo>
                    <a:lnTo>
                      <a:pt x="26" y="248"/>
                    </a:lnTo>
                    <a:lnTo>
                      <a:pt x="33" y="249"/>
                    </a:lnTo>
                    <a:lnTo>
                      <a:pt x="52" y="252"/>
                    </a:lnTo>
                    <a:lnTo>
                      <a:pt x="52" y="252"/>
                    </a:lnTo>
                    <a:lnTo>
                      <a:pt x="54" y="253"/>
                    </a:lnTo>
                    <a:lnTo>
                      <a:pt x="57" y="255"/>
                    </a:lnTo>
                    <a:lnTo>
                      <a:pt x="57" y="256"/>
                    </a:lnTo>
                    <a:lnTo>
                      <a:pt x="56" y="257"/>
                    </a:lnTo>
                    <a:lnTo>
                      <a:pt x="53" y="260"/>
                    </a:lnTo>
                    <a:lnTo>
                      <a:pt x="52" y="265"/>
                    </a:lnTo>
                    <a:lnTo>
                      <a:pt x="52" y="265"/>
                    </a:lnTo>
                    <a:lnTo>
                      <a:pt x="53" y="267"/>
                    </a:lnTo>
                    <a:lnTo>
                      <a:pt x="56" y="269"/>
                    </a:lnTo>
                    <a:lnTo>
                      <a:pt x="63" y="272"/>
                    </a:lnTo>
                    <a:lnTo>
                      <a:pt x="72" y="275"/>
                    </a:lnTo>
                    <a:lnTo>
                      <a:pt x="72" y="275"/>
                    </a:lnTo>
                    <a:lnTo>
                      <a:pt x="81" y="279"/>
                    </a:lnTo>
                    <a:lnTo>
                      <a:pt x="91" y="282"/>
                    </a:lnTo>
                    <a:lnTo>
                      <a:pt x="97" y="282"/>
                    </a:lnTo>
                    <a:lnTo>
                      <a:pt x="99" y="280"/>
                    </a:lnTo>
                    <a:lnTo>
                      <a:pt x="97" y="277"/>
                    </a:lnTo>
                    <a:lnTo>
                      <a:pt x="97" y="277"/>
                    </a:lnTo>
                    <a:lnTo>
                      <a:pt x="96" y="276"/>
                    </a:lnTo>
                    <a:lnTo>
                      <a:pt x="96" y="275"/>
                    </a:lnTo>
                    <a:lnTo>
                      <a:pt x="99" y="273"/>
                    </a:lnTo>
                    <a:lnTo>
                      <a:pt x="101" y="273"/>
                    </a:lnTo>
                    <a:lnTo>
                      <a:pt x="108" y="273"/>
                    </a:lnTo>
                    <a:lnTo>
                      <a:pt x="113" y="276"/>
                    </a:lnTo>
                    <a:lnTo>
                      <a:pt x="113" y="276"/>
                    </a:lnTo>
                    <a:lnTo>
                      <a:pt x="114" y="277"/>
                    </a:lnTo>
                    <a:lnTo>
                      <a:pt x="117" y="277"/>
                    </a:lnTo>
                    <a:lnTo>
                      <a:pt x="121" y="275"/>
                    </a:lnTo>
                    <a:lnTo>
                      <a:pt x="127" y="272"/>
                    </a:lnTo>
                    <a:lnTo>
                      <a:pt x="131" y="272"/>
                    </a:lnTo>
                    <a:lnTo>
                      <a:pt x="134" y="272"/>
                    </a:lnTo>
                    <a:lnTo>
                      <a:pt x="134" y="272"/>
                    </a:lnTo>
                    <a:lnTo>
                      <a:pt x="137" y="272"/>
                    </a:lnTo>
                    <a:lnTo>
                      <a:pt x="140" y="272"/>
                    </a:lnTo>
                    <a:lnTo>
                      <a:pt x="145" y="269"/>
                    </a:lnTo>
                    <a:lnTo>
                      <a:pt x="148" y="267"/>
                    </a:lnTo>
                    <a:lnTo>
                      <a:pt x="151" y="267"/>
                    </a:lnTo>
                    <a:lnTo>
                      <a:pt x="154" y="269"/>
                    </a:lnTo>
                    <a:lnTo>
                      <a:pt x="154" y="269"/>
                    </a:lnTo>
                    <a:lnTo>
                      <a:pt x="164" y="272"/>
                    </a:lnTo>
                    <a:lnTo>
                      <a:pt x="178" y="275"/>
                    </a:lnTo>
                    <a:lnTo>
                      <a:pt x="194" y="277"/>
                    </a:lnTo>
                    <a:lnTo>
                      <a:pt x="205" y="282"/>
                    </a:lnTo>
                    <a:lnTo>
                      <a:pt x="205" y="282"/>
                    </a:lnTo>
                    <a:lnTo>
                      <a:pt x="215" y="286"/>
                    </a:lnTo>
                    <a:lnTo>
                      <a:pt x="224" y="289"/>
                    </a:lnTo>
                    <a:lnTo>
                      <a:pt x="229" y="293"/>
                    </a:lnTo>
                    <a:lnTo>
                      <a:pt x="231" y="296"/>
                    </a:lnTo>
                    <a:lnTo>
                      <a:pt x="231" y="299"/>
                    </a:lnTo>
                    <a:lnTo>
                      <a:pt x="231" y="299"/>
                    </a:lnTo>
                    <a:lnTo>
                      <a:pt x="231" y="302"/>
                    </a:lnTo>
                    <a:lnTo>
                      <a:pt x="232" y="304"/>
                    </a:lnTo>
                    <a:lnTo>
                      <a:pt x="237" y="310"/>
                    </a:lnTo>
                    <a:lnTo>
                      <a:pt x="244" y="316"/>
                    </a:lnTo>
                    <a:lnTo>
                      <a:pt x="254" y="320"/>
                    </a:lnTo>
                    <a:lnTo>
                      <a:pt x="254" y="320"/>
                    </a:lnTo>
                    <a:lnTo>
                      <a:pt x="258" y="323"/>
                    </a:lnTo>
                    <a:lnTo>
                      <a:pt x="261" y="326"/>
                    </a:lnTo>
                    <a:lnTo>
                      <a:pt x="266" y="331"/>
                    </a:lnTo>
                    <a:lnTo>
                      <a:pt x="268" y="340"/>
                    </a:lnTo>
                    <a:lnTo>
                      <a:pt x="268" y="346"/>
                    </a:lnTo>
                    <a:lnTo>
                      <a:pt x="268" y="346"/>
                    </a:lnTo>
                    <a:lnTo>
                      <a:pt x="268" y="349"/>
                    </a:lnTo>
                    <a:lnTo>
                      <a:pt x="271" y="351"/>
                    </a:lnTo>
                    <a:lnTo>
                      <a:pt x="275" y="357"/>
                    </a:lnTo>
                    <a:lnTo>
                      <a:pt x="279" y="360"/>
                    </a:lnTo>
                    <a:lnTo>
                      <a:pt x="279" y="363"/>
                    </a:lnTo>
                    <a:lnTo>
                      <a:pt x="279" y="364"/>
                    </a:lnTo>
                    <a:lnTo>
                      <a:pt x="279" y="364"/>
                    </a:lnTo>
                    <a:lnTo>
                      <a:pt x="279" y="367"/>
                    </a:lnTo>
                    <a:lnTo>
                      <a:pt x="279" y="370"/>
                    </a:lnTo>
                    <a:lnTo>
                      <a:pt x="282" y="376"/>
                    </a:lnTo>
                    <a:lnTo>
                      <a:pt x="288" y="380"/>
                    </a:lnTo>
                    <a:lnTo>
                      <a:pt x="288" y="380"/>
                    </a:lnTo>
                    <a:lnTo>
                      <a:pt x="289" y="383"/>
                    </a:lnTo>
                    <a:lnTo>
                      <a:pt x="289" y="386"/>
                    </a:lnTo>
                    <a:lnTo>
                      <a:pt x="285" y="391"/>
                    </a:lnTo>
                    <a:lnTo>
                      <a:pt x="279" y="395"/>
                    </a:lnTo>
                    <a:lnTo>
                      <a:pt x="279" y="398"/>
                    </a:lnTo>
                    <a:lnTo>
                      <a:pt x="279" y="400"/>
                    </a:lnTo>
                    <a:lnTo>
                      <a:pt x="279" y="400"/>
                    </a:lnTo>
                    <a:lnTo>
                      <a:pt x="281" y="403"/>
                    </a:lnTo>
                    <a:lnTo>
                      <a:pt x="281" y="405"/>
                    </a:lnTo>
                    <a:lnTo>
                      <a:pt x="279" y="413"/>
                    </a:lnTo>
                    <a:lnTo>
                      <a:pt x="279" y="415"/>
                    </a:lnTo>
                    <a:lnTo>
                      <a:pt x="281" y="418"/>
                    </a:lnTo>
                    <a:lnTo>
                      <a:pt x="282" y="421"/>
                    </a:lnTo>
                    <a:lnTo>
                      <a:pt x="288" y="423"/>
                    </a:lnTo>
                    <a:lnTo>
                      <a:pt x="288" y="423"/>
                    </a:lnTo>
                    <a:lnTo>
                      <a:pt x="292" y="423"/>
                    </a:lnTo>
                    <a:lnTo>
                      <a:pt x="296" y="421"/>
                    </a:lnTo>
                    <a:lnTo>
                      <a:pt x="301" y="418"/>
                    </a:lnTo>
                    <a:lnTo>
                      <a:pt x="305" y="414"/>
                    </a:lnTo>
                    <a:lnTo>
                      <a:pt x="308" y="413"/>
                    </a:lnTo>
                    <a:lnTo>
                      <a:pt x="312" y="411"/>
                    </a:lnTo>
                    <a:lnTo>
                      <a:pt x="312" y="411"/>
                    </a:lnTo>
                    <a:lnTo>
                      <a:pt x="315" y="413"/>
                    </a:lnTo>
                    <a:lnTo>
                      <a:pt x="316" y="413"/>
                    </a:lnTo>
                    <a:lnTo>
                      <a:pt x="316" y="415"/>
                    </a:lnTo>
                    <a:lnTo>
                      <a:pt x="316" y="417"/>
                    </a:lnTo>
                    <a:lnTo>
                      <a:pt x="315" y="423"/>
                    </a:lnTo>
                    <a:lnTo>
                      <a:pt x="315" y="425"/>
                    </a:lnTo>
                    <a:lnTo>
                      <a:pt x="318" y="428"/>
                    </a:lnTo>
                    <a:lnTo>
                      <a:pt x="318" y="428"/>
                    </a:lnTo>
                    <a:lnTo>
                      <a:pt x="323" y="431"/>
                    </a:lnTo>
                    <a:lnTo>
                      <a:pt x="330" y="434"/>
                    </a:lnTo>
                    <a:lnTo>
                      <a:pt x="339" y="437"/>
                    </a:lnTo>
                    <a:lnTo>
                      <a:pt x="347" y="442"/>
                    </a:lnTo>
                    <a:lnTo>
                      <a:pt x="347" y="442"/>
                    </a:lnTo>
                    <a:lnTo>
                      <a:pt x="352" y="445"/>
                    </a:lnTo>
                    <a:lnTo>
                      <a:pt x="353" y="448"/>
                    </a:lnTo>
                    <a:lnTo>
                      <a:pt x="353" y="451"/>
                    </a:lnTo>
                    <a:lnTo>
                      <a:pt x="353" y="452"/>
                    </a:lnTo>
                    <a:lnTo>
                      <a:pt x="352" y="452"/>
                    </a:lnTo>
                    <a:lnTo>
                      <a:pt x="349" y="452"/>
                    </a:lnTo>
                    <a:lnTo>
                      <a:pt x="342" y="450"/>
                    </a:lnTo>
                    <a:lnTo>
                      <a:pt x="342" y="450"/>
                    </a:lnTo>
                    <a:lnTo>
                      <a:pt x="336" y="447"/>
                    </a:lnTo>
                    <a:lnTo>
                      <a:pt x="330" y="445"/>
                    </a:lnTo>
                    <a:lnTo>
                      <a:pt x="316" y="444"/>
                    </a:lnTo>
                    <a:lnTo>
                      <a:pt x="303" y="444"/>
                    </a:lnTo>
                    <a:lnTo>
                      <a:pt x="299" y="445"/>
                    </a:lnTo>
                    <a:lnTo>
                      <a:pt x="299" y="445"/>
                    </a:lnTo>
                    <a:lnTo>
                      <a:pt x="299" y="445"/>
                    </a:lnTo>
                    <a:lnTo>
                      <a:pt x="303" y="451"/>
                    </a:lnTo>
                    <a:lnTo>
                      <a:pt x="318" y="458"/>
                    </a:lnTo>
                    <a:lnTo>
                      <a:pt x="332" y="464"/>
                    </a:lnTo>
                    <a:lnTo>
                      <a:pt x="338" y="465"/>
                    </a:lnTo>
                    <a:lnTo>
                      <a:pt x="342" y="465"/>
                    </a:lnTo>
                    <a:lnTo>
                      <a:pt x="342" y="465"/>
                    </a:lnTo>
                    <a:lnTo>
                      <a:pt x="345" y="465"/>
                    </a:lnTo>
                    <a:lnTo>
                      <a:pt x="347" y="467"/>
                    </a:lnTo>
                    <a:lnTo>
                      <a:pt x="353" y="471"/>
                    </a:lnTo>
                    <a:lnTo>
                      <a:pt x="356" y="477"/>
                    </a:lnTo>
                    <a:lnTo>
                      <a:pt x="357" y="479"/>
                    </a:lnTo>
                    <a:lnTo>
                      <a:pt x="356" y="482"/>
                    </a:lnTo>
                    <a:lnTo>
                      <a:pt x="356" y="482"/>
                    </a:lnTo>
                    <a:lnTo>
                      <a:pt x="353" y="487"/>
                    </a:lnTo>
                    <a:lnTo>
                      <a:pt x="353" y="494"/>
                    </a:lnTo>
                    <a:lnTo>
                      <a:pt x="353" y="505"/>
                    </a:lnTo>
                    <a:lnTo>
                      <a:pt x="353" y="505"/>
                    </a:lnTo>
                    <a:lnTo>
                      <a:pt x="352" y="506"/>
                    </a:lnTo>
                    <a:lnTo>
                      <a:pt x="350" y="506"/>
                    </a:lnTo>
                    <a:lnTo>
                      <a:pt x="345" y="506"/>
                    </a:lnTo>
                    <a:lnTo>
                      <a:pt x="339" y="505"/>
                    </a:lnTo>
                    <a:lnTo>
                      <a:pt x="332" y="505"/>
                    </a:lnTo>
                    <a:lnTo>
                      <a:pt x="332" y="505"/>
                    </a:lnTo>
                    <a:lnTo>
                      <a:pt x="328" y="506"/>
                    </a:lnTo>
                    <a:lnTo>
                      <a:pt x="323" y="508"/>
                    </a:lnTo>
                    <a:lnTo>
                      <a:pt x="320" y="512"/>
                    </a:lnTo>
                    <a:lnTo>
                      <a:pt x="319" y="516"/>
                    </a:lnTo>
                    <a:lnTo>
                      <a:pt x="319" y="516"/>
                    </a:lnTo>
                    <a:lnTo>
                      <a:pt x="319" y="519"/>
                    </a:lnTo>
                    <a:lnTo>
                      <a:pt x="318" y="522"/>
                    </a:lnTo>
                    <a:lnTo>
                      <a:pt x="313" y="528"/>
                    </a:lnTo>
                    <a:lnTo>
                      <a:pt x="309" y="533"/>
                    </a:lnTo>
                    <a:lnTo>
                      <a:pt x="308" y="536"/>
                    </a:lnTo>
                    <a:lnTo>
                      <a:pt x="306" y="541"/>
                    </a:lnTo>
                    <a:lnTo>
                      <a:pt x="306" y="541"/>
                    </a:lnTo>
                    <a:lnTo>
                      <a:pt x="306" y="543"/>
                    </a:lnTo>
                    <a:lnTo>
                      <a:pt x="308" y="546"/>
                    </a:lnTo>
                    <a:lnTo>
                      <a:pt x="311" y="549"/>
                    </a:lnTo>
                    <a:lnTo>
                      <a:pt x="316" y="552"/>
                    </a:lnTo>
                    <a:lnTo>
                      <a:pt x="322" y="555"/>
                    </a:lnTo>
                    <a:lnTo>
                      <a:pt x="322" y="555"/>
                    </a:lnTo>
                    <a:lnTo>
                      <a:pt x="323" y="556"/>
                    </a:lnTo>
                    <a:lnTo>
                      <a:pt x="322" y="558"/>
                    </a:lnTo>
                    <a:lnTo>
                      <a:pt x="318" y="560"/>
                    </a:lnTo>
                    <a:lnTo>
                      <a:pt x="312" y="563"/>
                    </a:lnTo>
                    <a:lnTo>
                      <a:pt x="311" y="566"/>
                    </a:lnTo>
                    <a:lnTo>
                      <a:pt x="309" y="569"/>
                    </a:lnTo>
                    <a:lnTo>
                      <a:pt x="309" y="569"/>
                    </a:lnTo>
                    <a:lnTo>
                      <a:pt x="309" y="572"/>
                    </a:lnTo>
                    <a:lnTo>
                      <a:pt x="312" y="575"/>
                    </a:lnTo>
                    <a:lnTo>
                      <a:pt x="318" y="582"/>
                    </a:lnTo>
                    <a:lnTo>
                      <a:pt x="325" y="588"/>
                    </a:lnTo>
                    <a:lnTo>
                      <a:pt x="332" y="592"/>
                    </a:lnTo>
                    <a:lnTo>
                      <a:pt x="332" y="592"/>
                    </a:lnTo>
                    <a:lnTo>
                      <a:pt x="333" y="593"/>
                    </a:lnTo>
                    <a:lnTo>
                      <a:pt x="335" y="596"/>
                    </a:lnTo>
                    <a:lnTo>
                      <a:pt x="335" y="603"/>
                    </a:lnTo>
                    <a:lnTo>
                      <a:pt x="333" y="612"/>
                    </a:lnTo>
                    <a:lnTo>
                      <a:pt x="335" y="619"/>
                    </a:lnTo>
                    <a:lnTo>
                      <a:pt x="335" y="619"/>
                    </a:lnTo>
                    <a:lnTo>
                      <a:pt x="336" y="622"/>
                    </a:lnTo>
                    <a:lnTo>
                      <a:pt x="338" y="623"/>
                    </a:lnTo>
                    <a:lnTo>
                      <a:pt x="340" y="623"/>
                    </a:lnTo>
                    <a:lnTo>
                      <a:pt x="343" y="623"/>
                    </a:lnTo>
                    <a:lnTo>
                      <a:pt x="343" y="625"/>
                    </a:lnTo>
                    <a:lnTo>
                      <a:pt x="345" y="627"/>
                    </a:lnTo>
                    <a:lnTo>
                      <a:pt x="345" y="627"/>
                    </a:lnTo>
                    <a:lnTo>
                      <a:pt x="345" y="632"/>
                    </a:lnTo>
                    <a:lnTo>
                      <a:pt x="345" y="634"/>
                    </a:lnTo>
                    <a:lnTo>
                      <a:pt x="347" y="637"/>
                    </a:lnTo>
                    <a:lnTo>
                      <a:pt x="350" y="640"/>
                    </a:lnTo>
                    <a:lnTo>
                      <a:pt x="352" y="644"/>
                    </a:lnTo>
                    <a:lnTo>
                      <a:pt x="352" y="644"/>
                    </a:lnTo>
                    <a:lnTo>
                      <a:pt x="353" y="646"/>
                    </a:lnTo>
                    <a:lnTo>
                      <a:pt x="355" y="647"/>
                    </a:lnTo>
                    <a:lnTo>
                      <a:pt x="359" y="650"/>
                    </a:lnTo>
                    <a:lnTo>
                      <a:pt x="363" y="653"/>
                    </a:lnTo>
                    <a:lnTo>
                      <a:pt x="365" y="654"/>
                    </a:lnTo>
                    <a:lnTo>
                      <a:pt x="365" y="657"/>
                    </a:lnTo>
                    <a:lnTo>
                      <a:pt x="365" y="657"/>
                    </a:lnTo>
                    <a:lnTo>
                      <a:pt x="365" y="663"/>
                    </a:lnTo>
                    <a:lnTo>
                      <a:pt x="366" y="669"/>
                    </a:lnTo>
                    <a:lnTo>
                      <a:pt x="372" y="677"/>
                    </a:lnTo>
                    <a:lnTo>
                      <a:pt x="372" y="677"/>
                    </a:lnTo>
                    <a:lnTo>
                      <a:pt x="382" y="686"/>
                    </a:lnTo>
                    <a:lnTo>
                      <a:pt x="386" y="691"/>
                    </a:lnTo>
                    <a:lnTo>
                      <a:pt x="390" y="696"/>
                    </a:lnTo>
                    <a:lnTo>
                      <a:pt x="390" y="696"/>
                    </a:lnTo>
                    <a:lnTo>
                      <a:pt x="393" y="701"/>
                    </a:lnTo>
                    <a:lnTo>
                      <a:pt x="397" y="706"/>
                    </a:lnTo>
                    <a:lnTo>
                      <a:pt x="402" y="708"/>
                    </a:lnTo>
                    <a:lnTo>
                      <a:pt x="404" y="708"/>
                    </a:lnTo>
                    <a:lnTo>
                      <a:pt x="409" y="708"/>
                    </a:lnTo>
                    <a:lnTo>
                      <a:pt x="409" y="708"/>
                    </a:lnTo>
                    <a:lnTo>
                      <a:pt x="413" y="707"/>
                    </a:lnTo>
                    <a:lnTo>
                      <a:pt x="417" y="710"/>
                    </a:lnTo>
                    <a:lnTo>
                      <a:pt x="420" y="711"/>
                    </a:lnTo>
                    <a:lnTo>
                      <a:pt x="424" y="713"/>
                    </a:lnTo>
                    <a:lnTo>
                      <a:pt x="424" y="713"/>
                    </a:lnTo>
                    <a:lnTo>
                      <a:pt x="429" y="713"/>
                    </a:lnTo>
                    <a:lnTo>
                      <a:pt x="434" y="714"/>
                    </a:lnTo>
                    <a:lnTo>
                      <a:pt x="440" y="717"/>
                    </a:lnTo>
                    <a:lnTo>
                      <a:pt x="443" y="721"/>
                    </a:lnTo>
                    <a:lnTo>
                      <a:pt x="443" y="721"/>
                    </a:lnTo>
                    <a:lnTo>
                      <a:pt x="444" y="723"/>
                    </a:lnTo>
                    <a:lnTo>
                      <a:pt x="447" y="724"/>
                    </a:lnTo>
                    <a:lnTo>
                      <a:pt x="456" y="728"/>
                    </a:lnTo>
                    <a:lnTo>
                      <a:pt x="471" y="731"/>
                    </a:lnTo>
                    <a:lnTo>
                      <a:pt x="471" y="731"/>
                    </a:lnTo>
                    <a:lnTo>
                      <a:pt x="473" y="731"/>
                    </a:lnTo>
                    <a:lnTo>
                      <a:pt x="474" y="730"/>
                    </a:lnTo>
                    <a:lnTo>
                      <a:pt x="477" y="727"/>
                    </a:lnTo>
                    <a:lnTo>
                      <a:pt x="480" y="723"/>
                    </a:lnTo>
                    <a:lnTo>
                      <a:pt x="483" y="720"/>
                    </a:lnTo>
                    <a:lnTo>
                      <a:pt x="483" y="720"/>
                    </a:lnTo>
                    <a:lnTo>
                      <a:pt x="484" y="717"/>
                    </a:lnTo>
                    <a:lnTo>
                      <a:pt x="485" y="714"/>
                    </a:lnTo>
                    <a:lnTo>
                      <a:pt x="487" y="706"/>
                    </a:lnTo>
                    <a:lnTo>
                      <a:pt x="488" y="698"/>
                    </a:lnTo>
                    <a:lnTo>
                      <a:pt x="488" y="696"/>
                    </a:lnTo>
                    <a:lnTo>
                      <a:pt x="491" y="694"/>
                    </a:lnTo>
                    <a:lnTo>
                      <a:pt x="491" y="694"/>
                    </a:lnTo>
                    <a:lnTo>
                      <a:pt x="493" y="693"/>
                    </a:lnTo>
                    <a:lnTo>
                      <a:pt x="493" y="690"/>
                    </a:lnTo>
                    <a:lnTo>
                      <a:pt x="494" y="681"/>
                    </a:lnTo>
                    <a:lnTo>
                      <a:pt x="493" y="673"/>
                    </a:lnTo>
                    <a:lnTo>
                      <a:pt x="491" y="670"/>
                    </a:lnTo>
                    <a:lnTo>
                      <a:pt x="490" y="669"/>
                    </a:lnTo>
                    <a:lnTo>
                      <a:pt x="490" y="669"/>
                    </a:lnTo>
                    <a:lnTo>
                      <a:pt x="487" y="667"/>
                    </a:lnTo>
                    <a:lnTo>
                      <a:pt x="487" y="664"/>
                    </a:lnTo>
                    <a:lnTo>
                      <a:pt x="491" y="661"/>
                    </a:lnTo>
                    <a:lnTo>
                      <a:pt x="497" y="661"/>
                    </a:lnTo>
                    <a:lnTo>
                      <a:pt x="497" y="661"/>
                    </a:lnTo>
                    <a:lnTo>
                      <a:pt x="501" y="661"/>
                    </a:lnTo>
                    <a:lnTo>
                      <a:pt x="503" y="660"/>
                    </a:lnTo>
                    <a:lnTo>
                      <a:pt x="505" y="656"/>
                    </a:lnTo>
                    <a:lnTo>
                      <a:pt x="507" y="653"/>
                    </a:lnTo>
                    <a:lnTo>
                      <a:pt x="508" y="652"/>
                    </a:lnTo>
                    <a:lnTo>
                      <a:pt x="510" y="650"/>
                    </a:lnTo>
                    <a:lnTo>
                      <a:pt x="510" y="650"/>
                    </a:lnTo>
                    <a:lnTo>
                      <a:pt x="511" y="649"/>
                    </a:lnTo>
                    <a:lnTo>
                      <a:pt x="513" y="647"/>
                    </a:lnTo>
                    <a:lnTo>
                      <a:pt x="514" y="643"/>
                    </a:lnTo>
                    <a:lnTo>
                      <a:pt x="514" y="640"/>
                    </a:lnTo>
                    <a:lnTo>
                      <a:pt x="517" y="637"/>
                    </a:lnTo>
                    <a:lnTo>
                      <a:pt x="517" y="637"/>
                    </a:lnTo>
                    <a:lnTo>
                      <a:pt x="518" y="636"/>
                    </a:lnTo>
                    <a:lnTo>
                      <a:pt x="518" y="633"/>
                    </a:lnTo>
                    <a:lnTo>
                      <a:pt x="518" y="630"/>
                    </a:lnTo>
                    <a:lnTo>
                      <a:pt x="517" y="626"/>
                    </a:lnTo>
                    <a:lnTo>
                      <a:pt x="517" y="626"/>
                    </a:lnTo>
                    <a:lnTo>
                      <a:pt x="515" y="623"/>
                    </a:lnTo>
                    <a:lnTo>
                      <a:pt x="517" y="622"/>
                    </a:lnTo>
                    <a:lnTo>
                      <a:pt x="520" y="620"/>
                    </a:lnTo>
                    <a:lnTo>
                      <a:pt x="522" y="619"/>
                    </a:lnTo>
                    <a:lnTo>
                      <a:pt x="522" y="619"/>
                    </a:lnTo>
                    <a:lnTo>
                      <a:pt x="525" y="617"/>
                    </a:lnTo>
                    <a:lnTo>
                      <a:pt x="527" y="613"/>
                    </a:lnTo>
                    <a:lnTo>
                      <a:pt x="524" y="610"/>
                    </a:lnTo>
                    <a:lnTo>
                      <a:pt x="520" y="607"/>
                    </a:lnTo>
                    <a:lnTo>
                      <a:pt x="520" y="607"/>
                    </a:lnTo>
                    <a:lnTo>
                      <a:pt x="515" y="605"/>
                    </a:lnTo>
                    <a:lnTo>
                      <a:pt x="515" y="600"/>
                    </a:lnTo>
                    <a:lnTo>
                      <a:pt x="515" y="599"/>
                    </a:lnTo>
                    <a:lnTo>
                      <a:pt x="517" y="599"/>
                    </a:lnTo>
                    <a:lnTo>
                      <a:pt x="520" y="599"/>
                    </a:lnTo>
                    <a:lnTo>
                      <a:pt x="522" y="600"/>
                    </a:lnTo>
                    <a:lnTo>
                      <a:pt x="522" y="600"/>
                    </a:lnTo>
                    <a:lnTo>
                      <a:pt x="527" y="603"/>
                    </a:lnTo>
                    <a:lnTo>
                      <a:pt x="531" y="603"/>
                    </a:lnTo>
                    <a:lnTo>
                      <a:pt x="532" y="600"/>
                    </a:lnTo>
                    <a:lnTo>
                      <a:pt x="531" y="596"/>
                    </a:lnTo>
                    <a:lnTo>
                      <a:pt x="531" y="596"/>
                    </a:lnTo>
                    <a:lnTo>
                      <a:pt x="530" y="595"/>
                    </a:lnTo>
                    <a:lnTo>
                      <a:pt x="530" y="593"/>
                    </a:lnTo>
                    <a:lnTo>
                      <a:pt x="532" y="590"/>
                    </a:lnTo>
                    <a:lnTo>
                      <a:pt x="538" y="588"/>
                    </a:lnTo>
                    <a:lnTo>
                      <a:pt x="547" y="588"/>
                    </a:lnTo>
                    <a:lnTo>
                      <a:pt x="547" y="588"/>
                    </a:lnTo>
                    <a:lnTo>
                      <a:pt x="552" y="586"/>
                    </a:lnTo>
                    <a:lnTo>
                      <a:pt x="557" y="583"/>
                    </a:lnTo>
                    <a:lnTo>
                      <a:pt x="559" y="579"/>
                    </a:lnTo>
                    <a:lnTo>
                      <a:pt x="559" y="573"/>
                    </a:lnTo>
                    <a:lnTo>
                      <a:pt x="559" y="573"/>
                    </a:lnTo>
                    <a:lnTo>
                      <a:pt x="559" y="570"/>
                    </a:lnTo>
                    <a:lnTo>
                      <a:pt x="559" y="569"/>
                    </a:lnTo>
                    <a:lnTo>
                      <a:pt x="564" y="568"/>
                    </a:lnTo>
                    <a:lnTo>
                      <a:pt x="567" y="569"/>
                    </a:lnTo>
                    <a:lnTo>
                      <a:pt x="568" y="570"/>
                    </a:lnTo>
                    <a:lnTo>
                      <a:pt x="568" y="573"/>
                    </a:lnTo>
                    <a:lnTo>
                      <a:pt x="568" y="573"/>
                    </a:lnTo>
                    <a:lnTo>
                      <a:pt x="565" y="578"/>
                    </a:lnTo>
                    <a:lnTo>
                      <a:pt x="567" y="582"/>
                    </a:lnTo>
                    <a:lnTo>
                      <a:pt x="568" y="583"/>
                    </a:lnTo>
                    <a:lnTo>
                      <a:pt x="571" y="582"/>
                    </a:lnTo>
                    <a:lnTo>
                      <a:pt x="571" y="582"/>
                    </a:lnTo>
                    <a:lnTo>
                      <a:pt x="575" y="579"/>
                    </a:lnTo>
                    <a:lnTo>
                      <a:pt x="581" y="578"/>
                    </a:lnTo>
                    <a:lnTo>
                      <a:pt x="589" y="578"/>
                    </a:lnTo>
                    <a:lnTo>
                      <a:pt x="601" y="575"/>
                    </a:lnTo>
                    <a:lnTo>
                      <a:pt x="601" y="575"/>
                    </a:lnTo>
                    <a:lnTo>
                      <a:pt x="612" y="570"/>
                    </a:lnTo>
                    <a:lnTo>
                      <a:pt x="623" y="563"/>
                    </a:lnTo>
                    <a:lnTo>
                      <a:pt x="631" y="553"/>
                    </a:lnTo>
                    <a:lnTo>
                      <a:pt x="633" y="549"/>
                    </a:lnTo>
                    <a:lnTo>
                      <a:pt x="636" y="545"/>
                    </a:lnTo>
                    <a:lnTo>
                      <a:pt x="636" y="545"/>
                    </a:lnTo>
                    <a:lnTo>
                      <a:pt x="638" y="541"/>
                    </a:lnTo>
                    <a:lnTo>
                      <a:pt x="641" y="536"/>
                    </a:lnTo>
                    <a:lnTo>
                      <a:pt x="648" y="532"/>
                    </a:lnTo>
                    <a:lnTo>
                      <a:pt x="655" y="529"/>
                    </a:lnTo>
                    <a:lnTo>
                      <a:pt x="656" y="528"/>
                    </a:lnTo>
                    <a:lnTo>
                      <a:pt x="656" y="525"/>
                    </a:lnTo>
                    <a:lnTo>
                      <a:pt x="656" y="525"/>
                    </a:lnTo>
                    <a:lnTo>
                      <a:pt x="656" y="519"/>
                    </a:lnTo>
                    <a:lnTo>
                      <a:pt x="656" y="518"/>
                    </a:lnTo>
                    <a:lnTo>
                      <a:pt x="658" y="516"/>
                    </a:lnTo>
                    <a:lnTo>
                      <a:pt x="663" y="515"/>
                    </a:lnTo>
                    <a:lnTo>
                      <a:pt x="672" y="518"/>
                    </a:lnTo>
                    <a:lnTo>
                      <a:pt x="672" y="518"/>
                    </a:lnTo>
                    <a:lnTo>
                      <a:pt x="676" y="521"/>
                    </a:lnTo>
                    <a:lnTo>
                      <a:pt x="678" y="519"/>
                    </a:lnTo>
                    <a:lnTo>
                      <a:pt x="679" y="518"/>
                    </a:lnTo>
                    <a:lnTo>
                      <a:pt x="680" y="516"/>
                    </a:lnTo>
                    <a:lnTo>
                      <a:pt x="683" y="515"/>
                    </a:lnTo>
                    <a:lnTo>
                      <a:pt x="687" y="515"/>
                    </a:lnTo>
                    <a:lnTo>
                      <a:pt x="687" y="515"/>
                    </a:lnTo>
                    <a:lnTo>
                      <a:pt x="695" y="514"/>
                    </a:lnTo>
                    <a:lnTo>
                      <a:pt x="699" y="512"/>
                    </a:lnTo>
                    <a:lnTo>
                      <a:pt x="703" y="511"/>
                    </a:lnTo>
                    <a:lnTo>
                      <a:pt x="710" y="509"/>
                    </a:lnTo>
                    <a:lnTo>
                      <a:pt x="710" y="509"/>
                    </a:lnTo>
                    <a:lnTo>
                      <a:pt x="723" y="508"/>
                    </a:lnTo>
                    <a:lnTo>
                      <a:pt x="740" y="505"/>
                    </a:lnTo>
                    <a:lnTo>
                      <a:pt x="756" y="499"/>
                    </a:lnTo>
                    <a:lnTo>
                      <a:pt x="763" y="496"/>
                    </a:lnTo>
                    <a:lnTo>
                      <a:pt x="769" y="494"/>
                    </a:lnTo>
                    <a:lnTo>
                      <a:pt x="769" y="494"/>
                    </a:lnTo>
                    <a:lnTo>
                      <a:pt x="779" y="487"/>
                    </a:lnTo>
                    <a:lnTo>
                      <a:pt x="791" y="481"/>
                    </a:lnTo>
                    <a:lnTo>
                      <a:pt x="804" y="475"/>
                    </a:lnTo>
                    <a:lnTo>
                      <a:pt x="814" y="469"/>
                    </a:lnTo>
                    <a:lnTo>
                      <a:pt x="814" y="469"/>
                    </a:lnTo>
                    <a:lnTo>
                      <a:pt x="820" y="465"/>
                    </a:lnTo>
                    <a:lnTo>
                      <a:pt x="823" y="462"/>
                    </a:lnTo>
                    <a:lnTo>
                      <a:pt x="823" y="461"/>
                    </a:lnTo>
                    <a:lnTo>
                      <a:pt x="820" y="462"/>
                    </a:lnTo>
                    <a:lnTo>
                      <a:pt x="820" y="462"/>
                    </a:lnTo>
                    <a:lnTo>
                      <a:pt x="814" y="464"/>
                    </a:lnTo>
                    <a:lnTo>
                      <a:pt x="807" y="465"/>
                    </a:lnTo>
                    <a:lnTo>
                      <a:pt x="798" y="464"/>
                    </a:lnTo>
                    <a:lnTo>
                      <a:pt x="791" y="464"/>
                    </a:lnTo>
                    <a:lnTo>
                      <a:pt x="791" y="464"/>
                    </a:lnTo>
                    <a:lnTo>
                      <a:pt x="774" y="458"/>
                    </a:lnTo>
                    <a:lnTo>
                      <a:pt x="764" y="457"/>
                    </a:lnTo>
                    <a:lnTo>
                      <a:pt x="760" y="457"/>
                    </a:lnTo>
                    <a:lnTo>
                      <a:pt x="756" y="459"/>
                    </a:lnTo>
                    <a:lnTo>
                      <a:pt x="756" y="459"/>
                    </a:lnTo>
                    <a:lnTo>
                      <a:pt x="753" y="461"/>
                    </a:lnTo>
                    <a:lnTo>
                      <a:pt x="750" y="459"/>
                    </a:lnTo>
                    <a:lnTo>
                      <a:pt x="750" y="458"/>
                    </a:lnTo>
                    <a:lnTo>
                      <a:pt x="750" y="457"/>
                    </a:lnTo>
                    <a:lnTo>
                      <a:pt x="754" y="451"/>
                    </a:lnTo>
                    <a:lnTo>
                      <a:pt x="757" y="450"/>
                    </a:lnTo>
                    <a:lnTo>
                      <a:pt x="760" y="448"/>
                    </a:lnTo>
                    <a:lnTo>
                      <a:pt x="760" y="448"/>
                    </a:lnTo>
                    <a:lnTo>
                      <a:pt x="764" y="447"/>
                    </a:lnTo>
                    <a:lnTo>
                      <a:pt x="766" y="444"/>
                    </a:lnTo>
                    <a:lnTo>
                      <a:pt x="763" y="434"/>
                    </a:lnTo>
                    <a:lnTo>
                      <a:pt x="763" y="434"/>
                    </a:lnTo>
                    <a:lnTo>
                      <a:pt x="763" y="431"/>
                    </a:lnTo>
                    <a:lnTo>
                      <a:pt x="764" y="430"/>
                    </a:lnTo>
                    <a:lnTo>
                      <a:pt x="767" y="428"/>
                    </a:lnTo>
                    <a:lnTo>
                      <a:pt x="771" y="430"/>
                    </a:lnTo>
                    <a:lnTo>
                      <a:pt x="779" y="434"/>
                    </a:lnTo>
                    <a:lnTo>
                      <a:pt x="783" y="437"/>
                    </a:lnTo>
                    <a:lnTo>
                      <a:pt x="786" y="441"/>
                    </a:lnTo>
                    <a:lnTo>
                      <a:pt x="786" y="441"/>
                    </a:lnTo>
                    <a:lnTo>
                      <a:pt x="793" y="448"/>
                    </a:lnTo>
                    <a:lnTo>
                      <a:pt x="801" y="452"/>
                    </a:lnTo>
                    <a:lnTo>
                      <a:pt x="811" y="454"/>
                    </a:lnTo>
                    <a:lnTo>
                      <a:pt x="821" y="452"/>
                    </a:lnTo>
                    <a:lnTo>
                      <a:pt x="821" y="452"/>
                    </a:lnTo>
                    <a:lnTo>
                      <a:pt x="824" y="451"/>
                    </a:lnTo>
                    <a:lnTo>
                      <a:pt x="827" y="448"/>
                    </a:lnTo>
                    <a:lnTo>
                      <a:pt x="827" y="447"/>
                    </a:lnTo>
                    <a:lnTo>
                      <a:pt x="827" y="444"/>
                    </a:lnTo>
                    <a:lnTo>
                      <a:pt x="825" y="437"/>
                    </a:lnTo>
                    <a:lnTo>
                      <a:pt x="825" y="434"/>
                    </a:lnTo>
                    <a:lnTo>
                      <a:pt x="827" y="431"/>
                    </a:lnTo>
                    <a:lnTo>
                      <a:pt x="827" y="431"/>
                    </a:lnTo>
                    <a:lnTo>
                      <a:pt x="827" y="430"/>
                    </a:lnTo>
                    <a:lnTo>
                      <a:pt x="827" y="428"/>
                    </a:lnTo>
                    <a:lnTo>
                      <a:pt x="823" y="424"/>
                    </a:lnTo>
                    <a:lnTo>
                      <a:pt x="808" y="413"/>
                    </a:lnTo>
                    <a:lnTo>
                      <a:pt x="793" y="403"/>
                    </a:lnTo>
                    <a:lnTo>
                      <a:pt x="787" y="398"/>
                    </a:lnTo>
                    <a:lnTo>
                      <a:pt x="786" y="394"/>
                    </a:lnTo>
                    <a:lnTo>
                      <a:pt x="786" y="394"/>
                    </a:lnTo>
                    <a:lnTo>
                      <a:pt x="784" y="393"/>
                    </a:lnTo>
                    <a:lnTo>
                      <a:pt x="786" y="391"/>
                    </a:lnTo>
                    <a:lnTo>
                      <a:pt x="791" y="391"/>
                    </a:lnTo>
                    <a:lnTo>
                      <a:pt x="800" y="394"/>
                    </a:lnTo>
                    <a:lnTo>
                      <a:pt x="808" y="397"/>
                    </a:lnTo>
                    <a:lnTo>
                      <a:pt x="808" y="397"/>
                    </a:lnTo>
                    <a:lnTo>
                      <a:pt x="813" y="398"/>
                    </a:lnTo>
                    <a:lnTo>
                      <a:pt x="817" y="398"/>
                    </a:lnTo>
                    <a:lnTo>
                      <a:pt x="818" y="395"/>
                    </a:lnTo>
                    <a:lnTo>
                      <a:pt x="821" y="394"/>
                    </a:lnTo>
                    <a:lnTo>
                      <a:pt x="823" y="387"/>
                    </a:lnTo>
                    <a:lnTo>
                      <a:pt x="824" y="381"/>
                    </a:lnTo>
                    <a:lnTo>
                      <a:pt x="824" y="381"/>
                    </a:lnTo>
                    <a:lnTo>
                      <a:pt x="823" y="378"/>
                    </a:lnTo>
                    <a:lnTo>
                      <a:pt x="820" y="377"/>
                    </a:lnTo>
                    <a:lnTo>
                      <a:pt x="808" y="376"/>
                    </a:lnTo>
                    <a:lnTo>
                      <a:pt x="797" y="377"/>
                    </a:lnTo>
                    <a:lnTo>
                      <a:pt x="790" y="378"/>
                    </a:lnTo>
                    <a:lnTo>
                      <a:pt x="786" y="380"/>
                    </a:lnTo>
                    <a:lnTo>
                      <a:pt x="786" y="380"/>
                    </a:lnTo>
                    <a:lnTo>
                      <a:pt x="781" y="381"/>
                    </a:lnTo>
                    <a:lnTo>
                      <a:pt x="777" y="381"/>
                    </a:lnTo>
                    <a:lnTo>
                      <a:pt x="774" y="380"/>
                    </a:lnTo>
                    <a:lnTo>
                      <a:pt x="771" y="378"/>
                    </a:lnTo>
                    <a:lnTo>
                      <a:pt x="770" y="376"/>
                    </a:lnTo>
                    <a:lnTo>
                      <a:pt x="771" y="373"/>
                    </a:lnTo>
                    <a:lnTo>
                      <a:pt x="773" y="371"/>
                    </a:lnTo>
                    <a:lnTo>
                      <a:pt x="779" y="370"/>
                    </a:lnTo>
                    <a:lnTo>
                      <a:pt x="779" y="370"/>
                    </a:lnTo>
                    <a:lnTo>
                      <a:pt x="783" y="368"/>
                    </a:lnTo>
                    <a:lnTo>
                      <a:pt x="786" y="367"/>
                    </a:lnTo>
                    <a:lnTo>
                      <a:pt x="786" y="366"/>
                    </a:lnTo>
                    <a:lnTo>
                      <a:pt x="786" y="364"/>
                    </a:lnTo>
                    <a:lnTo>
                      <a:pt x="784" y="360"/>
                    </a:lnTo>
                    <a:lnTo>
                      <a:pt x="784" y="358"/>
                    </a:lnTo>
                    <a:lnTo>
                      <a:pt x="784" y="357"/>
                    </a:lnTo>
                    <a:lnTo>
                      <a:pt x="784" y="357"/>
                    </a:lnTo>
                    <a:lnTo>
                      <a:pt x="787" y="356"/>
                    </a:lnTo>
                    <a:lnTo>
                      <a:pt x="790" y="357"/>
                    </a:lnTo>
                    <a:lnTo>
                      <a:pt x="800" y="361"/>
                    </a:lnTo>
                    <a:lnTo>
                      <a:pt x="811" y="366"/>
                    </a:lnTo>
                    <a:lnTo>
                      <a:pt x="816" y="367"/>
                    </a:lnTo>
                    <a:lnTo>
                      <a:pt x="820" y="367"/>
                    </a:lnTo>
                    <a:lnTo>
                      <a:pt x="820" y="367"/>
                    </a:lnTo>
                    <a:lnTo>
                      <a:pt x="827" y="366"/>
                    </a:lnTo>
                    <a:lnTo>
                      <a:pt x="834" y="366"/>
                    </a:lnTo>
                    <a:lnTo>
                      <a:pt x="841" y="364"/>
                    </a:lnTo>
                    <a:lnTo>
                      <a:pt x="847" y="360"/>
                    </a:lnTo>
                    <a:lnTo>
                      <a:pt x="847" y="360"/>
                    </a:lnTo>
                    <a:lnTo>
                      <a:pt x="850" y="357"/>
                    </a:lnTo>
                    <a:lnTo>
                      <a:pt x="848" y="356"/>
                    </a:lnTo>
                    <a:lnTo>
                      <a:pt x="845" y="353"/>
                    </a:lnTo>
                    <a:lnTo>
                      <a:pt x="841" y="350"/>
                    </a:lnTo>
                    <a:lnTo>
                      <a:pt x="833" y="346"/>
                    </a:lnTo>
                    <a:lnTo>
                      <a:pt x="825" y="340"/>
                    </a:lnTo>
                    <a:lnTo>
                      <a:pt x="825" y="340"/>
                    </a:lnTo>
                    <a:lnTo>
                      <a:pt x="825" y="339"/>
                    </a:lnTo>
                    <a:lnTo>
                      <a:pt x="828" y="337"/>
                    </a:lnTo>
                    <a:lnTo>
                      <a:pt x="838" y="336"/>
                    </a:lnTo>
                    <a:lnTo>
                      <a:pt x="861" y="337"/>
                    </a:lnTo>
                    <a:lnTo>
                      <a:pt x="861" y="337"/>
                    </a:lnTo>
                    <a:lnTo>
                      <a:pt x="864" y="337"/>
                    </a:lnTo>
                    <a:lnTo>
                      <a:pt x="867" y="336"/>
                    </a:lnTo>
                    <a:lnTo>
                      <a:pt x="870" y="330"/>
                    </a:lnTo>
                    <a:lnTo>
                      <a:pt x="870" y="329"/>
                    </a:lnTo>
                    <a:lnTo>
                      <a:pt x="870" y="327"/>
                    </a:lnTo>
                    <a:lnTo>
                      <a:pt x="868" y="326"/>
                    </a:lnTo>
                    <a:lnTo>
                      <a:pt x="865" y="326"/>
                    </a:lnTo>
                    <a:lnTo>
                      <a:pt x="865" y="326"/>
                    </a:lnTo>
                    <a:lnTo>
                      <a:pt x="862" y="327"/>
                    </a:lnTo>
                    <a:lnTo>
                      <a:pt x="857" y="326"/>
                    </a:lnTo>
                    <a:lnTo>
                      <a:pt x="847" y="322"/>
                    </a:lnTo>
                    <a:lnTo>
                      <a:pt x="841" y="319"/>
                    </a:lnTo>
                    <a:lnTo>
                      <a:pt x="838" y="314"/>
                    </a:lnTo>
                    <a:lnTo>
                      <a:pt x="835" y="312"/>
                    </a:lnTo>
                    <a:lnTo>
                      <a:pt x="837" y="309"/>
                    </a:lnTo>
                    <a:lnTo>
                      <a:pt x="837" y="309"/>
                    </a:lnTo>
                    <a:lnTo>
                      <a:pt x="838" y="306"/>
                    </a:lnTo>
                    <a:lnTo>
                      <a:pt x="841" y="304"/>
                    </a:lnTo>
                    <a:lnTo>
                      <a:pt x="848" y="304"/>
                    </a:lnTo>
                    <a:lnTo>
                      <a:pt x="855" y="306"/>
                    </a:lnTo>
                    <a:lnTo>
                      <a:pt x="860" y="304"/>
                    </a:lnTo>
                    <a:lnTo>
                      <a:pt x="865" y="303"/>
                    </a:lnTo>
                    <a:lnTo>
                      <a:pt x="865" y="303"/>
                    </a:lnTo>
                    <a:lnTo>
                      <a:pt x="868" y="300"/>
                    </a:lnTo>
                    <a:lnTo>
                      <a:pt x="870" y="296"/>
                    </a:lnTo>
                    <a:lnTo>
                      <a:pt x="870" y="292"/>
                    </a:lnTo>
                    <a:lnTo>
                      <a:pt x="868" y="286"/>
                    </a:lnTo>
                    <a:lnTo>
                      <a:pt x="867" y="282"/>
                    </a:lnTo>
                    <a:lnTo>
                      <a:pt x="864" y="277"/>
                    </a:lnTo>
                    <a:lnTo>
                      <a:pt x="860" y="275"/>
                    </a:lnTo>
                    <a:lnTo>
                      <a:pt x="857" y="275"/>
                    </a:lnTo>
                    <a:lnTo>
                      <a:pt x="857" y="275"/>
                    </a:lnTo>
                    <a:lnTo>
                      <a:pt x="840" y="272"/>
                    </a:lnTo>
                    <a:lnTo>
                      <a:pt x="831" y="270"/>
                    </a:lnTo>
                    <a:lnTo>
                      <a:pt x="830" y="269"/>
                    </a:lnTo>
                    <a:lnTo>
                      <a:pt x="828" y="267"/>
                    </a:lnTo>
                    <a:lnTo>
                      <a:pt x="828" y="267"/>
                    </a:lnTo>
                    <a:lnTo>
                      <a:pt x="828" y="265"/>
                    </a:lnTo>
                    <a:lnTo>
                      <a:pt x="825" y="263"/>
                    </a:lnTo>
                    <a:lnTo>
                      <a:pt x="821" y="260"/>
                    </a:lnTo>
                    <a:lnTo>
                      <a:pt x="817" y="257"/>
                    </a:lnTo>
                    <a:lnTo>
                      <a:pt x="816" y="256"/>
                    </a:lnTo>
                    <a:lnTo>
                      <a:pt x="817" y="255"/>
                    </a:lnTo>
                    <a:lnTo>
                      <a:pt x="817" y="255"/>
                    </a:lnTo>
                    <a:lnTo>
                      <a:pt x="818" y="253"/>
                    </a:lnTo>
                    <a:lnTo>
                      <a:pt x="821" y="253"/>
                    </a:lnTo>
                    <a:lnTo>
                      <a:pt x="825" y="255"/>
                    </a:lnTo>
                    <a:lnTo>
                      <a:pt x="831" y="255"/>
                    </a:lnTo>
                    <a:lnTo>
                      <a:pt x="834" y="255"/>
                    </a:lnTo>
                    <a:lnTo>
                      <a:pt x="838" y="252"/>
                    </a:lnTo>
                    <a:lnTo>
                      <a:pt x="838" y="252"/>
                    </a:lnTo>
                    <a:lnTo>
                      <a:pt x="843" y="249"/>
                    </a:lnTo>
                    <a:lnTo>
                      <a:pt x="848" y="249"/>
                    </a:lnTo>
                    <a:lnTo>
                      <a:pt x="861" y="249"/>
                    </a:lnTo>
                    <a:lnTo>
                      <a:pt x="872" y="252"/>
                    </a:lnTo>
                    <a:lnTo>
                      <a:pt x="882" y="252"/>
                    </a:lnTo>
                    <a:lnTo>
                      <a:pt x="882" y="252"/>
                    </a:lnTo>
                    <a:lnTo>
                      <a:pt x="885" y="250"/>
                    </a:lnTo>
                    <a:lnTo>
                      <a:pt x="885" y="248"/>
                    </a:lnTo>
                    <a:lnTo>
                      <a:pt x="885" y="245"/>
                    </a:lnTo>
                    <a:lnTo>
                      <a:pt x="882" y="242"/>
                    </a:lnTo>
                    <a:lnTo>
                      <a:pt x="878" y="236"/>
                    </a:lnTo>
                    <a:lnTo>
                      <a:pt x="875" y="235"/>
                    </a:lnTo>
                    <a:lnTo>
                      <a:pt x="872" y="235"/>
                    </a:lnTo>
                    <a:lnTo>
                      <a:pt x="872" y="235"/>
                    </a:lnTo>
                    <a:lnTo>
                      <a:pt x="865" y="236"/>
                    </a:lnTo>
                    <a:lnTo>
                      <a:pt x="857" y="236"/>
                    </a:lnTo>
                    <a:lnTo>
                      <a:pt x="853" y="236"/>
                    </a:lnTo>
                    <a:lnTo>
                      <a:pt x="850" y="235"/>
                    </a:lnTo>
                    <a:lnTo>
                      <a:pt x="847" y="232"/>
                    </a:lnTo>
                    <a:lnTo>
                      <a:pt x="845" y="229"/>
                    </a:lnTo>
                    <a:lnTo>
                      <a:pt x="845" y="229"/>
                    </a:lnTo>
                    <a:lnTo>
                      <a:pt x="845" y="226"/>
                    </a:lnTo>
                    <a:lnTo>
                      <a:pt x="848" y="225"/>
                    </a:lnTo>
                    <a:lnTo>
                      <a:pt x="855" y="225"/>
                    </a:lnTo>
                    <a:lnTo>
                      <a:pt x="862" y="226"/>
                    </a:lnTo>
                    <a:lnTo>
                      <a:pt x="865" y="225"/>
                    </a:lnTo>
                    <a:lnTo>
                      <a:pt x="868" y="225"/>
                    </a:lnTo>
                    <a:lnTo>
                      <a:pt x="868" y="225"/>
                    </a:lnTo>
                    <a:lnTo>
                      <a:pt x="867" y="222"/>
                    </a:lnTo>
                    <a:lnTo>
                      <a:pt x="864" y="219"/>
                    </a:lnTo>
                    <a:lnTo>
                      <a:pt x="854" y="215"/>
                    </a:lnTo>
                    <a:lnTo>
                      <a:pt x="848" y="213"/>
                    </a:lnTo>
                    <a:lnTo>
                      <a:pt x="843" y="213"/>
                    </a:lnTo>
                    <a:lnTo>
                      <a:pt x="838" y="215"/>
                    </a:lnTo>
                    <a:lnTo>
                      <a:pt x="835" y="218"/>
                    </a:lnTo>
                    <a:lnTo>
                      <a:pt x="835" y="218"/>
                    </a:lnTo>
                    <a:lnTo>
                      <a:pt x="833" y="220"/>
                    </a:lnTo>
                    <a:lnTo>
                      <a:pt x="830" y="222"/>
                    </a:lnTo>
                    <a:lnTo>
                      <a:pt x="827" y="223"/>
                    </a:lnTo>
                    <a:lnTo>
                      <a:pt x="824" y="223"/>
                    </a:lnTo>
                    <a:lnTo>
                      <a:pt x="821" y="223"/>
                    </a:lnTo>
                    <a:lnTo>
                      <a:pt x="820" y="222"/>
                    </a:lnTo>
                    <a:lnTo>
                      <a:pt x="820" y="220"/>
                    </a:lnTo>
                    <a:lnTo>
                      <a:pt x="823" y="218"/>
                    </a:lnTo>
                    <a:lnTo>
                      <a:pt x="823" y="218"/>
                    </a:lnTo>
                    <a:lnTo>
                      <a:pt x="825" y="215"/>
                    </a:lnTo>
                    <a:lnTo>
                      <a:pt x="828" y="212"/>
                    </a:lnTo>
                    <a:lnTo>
                      <a:pt x="831" y="203"/>
                    </a:lnTo>
                    <a:lnTo>
                      <a:pt x="833" y="195"/>
                    </a:lnTo>
                    <a:lnTo>
                      <a:pt x="833" y="188"/>
                    </a:lnTo>
                    <a:lnTo>
                      <a:pt x="833" y="188"/>
                    </a:lnTo>
                    <a:lnTo>
                      <a:pt x="834" y="185"/>
                    </a:lnTo>
                    <a:lnTo>
                      <a:pt x="837" y="184"/>
                    </a:lnTo>
                    <a:lnTo>
                      <a:pt x="848" y="179"/>
                    </a:lnTo>
                    <a:lnTo>
                      <a:pt x="854" y="176"/>
                    </a:lnTo>
                    <a:lnTo>
                      <a:pt x="858" y="174"/>
                    </a:lnTo>
                    <a:lnTo>
                      <a:pt x="861" y="171"/>
                    </a:lnTo>
                    <a:lnTo>
                      <a:pt x="861" y="166"/>
                    </a:lnTo>
                    <a:lnTo>
                      <a:pt x="861" y="166"/>
                    </a:lnTo>
                    <a:lnTo>
                      <a:pt x="861" y="162"/>
                    </a:lnTo>
                    <a:lnTo>
                      <a:pt x="862" y="158"/>
                    </a:lnTo>
                    <a:lnTo>
                      <a:pt x="865" y="155"/>
                    </a:lnTo>
                    <a:lnTo>
                      <a:pt x="868" y="154"/>
                    </a:lnTo>
                    <a:lnTo>
                      <a:pt x="878" y="151"/>
                    </a:lnTo>
                    <a:lnTo>
                      <a:pt x="888" y="151"/>
                    </a:lnTo>
                    <a:lnTo>
                      <a:pt x="888" y="151"/>
                    </a:lnTo>
                    <a:lnTo>
                      <a:pt x="891" y="149"/>
                    </a:lnTo>
                    <a:lnTo>
                      <a:pt x="892" y="148"/>
                    </a:lnTo>
                    <a:lnTo>
                      <a:pt x="891" y="145"/>
                    </a:lnTo>
                    <a:lnTo>
                      <a:pt x="889" y="144"/>
                    </a:lnTo>
                    <a:lnTo>
                      <a:pt x="884" y="139"/>
                    </a:lnTo>
                    <a:lnTo>
                      <a:pt x="881" y="138"/>
                    </a:lnTo>
                    <a:lnTo>
                      <a:pt x="877" y="138"/>
                    </a:lnTo>
                    <a:lnTo>
                      <a:pt x="877" y="138"/>
                    </a:lnTo>
                    <a:lnTo>
                      <a:pt x="868" y="139"/>
                    </a:lnTo>
                    <a:lnTo>
                      <a:pt x="861" y="144"/>
                    </a:lnTo>
                    <a:lnTo>
                      <a:pt x="855" y="147"/>
                    </a:lnTo>
                    <a:lnTo>
                      <a:pt x="853" y="147"/>
                    </a:lnTo>
                    <a:lnTo>
                      <a:pt x="850" y="147"/>
                    </a:lnTo>
                    <a:lnTo>
                      <a:pt x="850" y="147"/>
                    </a:lnTo>
                    <a:lnTo>
                      <a:pt x="850" y="144"/>
                    </a:lnTo>
                    <a:lnTo>
                      <a:pt x="850" y="142"/>
                    </a:lnTo>
                    <a:lnTo>
                      <a:pt x="855" y="138"/>
                    </a:lnTo>
                    <a:lnTo>
                      <a:pt x="864" y="134"/>
                    </a:lnTo>
                    <a:lnTo>
                      <a:pt x="872" y="132"/>
                    </a:lnTo>
                    <a:lnTo>
                      <a:pt x="872" y="132"/>
                    </a:lnTo>
                    <a:lnTo>
                      <a:pt x="892" y="132"/>
                    </a:lnTo>
                    <a:lnTo>
                      <a:pt x="904" y="129"/>
                    </a:lnTo>
                    <a:lnTo>
                      <a:pt x="912" y="127"/>
                    </a:lnTo>
                    <a:lnTo>
                      <a:pt x="912" y="127"/>
                    </a:lnTo>
                    <a:lnTo>
                      <a:pt x="914" y="125"/>
                    </a:lnTo>
                    <a:lnTo>
                      <a:pt x="914" y="124"/>
                    </a:lnTo>
                    <a:lnTo>
                      <a:pt x="907" y="121"/>
                    </a:lnTo>
                    <a:lnTo>
                      <a:pt x="895" y="119"/>
                    </a:lnTo>
                    <a:lnTo>
                      <a:pt x="882" y="119"/>
                    </a:lnTo>
                    <a:lnTo>
                      <a:pt x="882" y="119"/>
                    </a:lnTo>
                    <a:lnTo>
                      <a:pt x="874" y="119"/>
                    </a:lnTo>
                    <a:lnTo>
                      <a:pt x="872" y="119"/>
                    </a:lnTo>
                    <a:lnTo>
                      <a:pt x="872" y="118"/>
                    </a:lnTo>
                    <a:lnTo>
                      <a:pt x="874" y="117"/>
                    </a:lnTo>
                    <a:lnTo>
                      <a:pt x="877" y="115"/>
                    </a:lnTo>
                    <a:lnTo>
                      <a:pt x="891" y="115"/>
                    </a:lnTo>
                    <a:lnTo>
                      <a:pt x="891" y="115"/>
                    </a:lnTo>
                    <a:lnTo>
                      <a:pt x="904" y="114"/>
                    </a:lnTo>
                    <a:lnTo>
                      <a:pt x="911" y="111"/>
                    </a:lnTo>
                    <a:lnTo>
                      <a:pt x="917" y="110"/>
                    </a:lnTo>
                    <a:lnTo>
                      <a:pt x="925" y="108"/>
                    </a:lnTo>
                    <a:lnTo>
                      <a:pt x="925" y="108"/>
                    </a:lnTo>
                    <a:lnTo>
                      <a:pt x="934" y="105"/>
                    </a:lnTo>
                    <a:lnTo>
                      <a:pt x="938" y="102"/>
                    </a:lnTo>
                    <a:lnTo>
                      <a:pt x="941" y="100"/>
                    </a:lnTo>
                    <a:lnTo>
                      <a:pt x="946" y="98"/>
                    </a:lnTo>
                    <a:lnTo>
                      <a:pt x="946" y="98"/>
                    </a:lnTo>
                    <a:lnTo>
                      <a:pt x="956" y="97"/>
                    </a:lnTo>
                    <a:lnTo>
                      <a:pt x="968" y="92"/>
                    </a:lnTo>
                    <a:lnTo>
                      <a:pt x="978" y="87"/>
                    </a:lnTo>
                    <a:lnTo>
                      <a:pt x="981" y="84"/>
                    </a:lnTo>
                    <a:lnTo>
                      <a:pt x="982" y="83"/>
                    </a:lnTo>
                    <a:lnTo>
                      <a:pt x="982" y="83"/>
                    </a:lnTo>
                    <a:lnTo>
                      <a:pt x="981" y="80"/>
                    </a:lnTo>
                    <a:lnTo>
                      <a:pt x="976" y="77"/>
                    </a:lnTo>
                    <a:lnTo>
                      <a:pt x="961" y="73"/>
                    </a:lnTo>
                    <a:lnTo>
                      <a:pt x="944" y="68"/>
                    </a:lnTo>
                    <a:lnTo>
                      <a:pt x="928" y="67"/>
                    </a:lnTo>
                    <a:lnTo>
                      <a:pt x="928" y="67"/>
                    </a:lnTo>
                    <a:close/>
                    <a:moveTo>
                      <a:pt x="336" y="479"/>
                    </a:moveTo>
                    <a:lnTo>
                      <a:pt x="336" y="479"/>
                    </a:lnTo>
                    <a:lnTo>
                      <a:pt x="336" y="477"/>
                    </a:lnTo>
                    <a:lnTo>
                      <a:pt x="335" y="475"/>
                    </a:lnTo>
                    <a:lnTo>
                      <a:pt x="332" y="474"/>
                    </a:lnTo>
                    <a:lnTo>
                      <a:pt x="328" y="472"/>
                    </a:lnTo>
                    <a:lnTo>
                      <a:pt x="326" y="471"/>
                    </a:lnTo>
                    <a:lnTo>
                      <a:pt x="323" y="468"/>
                    </a:lnTo>
                    <a:lnTo>
                      <a:pt x="323" y="468"/>
                    </a:lnTo>
                    <a:lnTo>
                      <a:pt x="320" y="464"/>
                    </a:lnTo>
                    <a:lnTo>
                      <a:pt x="318" y="462"/>
                    </a:lnTo>
                    <a:lnTo>
                      <a:pt x="308" y="458"/>
                    </a:lnTo>
                    <a:lnTo>
                      <a:pt x="298" y="458"/>
                    </a:lnTo>
                    <a:lnTo>
                      <a:pt x="293" y="459"/>
                    </a:lnTo>
                    <a:lnTo>
                      <a:pt x="292" y="462"/>
                    </a:lnTo>
                    <a:lnTo>
                      <a:pt x="292" y="462"/>
                    </a:lnTo>
                    <a:lnTo>
                      <a:pt x="288" y="467"/>
                    </a:lnTo>
                    <a:lnTo>
                      <a:pt x="288" y="471"/>
                    </a:lnTo>
                    <a:lnTo>
                      <a:pt x="288" y="474"/>
                    </a:lnTo>
                    <a:lnTo>
                      <a:pt x="291" y="475"/>
                    </a:lnTo>
                    <a:lnTo>
                      <a:pt x="291" y="475"/>
                    </a:lnTo>
                    <a:lnTo>
                      <a:pt x="295" y="479"/>
                    </a:lnTo>
                    <a:lnTo>
                      <a:pt x="298" y="481"/>
                    </a:lnTo>
                    <a:lnTo>
                      <a:pt x="302" y="482"/>
                    </a:lnTo>
                    <a:lnTo>
                      <a:pt x="308" y="487"/>
                    </a:lnTo>
                    <a:lnTo>
                      <a:pt x="308" y="487"/>
                    </a:lnTo>
                    <a:lnTo>
                      <a:pt x="311" y="488"/>
                    </a:lnTo>
                    <a:lnTo>
                      <a:pt x="315" y="489"/>
                    </a:lnTo>
                    <a:lnTo>
                      <a:pt x="325" y="488"/>
                    </a:lnTo>
                    <a:lnTo>
                      <a:pt x="333" y="485"/>
                    </a:lnTo>
                    <a:lnTo>
                      <a:pt x="335" y="482"/>
                    </a:lnTo>
                    <a:lnTo>
                      <a:pt x="336" y="479"/>
                    </a:lnTo>
                    <a:lnTo>
                      <a:pt x="336" y="479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41" name="Italy">
                <a:extLst>
                  <a:ext uri="{FF2B5EF4-FFF2-40B4-BE49-F238E27FC236}">
                    <a16:creationId xmlns:a16="http://schemas.microsoft.com/office/drawing/2014/main" id="{5932A58F-5166-0476-3780-AEDA1008FC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84693" y="3093357"/>
                <a:ext cx="269320" cy="298916"/>
              </a:xfrm>
              <a:custGeom>
                <a:avLst/>
                <a:gdLst/>
                <a:ahLst/>
                <a:cxnLst>
                  <a:cxn ang="0">
                    <a:pos x="107" y="175"/>
                  </a:cxn>
                  <a:cxn ang="0">
                    <a:pos x="94" y="180"/>
                  </a:cxn>
                  <a:cxn ang="0">
                    <a:pos x="110" y="190"/>
                  </a:cxn>
                  <a:cxn ang="0">
                    <a:pos x="128" y="202"/>
                  </a:cxn>
                  <a:cxn ang="0">
                    <a:pos x="132" y="190"/>
                  </a:cxn>
                  <a:cxn ang="0">
                    <a:pos x="139" y="175"/>
                  </a:cxn>
                  <a:cxn ang="0">
                    <a:pos x="127" y="175"/>
                  </a:cxn>
                  <a:cxn ang="0">
                    <a:pos x="26" y="122"/>
                  </a:cxn>
                  <a:cxn ang="0">
                    <a:pos x="26" y="132"/>
                  </a:cxn>
                  <a:cxn ang="0">
                    <a:pos x="28" y="151"/>
                  </a:cxn>
                  <a:cxn ang="0">
                    <a:pos x="36" y="159"/>
                  </a:cxn>
                  <a:cxn ang="0">
                    <a:pos x="47" y="152"/>
                  </a:cxn>
                  <a:cxn ang="0">
                    <a:pos x="50" y="126"/>
                  </a:cxn>
                  <a:cxn ang="0">
                    <a:pos x="34" y="121"/>
                  </a:cxn>
                  <a:cxn ang="0">
                    <a:pos x="146" y="106"/>
                  </a:cxn>
                  <a:cxn ang="0">
                    <a:pos x="131" y="102"/>
                  </a:cxn>
                  <a:cxn ang="0">
                    <a:pos x="112" y="74"/>
                  </a:cxn>
                  <a:cxn ang="0">
                    <a:pos x="91" y="55"/>
                  </a:cxn>
                  <a:cxn ang="0">
                    <a:pos x="92" y="38"/>
                  </a:cxn>
                  <a:cxn ang="0">
                    <a:pos x="98" y="30"/>
                  </a:cxn>
                  <a:cxn ang="0">
                    <a:pos x="91" y="7"/>
                  </a:cxn>
                  <a:cxn ang="0">
                    <a:pos x="78" y="1"/>
                  </a:cxn>
                  <a:cxn ang="0">
                    <a:pos x="65" y="5"/>
                  </a:cxn>
                  <a:cxn ang="0">
                    <a:pos x="60" y="8"/>
                  </a:cxn>
                  <a:cxn ang="0">
                    <a:pos x="54" y="11"/>
                  </a:cxn>
                  <a:cxn ang="0">
                    <a:pos x="45" y="14"/>
                  </a:cxn>
                  <a:cxn ang="0">
                    <a:pos x="40" y="18"/>
                  </a:cxn>
                  <a:cxn ang="0">
                    <a:pos x="30" y="17"/>
                  </a:cxn>
                  <a:cxn ang="0">
                    <a:pos x="21" y="22"/>
                  </a:cxn>
                  <a:cxn ang="0">
                    <a:pos x="4" y="30"/>
                  </a:cxn>
                  <a:cxn ang="0">
                    <a:pos x="4" y="38"/>
                  </a:cxn>
                  <a:cxn ang="0">
                    <a:pos x="0" y="42"/>
                  </a:cxn>
                  <a:cxn ang="0">
                    <a:pos x="4" y="54"/>
                  </a:cxn>
                  <a:cxn ang="0">
                    <a:pos x="14" y="59"/>
                  </a:cxn>
                  <a:cxn ang="0">
                    <a:pos x="14" y="67"/>
                  </a:cxn>
                  <a:cxn ang="0">
                    <a:pos x="28" y="57"/>
                  </a:cxn>
                  <a:cxn ang="0">
                    <a:pos x="53" y="61"/>
                  </a:cxn>
                  <a:cxn ang="0">
                    <a:pos x="61" y="74"/>
                  </a:cxn>
                  <a:cxn ang="0">
                    <a:pos x="75" y="94"/>
                  </a:cxn>
                  <a:cxn ang="0">
                    <a:pos x="98" y="112"/>
                  </a:cxn>
                  <a:cxn ang="0">
                    <a:pos x="119" y="123"/>
                  </a:cxn>
                  <a:cxn ang="0">
                    <a:pos x="135" y="136"/>
                  </a:cxn>
                  <a:cxn ang="0">
                    <a:pos x="142" y="143"/>
                  </a:cxn>
                  <a:cxn ang="0">
                    <a:pos x="146" y="160"/>
                  </a:cxn>
                  <a:cxn ang="0">
                    <a:pos x="144" y="176"/>
                  </a:cxn>
                  <a:cxn ang="0">
                    <a:pos x="154" y="163"/>
                  </a:cxn>
                  <a:cxn ang="0">
                    <a:pos x="162" y="155"/>
                  </a:cxn>
                  <a:cxn ang="0">
                    <a:pos x="158" y="146"/>
                  </a:cxn>
                  <a:cxn ang="0">
                    <a:pos x="159" y="133"/>
                  </a:cxn>
                  <a:cxn ang="0">
                    <a:pos x="179" y="141"/>
                  </a:cxn>
                  <a:cxn ang="0">
                    <a:pos x="179" y="129"/>
                  </a:cxn>
                </a:cxnLst>
                <a:rect l="0" t="0" r="r" b="b"/>
                <a:pathLst>
                  <a:path w="182" h="202">
                    <a:moveTo>
                      <a:pt x="127" y="175"/>
                    </a:moveTo>
                    <a:lnTo>
                      <a:pt x="127" y="175"/>
                    </a:lnTo>
                    <a:lnTo>
                      <a:pt x="115" y="176"/>
                    </a:lnTo>
                    <a:lnTo>
                      <a:pt x="111" y="176"/>
                    </a:lnTo>
                    <a:lnTo>
                      <a:pt x="107" y="175"/>
                    </a:lnTo>
                    <a:lnTo>
                      <a:pt x="107" y="175"/>
                    </a:lnTo>
                    <a:lnTo>
                      <a:pt x="102" y="173"/>
                    </a:lnTo>
                    <a:lnTo>
                      <a:pt x="98" y="175"/>
                    </a:lnTo>
                    <a:lnTo>
                      <a:pt x="94" y="178"/>
                    </a:lnTo>
                    <a:lnTo>
                      <a:pt x="94" y="180"/>
                    </a:lnTo>
                    <a:lnTo>
                      <a:pt x="94" y="180"/>
                    </a:lnTo>
                    <a:lnTo>
                      <a:pt x="95" y="183"/>
                    </a:lnTo>
                    <a:lnTo>
                      <a:pt x="98" y="185"/>
                    </a:lnTo>
                    <a:lnTo>
                      <a:pt x="102" y="188"/>
                    </a:lnTo>
                    <a:lnTo>
                      <a:pt x="110" y="190"/>
                    </a:lnTo>
                    <a:lnTo>
                      <a:pt x="110" y="190"/>
                    </a:lnTo>
                    <a:lnTo>
                      <a:pt x="117" y="193"/>
                    </a:lnTo>
                    <a:lnTo>
                      <a:pt x="122" y="196"/>
                    </a:lnTo>
                    <a:lnTo>
                      <a:pt x="125" y="200"/>
                    </a:lnTo>
                    <a:lnTo>
                      <a:pt x="128" y="202"/>
                    </a:lnTo>
                    <a:lnTo>
                      <a:pt x="128" y="202"/>
                    </a:lnTo>
                    <a:lnTo>
                      <a:pt x="131" y="200"/>
                    </a:lnTo>
                    <a:lnTo>
                      <a:pt x="132" y="197"/>
                    </a:lnTo>
                    <a:lnTo>
                      <a:pt x="134" y="195"/>
                    </a:lnTo>
                    <a:lnTo>
                      <a:pt x="132" y="190"/>
                    </a:lnTo>
                    <a:lnTo>
                      <a:pt x="132" y="190"/>
                    </a:lnTo>
                    <a:lnTo>
                      <a:pt x="132" y="185"/>
                    </a:lnTo>
                    <a:lnTo>
                      <a:pt x="135" y="180"/>
                    </a:lnTo>
                    <a:lnTo>
                      <a:pt x="139" y="175"/>
                    </a:lnTo>
                    <a:lnTo>
                      <a:pt x="139" y="175"/>
                    </a:lnTo>
                    <a:lnTo>
                      <a:pt x="139" y="175"/>
                    </a:lnTo>
                    <a:lnTo>
                      <a:pt x="137" y="173"/>
                    </a:lnTo>
                    <a:lnTo>
                      <a:pt x="132" y="173"/>
                    </a:lnTo>
                    <a:lnTo>
                      <a:pt x="127" y="175"/>
                    </a:lnTo>
                    <a:lnTo>
                      <a:pt x="127" y="175"/>
                    </a:lnTo>
                    <a:close/>
                    <a:moveTo>
                      <a:pt x="34" y="121"/>
                    </a:moveTo>
                    <a:lnTo>
                      <a:pt x="34" y="121"/>
                    </a:lnTo>
                    <a:lnTo>
                      <a:pt x="31" y="122"/>
                    </a:lnTo>
                    <a:lnTo>
                      <a:pt x="27" y="122"/>
                    </a:lnTo>
                    <a:lnTo>
                      <a:pt x="26" y="122"/>
                    </a:lnTo>
                    <a:lnTo>
                      <a:pt x="23" y="123"/>
                    </a:lnTo>
                    <a:lnTo>
                      <a:pt x="23" y="123"/>
                    </a:lnTo>
                    <a:lnTo>
                      <a:pt x="23" y="125"/>
                    </a:lnTo>
                    <a:lnTo>
                      <a:pt x="23" y="128"/>
                    </a:lnTo>
                    <a:lnTo>
                      <a:pt x="26" y="132"/>
                    </a:lnTo>
                    <a:lnTo>
                      <a:pt x="28" y="138"/>
                    </a:lnTo>
                    <a:lnTo>
                      <a:pt x="30" y="141"/>
                    </a:lnTo>
                    <a:lnTo>
                      <a:pt x="28" y="143"/>
                    </a:lnTo>
                    <a:lnTo>
                      <a:pt x="28" y="143"/>
                    </a:lnTo>
                    <a:lnTo>
                      <a:pt x="28" y="151"/>
                    </a:lnTo>
                    <a:lnTo>
                      <a:pt x="30" y="158"/>
                    </a:lnTo>
                    <a:lnTo>
                      <a:pt x="31" y="160"/>
                    </a:lnTo>
                    <a:lnTo>
                      <a:pt x="34" y="160"/>
                    </a:lnTo>
                    <a:lnTo>
                      <a:pt x="36" y="159"/>
                    </a:lnTo>
                    <a:lnTo>
                      <a:pt x="36" y="159"/>
                    </a:lnTo>
                    <a:lnTo>
                      <a:pt x="40" y="156"/>
                    </a:lnTo>
                    <a:lnTo>
                      <a:pt x="43" y="155"/>
                    </a:lnTo>
                    <a:lnTo>
                      <a:pt x="44" y="155"/>
                    </a:lnTo>
                    <a:lnTo>
                      <a:pt x="47" y="152"/>
                    </a:lnTo>
                    <a:lnTo>
                      <a:pt x="47" y="152"/>
                    </a:lnTo>
                    <a:lnTo>
                      <a:pt x="48" y="148"/>
                    </a:lnTo>
                    <a:lnTo>
                      <a:pt x="48" y="141"/>
                    </a:lnTo>
                    <a:lnTo>
                      <a:pt x="48" y="133"/>
                    </a:lnTo>
                    <a:lnTo>
                      <a:pt x="50" y="126"/>
                    </a:lnTo>
                    <a:lnTo>
                      <a:pt x="50" y="126"/>
                    </a:lnTo>
                    <a:lnTo>
                      <a:pt x="50" y="123"/>
                    </a:lnTo>
                    <a:lnTo>
                      <a:pt x="48" y="122"/>
                    </a:lnTo>
                    <a:lnTo>
                      <a:pt x="44" y="119"/>
                    </a:lnTo>
                    <a:lnTo>
                      <a:pt x="40" y="119"/>
                    </a:lnTo>
                    <a:lnTo>
                      <a:pt x="34" y="121"/>
                    </a:lnTo>
                    <a:lnTo>
                      <a:pt x="34" y="121"/>
                    </a:lnTo>
                    <a:close/>
                    <a:moveTo>
                      <a:pt x="151" y="114"/>
                    </a:moveTo>
                    <a:lnTo>
                      <a:pt x="151" y="114"/>
                    </a:lnTo>
                    <a:lnTo>
                      <a:pt x="148" y="109"/>
                    </a:lnTo>
                    <a:lnTo>
                      <a:pt x="146" y="106"/>
                    </a:lnTo>
                    <a:lnTo>
                      <a:pt x="144" y="104"/>
                    </a:lnTo>
                    <a:lnTo>
                      <a:pt x="139" y="104"/>
                    </a:lnTo>
                    <a:lnTo>
                      <a:pt x="139" y="104"/>
                    </a:lnTo>
                    <a:lnTo>
                      <a:pt x="135" y="104"/>
                    </a:lnTo>
                    <a:lnTo>
                      <a:pt x="131" y="102"/>
                    </a:lnTo>
                    <a:lnTo>
                      <a:pt x="124" y="96"/>
                    </a:lnTo>
                    <a:lnTo>
                      <a:pt x="118" y="88"/>
                    </a:lnTo>
                    <a:lnTo>
                      <a:pt x="114" y="78"/>
                    </a:lnTo>
                    <a:lnTo>
                      <a:pt x="114" y="78"/>
                    </a:lnTo>
                    <a:lnTo>
                      <a:pt x="112" y="74"/>
                    </a:lnTo>
                    <a:lnTo>
                      <a:pt x="110" y="69"/>
                    </a:lnTo>
                    <a:lnTo>
                      <a:pt x="102" y="64"/>
                    </a:lnTo>
                    <a:lnTo>
                      <a:pt x="97" y="59"/>
                    </a:lnTo>
                    <a:lnTo>
                      <a:pt x="94" y="58"/>
                    </a:lnTo>
                    <a:lnTo>
                      <a:pt x="91" y="55"/>
                    </a:lnTo>
                    <a:lnTo>
                      <a:pt x="91" y="55"/>
                    </a:lnTo>
                    <a:lnTo>
                      <a:pt x="91" y="50"/>
                    </a:lnTo>
                    <a:lnTo>
                      <a:pt x="91" y="47"/>
                    </a:lnTo>
                    <a:lnTo>
                      <a:pt x="92" y="42"/>
                    </a:lnTo>
                    <a:lnTo>
                      <a:pt x="92" y="38"/>
                    </a:lnTo>
                    <a:lnTo>
                      <a:pt x="92" y="38"/>
                    </a:lnTo>
                    <a:lnTo>
                      <a:pt x="91" y="35"/>
                    </a:lnTo>
                    <a:lnTo>
                      <a:pt x="92" y="34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100" y="18"/>
                    </a:lnTo>
                    <a:lnTo>
                      <a:pt x="100" y="8"/>
                    </a:lnTo>
                    <a:lnTo>
                      <a:pt x="100" y="8"/>
                    </a:lnTo>
                    <a:lnTo>
                      <a:pt x="91" y="7"/>
                    </a:lnTo>
                    <a:lnTo>
                      <a:pt x="91" y="7"/>
                    </a:lnTo>
                    <a:lnTo>
                      <a:pt x="90" y="3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82" y="0"/>
                    </a:lnTo>
                    <a:lnTo>
                      <a:pt x="78" y="1"/>
                    </a:lnTo>
                    <a:lnTo>
                      <a:pt x="75" y="1"/>
                    </a:lnTo>
                    <a:lnTo>
                      <a:pt x="75" y="1"/>
                    </a:lnTo>
                    <a:lnTo>
                      <a:pt x="71" y="4"/>
                    </a:lnTo>
                    <a:lnTo>
                      <a:pt x="68" y="5"/>
                    </a:lnTo>
                    <a:lnTo>
                      <a:pt x="65" y="5"/>
                    </a:lnTo>
                    <a:lnTo>
                      <a:pt x="65" y="5"/>
                    </a:lnTo>
                    <a:lnTo>
                      <a:pt x="64" y="4"/>
                    </a:lnTo>
                    <a:lnTo>
                      <a:pt x="61" y="7"/>
                    </a:lnTo>
                    <a:lnTo>
                      <a:pt x="61" y="7"/>
                    </a:lnTo>
                    <a:lnTo>
                      <a:pt x="60" y="8"/>
                    </a:lnTo>
                    <a:lnTo>
                      <a:pt x="60" y="10"/>
                    </a:lnTo>
                    <a:lnTo>
                      <a:pt x="58" y="11"/>
                    </a:lnTo>
                    <a:lnTo>
                      <a:pt x="58" y="11"/>
                    </a:lnTo>
                    <a:lnTo>
                      <a:pt x="55" y="10"/>
                    </a:lnTo>
                    <a:lnTo>
                      <a:pt x="54" y="11"/>
                    </a:lnTo>
                    <a:lnTo>
                      <a:pt x="54" y="13"/>
                    </a:lnTo>
                    <a:lnTo>
                      <a:pt x="54" y="13"/>
                    </a:lnTo>
                    <a:lnTo>
                      <a:pt x="53" y="14"/>
                    </a:lnTo>
                    <a:lnTo>
                      <a:pt x="50" y="15"/>
                    </a:lnTo>
                    <a:lnTo>
                      <a:pt x="45" y="14"/>
                    </a:lnTo>
                    <a:lnTo>
                      <a:pt x="45" y="14"/>
                    </a:lnTo>
                    <a:lnTo>
                      <a:pt x="43" y="15"/>
                    </a:lnTo>
                    <a:lnTo>
                      <a:pt x="41" y="15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22"/>
                    </a:lnTo>
                    <a:lnTo>
                      <a:pt x="38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0" y="17"/>
                    </a:lnTo>
                    <a:lnTo>
                      <a:pt x="28" y="14"/>
                    </a:lnTo>
                    <a:lnTo>
                      <a:pt x="27" y="13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21" y="22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6" y="25"/>
                    </a:lnTo>
                    <a:lnTo>
                      <a:pt x="6" y="25"/>
                    </a:lnTo>
                    <a:lnTo>
                      <a:pt x="4" y="30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7" y="34"/>
                    </a:lnTo>
                    <a:lnTo>
                      <a:pt x="7" y="35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0" y="40"/>
                    </a:lnTo>
                    <a:lnTo>
                      <a:pt x="0" y="41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4" y="47"/>
                    </a:lnTo>
                    <a:lnTo>
                      <a:pt x="6" y="48"/>
                    </a:lnTo>
                    <a:lnTo>
                      <a:pt x="6" y="51"/>
                    </a:lnTo>
                    <a:lnTo>
                      <a:pt x="6" y="51"/>
                    </a:lnTo>
                    <a:lnTo>
                      <a:pt x="4" y="54"/>
                    </a:lnTo>
                    <a:lnTo>
                      <a:pt x="4" y="57"/>
                    </a:lnTo>
                    <a:lnTo>
                      <a:pt x="6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14" y="59"/>
                    </a:lnTo>
                    <a:lnTo>
                      <a:pt x="16" y="59"/>
                    </a:lnTo>
                    <a:lnTo>
                      <a:pt x="16" y="61"/>
                    </a:lnTo>
                    <a:lnTo>
                      <a:pt x="16" y="61"/>
                    </a:lnTo>
                    <a:lnTo>
                      <a:pt x="14" y="67"/>
                    </a:lnTo>
                    <a:lnTo>
                      <a:pt x="14" y="67"/>
                    </a:lnTo>
                    <a:lnTo>
                      <a:pt x="23" y="64"/>
                    </a:lnTo>
                    <a:lnTo>
                      <a:pt x="23" y="64"/>
                    </a:lnTo>
                    <a:lnTo>
                      <a:pt x="24" y="62"/>
                    </a:lnTo>
                    <a:lnTo>
                      <a:pt x="27" y="59"/>
                    </a:lnTo>
                    <a:lnTo>
                      <a:pt x="28" y="57"/>
                    </a:lnTo>
                    <a:lnTo>
                      <a:pt x="33" y="55"/>
                    </a:lnTo>
                    <a:lnTo>
                      <a:pt x="33" y="55"/>
                    </a:lnTo>
                    <a:lnTo>
                      <a:pt x="40" y="55"/>
                    </a:lnTo>
                    <a:lnTo>
                      <a:pt x="47" y="57"/>
                    </a:lnTo>
                    <a:lnTo>
                      <a:pt x="53" y="61"/>
                    </a:lnTo>
                    <a:lnTo>
                      <a:pt x="55" y="64"/>
                    </a:lnTo>
                    <a:lnTo>
                      <a:pt x="55" y="64"/>
                    </a:lnTo>
                    <a:lnTo>
                      <a:pt x="60" y="69"/>
                    </a:lnTo>
                    <a:lnTo>
                      <a:pt x="61" y="74"/>
                    </a:lnTo>
                    <a:lnTo>
                      <a:pt x="61" y="74"/>
                    </a:lnTo>
                    <a:lnTo>
                      <a:pt x="61" y="78"/>
                    </a:lnTo>
                    <a:lnTo>
                      <a:pt x="64" y="82"/>
                    </a:lnTo>
                    <a:lnTo>
                      <a:pt x="68" y="88"/>
                    </a:lnTo>
                    <a:lnTo>
                      <a:pt x="75" y="94"/>
                    </a:lnTo>
                    <a:lnTo>
                      <a:pt x="75" y="94"/>
                    </a:lnTo>
                    <a:lnTo>
                      <a:pt x="84" y="99"/>
                    </a:lnTo>
                    <a:lnTo>
                      <a:pt x="88" y="104"/>
                    </a:lnTo>
                    <a:lnTo>
                      <a:pt x="94" y="109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107" y="115"/>
                    </a:lnTo>
                    <a:lnTo>
                      <a:pt x="110" y="116"/>
                    </a:lnTo>
                    <a:lnTo>
                      <a:pt x="114" y="119"/>
                    </a:lnTo>
                    <a:lnTo>
                      <a:pt x="114" y="119"/>
                    </a:lnTo>
                    <a:lnTo>
                      <a:pt x="119" y="123"/>
                    </a:lnTo>
                    <a:lnTo>
                      <a:pt x="127" y="128"/>
                    </a:lnTo>
                    <a:lnTo>
                      <a:pt x="127" y="128"/>
                    </a:lnTo>
                    <a:lnTo>
                      <a:pt x="131" y="131"/>
                    </a:lnTo>
                    <a:lnTo>
                      <a:pt x="132" y="133"/>
                    </a:lnTo>
                    <a:lnTo>
                      <a:pt x="135" y="136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41" y="139"/>
                    </a:lnTo>
                    <a:lnTo>
                      <a:pt x="142" y="141"/>
                    </a:lnTo>
                    <a:lnTo>
                      <a:pt x="142" y="143"/>
                    </a:lnTo>
                    <a:lnTo>
                      <a:pt x="144" y="146"/>
                    </a:lnTo>
                    <a:lnTo>
                      <a:pt x="144" y="146"/>
                    </a:lnTo>
                    <a:lnTo>
                      <a:pt x="145" y="151"/>
                    </a:lnTo>
                    <a:lnTo>
                      <a:pt x="146" y="155"/>
                    </a:lnTo>
                    <a:lnTo>
                      <a:pt x="146" y="160"/>
                    </a:lnTo>
                    <a:lnTo>
                      <a:pt x="145" y="165"/>
                    </a:lnTo>
                    <a:lnTo>
                      <a:pt x="145" y="165"/>
                    </a:lnTo>
                    <a:lnTo>
                      <a:pt x="142" y="168"/>
                    </a:lnTo>
                    <a:lnTo>
                      <a:pt x="142" y="172"/>
                    </a:lnTo>
                    <a:lnTo>
                      <a:pt x="144" y="176"/>
                    </a:lnTo>
                    <a:lnTo>
                      <a:pt x="145" y="178"/>
                    </a:lnTo>
                    <a:lnTo>
                      <a:pt x="145" y="178"/>
                    </a:lnTo>
                    <a:lnTo>
                      <a:pt x="148" y="176"/>
                    </a:lnTo>
                    <a:lnTo>
                      <a:pt x="149" y="172"/>
                    </a:lnTo>
                    <a:lnTo>
                      <a:pt x="154" y="163"/>
                    </a:lnTo>
                    <a:lnTo>
                      <a:pt x="154" y="163"/>
                    </a:lnTo>
                    <a:lnTo>
                      <a:pt x="155" y="160"/>
                    </a:lnTo>
                    <a:lnTo>
                      <a:pt x="156" y="159"/>
                    </a:lnTo>
                    <a:lnTo>
                      <a:pt x="159" y="158"/>
                    </a:lnTo>
                    <a:lnTo>
                      <a:pt x="162" y="155"/>
                    </a:lnTo>
                    <a:lnTo>
                      <a:pt x="162" y="155"/>
                    </a:lnTo>
                    <a:lnTo>
                      <a:pt x="164" y="152"/>
                    </a:lnTo>
                    <a:lnTo>
                      <a:pt x="164" y="151"/>
                    </a:lnTo>
                    <a:lnTo>
                      <a:pt x="161" y="149"/>
                    </a:lnTo>
                    <a:lnTo>
                      <a:pt x="158" y="146"/>
                    </a:lnTo>
                    <a:lnTo>
                      <a:pt x="155" y="142"/>
                    </a:lnTo>
                    <a:lnTo>
                      <a:pt x="155" y="142"/>
                    </a:lnTo>
                    <a:lnTo>
                      <a:pt x="155" y="139"/>
                    </a:lnTo>
                    <a:lnTo>
                      <a:pt x="155" y="138"/>
                    </a:lnTo>
                    <a:lnTo>
                      <a:pt x="159" y="133"/>
                    </a:lnTo>
                    <a:lnTo>
                      <a:pt x="165" y="132"/>
                    </a:lnTo>
                    <a:lnTo>
                      <a:pt x="168" y="133"/>
                    </a:lnTo>
                    <a:lnTo>
                      <a:pt x="171" y="135"/>
                    </a:lnTo>
                    <a:lnTo>
                      <a:pt x="171" y="135"/>
                    </a:lnTo>
                    <a:lnTo>
                      <a:pt x="179" y="141"/>
                    </a:lnTo>
                    <a:lnTo>
                      <a:pt x="182" y="139"/>
                    </a:lnTo>
                    <a:lnTo>
                      <a:pt x="182" y="135"/>
                    </a:lnTo>
                    <a:lnTo>
                      <a:pt x="182" y="135"/>
                    </a:lnTo>
                    <a:lnTo>
                      <a:pt x="182" y="132"/>
                    </a:lnTo>
                    <a:lnTo>
                      <a:pt x="179" y="129"/>
                    </a:lnTo>
                    <a:lnTo>
                      <a:pt x="169" y="122"/>
                    </a:lnTo>
                    <a:lnTo>
                      <a:pt x="151" y="114"/>
                    </a:lnTo>
                    <a:lnTo>
                      <a:pt x="151" y="11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42" name="Spain">
                <a:extLst>
                  <a:ext uri="{FF2B5EF4-FFF2-40B4-BE49-F238E27FC236}">
                    <a16:creationId xmlns:a16="http://schemas.microsoft.com/office/drawing/2014/main" id="{5991E4AB-AC14-ACD1-B7D8-F1D699B194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2909" y="3192504"/>
                <a:ext cx="298916" cy="216049"/>
              </a:xfrm>
              <a:custGeom>
                <a:avLst/>
                <a:gdLst/>
                <a:ahLst/>
                <a:cxnLst>
                  <a:cxn ang="0">
                    <a:pos x="194" y="27"/>
                  </a:cxn>
                  <a:cxn ang="0">
                    <a:pos x="175" y="24"/>
                  </a:cxn>
                  <a:cxn ang="0">
                    <a:pos x="167" y="21"/>
                  </a:cxn>
                  <a:cxn ang="0">
                    <a:pos x="158" y="19"/>
                  </a:cxn>
                  <a:cxn ang="0">
                    <a:pos x="154" y="22"/>
                  </a:cxn>
                  <a:cxn ang="0">
                    <a:pos x="147" y="19"/>
                  </a:cxn>
                  <a:cxn ang="0">
                    <a:pos x="131" y="12"/>
                  </a:cxn>
                  <a:cxn ang="0">
                    <a:pos x="117" y="8"/>
                  </a:cxn>
                  <a:cxn ang="0">
                    <a:pos x="94" y="5"/>
                  </a:cxn>
                  <a:cxn ang="0">
                    <a:pos x="69" y="5"/>
                  </a:cxn>
                  <a:cxn ang="0">
                    <a:pos x="33" y="4"/>
                  </a:cxn>
                  <a:cxn ang="0">
                    <a:pos x="22" y="0"/>
                  </a:cxn>
                  <a:cxn ang="0">
                    <a:pos x="16" y="4"/>
                  </a:cxn>
                  <a:cxn ang="0">
                    <a:pos x="9" y="8"/>
                  </a:cxn>
                  <a:cxn ang="0">
                    <a:pos x="0" y="15"/>
                  </a:cxn>
                  <a:cxn ang="0">
                    <a:pos x="8" y="22"/>
                  </a:cxn>
                  <a:cxn ang="0">
                    <a:pos x="8" y="35"/>
                  </a:cxn>
                  <a:cxn ang="0">
                    <a:pos x="12" y="34"/>
                  </a:cxn>
                  <a:cxn ang="0">
                    <a:pos x="18" y="32"/>
                  </a:cxn>
                  <a:cxn ang="0">
                    <a:pos x="19" y="37"/>
                  </a:cxn>
                  <a:cxn ang="0">
                    <a:pos x="28" y="37"/>
                  </a:cxn>
                  <a:cxn ang="0">
                    <a:pos x="32" y="38"/>
                  </a:cxn>
                  <a:cxn ang="0">
                    <a:pos x="37" y="35"/>
                  </a:cxn>
                  <a:cxn ang="0">
                    <a:pos x="43" y="38"/>
                  </a:cxn>
                  <a:cxn ang="0">
                    <a:pos x="47" y="41"/>
                  </a:cxn>
                  <a:cxn ang="0">
                    <a:pos x="47" y="45"/>
                  </a:cxn>
                  <a:cxn ang="0">
                    <a:pos x="37" y="54"/>
                  </a:cxn>
                  <a:cxn ang="0">
                    <a:pos x="40" y="65"/>
                  </a:cxn>
                  <a:cxn ang="0">
                    <a:pos x="37" y="72"/>
                  </a:cxn>
                  <a:cxn ang="0">
                    <a:pos x="36" y="79"/>
                  </a:cxn>
                  <a:cxn ang="0">
                    <a:pos x="33" y="81"/>
                  </a:cxn>
                  <a:cxn ang="0">
                    <a:pos x="32" y="86"/>
                  </a:cxn>
                  <a:cxn ang="0">
                    <a:pos x="37" y="93"/>
                  </a:cxn>
                  <a:cxn ang="0">
                    <a:pos x="33" y="96"/>
                  </a:cxn>
                  <a:cxn ang="0">
                    <a:pos x="32" y="103"/>
                  </a:cxn>
                  <a:cxn ang="0">
                    <a:pos x="37" y="111"/>
                  </a:cxn>
                  <a:cxn ang="0">
                    <a:pos x="36" y="112"/>
                  </a:cxn>
                  <a:cxn ang="0">
                    <a:pos x="29" y="121"/>
                  </a:cxn>
                  <a:cxn ang="0">
                    <a:pos x="32" y="126"/>
                  </a:cxn>
                  <a:cxn ang="0">
                    <a:pos x="40" y="128"/>
                  </a:cxn>
                  <a:cxn ang="0">
                    <a:pos x="49" y="138"/>
                  </a:cxn>
                  <a:cxn ang="0">
                    <a:pos x="60" y="146"/>
                  </a:cxn>
                  <a:cxn ang="0">
                    <a:pos x="62" y="143"/>
                  </a:cxn>
                  <a:cxn ang="0">
                    <a:pos x="64" y="139"/>
                  </a:cxn>
                  <a:cxn ang="0">
                    <a:pos x="73" y="140"/>
                  </a:cxn>
                  <a:cxn ang="0">
                    <a:pos x="82" y="135"/>
                  </a:cxn>
                  <a:cxn ang="0">
                    <a:pos x="107" y="133"/>
                  </a:cxn>
                  <a:cxn ang="0">
                    <a:pos x="116" y="132"/>
                  </a:cxn>
                  <a:cxn ang="0">
                    <a:pos x="120" y="128"/>
                  </a:cxn>
                  <a:cxn ang="0">
                    <a:pos x="127" y="121"/>
                  </a:cxn>
                  <a:cxn ang="0">
                    <a:pos x="136" y="118"/>
                  </a:cxn>
                  <a:cxn ang="0">
                    <a:pos x="138" y="108"/>
                  </a:cxn>
                  <a:cxn ang="0">
                    <a:pos x="147" y="98"/>
                  </a:cxn>
                  <a:cxn ang="0">
                    <a:pos x="148" y="92"/>
                  </a:cxn>
                  <a:cxn ang="0">
                    <a:pos x="148" y="76"/>
                  </a:cxn>
                  <a:cxn ang="0">
                    <a:pos x="154" y="66"/>
                  </a:cxn>
                  <a:cxn ang="0">
                    <a:pos x="163" y="56"/>
                  </a:cxn>
                  <a:cxn ang="0">
                    <a:pos x="167" y="51"/>
                  </a:cxn>
                  <a:cxn ang="0">
                    <a:pos x="178" y="48"/>
                  </a:cxn>
                  <a:cxn ang="0">
                    <a:pos x="191" y="42"/>
                  </a:cxn>
                  <a:cxn ang="0">
                    <a:pos x="200" y="37"/>
                  </a:cxn>
                  <a:cxn ang="0">
                    <a:pos x="202" y="25"/>
                  </a:cxn>
                </a:cxnLst>
                <a:rect l="0" t="0" r="r" b="b"/>
                <a:pathLst>
                  <a:path w="202" h="146">
                    <a:moveTo>
                      <a:pt x="202" y="25"/>
                    </a:moveTo>
                    <a:lnTo>
                      <a:pt x="202" y="25"/>
                    </a:lnTo>
                    <a:lnTo>
                      <a:pt x="194" y="27"/>
                    </a:lnTo>
                    <a:lnTo>
                      <a:pt x="185" y="25"/>
                    </a:lnTo>
                    <a:lnTo>
                      <a:pt x="185" y="25"/>
                    </a:lnTo>
                    <a:lnTo>
                      <a:pt x="175" y="24"/>
                    </a:lnTo>
                    <a:lnTo>
                      <a:pt x="170" y="22"/>
                    </a:lnTo>
                    <a:lnTo>
                      <a:pt x="167" y="21"/>
                    </a:lnTo>
                    <a:lnTo>
                      <a:pt x="167" y="21"/>
                    </a:lnTo>
                    <a:lnTo>
                      <a:pt x="161" y="18"/>
                    </a:lnTo>
                    <a:lnTo>
                      <a:pt x="160" y="18"/>
                    </a:lnTo>
                    <a:lnTo>
                      <a:pt x="158" y="19"/>
                    </a:lnTo>
                    <a:lnTo>
                      <a:pt x="158" y="19"/>
                    </a:lnTo>
                    <a:lnTo>
                      <a:pt x="158" y="21"/>
                    </a:lnTo>
                    <a:lnTo>
                      <a:pt x="154" y="22"/>
                    </a:lnTo>
                    <a:lnTo>
                      <a:pt x="150" y="22"/>
                    </a:lnTo>
                    <a:lnTo>
                      <a:pt x="147" y="19"/>
                    </a:lnTo>
                    <a:lnTo>
                      <a:pt x="147" y="19"/>
                    </a:lnTo>
                    <a:lnTo>
                      <a:pt x="138" y="17"/>
                    </a:lnTo>
                    <a:lnTo>
                      <a:pt x="131" y="12"/>
                    </a:lnTo>
                    <a:lnTo>
                      <a:pt x="131" y="12"/>
                    </a:lnTo>
                    <a:lnTo>
                      <a:pt x="121" y="8"/>
                    </a:lnTo>
                    <a:lnTo>
                      <a:pt x="121" y="8"/>
                    </a:lnTo>
                    <a:lnTo>
                      <a:pt x="117" y="8"/>
                    </a:lnTo>
                    <a:lnTo>
                      <a:pt x="110" y="7"/>
                    </a:lnTo>
                    <a:lnTo>
                      <a:pt x="101" y="5"/>
                    </a:lnTo>
                    <a:lnTo>
                      <a:pt x="94" y="5"/>
                    </a:lnTo>
                    <a:lnTo>
                      <a:pt x="94" y="5"/>
                    </a:lnTo>
                    <a:lnTo>
                      <a:pt x="83" y="5"/>
                    </a:lnTo>
                    <a:lnTo>
                      <a:pt x="69" y="5"/>
                    </a:lnTo>
                    <a:lnTo>
                      <a:pt x="42" y="5"/>
                    </a:lnTo>
                    <a:lnTo>
                      <a:pt x="42" y="5"/>
                    </a:lnTo>
                    <a:lnTo>
                      <a:pt x="33" y="4"/>
                    </a:lnTo>
                    <a:lnTo>
                      <a:pt x="29" y="2"/>
                    </a:lnTo>
                    <a:lnTo>
                      <a:pt x="26" y="1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1"/>
                    </a:lnTo>
                    <a:lnTo>
                      <a:pt x="16" y="4"/>
                    </a:lnTo>
                    <a:lnTo>
                      <a:pt x="13" y="7"/>
                    </a:lnTo>
                    <a:lnTo>
                      <a:pt x="9" y="8"/>
                    </a:lnTo>
                    <a:lnTo>
                      <a:pt x="9" y="8"/>
                    </a:lnTo>
                    <a:lnTo>
                      <a:pt x="3" y="10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5" y="19"/>
                    </a:lnTo>
                    <a:lnTo>
                      <a:pt x="5" y="19"/>
                    </a:lnTo>
                    <a:lnTo>
                      <a:pt x="8" y="22"/>
                    </a:lnTo>
                    <a:lnTo>
                      <a:pt x="8" y="27"/>
                    </a:lnTo>
                    <a:lnTo>
                      <a:pt x="8" y="35"/>
                    </a:lnTo>
                    <a:lnTo>
                      <a:pt x="8" y="35"/>
                    </a:lnTo>
                    <a:lnTo>
                      <a:pt x="10" y="35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5" y="32"/>
                    </a:lnTo>
                    <a:lnTo>
                      <a:pt x="16" y="31"/>
                    </a:lnTo>
                    <a:lnTo>
                      <a:pt x="18" y="32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9" y="37"/>
                    </a:lnTo>
                    <a:lnTo>
                      <a:pt x="22" y="37"/>
                    </a:lnTo>
                    <a:lnTo>
                      <a:pt x="28" y="37"/>
                    </a:lnTo>
                    <a:lnTo>
                      <a:pt x="28" y="37"/>
                    </a:lnTo>
                    <a:lnTo>
                      <a:pt x="29" y="37"/>
                    </a:lnTo>
                    <a:lnTo>
                      <a:pt x="30" y="38"/>
                    </a:lnTo>
                    <a:lnTo>
                      <a:pt x="32" y="38"/>
                    </a:lnTo>
                    <a:lnTo>
                      <a:pt x="33" y="37"/>
                    </a:lnTo>
                    <a:lnTo>
                      <a:pt x="33" y="37"/>
                    </a:lnTo>
                    <a:lnTo>
                      <a:pt x="37" y="35"/>
                    </a:lnTo>
                    <a:lnTo>
                      <a:pt x="40" y="35"/>
                    </a:lnTo>
                    <a:lnTo>
                      <a:pt x="43" y="37"/>
                    </a:lnTo>
                    <a:lnTo>
                      <a:pt x="43" y="38"/>
                    </a:lnTo>
                    <a:lnTo>
                      <a:pt x="43" y="38"/>
                    </a:lnTo>
                    <a:lnTo>
                      <a:pt x="45" y="39"/>
                    </a:lnTo>
                    <a:lnTo>
                      <a:pt x="47" y="41"/>
                    </a:lnTo>
                    <a:lnTo>
                      <a:pt x="49" y="42"/>
                    </a:lnTo>
                    <a:lnTo>
                      <a:pt x="47" y="45"/>
                    </a:lnTo>
                    <a:lnTo>
                      <a:pt x="47" y="45"/>
                    </a:lnTo>
                    <a:lnTo>
                      <a:pt x="40" y="49"/>
                    </a:lnTo>
                    <a:lnTo>
                      <a:pt x="39" y="51"/>
                    </a:lnTo>
                    <a:lnTo>
                      <a:pt x="37" y="54"/>
                    </a:lnTo>
                    <a:lnTo>
                      <a:pt x="37" y="54"/>
                    </a:lnTo>
                    <a:lnTo>
                      <a:pt x="39" y="61"/>
                    </a:lnTo>
                    <a:lnTo>
                      <a:pt x="40" y="65"/>
                    </a:lnTo>
                    <a:lnTo>
                      <a:pt x="39" y="69"/>
                    </a:lnTo>
                    <a:lnTo>
                      <a:pt x="39" y="69"/>
                    </a:lnTo>
                    <a:lnTo>
                      <a:pt x="37" y="72"/>
                    </a:lnTo>
                    <a:lnTo>
                      <a:pt x="37" y="75"/>
                    </a:lnTo>
                    <a:lnTo>
                      <a:pt x="37" y="78"/>
                    </a:lnTo>
                    <a:lnTo>
                      <a:pt x="36" y="79"/>
                    </a:lnTo>
                    <a:lnTo>
                      <a:pt x="36" y="79"/>
                    </a:lnTo>
                    <a:lnTo>
                      <a:pt x="36" y="79"/>
                    </a:lnTo>
                    <a:lnTo>
                      <a:pt x="33" y="81"/>
                    </a:lnTo>
                    <a:lnTo>
                      <a:pt x="30" y="81"/>
                    </a:lnTo>
                    <a:lnTo>
                      <a:pt x="30" y="84"/>
                    </a:lnTo>
                    <a:lnTo>
                      <a:pt x="32" y="86"/>
                    </a:lnTo>
                    <a:lnTo>
                      <a:pt x="32" y="86"/>
                    </a:lnTo>
                    <a:lnTo>
                      <a:pt x="37" y="92"/>
                    </a:lnTo>
                    <a:lnTo>
                      <a:pt x="37" y="93"/>
                    </a:lnTo>
                    <a:lnTo>
                      <a:pt x="36" y="95"/>
                    </a:lnTo>
                    <a:lnTo>
                      <a:pt x="36" y="95"/>
                    </a:lnTo>
                    <a:lnTo>
                      <a:pt x="33" y="96"/>
                    </a:lnTo>
                    <a:lnTo>
                      <a:pt x="32" y="98"/>
                    </a:lnTo>
                    <a:lnTo>
                      <a:pt x="32" y="101"/>
                    </a:lnTo>
                    <a:lnTo>
                      <a:pt x="32" y="103"/>
                    </a:lnTo>
                    <a:lnTo>
                      <a:pt x="32" y="103"/>
                    </a:lnTo>
                    <a:lnTo>
                      <a:pt x="37" y="108"/>
                    </a:lnTo>
                    <a:lnTo>
                      <a:pt x="37" y="111"/>
                    </a:lnTo>
                    <a:lnTo>
                      <a:pt x="37" y="111"/>
                    </a:lnTo>
                    <a:lnTo>
                      <a:pt x="36" y="112"/>
                    </a:lnTo>
                    <a:lnTo>
                      <a:pt x="36" y="112"/>
                    </a:lnTo>
                    <a:lnTo>
                      <a:pt x="32" y="113"/>
                    </a:lnTo>
                    <a:lnTo>
                      <a:pt x="30" y="115"/>
                    </a:lnTo>
                    <a:lnTo>
                      <a:pt x="29" y="121"/>
                    </a:lnTo>
                    <a:lnTo>
                      <a:pt x="29" y="121"/>
                    </a:lnTo>
                    <a:lnTo>
                      <a:pt x="32" y="126"/>
                    </a:lnTo>
                    <a:lnTo>
                      <a:pt x="32" y="126"/>
                    </a:lnTo>
                    <a:lnTo>
                      <a:pt x="36" y="126"/>
                    </a:lnTo>
                    <a:lnTo>
                      <a:pt x="40" y="128"/>
                    </a:lnTo>
                    <a:lnTo>
                      <a:pt x="40" y="128"/>
                    </a:lnTo>
                    <a:lnTo>
                      <a:pt x="43" y="129"/>
                    </a:lnTo>
                    <a:lnTo>
                      <a:pt x="45" y="132"/>
                    </a:lnTo>
                    <a:lnTo>
                      <a:pt x="49" y="138"/>
                    </a:lnTo>
                    <a:lnTo>
                      <a:pt x="53" y="143"/>
                    </a:lnTo>
                    <a:lnTo>
                      <a:pt x="56" y="145"/>
                    </a:lnTo>
                    <a:lnTo>
                      <a:pt x="60" y="146"/>
                    </a:lnTo>
                    <a:lnTo>
                      <a:pt x="60" y="146"/>
                    </a:lnTo>
                    <a:lnTo>
                      <a:pt x="62" y="145"/>
                    </a:lnTo>
                    <a:lnTo>
                      <a:pt x="62" y="143"/>
                    </a:lnTo>
                    <a:lnTo>
                      <a:pt x="63" y="140"/>
                    </a:lnTo>
                    <a:lnTo>
                      <a:pt x="63" y="140"/>
                    </a:lnTo>
                    <a:lnTo>
                      <a:pt x="64" y="139"/>
                    </a:lnTo>
                    <a:lnTo>
                      <a:pt x="67" y="139"/>
                    </a:lnTo>
                    <a:lnTo>
                      <a:pt x="73" y="140"/>
                    </a:lnTo>
                    <a:lnTo>
                      <a:pt x="73" y="140"/>
                    </a:lnTo>
                    <a:lnTo>
                      <a:pt x="76" y="139"/>
                    </a:lnTo>
                    <a:lnTo>
                      <a:pt x="77" y="138"/>
                    </a:lnTo>
                    <a:lnTo>
                      <a:pt x="82" y="135"/>
                    </a:lnTo>
                    <a:lnTo>
                      <a:pt x="87" y="135"/>
                    </a:lnTo>
                    <a:lnTo>
                      <a:pt x="87" y="135"/>
                    </a:lnTo>
                    <a:lnTo>
                      <a:pt x="107" y="133"/>
                    </a:lnTo>
                    <a:lnTo>
                      <a:pt x="107" y="133"/>
                    </a:lnTo>
                    <a:lnTo>
                      <a:pt x="111" y="133"/>
                    </a:lnTo>
                    <a:lnTo>
                      <a:pt x="116" y="132"/>
                    </a:lnTo>
                    <a:lnTo>
                      <a:pt x="117" y="130"/>
                    </a:lnTo>
                    <a:lnTo>
                      <a:pt x="120" y="128"/>
                    </a:lnTo>
                    <a:lnTo>
                      <a:pt x="120" y="128"/>
                    </a:lnTo>
                    <a:lnTo>
                      <a:pt x="121" y="125"/>
                    </a:lnTo>
                    <a:lnTo>
                      <a:pt x="124" y="122"/>
                    </a:lnTo>
                    <a:lnTo>
                      <a:pt x="127" y="121"/>
                    </a:lnTo>
                    <a:lnTo>
                      <a:pt x="131" y="119"/>
                    </a:lnTo>
                    <a:lnTo>
                      <a:pt x="131" y="119"/>
                    </a:lnTo>
                    <a:lnTo>
                      <a:pt x="136" y="118"/>
                    </a:lnTo>
                    <a:lnTo>
                      <a:pt x="137" y="115"/>
                    </a:lnTo>
                    <a:lnTo>
                      <a:pt x="138" y="108"/>
                    </a:lnTo>
                    <a:lnTo>
                      <a:pt x="138" y="108"/>
                    </a:lnTo>
                    <a:lnTo>
                      <a:pt x="140" y="105"/>
                    </a:lnTo>
                    <a:lnTo>
                      <a:pt x="144" y="102"/>
                    </a:lnTo>
                    <a:lnTo>
                      <a:pt x="147" y="98"/>
                    </a:lnTo>
                    <a:lnTo>
                      <a:pt x="150" y="95"/>
                    </a:lnTo>
                    <a:lnTo>
                      <a:pt x="150" y="95"/>
                    </a:lnTo>
                    <a:lnTo>
                      <a:pt x="148" y="92"/>
                    </a:lnTo>
                    <a:lnTo>
                      <a:pt x="147" y="86"/>
                    </a:lnTo>
                    <a:lnTo>
                      <a:pt x="147" y="79"/>
                    </a:lnTo>
                    <a:lnTo>
                      <a:pt x="148" y="76"/>
                    </a:lnTo>
                    <a:lnTo>
                      <a:pt x="150" y="72"/>
                    </a:lnTo>
                    <a:lnTo>
                      <a:pt x="150" y="72"/>
                    </a:lnTo>
                    <a:lnTo>
                      <a:pt x="154" y="66"/>
                    </a:lnTo>
                    <a:lnTo>
                      <a:pt x="158" y="62"/>
                    </a:lnTo>
                    <a:lnTo>
                      <a:pt x="163" y="59"/>
                    </a:lnTo>
                    <a:lnTo>
                      <a:pt x="163" y="56"/>
                    </a:lnTo>
                    <a:lnTo>
                      <a:pt x="163" y="56"/>
                    </a:lnTo>
                    <a:lnTo>
                      <a:pt x="164" y="54"/>
                    </a:lnTo>
                    <a:lnTo>
                      <a:pt x="167" y="51"/>
                    </a:lnTo>
                    <a:lnTo>
                      <a:pt x="173" y="49"/>
                    </a:lnTo>
                    <a:lnTo>
                      <a:pt x="178" y="48"/>
                    </a:lnTo>
                    <a:lnTo>
                      <a:pt x="178" y="48"/>
                    </a:lnTo>
                    <a:lnTo>
                      <a:pt x="183" y="47"/>
                    </a:lnTo>
                    <a:lnTo>
                      <a:pt x="187" y="45"/>
                    </a:lnTo>
                    <a:lnTo>
                      <a:pt x="191" y="42"/>
                    </a:lnTo>
                    <a:lnTo>
                      <a:pt x="195" y="39"/>
                    </a:lnTo>
                    <a:lnTo>
                      <a:pt x="195" y="39"/>
                    </a:lnTo>
                    <a:lnTo>
                      <a:pt x="200" y="37"/>
                    </a:lnTo>
                    <a:lnTo>
                      <a:pt x="201" y="34"/>
                    </a:lnTo>
                    <a:lnTo>
                      <a:pt x="202" y="31"/>
                    </a:lnTo>
                    <a:lnTo>
                      <a:pt x="202" y="25"/>
                    </a:lnTo>
                    <a:lnTo>
                      <a:pt x="202" y="25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43" name="Portugal">
                <a:extLst>
                  <a:ext uri="{FF2B5EF4-FFF2-40B4-BE49-F238E27FC236}">
                    <a16:creationId xmlns:a16="http://schemas.microsoft.com/office/drawing/2014/main" id="{835B7F1F-C4B6-5EF0-C8D5-2D52FA310D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6990" y="3238377"/>
                <a:ext cx="78429" cy="145019"/>
              </a:xfrm>
              <a:custGeom>
                <a:avLst/>
                <a:gdLst/>
                <a:ahLst/>
                <a:cxnLst>
                  <a:cxn ang="0">
                    <a:pos x="40" y="81"/>
                  </a:cxn>
                  <a:cxn ang="0">
                    <a:pos x="41" y="80"/>
                  </a:cxn>
                  <a:cxn ang="0">
                    <a:pos x="36" y="72"/>
                  </a:cxn>
                  <a:cxn ang="0">
                    <a:pos x="36" y="70"/>
                  </a:cxn>
                  <a:cxn ang="0">
                    <a:pos x="37" y="65"/>
                  </a:cxn>
                  <a:cxn ang="0">
                    <a:pos x="40" y="64"/>
                  </a:cxn>
                  <a:cxn ang="0">
                    <a:pos x="41" y="61"/>
                  </a:cxn>
                  <a:cxn ang="0">
                    <a:pos x="36" y="55"/>
                  </a:cxn>
                  <a:cxn ang="0">
                    <a:pos x="34" y="50"/>
                  </a:cxn>
                  <a:cxn ang="0">
                    <a:pos x="40" y="48"/>
                  </a:cxn>
                  <a:cxn ang="0">
                    <a:pos x="40" y="48"/>
                  </a:cxn>
                  <a:cxn ang="0">
                    <a:pos x="41" y="44"/>
                  </a:cxn>
                  <a:cxn ang="0">
                    <a:pos x="43" y="38"/>
                  </a:cxn>
                  <a:cxn ang="0">
                    <a:pos x="44" y="34"/>
                  </a:cxn>
                  <a:cxn ang="0">
                    <a:pos x="41" y="23"/>
                  </a:cxn>
                  <a:cxn ang="0">
                    <a:pos x="43" y="20"/>
                  </a:cxn>
                  <a:cxn ang="0">
                    <a:pos x="51" y="14"/>
                  </a:cxn>
                  <a:cxn ang="0">
                    <a:pos x="53" y="11"/>
                  </a:cxn>
                  <a:cxn ang="0">
                    <a:pos x="49" y="8"/>
                  </a:cxn>
                  <a:cxn ang="0">
                    <a:pos x="47" y="7"/>
                  </a:cxn>
                  <a:cxn ang="0">
                    <a:pos x="44" y="4"/>
                  </a:cxn>
                  <a:cxn ang="0">
                    <a:pos x="37" y="6"/>
                  </a:cxn>
                  <a:cxn ang="0">
                    <a:pos x="36" y="7"/>
                  </a:cxn>
                  <a:cxn ang="0">
                    <a:pos x="33" y="6"/>
                  </a:cxn>
                  <a:cxn ang="0">
                    <a:pos x="32" y="6"/>
                  </a:cxn>
                  <a:cxn ang="0">
                    <a:pos x="23" y="6"/>
                  </a:cxn>
                  <a:cxn ang="0">
                    <a:pos x="22" y="3"/>
                  </a:cxn>
                  <a:cxn ang="0">
                    <a:pos x="20" y="0"/>
                  </a:cxn>
                  <a:cxn ang="0">
                    <a:pos x="16" y="3"/>
                  </a:cxn>
                  <a:cxn ang="0">
                    <a:pos x="14" y="4"/>
                  </a:cxn>
                  <a:cxn ang="0">
                    <a:pos x="12" y="4"/>
                  </a:cxn>
                  <a:cxn ang="0">
                    <a:pos x="12" y="16"/>
                  </a:cxn>
                  <a:cxn ang="0">
                    <a:pos x="13" y="18"/>
                  </a:cxn>
                  <a:cxn ang="0">
                    <a:pos x="10" y="34"/>
                  </a:cxn>
                  <a:cxn ang="0">
                    <a:pos x="2" y="54"/>
                  </a:cxn>
                  <a:cxn ang="0">
                    <a:pos x="0" y="58"/>
                  </a:cxn>
                  <a:cxn ang="0">
                    <a:pos x="3" y="64"/>
                  </a:cxn>
                  <a:cxn ang="0">
                    <a:pos x="9" y="68"/>
                  </a:cxn>
                  <a:cxn ang="0">
                    <a:pos x="12" y="74"/>
                  </a:cxn>
                  <a:cxn ang="0">
                    <a:pos x="10" y="95"/>
                  </a:cxn>
                  <a:cxn ang="0">
                    <a:pos x="12" y="97"/>
                  </a:cxn>
                  <a:cxn ang="0">
                    <a:pos x="23" y="98"/>
                  </a:cxn>
                  <a:cxn ang="0">
                    <a:pos x="29" y="97"/>
                  </a:cxn>
                  <a:cxn ang="0">
                    <a:pos x="36" y="95"/>
                  </a:cxn>
                  <a:cxn ang="0">
                    <a:pos x="33" y="90"/>
                  </a:cxn>
                  <a:cxn ang="0">
                    <a:pos x="36" y="82"/>
                  </a:cxn>
                  <a:cxn ang="0">
                    <a:pos x="40" y="81"/>
                  </a:cxn>
                </a:cxnLst>
                <a:rect l="0" t="0" r="r" b="b"/>
                <a:pathLst>
                  <a:path w="53" h="98">
                    <a:moveTo>
                      <a:pt x="40" y="81"/>
                    </a:moveTo>
                    <a:lnTo>
                      <a:pt x="40" y="81"/>
                    </a:lnTo>
                    <a:lnTo>
                      <a:pt x="41" y="80"/>
                    </a:lnTo>
                    <a:lnTo>
                      <a:pt x="41" y="80"/>
                    </a:lnTo>
                    <a:lnTo>
                      <a:pt x="41" y="77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36" y="70"/>
                    </a:lnTo>
                    <a:lnTo>
                      <a:pt x="36" y="67"/>
                    </a:lnTo>
                    <a:lnTo>
                      <a:pt x="37" y="65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1" y="62"/>
                    </a:lnTo>
                    <a:lnTo>
                      <a:pt x="41" y="61"/>
                    </a:lnTo>
                    <a:lnTo>
                      <a:pt x="36" y="55"/>
                    </a:lnTo>
                    <a:lnTo>
                      <a:pt x="36" y="55"/>
                    </a:lnTo>
                    <a:lnTo>
                      <a:pt x="34" y="53"/>
                    </a:lnTo>
                    <a:lnTo>
                      <a:pt x="34" y="50"/>
                    </a:lnTo>
                    <a:lnTo>
                      <a:pt x="37" y="50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1" y="47"/>
                    </a:lnTo>
                    <a:lnTo>
                      <a:pt x="41" y="44"/>
                    </a:lnTo>
                    <a:lnTo>
                      <a:pt x="41" y="41"/>
                    </a:lnTo>
                    <a:lnTo>
                      <a:pt x="43" y="38"/>
                    </a:lnTo>
                    <a:lnTo>
                      <a:pt x="43" y="38"/>
                    </a:lnTo>
                    <a:lnTo>
                      <a:pt x="44" y="34"/>
                    </a:lnTo>
                    <a:lnTo>
                      <a:pt x="43" y="30"/>
                    </a:lnTo>
                    <a:lnTo>
                      <a:pt x="41" y="23"/>
                    </a:lnTo>
                    <a:lnTo>
                      <a:pt x="41" y="23"/>
                    </a:lnTo>
                    <a:lnTo>
                      <a:pt x="43" y="20"/>
                    </a:lnTo>
                    <a:lnTo>
                      <a:pt x="44" y="18"/>
                    </a:lnTo>
                    <a:lnTo>
                      <a:pt x="51" y="14"/>
                    </a:lnTo>
                    <a:lnTo>
                      <a:pt x="51" y="14"/>
                    </a:lnTo>
                    <a:lnTo>
                      <a:pt x="53" y="11"/>
                    </a:lnTo>
                    <a:lnTo>
                      <a:pt x="51" y="10"/>
                    </a:lnTo>
                    <a:lnTo>
                      <a:pt x="49" y="8"/>
                    </a:lnTo>
                    <a:lnTo>
                      <a:pt x="47" y="7"/>
                    </a:lnTo>
                    <a:lnTo>
                      <a:pt x="47" y="7"/>
                    </a:lnTo>
                    <a:lnTo>
                      <a:pt x="47" y="6"/>
                    </a:lnTo>
                    <a:lnTo>
                      <a:pt x="44" y="4"/>
                    </a:lnTo>
                    <a:lnTo>
                      <a:pt x="41" y="4"/>
                    </a:lnTo>
                    <a:lnTo>
                      <a:pt x="37" y="6"/>
                    </a:lnTo>
                    <a:lnTo>
                      <a:pt x="37" y="6"/>
                    </a:lnTo>
                    <a:lnTo>
                      <a:pt x="36" y="7"/>
                    </a:lnTo>
                    <a:lnTo>
                      <a:pt x="34" y="7"/>
                    </a:lnTo>
                    <a:lnTo>
                      <a:pt x="33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26" y="6"/>
                    </a:lnTo>
                    <a:lnTo>
                      <a:pt x="23" y="6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22" y="1"/>
                    </a:lnTo>
                    <a:lnTo>
                      <a:pt x="20" y="0"/>
                    </a:lnTo>
                    <a:lnTo>
                      <a:pt x="19" y="1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14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11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3" y="18"/>
                    </a:lnTo>
                    <a:lnTo>
                      <a:pt x="13" y="23"/>
                    </a:lnTo>
                    <a:lnTo>
                      <a:pt x="10" y="34"/>
                    </a:lnTo>
                    <a:lnTo>
                      <a:pt x="7" y="45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0" y="58"/>
                    </a:lnTo>
                    <a:lnTo>
                      <a:pt x="0" y="61"/>
                    </a:lnTo>
                    <a:lnTo>
                      <a:pt x="3" y="64"/>
                    </a:lnTo>
                    <a:lnTo>
                      <a:pt x="9" y="68"/>
                    </a:lnTo>
                    <a:lnTo>
                      <a:pt x="9" y="68"/>
                    </a:lnTo>
                    <a:lnTo>
                      <a:pt x="10" y="70"/>
                    </a:lnTo>
                    <a:lnTo>
                      <a:pt x="12" y="74"/>
                    </a:lnTo>
                    <a:lnTo>
                      <a:pt x="12" y="81"/>
                    </a:lnTo>
                    <a:lnTo>
                      <a:pt x="10" y="95"/>
                    </a:lnTo>
                    <a:lnTo>
                      <a:pt x="10" y="95"/>
                    </a:lnTo>
                    <a:lnTo>
                      <a:pt x="12" y="97"/>
                    </a:lnTo>
                    <a:lnTo>
                      <a:pt x="14" y="98"/>
                    </a:lnTo>
                    <a:lnTo>
                      <a:pt x="23" y="98"/>
                    </a:lnTo>
                    <a:lnTo>
                      <a:pt x="23" y="98"/>
                    </a:lnTo>
                    <a:lnTo>
                      <a:pt x="29" y="97"/>
                    </a:lnTo>
                    <a:lnTo>
                      <a:pt x="36" y="95"/>
                    </a:lnTo>
                    <a:lnTo>
                      <a:pt x="36" y="95"/>
                    </a:lnTo>
                    <a:lnTo>
                      <a:pt x="33" y="90"/>
                    </a:lnTo>
                    <a:lnTo>
                      <a:pt x="33" y="90"/>
                    </a:lnTo>
                    <a:lnTo>
                      <a:pt x="34" y="84"/>
                    </a:lnTo>
                    <a:lnTo>
                      <a:pt x="36" y="82"/>
                    </a:lnTo>
                    <a:lnTo>
                      <a:pt x="40" y="81"/>
                    </a:lnTo>
                    <a:lnTo>
                      <a:pt x="40" y="81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44" name="United Kingdom">
                <a:extLst>
                  <a:ext uri="{FF2B5EF4-FFF2-40B4-BE49-F238E27FC236}">
                    <a16:creationId xmlns:a16="http://schemas.microsoft.com/office/drawing/2014/main" id="{D22ED30D-1620-3B08-3CB1-C4FC6CC67F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32505" y="2707134"/>
                <a:ext cx="233805" cy="297437"/>
              </a:xfrm>
              <a:custGeom>
                <a:avLst/>
                <a:gdLst/>
                <a:ahLst/>
                <a:cxnLst>
                  <a:cxn ang="0">
                    <a:pos x="15" y="89"/>
                  </a:cxn>
                  <a:cxn ang="0">
                    <a:pos x="0" y="104"/>
                  </a:cxn>
                  <a:cxn ang="0">
                    <a:pos x="12" y="110"/>
                  </a:cxn>
                  <a:cxn ang="0">
                    <a:pos x="20" y="107"/>
                  </a:cxn>
                  <a:cxn ang="0">
                    <a:pos x="39" y="104"/>
                  </a:cxn>
                  <a:cxn ang="0">
                    <a:pos x="29" y="87"/>
                  </a:cxn>
                  <a:cxn ang="0">
                    <a:pos x="151" y="137"/>
                  </a:cxn>
                  <a:cxn ang="0">
                    <a:pos x="138" y="140"/>
                  </a:cxn>
                  <a:cxn ang="0">
                    <a:pos x="134" y="128"/>
                  </a:cxn>
                  <a:cxn ang="0">
                    <a:pos x="128" y="118"/>
                  </a:cxn>
                  <a:cxn ang="0">
                    <a:pos x="117" y="100"/>
                  </a:cxn>
                  <a:cxn ang="0">
                    <a:pos x="106" y="80"/>
                  </a:cxn>
                  <a:cxn ang="0">
                    <a:pos x="91" y="69"/>
                  </a:cxn>
                  <a:cxn ang="0">
                    <a:pos x="83" y="63"/>
                  </a:cxn>
                  <a:cxn ang="0">
                    <a:pos x="99" y="32"/>
                  </a:cxn>
                  <a:cxn ang="0">
                    <a:pos x="69" y="30"/>
                  </a:cxn>
                  <a:cxn ang="0">
                    <a:pos x="64" y="25"/>
                  </a:cxn>
                  <a:cxn ang="0">
                    <a:pos x="76" y="9"/>
                  </a:cxn>
                  <a:cxn ang="0">
                    <a:pos x="74" y="3"/>
                  </a:cxn>
                  <a:cxn ang="0">
                    <a:pos x="54" y="9"/>
                  </a:cxn>
                  <a:cxn ang="0">
                    <a:pos x="44" y="22"/>
                  </a:cxn>
                  <a:cxn ang="0">
                    <a:pos x="37" y="33"/>
                  </a:cxn>
                  <a:cxn ang="0">
                    <a:pos x="29" y="33"/>
                  </a:cxn>
                  <a:cxn ang="0">
                    <a:pos x="25" y="40"/>
                  </a:cxn>
                  <a:cxn ang="0">
                    <a:pos x="35" y="47"/>
                  </a:cxn>
                  <a:cxn ang="0">
                    <a:pos x="32" y="60"/>
                  </a:cxn>
                  <a:cxn ang="0">
                    <a:pos x="36" y="66"/>
                  </a:cxn>
                  <a:cxn ang="0">
                    <a:pos x="25" y="74"/>
                  </a:cxn>
                  <a:cxn ang="0">
                    <a:pos x="36" y="70"/>
                  </a:cxn>
                  <a:cxn ang="0">
                    <a:pos x="44" y="79"/>
                  </a:cxn>
                  <a:cxn ang="0">
                    <a:pos x="52" y="67"/>
                  </a:cxn>
                  <a:cxn ang="0">
                    <a:pos x="53" y="80"/>
                  </a:cxn>
                  <a:cxn ang="0">
                    <a:pos x="47" y="96"/>
                  </a:cxn>
                  <a:cxn ang="0">
                    <a:pos x="70" y="91"/>
                  </a:cxn>
                  <a:cxn ang="0">
                    <a:pos x="72" y="100"/>
                  </a:cxn>
                  <a:cxn ang="0">
                    <a:pos x="81" y="110"/>
                  </a:cxn>
                  <a:cxn ang="0">
                    <a:pos x="80" y="127"/>
                  </a:cxn>
                  <a:cxn ang="0">
                    <a:pos x="63" y="127"/>
                  </a:cxn>
                  <a:cxn ang="0">
                    <a:pos x="57" y="133"/>
                  </a:cxn>
                  <a:cxn ang="0">
                    <a:pos x="59" y="143"/>
                  </a:cxn>
                  <a:cxn ang="0">
                    <a:pos x="53" y="155"/>
                  </a:cxn>
                  <a:cxn ang="0">
                    <a:pos x="46" y="163"/>
                  </a:cxn>
                  <a:cxn ang="0">
                    <a:pos x="57" y="164"/>
                  </a:cxn>
                  <a:cxn ang="0">
                    <a:pos x="76" y="170"/>
                  </a:cxn>
                  <a:cxn ang="0">
                    <a:pos x="81" y="173"/>
                  </a:cxn>
                  <a:cxn ang="0">
                    <a:pos x="63" y="175"/>
                  </a:cxn>
                  <a:cxn ang="0">
                    <a:pos x="43" y="200"/>
                  </a:cxn>
                  <a:cxn ang="0">
                    <a:pos x="59" y="192"/>
                  </a:cxn>
                  <a:cxn ang="0">
                    <a:pos x="70" y="192"/>
                  </a:cxn>
                  <a:cxn ang="0">
                    <a:pos x="81" y="187"/>
                  </a:cxn>
                  <a:cxn ang="0">
                    <a:pos x="99" y="184"/>
                  </a:cxn>
                  <a:cxn ang="0">
                    <a:pos x="118" y="184"/>
                  </a:cxn>
                  <a:cxn ang="0">
                    <a:pos x="151" y="174"/>
                  </a:cxn>
                  <a:cxn ang="0">
                    <a:pos x="141" y="168"/>
                  </a:cxn>
                  <a:cxn ang="0">
                    <a:pos x="158" y="145"/>
                  </a:cxn>
                </a:cxnLst>
                <a:rect l="0" t="0" r="r" b="b"/>
                <a:pathLst>
                  <a:path w="158" h="201">
                    <a:moveTo>
                      <a:pt x="29" y="87"/>
                    </a:moveTo>
                    <a:lnTo>
                      <a:pt x="29" y="87"/>
                    </a:lnTo>
                    <a:lnTo>
                      <a:pt x="27" y="86"/>
                    </a:lnTo>
                    <a:lnTo>
                      <a:pt x="25" y="84"/>
                    </a:lnTo>
                    <a:lnTo>
                      <a:pt x="19" y="86"/>
                    </a:lnTo>
                    <a:lnTo>
                      <a:pt x="15" y="89"/>
                    </a:lnTo>
                    <a:lnTo>
                      <a:pt x="9" y="90"/>
                    </a:lnTo>
                    <a:lnTo>
                      <a:pt x="9" y="90"/>
                    </a:lnTo>
                    <a:lnTo>
                      <a:pt x="8" y="96"/>
                    </a:lnTo>
                    <a:lnTo>
                      <a:pt x="5" y="99"/>
                    </a:lnTo>
                    <a:lnTo>
                      <a:pt x="5" y="99"/>
                    </a:lnTo>
                    <a:lnTo>
                      <a:pt x="0" y="104"/>
                    </a:lnTo>
                    <a:lnTo>
                      <a:pt x="0" y="107"/>
                    </a:lnTo>
                    <a:lnTo>
                      <a:pt x="0" y="109"/>
                    </a:lnTo>
                    <a:lnTo>
                      <a:pt x="0" y="109"/>
                    </a:lnTo>
                    <a:lnTo>
                      <a:pt x="8" y="111"/>
                    </a:lnTo>
                    <a:lnTo>
                      <a:pt x="10" y="113"/>
                    </a:lnTo>
                    <a:lnTo>
                      <a:pt x="12" y="110"/>
                    </a:lnTo>
                    <a:lnTo>
                      <a:pt x="12" y="110"/>
                    </a:lnTo>
                    <a:lnTo>
                      <a:pt x="12" y="107"/>
                    </a:lnTo>
                    <a:lnTo>
                      <a:pt x="13" y="104"/>
                    </a:lnTo>
                    <a:lnTo>
                      <a:pt x="16" y="104"/>
                    </a:lnTo>
                    <a:lnTo>
                      <a:pt x="20" y="107"/>
                    </a:lnTo>
                    <a:lnTo>
                      <a:pt x="20" y="107"/>
                    </a:lnTo>
                    <a:lnTo>
                      <a:pt x="26" y="113"/>
                    </a:lnTo>
                    <a:lnTo>
                      <a:pt x="26" y="113"/>
                    </a:lnTo>
                    <a:lnTo>
                      <a:pt x="27" y="110"/>
                    </a:lnTo>
                    <a:lnTo>
                      <a:pt x="30" y="109"/>
                    </a:lnTo>
                    <a:lnTo>
                      <a:pt x="35" y="107"/>
                    </a:lnTo>
                    <a:lnTo>
                      <a:pt x="39" y="104"/>
                    </a:lnTo>
                    <a:lnTo>
                      <a:pt x="39" y="104"/>
                    </a:lnTo>
                    <a:lnTo>
                      <a:pt x="39" y="103"/>
                    </a:lnTo>
                    <a:lnTo>
                      <a:pt x="40" y="101"/>
                    </a:lnTo>
                    <a:lnTo>
                      <a:pt x="37" y="97"/>
                    </a:lnTo>
                    <a:lnTo>
                      <a:pt x="35" y="91"/>
                    </a:lnTo>
                    <a:lnTo>
                      <a:pt x="29" y="87"/>
                    </a:lnTo>
                    <a:lnTo>
                      <a:pt x="29" y="87"/>
                    </a:lnTo>
                    <a:close/>
                    <a:moveTo>
                      <a:pt x="158" y="145"/>
                    </a:moveTo>
                    <a:lnTo>
                      <a:pt x="158" y="145"/>
                    </a:lnTo>
                    <a:lnTo>
                      <a:pt x="158" y="143"/>
                    </a:lnTo>
                    <a:lnTo>
                      <a:pt x="157" y="141"/>
                    </a:lnTo>
                    <a:lnTo>
                      <a:pt x="151" y="137"/>
                    </a:lnTo>
                    <a:lnTo>
                      <a:pt x="145" y="136"/>
                    </a:lnTo>
                    <a:lnTo>
                      <a:pt x="143" y="137"/>
                    </a:lnTo>
                    <a:lnTo>
                      <a:pt x="143" y="137"/>
                    </a:lnTo>
                    <a:lnTo>
                      <a:pt x="143" y="137"/>
                    </a:lnTo>
                    <a:lnTo>
                      <a:pt x="140" y="140"/>
                    </a:lnTo>
                    <a:lnTo>
                      <a:pt x="138" y="140"/>
                    </a:lnTo>
                    <a:lnTo>
                      <a:pt x="136" y="138"/>
                    </a:lnTo>
                    <a:lnTo>
                      <a:pt x="134" y="137"/>
                    </a:lnTo>
                    <a:lnTo>
                      <a:pt x="134" y="137"/>
                    </a:lnTo>
                    <a:lnTo>
                      <a:pt x="133" y="133"/>
                    </a:lnTo>
                    <a:lnTo>
                      <a:pt x="134" y="131"/>
                    </a:lnTo>
                    <a:lnTo>
                      <a:pt x="134" y="128"/>
                    </a:lnTo>
                    <a:lnTo>
                      <a:pt x="134" y="127"/>
                    </a:lnTo>
                    <a:lnTo>
                      <a:pt x="134" y="127"/>
                    </a:lnTo>
                    <a:lnTo>
                      <a:pt x="131" y="127"/>
                    </a:lnTo>
                    <a:lnTo>
                      <a:pt x="130" y="124"/>
                    </a:lnTo>
                    <a:lnTo>
                      <a:pt x="128" y="121"/>
                    </a:lnTo>
                    <a:lnTo>
                      <a:pt x="128" y="118"/>
                    </a:lnTo>
                    <a:lnTo>
                      <a:pt x="128" y="118"/>
                    </a:lnTo>
                    <a:lnTo>
                      <a:pt x="128" y="116"/>
                    </a:lnTo>
                    <a:lnTo>
                      <a:pt x="126" y="109"/>
                    </a:lnTo>
                    <a:lnTo>
                      <a:pt x="121" y="103"/>
                    </a:lnTo>
                    <a:lnTo>
                      <a:pt x="120" y="100"/>
                    </a:lnTo>
                    <a:lnTo>
                      <a:pt x="117" y="100"/>
                    </a:lnTo>
                    <a:lnTo>
                      <a:pt x="117" y="100"/>
                    </a:lnTo>
                    <a:lnTo>
                      <a:pt x="114" y="99"/>
                    </a:lnTo>
                    <a:lnTo>
                      <a:pt x="111" y="96"/>
                    </a:lnTo>
                    <a:lnTo>
                      <a:pt x="109" y="91"/>
                    </a:lnTo>
                    <a:lnTo>
                      <a:pt x="106" y="80"/>
                    </a:lnTo>
                    <a:lnTo>
                      <a:pt x="106" y="80"/>
                    </a:lnTo>
                    <a:lnTo>
                      <a:pt x="104" y="77"/>
                    </a:lnTo>
                    <a:lnTo>
                      <a:pt x="101" y="76"/>
                    </a:lnTo>
                    <a:lnTo>
                      <a:pt x="99" y="74"/>
                    </a:lnTo>
                    <a:lnTo>
                      <a:pt x="96" y="72"/>
                    </a:lnTo>
                    <a:lnTo>
                      <a:pt x="96" y="72"/>
                    </a:lnTo>
                    <a:lnTo>
                      <a:pt x="91" y="69"/>
                    </a:lnTo>
                    <a:lnTo>
                      <a:pt x="87" y="69"/>
                    </a:lnTo>
                    <a:lnTo>
                      <a:pt x="81" y="70"/>
                    </a:lnTo>
                    <a:lnTo>
                      <a:pt x="81" y="70"/>
                    </a:lnTo>
                    <a:lnTo>
                      <a:pt x="80" y="69"/>
                    </a:lnTo>
                    <a:lnTo>
                      <a:pt x="80" y="66"/>
                    </a:lnTo>
                    <a:lnTo>
                      <a:pt x="83" y="63"/>
                    </a:lnTo>
                    <a:lnTo>
                      <a:pt x="87" y="59"/>
                    </a:lnTo>
                    <a:lnTo>
                      <a:pt x="87" y="59"/>
                    </a:lnTo>
                    <a:lnTo>
                      <a:pt x="91" y="53"/>
                    </a:lnTo>
                    <a:lnTo>
                      <a:pt x="94" y="44"/>
                    </a:lnTo>
                    <a:lnTo>
                      <a:pt x="97" y="36"/>
                    </a:lnTo>
                    <a:lnTo>
                      <a:pt x="99" y="32"/>
                    </a:lnTo>
                    <a:lnTo>
                      <a:pt x="99" y="32"/>
                    </a:lnTo>
                    <a:lnTo>
                      <a:pt x="97" y="30"/>
                    </a:lnTo>
                    <a:lnTo>
                      <a:pt x="94" y="29"/>
                    </a:lnTo>
                    <a:lnTo>
                      <a:pt x="86" y="27"/>
                    </a:lnTo>
                    <a:lnTo>
                      <a:pt x="76" y="29"/>
                    </a:lnTo>
                    <a:lnTo>
                      <a:pt x="69" y="30"/>
                    </a:lnTo>
                    <a:lnTo>
                      <a:pt x="69" y="30"/>
                    </a:lnTo>
                    <a:lnTo>
                      <a:pt x="66" y="30"/>
                    </a:lnTo>
                    <a:lnTo>
                      <a:pt x="63" y="29"/>
                    </a:lnTo>
                    <a:lnTo>
                      <a:pt x="62" y="26"/>
                    </a:lnTo>
                    <a:lnTo>
                      <a:pt x="64" y="25"/>
                    </a:lnTo>
                    <a:lnTo>
                      <a:pt x="64" y="25"/>
                    </a:lnTo>
                    <a:lnTo>
                      <a:pt x="67" y="22"/>
                    </a:lnTo>
                    <a:lnTo>
                      <a:pt x="72" y="19"/>
                    </a:lnTo>
                    <a:lnTo>
                      <a:pt x="74" y="15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76" y="9"/>
                    </a:lnTo>
                    <a:lnTo>
                      <a:pt x="79" y="6"/>
                    </a:lnTo>
                    <a:lnTo>
                      <a:pt x="79" y="5"/>
                    </a:lnTo>
                    <a:lnTo>
                      <a:pt x="79" y="2"/>
                    </a:lnTo>
                    <a:lnTo>
                      <a:pt x="79" y="2"/>
                    </a:lnTo>
                    <a:lnTo>
                      <a:pt x="76" y="0"/>
                    </a:lnTo>
                    <a:lnTo>
                      <a:pt x="74" y="3"/>
                    </a:lnTo>
                    <a:lnTo>
                      <a:pt x="73" y="6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69" y="9"/>
                    </a:lnTo>
                    <a:lnTo>
                      <a:pt x="64" y="10"/>
                    </a:lnTo>
                    <a:lnTo>
                      <a:pt x="54" y="9"/>
                    </a:lnTo>
                    <a:lnTo>
                      <a:pt x="54" y="9"/>
                    </a:lnTo>
                    <a:lnTo>
                      <a:pt x="52" y="9"/>
                    </a:lnTo>
                    <a:lnTo>
                      <a:pt x="49" y="9"/>
                    </a:lnTo>
                    <a:lnTo>
                      <a:pt x="46" y="13"/>
                    </a:lnTo>
                    <a:lnTo>
                      <a:pt x="44" y="17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3" y="25"/>
                    </a:lnTo>
                    <a:lnTo>
                      <a:pt x="40" y="27"/>
                    </a:lnTo>
                    <a:lnTo>
                      <a:pt x="37" y="30"/>
                    </a:lnTo>
                    <a:lnTo>
                      <a:pt x="37" y="33"/>
                    </a:lnTo>
                    <a:lnTo>
                      <a:pt x="37" y="33"/>
                    </a:lnTo>
                    <a:lnTo>
                      <a:pt x="37" y="36"/>
                    </a:lnTo>
                    <a:lnTo>
                      <a:pt x="36" y="37"/>
                    </a:lnTo>
                    <a:lnTo>
                      <a:pt x="35" y="37"/>
                    </a:lnTo>
                    <a:lnTo>
                      <a:pt x="33" y="37"/>
                    </a:lnTo>
                    <a:lnTo>
                      <a:pt x="33" y="37"/>
                    </a:lnTo>
                    <a:lnTo>
                      <a:pt x="29" y="33"/>
                    </a:lnTo>
                    <a:lnTo>
                      <a:pt x="26" y="32"/>
                    </a:lnTo>
                    <a:lnTo>
                      <a:pt x="23" y="33"/>
                    </a:lnTo>
                    <a:lnTo>
                      <a:pt x="23" y="33"/>
                    </a:lnTo>
                    <a:lnTo>
                      <a:pt x="22" y="35"/>
                    </a:lnTo>
                    <a:lnTo>
                      <a:pt x="22" y="37"/>
                    </a:lnTo>
                    <a:lnTo>
                      <a:pt x="25" y="40"/>
                    </a:lnTo>
                    <a:lnTo>
                      <a:pt x="29" y="42"/>
                    </a:lnTo>
                    <a:lnTo>
                      <a:pt x="35" y="43"/>
                    </a:lnTo>
                    <a:lnTo>
                      <a:pt x="35" y="43"/>
                    </a:lnTo>
                    <a:lnTo>
                      <a:pt x="36" y="43"/>
                    </a:lnTo>
                    <a:lnTo>
                      <a:pt x="36" y="44"/>
                    </a:lnTo>
                    <a:lnTo>
                      <a:pt x="35" y="47"/>
                    </a:lnTo>
                    <a:lnTo>
                      <a:pt x="30" y="50"/>
                    </a:lnTo>
                    <a:lnTo>
                      <a:pt x="29" y="54"/>
                    </a:lnTo>
                    <a:lnTo>
                      <a:pt x="29" y="54"/>
                    </a:lnTo>
                    <a:lnTo>
                      <a:pt x="29" y="57"/>
                    </a:lnTo>
                    <a:lnTo>
                      <a:pt x="29" y="59"/>
                    </a:lnTo>
                    <a:lnTo>
                      <a:pt x="32" y="60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7" y="63"/>
                    </a:lnTo>
                    <a:lnTo>
                      <a:pt x="37" y="63"/>
                    </a:lnTo>
                    <a:lnTo>
                      <a:pt x="37" y="66"/>
                    </a:lnTo>
                    <a:lnTo>
                      <a:pt x="36" y="66"/>
                    </a:lnTo>
                    <a:lnTo>
                      <a:pt x="30" y="69"/>
                    </a:lnTo>
                    <a:lnTo>
                      <a:pt x="26" y="70"/>
                    </a:lnTo>
                    <a:lnTo>
                      <a:pt x="25" y="72"/>
                    </a:lnTo>
                    <a:lnTo>
                      <a:pt x="25" y="73"/>
                    </a:lnTo>
                    <a:lnTo>
                      <a:pt x="25" y="73"/>
                    </a:lnTo>
                    <a:lnTo>
                      <a:pt x="25" y="74"/>
                    </a:lnTo>
                    <a:lnTo>
                      <a:pt x="25" y="74"/>
                    </a:lnTo>
                    <a:lnTo>
                      <a:pt x="29" y="74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7" y="74"/>
                    </a:lnTo>
                    <a:lnTo>
                      <a:pt x="37" y="79"/>
                    </a:lnTo>
                    <a:lnTo>
                      <a:pt x="39" y="79"/>
                    </a:lnTo>
                    <a:lnTo>
                      <a:pt x="42" y="79"/>
                    </a:lnTo>
                    <a:lnTo>
                      <a:pt x="42" y="79"/>
                    </a:lnTo>
                    <a:lnTo>
                      <a:pt x="44" y="79"/>
                    </a:lnTo>
                    <a:lnTo>
                      <a:pt x="46" y="77"/>
                    </a:lnTo>
                    <a:lnTo>
                      <a:pt x="49" y="72"/>
                    </a:lnTo>
                    <a:lnTo>
                      <a:pt x="50" y="69"/>
                    </a:lnTo>
                    <a:lnTo>
                      <a:pt x="50" y="67"/>
                    </a:lnTo>
                    <a:lnTo>
                      <a:pt x="52" y="67"/>
                    </a:lnTo>
                    <a:lnTo>
                      <a:pt x="52" y="67"/>
                    </a:lnTo>
                    <a:lnTo>
                      <a:pt x="52" y="67"/>
                    </a:lnTo>
                    <a:lnTo>
                      <a:pt x="52" y="70"/>
                    </a:lnTo>
                    <a:lnTo>
                      <a:pt x="52" y="74"/>
                    </a:lnTo>
                    <a:lnTo>
                      <a:pt x="53" y="77"/>
                    </a:lnTo>
                    <a:lnTo>
                      <a:pt x="53" y="77"/>
                    </a:lnTo>
                    <a:lnTo>
                      <a:pt x="53" y="80"/>
                    </a:lnTo>
                    <a:lnTo>
                      <a:pt x="53" y="81"/>
                    </a:lnTo>
                    <a:lnTo>
                      <a:pt x="50" y="86"/>
                    </a:lnTo>
                    <a:lnTo>
                      <a:pt x="47" y="90"/>
                    </a:lnTo>
                    <a:lnTo>
                      <a:pt x="47" y="94"/>
                    </a:lnTo>
                    <a:lnTo>
                      <a:pt x="47" y="94"/>
                    </a:lnTo>
                    <a:lnTo>
                      <a:pt x="47" y="96"/>
                    </a:lnTo>
                    <a:lnTo>
                      <a:pt x="50" y="96"/>
                    </a:lnTo>
                    <a:lnTo>
                      <a:pt x="56" y="96"/>
                    </a:lnTo>
                    <a:lnTo>
                      <a:pt x="64" y="96"/>
                    </a:lnTo>
                    <a:lnTo>
                      <a:pt x="67" y="94"/>
                    </a:lnTo>
                    <a:lnTo>
                      <a:pt x="70" y="91"/>
                    </a:lnTo>
                    <a:lnTo>
                      <a:pt x="70" y="91"/>
                    </a:lnTo>
                    <a:lnTo>
                      <a:pt x="73" y="90"/>
                    </a:lnTo>
                    <a:lnTo>
                      <a:pt x="76" y="90"/>
                    </a:lnTo>
                    <a:lnTo>
                      <a:pt x="76" y="93"/>
                    </a:lnTo>
                    <a:lnTo>
                      <a:pt x="74" y="97"/>
                    </a:lnTo>
                    <a:lnTo>
                      <a:pt x="74" y="97"/>
                    </a:lnTo>
                    <a:lnTo>
                      <a:pt x="72" y="100"/>
                    </a:lnTo>
                    <a:lnTo>
                      <a:pt x="72" y="103"/>
                    </a:lnTo>
                    <a:lnTo>
                      <a:pt x="73" y="104"/>
                    </a:lnTo>
                    <a:lnTo>
                      <a:pt x="77" y="107"/>
                    </a:lnTo>
                    <a:lnTo>
                      <a:pt x="77" y="107"/>
                    </a:lnTo>
                    <a:lnTo>
                      <a:pt x="81" y="109"/>
                    </a:lnTo>
                    <a:lnTo>
                      <a:pt x="81" y="110"/>
                    </a:lnTo>
                    <a:lnTo>
                      <a:pt x="81" y="113"/>
                    </a:lnTo>
                    <a:lnTo>
                      <a:pt x="81" y="113"/>
                    </a:lnTo>
                    <a:lnTo>
                      <a:pt x="80" y="116"/>
                    </a:lnTo>
                    <a:lnTo>
                      <a:pt x="80" y="120"/>
                    </a:lnTo>
                    <a:lnTo>
                      <a:pt x="80" y="127"/>
                    </a:lnTo>
                    <a:lnTo>
                      <a:pt x="80" y="127"/>
                    </a:lnTo>
                    <a:lnTo>
                      <a:pt x="79" y="128"/>
                    </a:lnTo>
                    <a:lnTo>
                      <a:pt x="76" y="128"/>
                    </a:lnTo>
                    <a:lnTo>
                      <a:pt x="72" y="130"/>
                    </a:lnTo>
                    <a:lnTo>
                      <a:pt x="66" y="128"/>
                    </a:lnTo>
                    <a:lnTo>
                      <a:pt x="63" y="127"/>
                    </a:lnTo>
                    <a:lnTo>
                      <a:pt x="63" y="127"/>
                    </a:lnTo>
                    <a:lnTo>
                      <a:pt x="62" y="127"/>
                    </a:lnTo>
                    <a:lnTo>
                      <a:pt x="60" y="127"/>
                    </a:lnTo>
                    <a:lnTo>
                      <a:pt x="59" y="128"/>
                    </a:lnTo>
                    <a:lnTo>
                      <a:pt x="59" y="130"/>
                    </a:lnTo>
                    <a:lnTo>
                      <a:pt x="59" y="130"/>
                    </a:lnTo>
                    <a:lnTo>
                      <a:pt x="57" y="133"/>
                    </a:lnTo>
                    <a:lnTo>
                      <a:pt x="56" y="136"/>
                    </a:lnTo>
                    <a:lnTo>
                      <a:pt x="54" y="138"/>
                    </a:lnTo>
                    <a:lnTo>
                      <a:pt x="53" y="140"/>
                    </a:lnTo>
                    <a:lnTo>
                      <a:pt x="53" y="140"/>
                    </a:lnTo>
                    <a:lnTo>
                      <a:pt x="54" y="141"/>
                    </a:lnTo>
                    <a:lnTo>
                      <a:pt x="59" y="143"/>
                    </a:lnTo>
                    <a:lnTo>
                      <a:pt x="62" y="144"/>
                    </a:lnTo>
                    <a:lnTo>
                      <a:pt x="63" y="147"/>
                    </a:lnTo>
                    <a:lnTo>
                      <a:pt x="63" y="147"/>
                    </a:lnTo>
                    <a:lnTo>
                      <a:pt x="62" y="150"/>
                    </a:lnTo>
                    <a:lnTo>
                      <a:pt x="59" y="153"/>
                    </a:lnTo>
                    <a:lnTo>
                      <a:pt x="53" y="155"/>
                    </a:lnTo>
                    <a:lnTo>
                      <a:pt x="47" y="157"/>
                    </a:lnTo>
                    <a:lnTo>
                      <a:pt x="47" y="157"/>
                    </a:lnTo>
                    <a:lnTo>
                      <a:pt x="44" y="158"/>
                    </a:lnTo>
                    <a:lnTo>
                      <a:pt x="44" y="160"/>
                    </a:lnTo>
                    <a:lnTo>
                      <a:pt x="44" y="161"/>
                    </a:lnTo>
                    <a:lnTo>
                      <a:pt x="46" y="163"/>
                    </a:lnTo>
                    <a:lnTo>
                      <a:pt x="50" y="164"/>
                    </a:lnTo>
                    <a:lnTo>
                      <a:pt x="52" y="164"/>
                    </a:lnTo>
                    <a:lnTo>
                      <a:pt x="53" y="164"/>
                    </a:lnTo>
                    <a:lnTo>
                      <a:pt x="53" y="164"/>
                    </a:lnTo>
                    <a:lnTo>
                      <a:pt x="56" y="163"/>
                    </a:lnTo>
                    <a:lnTo>
                      <a:pt x="57" y="164"/>
                    </a:lnTo>
                    <a:lnTo>
                      <a:pt x="60" y="165"/>
                    </a:lnTo>
                    <a:lnTo>
                      <a:pt x="63" y="165"/>
                    </a:lnTo>
                    <a:lnTo>
                      <a:pt x="63" y="165"/>
                    </a:lnTo>
                    <a:lnTo>
                      <a:pt x="67" y="167"/>
                    </a:lnTo>
                    <a:lnTo>
                      <a:pt x="72" y="168"/>
                    </a:lnTo>
                    <a:lnTo>
                      <a:pt x="76" y="170"/>
                    </a:lnTo>
                    <a:lnTo>
                      <a:pt x="80" y="168"/>
                    </a:lnTo>
                    <a:lnTo>
                      <a:pt x="80" y="168"/>
                    </a:lnTo>
                    <a:lnTo>
                      <a:pt x="84" y="167"/>
                    </a:lnTo>
                    <a:lnTo>
                      <a:pt x="86" y="168"/>
                    </a:lnTo>
                    <a:lnTo>
                      <a:pt x="84" y="170"/>
                    </a:lnTo>
                    <a:lnTo>
                      <a:pt x="81" y="173"/>
                    </a:lnTo>
                    <a:lnTo>
                      <a:pt x="81" y="173"/>
                    </a:lnTo>
                    <a:lnTo>
                      <a:pt x="77" y="174"/>
                    </a:lnTo>
                    <a:lnTo>
                      <a:pt x="72" y="174"/>
                    </a:lnTo>
                    <a:lnTo>
                      <a:pt x="67" y="174"/>
                    </a:lnTo>
                    <a:lnTo>
                      <a:pt x="63" y="175"/>
                    </a:lnTo>
                    <a:lnTo>
                      <a:pt x="63" y="175"/>
                    </a:lnTo>
                    <a:lnTo>
                      <a:pt x="57" y="180"/>
                    </a:lnTo>
                    <a:lnTo>
                      <a:pt x="50" y="187"/>
                    </a:lnTo>
                    <a:lnTo>
                      <a:pt x="44" y="194"/>
                    </a:lnTo>
                    <a:lnTo>
                      <a:pt x="43" y="198"/>
                    </a:lnTo>
                    <a:lnTo>
                      <a:pt x="43" y="200"/>
                    </a:lnTo>
                    <a:lnTo>
                      <a:pt x="43" y="200"/>
                    </a:lnTo>
                    <a:lnTo>
                      <a:pt x="44" y="201"/>
                    </a:lnTo>
                    <a:lnTo>
                      <a:pt x="47" y="198"/>
                    </a:lnTo>
                    <a:lnTo>
                      <a:pt x="50" y="195"/>
                    </a:lnTo>
                    <a:lnTo>
                      <a:pt x="54" y="194"/>
                    </a:lnTo>
                    <a:lnTo>
                      <a:pt x="54" y="194"/>
                    </a:lnTo>
                    <a:lnTo>
                      <a:pt x="59" y="192"/>
                    </a:lnTo>
                    <a:lnTo>
                      <a:pt x="62" y="194"/>
                    </a:lnTo>
                    <a:lnTo>
                      <a:pt x="64" y="195"/>
                    </a:lnTo>
                    <a:lnTo>
                      <a:pt x="67" y="195"/>
                    </a:lnTo>
                    <a:lnTo>
                      <a:pt x="67" y="195"/>
                    </a:lnTo>
                    <a:lnTo>
                      <a:pt x="69" y="195"/>
                    </a:lnTo>
                    <a:lnTo>
                      <a:pt x="70" y="192"/>
                    </a:lnTo>
                    <a:lnTo>
                      <a:pt x="72" y="190"/>
                    </a:lnTo>
                    <a:lnTo>
                      <a:pt x="74" y="188"/>
                    </a:lnTo>
                    <a:lnTo>
                      <a:pt x="74" y="188"/>
                    </a:lnTo>
                    <a:lnTo>
                      <a:pt x="76" y="188"/>
                    </a:lnTo>
                    <a:lnTo>
                      <a:pt x="79" y="188"/>
                    </a:lnTo>
                    <a:lnTo>
                      <a:pt x="81" y="187"/>
                    </a:lnTo>
                    <a:lnTo>
                      <a:pt x="86" y="187"/>
                    </a:lnTo>
                    <a:lnTo>
                      <a:pt x="86" y="187"/>
                    </a:lnTo>
                    <a:lnTo>
                      <a:pt x="90" y="187"/>
                    </a:lnTo>
                    <a:lnTo>
                      <a:pt x="93" y="187"/>
                    </a:lnTo>
                    <a:lnTo>
                      <a:pt x="99" y="184"/>
                    </a:lnTo>
                    <a:lnTo>
                      <a:pt x="99" y="184"/>
                    </a:lnTo>
                    <a:lnTo>
                      <a:pt x="101" y="182"/>
                    </a:lnTo>
                    <a:lnTo>
                      <a:pt x="104" y="184"/>
                    </a:lnTo>
                    <a:lnTo>
                      <a:pt x="109" y="187"/>
                    </a:lnTo>
                    <a:lnTo>
                      <a:pt x="111" y="187"/>
                    </a:lnTo>
                    <a:lnTo>
                      <a:pt x="111" y="187"/>
                    </a:lnTo>
                    <a:lnTo>
                      <a:pt x="118" y="184"/>
                    </a:lnTo>
                    <a:lnTo>
                      <a:pt x="128" y="182"/>
                    </a:lnTo>
                    <a:lnTo>
                      <a:pt x="128" y="182"/>
                    </a:lnTo>
                    <a:lnTo>
                      <a:pt x="134" y="182"/>
                    </a:lnTo>
                    <a:lnTo>
                      <a:pt x="141" y="180"/>
                    </a:lnTo>
                    <a:lnTo>
                      <a:pt x="151" y="174"/>
                    </a:lnTo>
                    <a:lnTo>
                      <a:pt x="151" y="174"/>
                    </a:lnTo>
                    <a:lnTo>
                      <a:pt x="153" y="171"/>
                    </a:lnTo>
                    <a:lnTo>
                      <a:pt x="151" y="171"/>
                    </a:lnTo>
                    <a:lnTo>
                      <a:pt x="144" y="171"/>
                    </a:lnTo>
                    <a:lnTo>
                      <a:pt x="144" y="171"/>
                    </a:lnTo>
                    <a:lnTo>
                      <a:pt x="141" y="170"/>
                    </a:lnTo>
                    <a:lnTo>
                      <a:pt x="141" y="168"/>
                    </a:lnTo>
                    <a:lnTo>
                      <a:pt x="143" y="164"/>
                    </a:lnTo>
                    <a:lnTo>
                      <a:pt x="145" y="161"/>
                    </a:lnTo>
                    <a:lnTo>
                      <a:pt x="145" y="161"/>
                    </a:lnTo>
                    <a:lnTo>
                      <a:pt x="154" y="154"/>
                    </a:lnTo>
                    <a:lnTo>
                      <a:pt x="157" y="150"/>
                    </a:lnTo>
                    <a:lnTo>
                      <a:pt x="158" y="145"/>
                    </a:lnTo>
                    <a:lnTo>
                      <a:pt x="158" y="145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45" name="Russia">
                <a:extLst>
                  <a:ext uri="{FF2B5EF4-FFF2-40B4-BE49-F238E27FC236}">
                    <a16:creationId xmlns:a16="http://schemas.microsoft.com/office/drawing/2014/main" id="{6F56FFE1-1E41-0766-4DD8-E9695E9718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83609" y="1922849"/>
                <a:ext cx="4050169" cy="1342164"/>
              </a:xfrm>
              <a:custGeom>
                <a:avLst/>
                <a:gdLst/>
                <a:ahLst/>
                <a:cxnLst>
                  <a:cxn ang="0">
                    <a:pos x="819" y="141"/>
                  </a:cxn>
                  <a:cxn ang="0">
                    <a:pos x="1960" y="651"/>
                  </a:cxn>
                  <a:cxn ang="0">
                    <a:pos x="1975" y="749"/>
                  </a:cxn>
                  <a:cxn ang="0">
                    <a:pos x="2636" y="306"/>
                  </a:cxn>
                  <a:cxn ang="0">
                    <a:pos x="2384" y="256"/>
                  </a:cxn>
                  <a:cxn ang="0">
                    <a:pos x="2159" y="217"/>
                  </a:cxn>
                  <a:cxn ang="0">
                    <a:pos x="2014" y="180"/>
                  </a:cxn>
                  <a:cxn ang="0">
                    <a:pos x="1912" y="202"/>
                  </a:cxn>
                  <a:cxn ang="0">
                    <a:pos x="1750" y="202"/>
                  </a:cxn>
                  <a:cxn ang="0">
                    <a:pos x="1671" y="126"/>
                  </a:cxn>
                  <a:cxn ang="0">
                    <a:pos x="1495" y="139"/>
                  </a:cxn>
                  <a:cxn ang="0">
                    <a:pos x="1388" y="138"/>
                  </a:cxn>
                  <a:cxn ang="0">
                    <a:pos x="1472" y="38"/>
                  </a:cxn>
                  <a:cxn ang="0">
                    <a:pos x="1330" y="1"/>
                  </a:cxn>
                  <a:cxn ang="0">
                    <a:pos x="1209" y="52"/>
                  </a:cxn>
                  <a:cxn ang="0">
                    <a:pos x="1078" y="99"/>
                  </a:cxn>
                  <a:cxn ang="0">
                    <a:pos x="990" y="155"/>
                  </a:cxn>
                  <a:cxn ang="0">
                    <a:pos x="946" y="206"/>
                  </a:cxn>
                  <a:cxn ang="0">
                    <a:pos x="881" y="236"/>
                  </a:cxn>
                  <a:cxn ang="0">
                    <a:pos x="898" y="276"/>
                  </a:cxn>
                  <a:cxn ang="0">
                    <a:pos x="839" y="335"/>
                  </a:cxn>
                  <a:cxn ang="0">
                    <a:pos x="855" y="190"/>
                  </a:cxn>
                  <a:cxn ang="0">
                    <a:pos x="797" y="274"/>
                  </a:cxn>
                  <a:cxn ang="0">
                    <a:pos x="653" y="280"/>
                  </a:cxn>
                  <a:cxn ang="0">
                    <a:pos x="529" y="287"/>
                  </a:cxn>
                  <a:cxn ang="0">
                    <a:pos x="407" y="281"/>
                  </a:cxn>
                  <a:cxn ang="0">
                    <a:pos x="327" y="374"/>
                  </a:cxn>
                  <a:cxn ang="0">
                    <a:pos x="240" y="374"/>
                  </a:cxn>
                  <a:cxn ang="0">
                    <a:pos x="333" y="299"/>
                  </a:cxn>
                  <a:cxn ang="0">
                    <a:pos x="178" y="250"/>
                  </a:cxn>
                  <a:cxn ang="0">
                    <a:pos x="168" y="384"/>
                  </a:cxn>
                  <a:cxn ang="0">
                    <a:pos x="137" y="510"/>
                  </a:cxn>
                  <a:cxn ang="0">
                    <a:pos x="185" y="633"/>
                  </a:cxn>
                  <a:cxn ang="0">
                    <a:pos x="262" y="721"/>
                  </a:cxn>
                  <a:cxn ang="0">
                    <a:pos x="310" y="789"/>
                  </a:cxn>
                  <a:cxn ang="0">
                    <a:pos x="410" y="879"/>
                  </a:cxn>
                  <a:cxn ang="0">
                    <a:pos x="454" y="776"/>
                  </a:cxn>
                  <a:cxn ang="0">
                    <a:pos x="514" y="700"/>
                  </a:cxn>
                  <a:cxn ang="0">
                    <a:pos x="666" y="718"/>
                  </a:cxn>
                  <a:cxn ang="0">
                    <a:pos x="780" y="626"/>
                  </a:cxn>
                  <a:cxn ang="0">
                    <a:pos x="882" y="654"/>
                  </a:cxn>
                  <a:cxn ang="0">
                    <a:pos x="1053" y="737"/>
                  </a:cxn>
                  <a:cxn ang="0">
                    <a:pos x="1229" y="738"/>
                  </a:cxn>
                  <a:cxn ang="0">
                    <a:pos x="1373" y="727"/>
                  </a:cxn>
                  <a:cxn ang="0">
                    <a:pos x="1578" y="734"/>
                  </a:cxn>
                  <a:cxn ang="0">
                    <a:pos x="1720" y="728"/>
                  </a:cxn>
                  <a:cxn ang="0">
                    <a:pos x="1809" y="828"/>
                  </a:cxn>
                  <a:cxn ang="0">
                    <a:pos x="1935" y="707"/>
                  </a:cxn>
                  <a:cxn ang="0">
                    <a:pos x="1871" y="650"/>
                  </a:cxn>
                  <a:cxn ang="0">
                    <a:pos x="2054" y="525"/>
                  </a:cxn>
                  <a:cxn ang="0">
                    <a:pos x="2182" y="488"/>
                  </a:cxn>
                  <a:cxn ang="0">
                    <a:pos x="2329" y="446"/>
                  </a:cxn>
                  <a:cxn ang="0">
                    <a:pos x="2178" y="648"/>
                  </a:cxn>
                  <a:cxn ang="0">
                    <a:pos x="2286" y="599"/>
                  </a:cxn>
                  <a:cxn ang="0">
                    <a:pos x="2361" y="502"/>
                  </a:cxn>
                  <a:cxn ang="0">
                    <a:pos x="2551" y="419"/>
                  </a:cxn>
                  <a:cxn ang="0">
                    <a:pos x="2593" y="350"/>
                  </a:cxn>
                  <a:cxn ang="0">
                    <a:pos x="2696" y="385"/>
                  </a:cxn>
                  <a:cxn ang="0">
                    <a:pos x="1370" y="675"/>
                  </a:cxn>
                  <a:cxn ang="0">
                    <a:pos x="531" y="176"/>
                  </a:cxn>
                  <a:cxn ang="0">
                    <a:pos x="593" y="152"/>
                  </a:cxn>
                  <a:cxn ang="0">
                    <a:pos x="721" y="44"/>
                  </a:cxn>
                  <a:cxn ang="0">
                    <a:pos x="560" y="128"/>
                  </a:cxn>
                </a:cxnLst>
                <a:rect l="0" t="0" r="r" b="b"/>
                <a:pathLst>
                  <a:path w="2737" h="907">
                    <a:moveTo>
                      <a:pt x="41" y="619"/>
                    </a:moveTo>
                    <a:lnTo>
                      <a:pt x="41" y="619"/>
                    </a:lnTo>
                    <a:lnTo>
                      <a:pt x="38" y="619"/>
                    </a:lnTo>
                    <a:lnTo>
                      <a:pt x="36" y="617"/>
                    </a:lnTo>
                    <a:lnTo>
                      <a:pt x="31" y="614"/>
                    </a:lnTo>
                    <a:lnTo>
                      <a:pt x="31" y="614"/>
                    </a:lnTo>
                    <a:lnTo>
                      <a:pt x="30" y="613"/>
                    </a:lnTo>
                    <a:lnTo>
                      <a:pt x="27" y="613"/>
                    </a:lnTo>
                    <a:lnTo>
                      <a:pt x="21" y="614"/>
                    </a:lnTo>
                    <a:lnTo>
                      <a:pt x="21" y="614"/>
                    </a:lnTo>
                    <a:lnTo>
                      <a:pt x="24" y="616"/>
                    </a:lnTo>
                    <a:lnTo>
                      <a:pt x="24" y="616"/>
                    </a:lnTo>
                    <a:lnTo>
                      <a:pt x="24" y="617"/>
                    </a:lnTo>
                    <a:lnTo>
                      <a:pt x="24" y="619"/>
                    </a:lnTo>
                    <a:lnTo>
                      <a:pt x="21" y="620"/>
                    </a:lnTo>
                    <a:lnTo>
                      <a:pt x="18" y="621"/>
                    </a:lnTo>
                    <a:lnTo>
                      <a:pt x="18" y="623"/>
                    </a:lnTo>
                    <a:lnTo>
                      <a:pt x="18" y="624"/>
                    </a:lnTo>
                    <a:lnTo>
                      <a:pt x="18" y="624"/>
                    </a:lnTo>
                    <a:lnTo>
                      <a:pt x="20" y="626"/>
                    </a:lnTo>
                    <a:lnTo>
                      <a:pt x="18" y="627"/>
                    </a:lnTo>
                    <a:lnTo>
                      <a:pt x="17" y="629"/>
                    </a:lnTo>
                    <a:lnTo>
                      <a:pt x="13" y="627"/>
                    </a:lnTo>
                    <a:lnTo>
                      <a:pt x="11" y="627"/>
                    </a:lnTo>
                    <a:lnTo>
                      <a:pt x="11" y="624"/>
                    </a:lnTo>
                    <a:lnTo>
                      <a:pt x="11" y="624"/>
                    </a:lnTo>
                    <a:lnTo>
                      <a:pt x="11" y="623"/>
                    </a:lnTo>
                    <a:lnTo>
                      <a:pt x="10" y="623"/>
                    </a:lnTo>
                    <a:lnTo>
                      <a:pt x="6" y="623"/>
                    </a:lnTo>
                    <a:lnTo>
                      <a:pt x="1" y="623"/>
                    </a:lnTo>
                    <a:lnTo>
                      <a:pt x="0" y="626"/>
                    </a:lnTo>
                    <a:lnTo>
                      <a:pt x="0" y="626"/>
                    </a:lnTo>
                    <a:lnTo>
                      <a:pt x="0" y="630"/>
                    </a:lnTo>
                    <a:lnTo>
                      <a:pt x="0" y="630"/>
                    </a:lnTo>
                    <a:lnTo>
                      <a:pt x="7" y="633"/>
                    </a:lnTo>
                    <a:lnTo>
                      <a:pt x="7" y="633"/>
                    </a:lnTo>
                    <a:lnTo>
                      <a:pt x="26" y="634"/>
                    </a:lnTo>
                    <a:lnTo>
                      <a:pt x="38" y="634"/>
                    </a:lnTo>
                    <a:lnTo>
                      <a:pt x="50" y="634"/>
                    </a:lnTo>
                    <a:lnTo>
                      <a:pt x="50" y="634"/>
                    </a:lnTo>
                    <a:lnTo>
                      <a:pt x="50" y="629"/>
                    </a:lnTo>
                    <a:lnTo>
                      <a:pt x="50" y="623"/>
                    </a:lnTo>
                    <a:lnTo>
                      <a:pt x="50" y="623"/>
                    </a:lnTo>
                    <a:lnTo>
                      <a:pt x="48" y="621"/>
                    </a:lnTo>
                    <a:lnTo>
                      <a:pt x="47" y="620"/>
                    </a:lnTo>
                    <a:lnTo>
                      <a:pt x="43" y="619"/>
                    </a:lnTo>
                    <a:lnTo>
                      <a:pt x="41" y="619"/>
                    </a:lnTo>
                    <a:lnTo>
                      <a:pt x="41" y="619"/>
                    </a:lnTo>
                    <a:close/>
                    <a:moveTo>
                      <a:pt x="819" y="152"/>
                    </a:moveTo>
                    <a:lnTo>
                      <a:pt x="819" y="152"/>
                    </a:lnTo>
                    <a:lnTo>
                      <a:pt x="825" y="152"/>
                    </a:lnTo>
                    <a:lnTo>
                      <a:pt x="832" y="151"/>
                    </a:lnTo>
                    <a:lnTo>
                      <a:pt x="839" y="148"/>
                    </a:lnTo>
                    <a:lnTo>
                      <a:pt x="844" y="146"/>
                    </a:lnTo>
                    <a:lnTo>
                      <a:pt x="844" y="146"/>
                    </a:lnTo>
                    <a:lnTo>
                      <a:pt x="844" y="145"/>
                    </a:lnTo>
                    <a:lnTo>
                      <a:pt x="844" y="143"/>
                    </a:lnTo>
                    <a:lnTo>
                      <a:pt x="839" y="141"/>
                    </a:lnTo>
                    <a:lnTo>
                      <a:pt x="834" y="139"/>
                    </a:lnTo>
                    <a:lnTo>
                      <a:pt x="826" y="139"/>
                    </a:lnTo>
                    <a:lnTo>
                      <a:pt x="826" y="139"/>
                    </a:lnTo>
                    <a:lnTo>
                      <a:pt x="822" y="139"/>
                    </a:lnTo>
                    <a:lnTo>
                      <a:pt x="819" y="141"/>
                    </a:lnTo>
                    <a:lnTo>
                      <a:pt x="818" y="142"/>
                    </a:lnTo>
                    <a:lnTo>
                      <a:pt x="817" y="145"/>
                    </a:lnTo>
                    <a:lnTo>
                      <a:pt x="817" y="149"/>
                    </a:lnTo>
                    <a:lnTo>
                      <a:pt x="817" y="151"/>
                    </a:lnTo>
                    <a:lnTo>
                      <a:pt x="819" y="152"/>
                    </a:lnTo>
                    <a:lnTo>
                      <a:pt x="819" y="152"/>
                    </a:lnTo>
                    <a:close/>
                    <a:moveTo>
                      <a:pt x="957" y="159"/>
                    </a:moveTo>
                    <a:lnTo>
                      <a:pt x="957" y="159"/>
                    </a:lnTo>
                    <a:lnTo>
                      <a:pt x="963" y="161"/>
                    </a:lnTo>
                    <a:lnTo>
                      <a:pt x="966" y="161"/>
                    </a:lnTo>
                    <a:lnTo>
                      <a:pt x="969" y="158"/>
                    </a:lnTo>
                    <a:lnTo>
                      <a:pt x="970" y="153"/>
                    </a:lnTo>
                    <a:lnTo>
                      <a:pt x="970" y="153"/>
                    </a:lnTo>
                    <a:lnTo>
                      <a:pt x="969" y="151"/>
                    </a:lnTo>
                    <a:lnTo>
                      <a:pt x="966" y="151"/>
                    </a:lnTo>
                    <a:lnTo>
                      <a:pt x="960" y="152"/>
                    </a:lnTo>
                    <a:lnTo>
                      <a:pt x="956" y="155"/>
                    </a:lnTo>
                    <a:lnTo>
                      <a:pt x="956" y="158"/>
                    </a:lnTo>
                    <a:lnTo>
                      <a:pt x="957" y="159"/>
                    </a:lnTo>
                    <a:lnTo>
                      <a:pt x="957" y="159"/>
                    </a:lnTo>
                    <a:close/>
                    <a:moveTo>
                      <a:pt x="464" y="273"/>
                    </a:moveTo>
                    <a:lnTo>
                      <a:pt x="464" y="273"/>
                    </a:lnTo>
                    <a:lnTo>
                      <a:pt x="468" y="276"/>
                    </a:lnTo>
                    <a:lnTo>
                      <a:pt x="472" y="277"/>
                    </a:lnTo>
                    <a:lnTo>
                      <a:pt x="477" y="276"/>
                    </a:lnTo>
                    <a:lnTo>
                      <a:pt x="481" y="274"/>
                    </a:lnTo>
                    <a:lnTo>
                      <a:pt x="488" y="270"/>
                    </a:lnTo>
                    <a:lnTo>
                      <a:pt x="494" y="267"/>
                    </a:lnTo>
                    <a:lnTo>
                      <a:pt x="494" y="267"/>
                    </a:lnTo>
                    <a:lnTo>
                      <a:pt x="495" y="266"/>
                    </a:lnTo>
                    <a:lnTo>
                      <a:pt x="495" y="264"/>
                    </a:lnTo>
                    <a:lnTo>
                      <a:pt x="492" y="262"/>
                    </a:lnTo>
                    <a:lnTo>
                      <a:pt x="486" y="259"/>
                    </a:lnTo>
                    <a:lnTo>
                      <a:pt x="479" y="256"/>
                    </a:lnTo>
                    <a:lnTo>
                      <a:pt x="479" y="256"/>
                    </a:lnTo>
                    <a:lnTo>
                      <a:pt x="475" y="256"/>
                    </a:lnTo>
                    <a:lnTo>
                      <a:pt x="471" y="256"/>
                    </a:lnTo>
                    <a:lnTo>
                      <a:pt x="467" y="257"/>
                    </a:lnTo>
                    <a:lnTo>
                      <a:pt x="464" y="260"/>
                    </a:lnTo>
                    <a:lnTo>
                      <a:pt x="461" y="263"/>
                    </a:lnTo>
                    <a:lnTo>
                      <a:pt x="459" y="266"/>
                    </a:lnTo>
                    <a:lnTo>
                      <a:pt x="461" y="270"/>
                    </a:lnTo>
                    <a:lnTo>
                      <a:pt x="464" y="273"/>
                    </a:lnTo>
                    <a:lnTo>
                      <a:pt x="464" y="273"/>
                    </a:lnTo>
                    <a:close/>
                    <a:moveTo>
                      <a:pt x="1975" y="695"/>
                    </a:moveTo>
                    <a:lnTo>
                      <a:pt x="1975" y="695"/>
                    </a:lnTo>
                    <a:lnTo>
                      <a:pt x="1973" y="690"/>
                    </a:lnTo>
                    <a:lnTo>
                      <a:pt x="1973" y="685"/>
                    </a:lnTo>
                    <a:lnTo>
                      <a:pt x="1976" y="675"/>
                    </a:lnTo>
                    <a:lnTo>
                      <a:pt x="1976" y="667"/>
                    </a:lnTo>
                    <a:lnTo>
                      <a:pt x="1976" y="664"/>
                    </a:lnTo>
                    <a:lnTo>
                      <a:pt x="1973" y="661"/>
                    </a:lnTo>
                    <a:lnTo>
                      <a:pt x="1973" y="661"/>
                    </a:lnTo>
                    <a:lnTo>
                      <a:pt x="1970" y="658"/>
                    </a:lnTo>
                    <a:lnTo>
                      <a:pt x="1967" y="654"/>
                    </a:lnTo>
                    <a:lnTo>
                      <a:pt x="1966" y="648"/>
                    </a:lnTo>
                    <a:lnTo>
                      <a:pt x="1965" y="643"/>
                    </a:lnTo>
                    <a:lnTo>
                      <a:pt x="1965" y="641"/>
                    </a:lnTo>
                    <a:lnTo>
                      <a:pt x="1963" y="643"/>
                    </a:lnTo>
                    <a:lnTo>
                      <a:pt x="1963" y="643"/>
                    </a:lnTo>
                    <a:lnTo>
                      <a:pt x="1962" y="644"/>
                    </a:lnTo>
                    <a:lnTo>
                      <a:pt x="1960" y="646"/>
                    </a:lnTo>
                    <a:lnTo>
                      <a:pt x="1960" y="651"/>
                    </a:lnTo>
                    <a:lnTo>
                      <a:pt x="1959" y="656"/>
                    </a:lnTo>
                    <a:lnTo>
                      <a:pt x="1957" y="658"/>
                    </a:lnTo>
                    <a:lnTo>
                      <a:pt x="1955" y="658"/>
                    </a:lnTo>
                    <a:lnTo>
                      <a:pt x="1955" y="658"/>
                    </a:lnTo>
                    <a:lnTo>
                      <a:pt x="1953" y="660"/>
                    </a:lnTo>
                    <a:lnTo>
                      <a:pt x="1952" y="661"/>
                    </a:lnTo>
                    <a:lnTo>
                      <a:pt x="1952" y="664"/>
                    </a:lnTo>
                    <a:lnTo>
                      <a:pt x="1952" y="670"/>
                    </a:lnTo>
                    <a:lnTo>
                      <a:pt x="1952" y="677"/>
                    </a:lnTo>
                    <a:lnTo>
                      <a:pt x="1952" y="677"/>
                    </a:lnTo>
                    <a:lnTo>
                      <a:pt x="1950" y="684"/>
                    </a:lnTo>
                    <a:lnTo>
                      <a:pt x="1952" y="693"/>
                    </a:lnTo>
                    <a:lnTo>
                      <a:pt x="1955" y="701"/>
                    </a:lnTo>
                    <a:lnTo>
                      <a:pt x="1957" y="708"/>
                    </a:lnTo>
                    <a:lnTo>
                      <a:pt x="1957" y="708"/>
                    </a:lnTo>
                    <a:lnTo>
                      <a:pt x="1957" y="712"/>
                    </a:lnTo>
                    <a:lnTo>
                      <a:pt x="1957" y="720"/>
                    </a:lnTo>
                    <a:lnTo>
                      <a:pt x="1956" y="740"/>
                    </a:lnTo>
                    <a:lnTo>
                      <a:pt x="1955" y="758"/>
                    </a:lnTo>
                    <a:lnTo>
                      <a:pt x="1955" y="765"/>
                    </a:lnTo>
                    <a:lnTo>
                      <a:pt x="1956" y="769"/>
                    </a:lnTo>
                    <a:lnTo>
                      <a:pt x="1956" y="769"/>
                    </a:lnTo>
                    <a:lnTo>
                      <a:pt x="1956" y="774"/>
                    </a:lnTo>
                    <a:lnTo>
                      <a:pt x="1956" y="779"/>
                    </a:lnTo>
                    <a:lnTo>
                      <a:pt x="1955" y="794"/>
                    </a:lnTo>
                    <a:lnTo>
                      <a:pt x="1952" y="808"/>
                    </a:lnTo>
                    <a:lnTo>
                      <a:pt x="1952" y="812"/>
                    </a:lnTo>
                    <a:lnTo>
                      <a:pt x="1953" y="815"/>
                    </a:lnTo>
                    <a:lnTo>
                      <a:pt x="1953" y="815"/>
                    </a:lnTo>
                    <a:lnTo>
                      <a:pt x="1955" y="816"/>
                    </a:lnTo>
                    <a:lnTo>
                      <a:pt x="1956" y="816"/>
                    </a:lnTo>
                    <a:lnTo>
                      <a:pt x="1956" y="812"/>
                    </a:lnTo>
                    <a:lnTo>
                      <a:pt x="1959" y="808"/>
                    </a:lnTo>
                    <a:lnTo>
                      <a:pt x="1960" y="805"/>
                    </a:lnTo>
                    <a:lnTo>
                      <a:pt x="1963" y="805"/>
                    </a:lnTo>
                    <a:lnTo>
                      <a:pt x="1963" y="805"/>
                    </a:lnTo>
                    <a:lnTo>
                      <a:pt x="1966" y="805"/>
                    </a:lnTo>
                    <a:lnTo>
                      <a:pt x="1967" y="805"/>
                    </a:lnTo>
                    <a:lnTo>
                      <a:pt x="1972" y="809"/>
                    </a:lnTo>
                    <a:lnTo>
                      <a:pt x="1973" y="813"/>
                    </a:lnTo>
                    <a:lnTo>
                      <a:pt x="1977" y="816"/>
                    </a:lnTo>
                    <a:lnTo>
                      <a:pt x="1977" y="816"/>
                    </a:lnTo>
                    <a:lnTo>
                      <a:pt x="1979" y="816"/>
                    </a:lnTo>
                    <a:lnTo>
                      <a:pt x="1979" y="815"/>
                    </a:lnTo>
                    <a:lnTo>
                      <a:pt x="1979" y="809"/>
                    </a:lnTo>
                    <a:lnTo>
                      <a:pt x="1977" y="804"/>
                    </a:lnTo>
                    <a:lnTo>
                      <a:pt x="1976" y="802"/>
                    </a:lnTo>
                    <a:lnTo>
                      <a:pt x="1975" y="802"/>
                    </a:lnTo>
                    <a:lnTo>
                      <a:pt x="1975" y="802"/>
                    </a:lnTo>
                    <a:lnTo>
                      <a:pt x="1972" y="802"/>
                    </a:lnTo>
                    <a:lnTo>
                      <a:pt x="1970" y="801"/>
                    </a:lnTo>
                    <a:lnTo>
                      <a:pt x="1967" y="795"/>
                    </a:lnTo>
                    <a:lnTo>
                      <a:pt x="1963" y="784"/>
                    </a:lnTo>
                    <a:lnTo>
                      <a:pt x="1963" y="784"/>
                    </a:lnTo>
                    <a:lnTo>
                      <a:pt x="1963" y="776"/>
                    </a:lnTo>
                    <a:lnTo>
                      <a:pt x="1965" y="771"/>
                    </a:lnTo>
                    <a:lnTo>
                      <a:pt x="1966" y="764"/>
                    </a:lnTo>
                    <a:lnTo>
                      <a:pt x="1967" y="757"/>
                    </a:lnTo>
                    <a:lnTo>
                      <a:pt x="1967" y="757"/>
                    </a:lnTo>
                    <a:lnTo>
                      <a:pt x="1969" y="754"/>
                    </a:lnTo>
                    <a:lnTo>
                      <a:pt x="1970" y="752"/>
                    </a:lnTo>
                    <a:lnTo>
                      <a:pt x="1972" y="751"/>
                    </a:lnTo>
                    <a:lnTo>
                      <a:pt x="1975" y="749"/>
                    </a:lnTo>
                    <a:lnTo>
                      <a:pt x="1980" y="751"/>
                    </a:lnTo>
                    <a:lnTo>
                      <a:pt x="1987" y="755"/>
                    </a:lnTo>
                    <a:lnTo>
                      <a:pt x="1987" y="755"/>
                    </a:lnTo>
                    <a:lnTo>
                      <a:pt x="1990" y="758"/>
                    </a:lnTo>
                    <a:lnTo>
                      <a:pt x="1993" y="758"/>
                    </a:lnTo>
                    <a:lnTo>
                      <a:pt x="1993" y="755"/>
                    </a:lnTo>
                    <a:lnTo>
                      <a:pt x="1992" y="752"/>
                    </a:lnTo>
                    <a:lnTo>
                      <a:pt x="1992" y="752"/>
                    </a:lnTo>
                    <a:lnTo>
                      <a:pt x="1989" y="742"/>
                    </a:lnTo>
                    <a:lnTo>
                      <a:pt x="1984" y="727"/>
                    </a:lnTo>
                    <a:lnTo>
                      <a:pt x="1975" y="695"/>
                    </a:lnTo>
                    <a:lnTo>
                      <a:pt x="1975" y="695"/>
                    </a:lnTo>
                    <a:close/>
                    <a:moveTo>
                      <a:pt x="2734" y="354"/>
                    </a:moveTo>
                    <a:lnTo>
                      <a:pt x="2734" y="354"/>
                    </a:lnTo>
                    <a:lnTo>
                      <a:pt x="2723" y="347"/>
                    </a:lnTo>
                    <a:lnTo>
                      <a:pt x="2716" y="341"/>
                    </a:lnTo>
                    <a:lnTo>
                      <a:pt x="2711" y="337"/>
                    </a:lnTo>
                    <a:lnTo>
                      <a:pt x="2711" y="337"/>
                    </a:lnTo>
                    <a:lnTo>
                      <a:pt x="2709" y="335"/>
                    </a:lnTo>
                    <a:lnTo>
                      <a:pt x="2706" y="333"/>
                    </a:lnTo>
                    <a:lnTo>
                      <a:pt x="2699" y="331"/>
                    </a:lnTo>
                    <a:lnTo>
                      <a:pt x="2691" y="330"/>
                    </a:lnTo>
                    <a:lnTo>
                      <a:pt x="2690" y="331"/>
                    </a:lnTo>
                    <a:lnTo>
                      <a:pt x="2689" y="331"/>
                    </a:lnTo>
                    <a:lnTo>
                      <a:pt x="2689" y="331"/>
                    </a:lnTo>
                    <a:lnTo>
                      <a:pt x="2689" y="333"/>
                    </a:lnTo>
                    <a:lnTo>
                      <a:pt x="2686" y="331"/>
                    </a:lnTo>
                    <a:lnTo>
                      <a:pt x="2683" y="330"/>
                    </a:lnTo>
                    <a:lnTo>
                      <a:pt x="2682" y="328"/>
                    </a:lnTo>
                    <a:lnTo>
                      <a:pt x="2682" y="328"/>
                    </a:lnTo>
                    <a:lnTo>
                      <a:pt x="2677" y="326"/>
                    </a:lnTo>
                    <a:lnTo>
                      <a:pt x="2670" y="326"/>
                    </a:lnTo>
                    <a:lnTo>
                      <a:pt x="2664" y="326"/>
                    </a:lnTo>
                    <a:lnTo>
                      <a:pt x="2662" y="327"/>
                    </a:lnTo>
                    <a:lnTo>
                      <a:pt x="2660" y="327"/>
                    </a:lnTo>
                    <a:lnTo>
                      <a:pt x="2660" y="327"/>
                    </a:lnTo>
                    <a:lnTo>
                      <a:pt x="2662" y="330"/>
                    </a:lnTo>
                    <a:lnTo>
                      <a:pt x="2663" y="331"/>
                    </a:lnTo>
                    <a:lnTo>
                      <a:pt x="2666" y="333"/>
                    </a:lnTo>
                    <a:lnTo>
                      <a:pt x="2669" y="335"/>
                    </a:lnTo>
                    <a:lnTo>
                      <a:pt x="2669" y="335"/>
                    </a:lnTo>
                    <a:lnTo>
                      <a:pt x="2669" y="337"/>
                    </a:lnTo>
                    <a:lnTo>
                      <a:pt x="2667" y="340"/>
                    </a:lnTo>
                    <a:lnTo>
                      <a:pt x="2666" y="343"/>
                    </a:lnTo>
                    <a:lnTo>
                      <a:pt x="2666" y="345"/>
                    </a:lnTo>
                    <a:lnTo>
                      <a:pt x="2666" y="345"/>
                    </a:lnTo>
                    <a:lnTo>
                      <a:pt x="2666" y="347"/>
                    </a:lnTo>
                    <a:lnTo>
                      <a:pt x="2664" y="347"/>
                    </a:lnTo>
                    <a:lnTo>
                      <a:pt x="2662" y="345"/>
                    </a:lnTo>
                    <a:lnTo>
                      <a:pt x="2656" y="341"/>
                    </a:lnTo>
                    <a:lnTo>
                      <a:pt x="2656" y="341"/>
                    </a:lnTo>
                    <a:lnTo>
                      <a:pt x="2654" y="338"/>
                    </a:lnTo>
                    <a:lnTo>
                      <a:pt x="2653" y="333"/>
                    </a:lnTo>
                    <a:lnTo>
                      <a:pt x="2654" y="324"/>
                    </a:lnTo>
                    <a:lnTo>
                      <a:pt x="2654" y="324"/>
                    </a:lnTo>
                    <a:lnTo>
                      <a:pt x="2654" y="321"/>
                    </a:lnTo>
                    <a:lnTo>
                      <a:pt x="2652" y="320"/>
                    </a:lnTo>
                    <a:lnTo>
                      <a:pt x="2650" y="318"/>
                    </a:lnTo>
                    <a:lnTo>
                      <a:pt x="2649" y="316"/>
                    </a:lnTo>
                    <a:lnTo>
                      <a:pt x="2649" y="316"/>
                    </a:lnTo>
                    <a:lnTo>
                      <a:pt x="2647" y="314"/>
                    </a:lnTo>
                    <a:lnTo>
                      <a:pt x="2645" y="311"/>
                    </a:lnTo>
                    <a:lnTo>
                      <a:pt x="2636" y="306"/>
                    </a:lnTo>
                    <a:lnTo>
                      <a:pt x="2618" y="297"/>
                    </a:lnTo>
                    <a:lnTo>
                      <a:pt x="2618" y="297"/>
                    </a:lnTo>
                    <a:lnTo>
                      <a:pt x="2603" y="291"/>
                    </a:lnTo>
                    <a:lnTo>
                      <a:pt x="2598" y="289"/>
                    </a:lnTo>
                    <a:lnTo>
                      <a:pt x="2593" y="286"/>
                    </a:lnTo>
                    <a:lnTo>
                      <a:pt x="2593" y="286"/>
                    </a:lnTo>
                    <a:lnTo>
                      <a:pt x="2589" y="283"/>
                    </a:lnTo>
                    <a:lnTo>
                      <a:pt x="2582" y="280"/>
                    </a:lnTo>
                    <a:lnTo>
                      <a:pt x="2575" y="277"/>
                    </a:lnTo>
                    <a:lnTo>
                      <a:pt x="2569" y="274"/>
                    </a:lnTo>
                    <a:lnTo>
                      <a:pt x="2569" y="274"/>
                    </a:lnTo>
                    <a:lnTo>
                      <a:pt x="2561" y="269"/>
                    </a:lnTo>
                    <a:lnTo>
                      <a:pt x="2548" y="263"/>
                    </a:lnTo>
                    <a:lnTo>
                      <a:pt x="2535" y="257"/>
                    </a:lnTo>
                    <a:lnTo>
                      <a:pt x="2524" y="256"/>
                    </a:lnTo>
                    <a:lnTo>
                      <a:pt x="2524" y="256"/>
                    </a:lnTo>
                    <a:lnTo>
                      <a:pt x="2518" y="254"/>
                    </a:lnTo>
                    <a:lnTo>
                      <a:pt x="2514" y="252"/>
                    </a:lnTo>
                    <a:lnTo>
                      <a:pt x="2512" y="250"/>
                    </a:lnTo>
                    <a:lnTo>
                      <a:pt x="2509" y="249"/>
                    </a:lnTo>
                    <a:lnTo>
                      <a:pt x="2509" y="249"/>
                    </a:lnTo>
                    <a:lnTo>
                      <a:pt x="2491" y="249"/>
                    </a:lnTo>
                    <a:lnTo>
                      <a:pt x="2471" y="247"/>
                    </a:lnTo>
                    <a:lnTo>
                      <a:pt x="2471" y="247"/>
                    </a:lnTo>
                    <a:lnTo>
                      <a:pt x="2467" y="249"/>
                    </a:lnTo>
                    <a:lnTo>
                      <a:pt x="2462" y="250"/>
                    </a:lnTo>
                    <a:lnTo>
                      <a:pt x="2460" y="250"/>
                    </a:lnTo>
                    <a:lnTo>
                      <a:pt x="2457" y="250"/>
                    </a:lnTo>
                    <a:lnTo>
                      <a:pt x="2457" y="250"/>
                    </a:lnTo>
                    <a:lnTo>
                      <a:pt x="2437" y="244"/>
                    </a:lnTo>
                    <a:lnTo>
                      <a:pt x="2425" y="242"/>
                    </a:lnTo>
                    <a:lnTo>
                      <a:pt x="2421" y="242"/>
                    </a:lnTo>
                    <a:lnTo>
                      <a:pt x="2420" y="242"/>
                    </a:lnTo>
                    <a:lnTo>
                      <a:pt x="2420" y="242"/>
                    </a:lnTo>
                    <a:lnTo>
                      <a:pt x="2418" y="244"/>
                    </a:lnTo>
                    <a:lnTo>
                      <a:pt x="2417" y="247"/>
                    </a:lnTo>
                    <a:lnTo>
                      <a:pt x="2415" y="250"/>
                    </a:lnTo>
                    <a:lnTo>
                      <a:pt x="2414" y="252"/>
                    </a:lnTo>
                    <a:lnTo>
                      <a:pt x="2414" y="252"/>
                    </a:lnTo>
                    <a:lnTo>
                      <a:pt x="2413" y="253"/>
                    </a:lnTo>
                    <a:lnTo>
                      <a:pt x="2414" y="256"/>
                    </a:lnTo>
                    <a:lnTo>
                      <a:pt x="2423" y="264"/>
                    </a:lnTo>
                    <a:lnTo>
                      <a:pt x="2423" y="264"/>
                    </a:lnTo>
                    <a:lnTo>
                      <a:pt x="2425" y="270"/>
                    </a:lnTo>
                    <a:lnTo>
                      <a:pt x="2427" y="271"/>
                    </a:lnTo>
                    <a:lnTo>
                      <a:pt x="2425" y="274"/>
                    </a:lnTo>
                    <a:lnTo>
                      <a:pt x="2423" y="277"/>
                    </a:lnTo>
                    <a:lnTo>
                      <a:pt x="2418" y="280"/>
                    </a:lnTo>
                    <a:lnTo>
                      <a:pt x="2418" y="280"/>
                    </a:lnTo>
                    <a:lnTo>
                      <a:pt x="2413" y="281"/>
                    </a:lnTo>
                    <a:lnTo>
                      <a:pt x="2406" y="280"/>
                    </a:lnTo>
                    <a:lnTo>
                      <a:pt x="2400" y="276"/>
                    </a:lnTo>
                    <a:lnTo>
                      <a:pt x="2396" y="271"/>
                    </a:lnTo>
                    <a:lnTo>
                      <a:pt x="2396" y="271"/>
                    </a:lnTo>
                    <a:lnTo>
                      <a:pt x="2393" y="269"/>
                    </a:lnTo>
                    <a:lnTo>
                      <a:pt x="2388" y="267"/>
                    </a:lnTo>
                    <a:lnTo>
                      <a:pt x="2383" y="266"/>
                    </a:lnTo>
                    <a:lnTo>
                      <a:pt x="2381" y="264"/>
                    </a:lnTo>
                    <a:lnTo>
                      <a:pt x="2380" y="262"/>
                    </a:lnTo>
                    <a:lnTo>
                      <a:pt x="2380" y="262"/>
                    </a:lnTo>
                    <a:lnTo>
                      <a:pt x="2380" y="257"/>
                    </a:lnTo>
                    <a:lnTo>
                      <a:pt x="2381" y="256"/>
                    </a:lnTo>
                    <a:lnTo>
                      <a:pt x="2384" y="256"/>
                    </a:lnTo>
                    <a:lnTo>
                      <a:pt x="2388" y="257"/>
                    </a:lnTo>
                    <a:lnTo>
                      <a:pt x="2388" y="257"/>
                    </a:lnTo>
                    <a:lnTo>
                      <a:pt x="2391" y="259"/>
                    </a:lnTo>
                    <a:lnTo>
                      <a:pt x="2396" y="259"/>
                    </a:lnTo>
                    <a:lnTo>
                      <a:pt x="2398" y="257"/>
                    </a:lnTo>
                    <a:lnTo>
                      <a:pt x="2400" y="253"/>
                    </a:lnTo>
                    <a:lnTo>
                      <a:pt x="2400" y="253"/>
                    </a:lnTo>
                    <a:lnTo>
                      <a:pt x="2400" y="252"/>
                    </a:lnTo>
                    <a:lnTo>
                      <a:pt x="2398" y="250"/>
                    </a:lnTo>
                    <a:lnTo>
                      <a:pt x="2393" y="247"/>
                    </a:lnTo>
                    <a:lnTo>
                      <a:pt x="2386" y="246"/>
                    </a:lnTo>
                    <a:lnTo>
                      <a:pt x="2380" y="244"/>
                    </a:lnTo>
                    <a:lnTo>
                      <a:pt x="2380" y="244"/>
                    </a:lnTo>
                    <a:lnTo>
                      <a:pt x="2374" y="247"/>
                    </a:lnTo>
                    <a:lnTo>
                      <a:pt x="2370" y="252"/>
                    </a:lnTo>
                    <a:lnTo>
                      <a:pt x="2366" y="256"/>
                    </a:lnTo>
                    <a:lnTo>
                      <a:pt x="2361" y="260"/>
                    </a:lnTo>
                    <a:lnTo>
                      <a:pt x="2361" y="260"/>
                    </a:lnTo>
                    <a:lnTo>
                      <a:pt x="2357" y="262"/>
                    </a:lnTo>
                    <a:lnTo>
                      <a:pt x="2351" y="262"/>
                    </a:lnTo>
                    <a:lnTo>
                      <a:pt x="2339" y="260"/>
                    </a:lnTo>
                    <a:lnTo>
                      <a:pt x="2327" y="257"/>
                    </a:lnTo>
                    <a:lnTo>
                      <a:pt x="2320" y="256"/>
                    </a:lnTo>
                    <a:lnTo>
                      <a:pt x="2320" y="256"/>
                    </a:lnTo>
                    <a:lnTo>
                      <a:pt x="2317" y="254"/>
                    </a:lnTo>
                    <a:lnTo>
                      <a:pt x="2313" y="254"/>
                    </a:lnTo>
                    <a:lnTo>
                      <a:pt x="2297" y="254"/>
                    </a:lnTo>
                    <a:lnTo>
                      <a:pt x="2282" y="256"/>
                    </a:lnTo>
                    <a:lnTo>
                      <a:pt x="2272" y="259"/>
                    </a:lnTo>
                    <a:lnTo>
                      <a:pt x="2272" y="259"/>
                    </a:lnTo>
                    <a:lnTo>
                      <a:pt x="2270" y="262"/>
                    </a:lnTo>
                    <a:lnTo>
                      <a:pt x="2270" y="266"/>
                    </a:lnTo>
                    <a:lnTo>
                      <a:pt x="2270" y="270"/>
                    </a:lnTo>
                    <a:lnTo>
                      <a:pt x="2269" y="273"/>
                    </a:lnTo>
                    <a:lnTo>
                      <a:pt x="2269" y="273"/>
                    </a:lnTo>
                    <a:lnTo>
                      <a:pt x="2268" y="271"/>
                    </a:lnTo>
                    <a:lnTo>
                      <a:pt x="2266" y="267"/>
                    </a:lnTo>
                    <a:lnTo>
                      <a:pt x="2265" y="257"/>
                    </a:lnTo>
                    <a:lnTo>
                      <a:pt x="2265" y="257"/>
                    </a:lnTo>
                    <a:lnTo>
                      <a:pt x="2263" y="256"/>
                    </a:lnTo>
                    <a:lnTo>
                      <a:pt x="2262" y="254"/>
                    </a:lnTo>
                    <a:lnTo>
                      <a:pt x="2252" y="253"/>
                    </a:lnTo>
                    <a:lnTo>
                      <a:pt x="2252" y="253"/>
                    </a:lnTo>
                    <a:lnTo>
                      <a:pt x="2245" y="253"/>
                    </a:lnTo>
                    <a:lnTo>
                      <a:pt x="2243" y="252"/>
                    </a:lnTo>
                    <a:lnTo>
                      <a:pt x="2243" y="250"/>
                    </a:lnTo>
                    <a:lnTo>
                      <a:pt x="2243" y="250"/>
                    </a:lnTo>
                    <a:lnTo>
                      <a:pt x="2245" y="247"/>
                    </a:lnTo>
                    <a:lnTo>
                      <a:pt x="2245" y="244"/>
                    </a:lnTo>
                    <a:lnTo>
                      <a:pt x="2245" y="243"/>
                    </a:lnTo>
                    <a:lnTo>
                      <a:pt x="2246" y="240"/>
                    </a:lnTo>
                    <a:lnTo>
                      <a:pt x="2246" y="240"/>
                    </a:lnTo>
                    <a:lnTo>
                      <a:pt x="2248" y="237"/>
                    </a:lnTo>
                    <a:lnTo>
                      <a:pt x="2248" y="234"/>
                    </a:lnTo>
                    <a:lnTo>
                      <a:pt x="2242" y="229"/>
                    </a:lnTo>
                    <a:lnTo>
                      <a:pt x="2232" y="223"/>
                    </a:lnTo>
                    <a:lnTo>
                      <a:pt x="2221" y="217"/>
                    </a:lnTo>
                    <a:lnTo>
                      <a:pt x="2221" y="217"/>
                    </a:lnTo>
                    <a:lnTo>
                      <a:pt x="2213" y="215"/>
                    </a:lnTo>
                    <a:lnTo>
                      <a:pt x="2206" y="215"/>
                    </a:lnTo>
                    <a:lnTo>
                      <a:pt x="2188" y="213"/>
                    </a:lnTo>
                    <a:lnTo>
                      <a:pt x="2171" y="215"/>
                    </a:lnTo>
                    <a:lnTo>
                      <a:pt x="2159" y="217"/>
                    </a:lnTo>
                    <a:lnTo>
                      <a:pt x="2159" y="217"/>
                    </a:lnTo>
                    <a:lnTo>
                      <a:pt x="2151" y="219"/>
                    </a:lnTo>
                    <a:lnTo>
                      <a:pt x="2141" y="219"/>
                    </a:lnTo>
                    <a:lnTo>
                      <a:pt x="2122" y="219"/>
                    </a:lnTo>
                    <a:lnTo>
                      <a:pt x="2122" y="219"/>
                    </a:lnTo>
                    <a:lnTo>
                      <a:pt x="2118" y="219"/>
                    </a:lnTo>
                    <a:lnTo>
                      <a:pt x="2118" y="217"/>
                    </a:lnTo>
                    <a:lnTo>
                      <a:pt x="2118" y="215"/>
                    </a:lnTo>
                    <a:lnTo>
                      <a:pt x="2118" y="212"/>
                    </a:lnTo>
                    <a:lnTo>
                      <a:pt x="2118" y="212"/>
                    </a:lnTo>
                    <a:lnTo>
                      <a:pt x="2114" y="207"/>
                    </a:lnTo>
                    <a:lnTo>
                      <a:pt x="2108" y="206"/>
                    </a:lnTo>
                    <a:lnTo>
                      <a:pt x="2101" y="205"/>
                    </a:lnTo>
                    <a:lnTo>
                      <a:pt x="2100" y="205"/>
                    </a:lnTo>
                    <a:lnTo>
                      <a:pt x="2098" y="206"/>
                    </a:lnTo>
                    <a:lnTo>
                      <a:pt x="2098" y="206"/>
                    </a:lnTo>
                    <a:lnTo>
                      <a:pt x="2097" y="207"/>
                    </a:lnTo>
                    <a:lnTo>
                      <a:pt x="2094" y="206"/>
                    </a:lnTo>
                    <a:lnTo>
                      <a:pt x="2093" y="205"/>
                    </a:lnTo>
                    <a:lnTo>
                      <a:pt x="2093" y="203"/>
                    </a:lnTo>
                    <a:lnTo>
                      <a:pt x="2093" y="203"/>
                    </a:lnTo>
                    <a:lnTo>
                      <a:pt x="2090" y="200"/>
                    </a:lnTo>
                    <a:lnTo>
                      <a:pt x="2084" y="198"/>
                    </a:lnTo>
                    <a:lnTo>
                      <a:pt x="2077" y="196"/>
                    </a:lnTo>
                    <a:lnTo>
                      <a:pt x="2071" y="196"/>
                    </a:lnTo>
                    <a:lnTo>
                      <a:pt x="2071" y="196"/>
                    </a:lnTo>
                    <a:lnTo>
                      <a:pt x="2068" y="196"/>
                    </a:lnTo>
                    <a:lnTo>
                      <a:pt x="2067" y="195"/>
                    </a:lnTo>
                    <a:lnTo>
                      <a:pt x="2067" y="192"/>
                    </a:lnTo>
                    <a:lnTo>
                      <a:pt x="2070" y="190"/>
                    </a:lnTo>
                    <a:lnTo>
                      <a:pt x="2070" y="190"/>
                    </a:lnTo>
                    <a:lnTo>
                      <a:pt x="2081" y="190"/>
                    </a:lnTo>
                    <a:lnTo>
                      <a:pt x="2083" y="190"/>
                    </a:lnTo>
                    <a:lnTo>
                      <a:pt x="2084" y="189"/>
                    </a:lnTo>
                    <a:lnTo>
                      <a:pt x="2084" y="188"/>
                    </a:lnTo>
                    <a:lnTo>
                      <a:pt x="2083" y="185"/>
                    </a:lnTo>
                    <a:lnTo>
                      <a:pt x="2083" y="185"/>
                    </a:lnTo>
                    <a:lnTo>
                      <a:pt x="2080" y="182"/>
                    </a:lnTo>
                    <a:lnTo>
                      <a:pt x="2074" y="180"/>
                    </a:lnTo>
                    <a:lnTo>
                      <a:pt x="2057" y="178"/>
                    </a:lnTo>
                    <a:lnTo>
                      <a:pt x="2040" y="176"/>
                    </a:lnTo>
                    <a:lnTo>
                      <a:pt x="2031" y="176"/>
                    </a:lnTo>
                    <a:lnTo>
                      <a:pt x="2031" y="176"/>
                    </a:lnTo>
                    <a:lnTo>
                      <a:pt x="2030" y="178"/>
                    </a:lnTo>
                    <a:lnTo>
                      <a:pt x="2029" y="182"/>
                    </a:lnTo>
                    <a:lnTo>
                      <a:pt x="2027" y="186"/>
                    </a:lnTo>
                    <a:lnTo>
                      <a:pt x="2021" y="192"/>
                    </a:lnTo>
                    <a:lnTo>
                      <a:pt x="2021" y="192"/>
                    </a:lnTo>
                    <a:lnTo>
                      <a:pt x="2019" y="195"/>
                    </a:lnTo>
                    <a:lnTo>
                      <a:pt x="2016" y="196"/>
                    </a:lnTo>
                    <a:lnTo>
                      <a:pt x="2011" y="196"/>
                    </a:lnTo>
                    <a:lnTo>
                      <a:pt x="2010" y="196"/>
                    </a:lnTo>
                    <a:lnTo>
                      <a:pt x="2006" y="193"/>
                    </a:lnTo>
                    <a:lnTo>
                      <a:pt x="2004" y="190"/>
                    </a:lnTo>
                    <a:lnTo>
                      <a:pt x="2004" y="190"/>
                    </a:lnTo>
                    <a:lnTo>
                      <a:pt x="2007" y="188"/>
                    </a:lnTo>
                    <a:lnTo>
                      <a:pt x="2011" y="186"/>
                    </a:lnTo>
                    <a:lnTo>
                      <a:pt x="2016" y="185"/>
                    </a:lnTo>
                    <a:lnTo>
                      <a:pt x="2017" y="185"/>
                    </a:lnTo>
                    <a:lnTo>
                      <a:pt x="2017" y="183"/>
                    </a:lnTo>
                    <a:lnTo>
                      <a:pt x="2017" y="183"/>
                    </a:lnTo>
                    <a:lnTo>
                      <a:pt x="2017" y="182"/>
                    </a:lnTo>
                    <a:lnTo>
                      <a:pt x="2014" y="180"/>
                    </a:lnTo>
                    <a:lnTo>
                      <a:pt x="2009" y="179"/>
                    </a:lnTo>
                    <a:lnTo>
                      <a:pt x="2003" y="179"/>
                    </a:lnTo>
                    <a:lnTo>
                      <a:pt x="2000" y="178"/>
                    </a:lnTo>
                    <a:lnTo>
                      <a:pt x="2000" y="178"/>
                    </a:lnTo>
                    <a:lnTo>
                      <a:pt x="1999" y="175"/>
                    </a:lnTo>
                    <a:lnTo>
                      <a:pt x="2002" y="173"/>
                    </a:lnTo>
                    <a:lnTo>
                      <a:pt x="2004" y="172"/>
                    </a:lnTo>
                    <a:lnTo>
                      <a:pt x="2009" y="173"/>
                    </a:lnTo>
                    <a:lnTo>
                      <a:pt x="2009" y="173"/>
                    </a:lnTo>
                    <a:lnTo>
                      <a:pt x="2019" y="175"/>
                    </a:lnTo>
                    <a:lnTo>
                      <a:pt x="2023" y="175"/>
                    </a:lnTo>
                    <a:lnTo>
                      <a:pt x="2024" y="173"/>
                    </a:lnTo>
                    <a:lnTo>
                      <a:pt x="2024" y="173"/>
                    </a:lnTo>
                    <a:lnTo>
                      <a:pt x="2024" y="172"/>
                    </a:lnTo>
                    <a:lnTo>
                      <a:pt x="2020" y="170"/>
                    </a:lnTo>
                    <a:lnTo>
                      <a:pt x="2009" y="168"/>
                    </a:lnTo>
                    <a:lnTo>
                      <a:pt x="2009" y="168"/>
                    </a:lnTo>
                    <a:lnTo>
                      <a:pt x="1987" y="165"/>
                    </a:lnTo>
                    <a:lnTo>
                      <a:pt x="1976" y="162"/>
                    </a:lnTo>
                    <a:lnTo>
                      <a:pt x="1965" y="162"/>
                    </a:lnTo>
                    <a:lnTo>
                      <a:pt x="1965" y="162"/>
                    </a:lnTo>
                    <a:lnTo>
                      <a:pt x="1956" y="162"/>
                    </a:lnTo>
                    <a:lnTo>
                      <a:pt x="1950" y="161"/>
                    </a:lnTo>
                    <a:lnTo>
                      <a:pt x="1945" y="159"/>
                    </a:lnTo>
                    <a:lnTo>
                      <a:pt x="1940" y="158"/>
                    </a:lnTo>
                    <a:lnTo>
                      <a:pt x="1940" y="158"/>
                    </a:lnTo>
                    <a:lnTo>
                      <a:pt x="1936" y="158"/>
                    </a:lnTo>
                    <a:lnTo>
                      <a:pt x="1935" y="159"/>
                    </a:lnTo>
                    <a:lnTo>
                      <a:pt x="1935" y="162"/>
                    </a:lnTo>
                    <a:lnTo>
                      <a:pt x="1938" y="165"/>
                    </a:lnTo>
                    <a:lnTo>
                      <a:pt x="1938" y="165"/>
                    </a:lnTo>
                    <a:lnTo>
                      <a:pt x="1938" y="166"/>
                    </a:lnTo>
                    <a:lnTo>
                      <a:pt x="1938" y="168"/>
                    </a:lnTo>
                    <a:lnTo>
                      <a:pt x="1933" y="169"/>
                    </a:lnTo>
                    <a:lnTo>
                      <a:pt x="1929" y="170"/>
                    </a:lnTo>
                    <a:lnTo>
                      <a:pt x="1923" y="169"/>
                    </a:lnTo>
                    <a:lnTo>
                      <a:pt x="1923" y="169"/>
                    </a:lnTo>
                    <a:lnTo>
                      <a:pt x="1916" y="170"/>
                    </a:lnTo>
                    <a:lnTo>
                      <a:pt x="1910" y="172"/>
                    </a:lnTo>
                    <a:lnTo>
                      <a:pt x="1908" y="176"/>
                    </a:lnTo>
                    <a:lnTo>
                      <a:pt x="1906" y="178"/>
                    </a:lnTo>
                    <a:lnTo>
                      <a:pt x="1908" y="179"/>
                    </a:lnTo>
                    <a:lnTo>
                      <a:pt x="1908" y="179"/>
                    </a:lnTo>
                    <a:lnTo>
                      <a:pt x="1909" y="182"/>
                    </a:lnTo>
                    <a:lnTo>
                      <a:pt x="1912" y="182"/>
                    </a:lnTo>
                    <a:lnTo>
                      <a:pt x="1915" y="180"/>
                    </a:lnTo>
                    <a:lnTo>
                      <a:pt x="1918" y="180"/>
                    </a:lnTo>
                    <a:lnTo>
                      <a:pt x="1920" y="180"/>
                    </a:lnTo>
                    <a:lnTo>
                      <a:pt x="1920" y="180"/>
                    </a:lnTo>
                    <a:lnTo>
                      <a:pt x="1922" y="180"/>
                    </a:lnTo>
                    <a:lnTo>
                      <a:pt x="1920" y="182"/>
                    </a:lnTo>
                    <a:lnTo>
                      <a:pt x="1918" y="183"/>
                    </a:lnTo>
                    <a:lnTo>
                      <a:pt x="1915" y="186"/>
                    </a:lnTo>
                    <a:lnTo>
                      <a:pt x="1915" y="188"/>
                    </a:lnTo>
                    <a:lnTo>
                      <a:pt x="1916" y="189"/>
                    </a:lnTo>
                    <a:lnTo>
                      <a:pt x="1916" y="189"/>
                    </a:lnTo>
                    <a:lnTo>
                      <a:pt x="1919" y="190"/>
                    </a:lnTo>
                    <a:lnTo>
                      <a:pt x="1920" y="193"/>
                    </a:lnTo>
                    <a:lnTo>
                      <a:pt x="1922" y="199"/>
                    </a:lnTo>
                    <a:lnTo>
                      <a:pt x="1922" y="199"/>
                    </a:lnTo>
                    <a:lnTo>
                      <a:pt x="1920" y="202"/>
                    </a:lnTo>
                    <a:lnTo>
                      <a:pt x="1916" y="202"/>
                    </a:lnTo>
                    <a:lnTo>
                      <a:pt x="1912" y="202"/>
                    </a:lnTo>
                    <a:lnTo>
                      <a:pt x="1909" y="199"/>
                    </a:lnTo>
                    <a:lnTo>
                      <a:pt x="1909" y="199"/>
                    </a:lnTo>
                    <a:lnTo>
                      <a:pt x="1905" y="198"/>
                    </a:lnTo>
                    <a:lnTo>
                      <a:pt x="1902" y="198"/>
                    </a:lnTo>
                    <a:lnTo>
                      <a:pt x="1898" y="198"/>
                    </a:lnTo>
                    <a:lnTo>
                      <a:pt x="1893" y="199"/>
                    </a:lnTo>
                    <a:lnTo>
                      <a:pt x="1893" y="199"/>
                    </a:lnTo>
                    <a:lnTo>
                      <a:pt x="1889" y="199"/>
                    </a:lnTo>
                    <a:lnTo>
                      <a:pt x="1886" y="199"/>
                    </a:lnTo>
                    <a:lnTo>
                      <a:pt x="1885" y="200"/>
                    </a:lnTo>
                    <a:lnTo>
                      <a:pt x="1889" y="202"/>
                    </a:lnTo>
                    <a:lnTo>
                      <a:pt x="1889" y="202"/>
                    </a:lnTo>
                    <a:lnTo>
                      <a:pt x="1893" y="203"/>
                    </a:lnTo>
                    <a:lnTo>
                      <a:pt x="1895" y="205"/>
                    </a:lnTo>
                    <a:lnTo>
                      <a:pt x="1893" y="207"/>
                    </a:lnTo>
                    <a:lnTo>
                      <a:pt x="1889" y="209"/>
                    </a:lnTo>
                    <a:lnTo>
                      <a:pt x="1889" y="209"/>
                    </a:lnTo>
                    <a:lnTo>
                      <a:pt x="1886" y="209"/>
                    </a:lnTo>
                    <a:lnTo>
                      <a:pt x="1883" y="207"/>
                    </a:lnTo>
                    <a:lnTo>
                      <a:pt x="1881" y="205"/>
                    </a:lnTo>
                    <a:lnTo>
                      <a:pt x="1879" y="202"/>
                    </a:lnTo>
                    <a:lnTo>
                      <a:pt x="1878" y="200"/>
                    </a:lnTo>
                    <a:lnTo>
                      <a:pt x="1876" y="200"/>
                    </a:lnTo>
                    <a:lnTo>
                      <a:pt x="1876" y="200"/>
                    </a:lnTo>
                    <a:lnTo>
                      <a:pt x="1871" y="200"/>
                    </a:lnTo>
                    <a:lnTo>
                      <a:pt x="1864" y="199"/>
                    </a:lnTo>
                    <a:lnTo>
                      <a:pt x="1856" y="198"/>
                    </a:lnTo>
                    <a:lnTo>
                      <a:pt x="1851" y="196"/>
                    </a:lnTo>
                    <a:lnTo>
                      <a:pt x="1851" y="196"/>
                    </a:lnTo>
                    <a:lnTo>
                      <a:pt x="1846" y="198"/>
                    </a:lnTo>
                    <a:lnTo>
                      <a:pt x="1842" y="199"/>
                    </a:lnTo>
                    <a:lnTo>
                      <a:pt x="1838" y="202"/>
                    </a:lnTo>
                    <a:lnTo>
                      <a:pt x="1832" y="203"/>
                    </a:lnTo>
                    <a:lnTo>
                      <a:pt x="1832" y="203"/>
                    </a:lnTo>
                    <a:lnTo>
                      <a:pt x="1825" y="202"/>
                    </a:lnTo>
                    <a:lnTo>
                      <a:pt x="1818" y="200"/>
                    </a:lnTo>
                    <a:lnTo>
                      <a:pt x="1812" y="198"/>
                    </a:lnTo>
                    <a:lnTo>
                      <a:pt x="1808" y="193"/>
                    </a:lnTo>
                    <a:lnTo>
                      <a:pt x="1808" y="193"/>
                    </a:lnTo>
                    <a:lnTo>
                      <a:pt x="1807" y="190"/>
                    </a:lnTo>
                    <a:lnTo>
                      <a:pt x="1804" y="189"/>
                    </a:lnTo>
                    <a:lnTo>
                      <a:pt x="1802" y="190"/>
                    </a:lnTo>
                    <a:lnTo>
                      <a:pt x="1800" y="193"/>
                    </a:lnTo>
                    <a:lnTo>
                      <a:pt x="1800" y="193"/>
                    </a:lnTo>
                    <a:lnTo>
                      <a:pt x="1797" y="198"/>
                    </a:lnTo>
                    <a:lnTo>
                      <a:pt x="1795" y="203"/>
                    </a:lnTo>
                    <a:lnTo>
                      <a:pt x="1794" y="207"/>
                    </a:lnTo>
                    <a:lnTo>
                      <a:pt x="1791" y="209"/>
                    </a:lnTo>
                    <a:lnTo>
                      <a:pt x="1791" y="209"/>
                    </a:lnTo>
                    <a:lnTo>
                      <a:pt x="1788" y="212"/>
                    </a:lnTo>
                    <a:lnTo>
                      <a:pt x="1785" y="215"/>
                    </a:lnTo>
                    <a:lnTo>
                      <a:pt x="1784" y="219"/>
                    </a:lnTo>
                    <a:lnTo>
                      <a:pt x="1781" y="222"/>
                    </a:lnTo>
                    <a:lnTo>
                      <a:pt x="1781" y="222"/>
                    </a:lnTo>
                    <a:lnTo>
                      <a:pt x="1778" y="222"/>
                    </a:lnTo>
                    <a:lnTo>
                      <a:pt x="1775" y="220"/>
                    </a:lnTo>
                    <a:lnTo>
                      <a:pt x="1774" y="219"/>
                    </a:lnTo>
                    <a:lnTo>
                      <a:pt x="1771" y="219"/>
                    </a:lnTo>
                    <a:lnTo>
                      <a:pt x="1771" y="219"/>
                    </a:lnTo>
                    <a:lnTo>
                      <a:pt x="1768" y="217"/>
                    </a:lnTo>
                    <a:lnTo>
                      <a:pt x="1765" y="216"/>
                    </a:lnTo>
                    <a:lnTo>
                      <a:pt x="1757" y="210"/>
                    </a:lnTo>
                    <a:lnTo>
                      <a:pt x="1750" y="202"/>
                    </a:lnTo>
                    <a:lnTo>
                      <a:pt x="1747" y="198"/>
                    </a:lnTo>
                    <a:lnTo>
                      <a:pt x="1747" y="198"/>
                    </a:lnTo>
                    <a:lnTo>
                      <a:pt x="1744" y="192"/>
                    </a:lnTo>
                    <a:lnTo>
                      <a:pt x="1740" y="188"/>
                    </a:lnTo>
                    <a:lnTo>
                      <a:pt x="1733" y="180"/>
                    </a:lnTo>
                    <a:lnTo>
                      <a:pt x="1733" y="180"/>
                    </a:lnTo>
                    <a:lnTo>
                      <a:pt x="1731" y="179"/>
                    </a:lnTo>
                    <a:lnTo>
                      <a:pt x="1733" y="179"/>
                    </a:lnTo>
                    <a:lnTo>
                      <a:pt x="1736" y="179"/>
                    </a:lnTo>
                    <a:lnTo>
                      <a:pt x="1738" y="180"/>
                    </a:lnTo>
                    <a:lnTo>
                      <a:pt x="1738" y="180"/>
                    </a:lnTo>
                    <a:lnTo>
                      <a:pt x="1741" y="182"/>
                    </a:lnTo>
                    <a:lnTo>
                      <a:pt x="1744" y="183"/>
                    </a:lnTo>
                    <a:lnTo>
                      <a:pt x="1747" y="183"/>
                    </a:lnTo>
                    <a:lnTo>
                      <a:pt x="1750" y="182"/>
                    </a:lnTo>
                    <a:lnTo>
                      <a:pt x="1750" y="182"/>
                    </a:lnTo>
                    <a:lnTo>
                      <a:pt x="1753" y="179"/>
                    </a:lnTo>
                    <a:lnTo>
                      <a:pt x="1753" y="176"/>
                    </a:lnTo>
                    <a:lnTo>
                      <a:pt x="1751" y="172"/>
                    </a:lnTo>
                    <a:lnTo>
                      <a:pt x="1747" y="170"/>
                    </a:lnTo>
                    <a:lnTo>
                      <a:pt x="1747" y="170"/>
                    </a:lnTo>
                    <a:lnTo>
                      <a:pt x="1744" y="170"/>
                    </a:lnTo>
                    <a:lnTo>
                      <a:pt x="1743" y="168"/>
                    </a:lnTo>
                    <a:lnTo>
                      <a:pt x="1744" y="166"/>
                    </a:lnTo>
                    <a:lnTo>
                      <a:pt x="1747" y="165"/>
                    </a:lnTo>
                    <a:lnTo>
                      <a:pt x="1747" y="165"/>
                    </a:lnTo>
                    <a:lnTo>
                      <a:pt x="1747" y="163"/>
                    </a:lnTo>
                    <a:lnTo>
                      <a:pt x="1747" y="163"/>
                    </a:lnTo>
                    <a:lnTo>
                      <a:pt x="1744" y="159"/>
                    </a:lnTo>
                    <a:lnTo>
                      <a:pt x="1743" y="155"/>
                    </a:lnTo>
                    <a:lnTo>
                      <a:pt x="1743" y="155"/>
                    </a:lnTo>
                    <a:lnTo>
                      <a:pt x="1743" y="153"/>
                    </a:lnTo>
                    <a:lnTo>
                      <a:pt x="1743" y="153"/>
                    </a:lnTo>
                    <a:lnTo>
                      <a:pt x="1744" y="152"/>
                    </a:lnTo>
                    <a:lnTo>
                      <a:pt x="1744" y="151"/>
                    </a:lnTo>
                    <a:lnTo>
                      <a:pt x="1743" y="149"/>
                    </a:lnTo>
                    <a:lnTo>
                      <a:pt x="1740" y="148"/>
                    </a:lnTo>
                    <a:lnTo>
                      <a:pt x="1740" y="148"/>
                    </a:lnTo>
                    <a:lnTo>
                      <a:pt x="1736" y="146"/>
                    </a:lnTo>
                    <a:lnTo>
                      <a:pt x="1733" y="145"/>
                    </a:lnTo>
                    <a:lnTo>
                      <a:pt x="1730" y="142"/>
                    </a:lnTo>
                    <a:lnTo>
                      <a:pt x="1728" y="141"/>
                    </a:lnTo>
                    <a:lnTo>
                      <a:pt x="1728" y="141"/>
                    </a:lnTo>
                    <a:lnTo>
                      <a:pt x="1728" y="139"/>
                    </a:lnTo>
                    <a:lnTo>
                      <a:pt x="1726" y="139"/>
                    </a:lnTo>
                    <a:lnTo>
                      <a:pt x="1718" y="138"/>
                    </a:lnTo>
                    <a:lnTo>
                      <a:pt x="1710" y="139"/>
                    </a:lnTo>
                    <a:lnTo>
                      <a:pt x="1708" y="139"/>
                    </a:lnTo>
                    <a:lnTo>
                      <a:pt x="1707" y="141"/>
                    </a:lnTo>
                    <a:lnTo>
                      <a:pt x="1707" y="141"/>
                    </a:lnTo>
                    <a:lnTo>
                      <a:pt x="1707" y="142"/>
                    </a:lnTo>
                    <a:lnTo>
                      <a:pt x="1704" y="143"/>
                    </a:lnTo>
                    <a:lnTo>
                      <a:pt x="1703" y="142"/>
                    </a:lnTo>
                    <a:lnTo>
                      <a:pt x="1701" y="141"/>
                    </a:lnTo>
                    <a:lnTo>
                      <a:pt x="1701" y="141"/>
                    </a:lnTo>
                    <a:lnTo>
                      <a:pt x="1701" y="139"/>
                    </a:lnTo>
                    <a:lnTo>
                      <a:pt x="1701" y="138"/>
                    </a:lnTo>
                    <a:lnTo>
                      <a:pt x="1697" y="138"/>
                    </a:lnTo>
                    <a:lnTo>
                      <a:pt x="1683" y="135"/>
                    </a:lnTo>
                    <a:lnTo>
                      <a:pt x="1683" y="135"/>
                    </a:lnTo>
                    <a:lnTo>
                      <a:pt x="1677" y="132"/>
                    </a:lnTo>
                    <a:lnTo>
                      <a:pt x="1674" y="129"/>
                    </a:lnTo>
                    <a:lnTo>
                      <a:pt x="1671" y="126"/>
                    </a:lnTo>
                    <a:lnTo>
                      <a:pt x="1669" y="125"/>
                    </a:lnTo>
                    <a:lnTo>
                      <a:pt x="1669" y="125"/>
                    </a:lnTo>
                    <a:lnTo>
                      <a:pt x="1669" y="125"/>
                    </a:lnTo>
                    <a:lnTo>
                      <a:pt x="1667" y="126"/>
                    </a:lnTo>
                    <a:lnTo>
                      <a:pt x="1666" y="129"/>
                    </a:lnTo>
                    <a:lnTo>
                      <a:pt x="1664" y="132"/>
                    </a:lnTo>
                    <a:lnTo>
                      <a:pt x="1663" y="132"/>
                    </a:lnTo>
                    <a:lnTo>
                      <a:pt x="1662" y="132"/>
                    </a:lnTo>
                    <a:lnTo>
                      <a:pt x="1662" y="132"/>
                    </a:lnTo>
                    <a:lnTo>
                      <a:pt x="1657" y="132"/>
                    </a:lnTo>
                    <a:lnTo>
                      <a:pt x="1654" y="133"/>
                    </a:lnTo>
                    <a:lnTo>
                      <a:pt x="1653" y="136"/>
                    </a:lnTo>
                    <a:lnTo>
                      <a:pt x="1653" y="141"/>
                    </a:lnTo>
                    <a:lnTo>
                      <a:pt x="1653" y="141"/>
                    </a:lnTo>
                    <a:lnTo>
                      <a:pt x="1654" y="145"/>
                    </a:lnTo>
                    <a:lnTo>
                      <a:pt x="1654" y="146"/>
                    </a:lnTo>
                    <a:lnTo>
                      <a:pt x="1653" y="152"/>
                    </a:lnTo>
                    <a:lnTo>
                      <a:pt x="1653" y="152"/>
                    </a:lnTo>
                    <a:lnTo>
                      <a:pt x="1653" y="155"/>
                    </a:lnTo>
                    <a:lnTo>
                      <a:pt x="1650" y="156"/>
                    </a:lnTo>
                    <a:lnTo>
                      <a:pt x="1644" y="153"/>
                    </a:lnTo>
                    <a:lnTo>
                      <a:pt x="1644" y="153"/>
                    </a:lnTo>
                    <a:lnTo>
                      <a:pt x="1640" y="153"/>
                    </a:lnTo>
                    <a:lnTo>
                      <a:pt x="1637" y="155"/>
                    </a:lnTo>
                    <a:lnTo>
                      <a:pt x="1632" y="156"/>
                    </a:lnTo>
                    <a:lnTo>
                      <a:pt x="1625" y="155"/>
                    </a:lnTo>
                    <a:lnTo>
                      <a:pt x="1625" y="155"/>
                    </a:lnTo>
                    <a:lnTo>
                      <a:pt x="1616" y="153"/>
                    </a:lnTo>
                    <a:lnTo>
                      <a:pt x="1609" y="153"/>
                    </a:lnTo>
                    <a:lnTo>
                      <a:pt x="1605" y="153"/>
                    </a:lnTo>
                    <a:lnTo>
                      <a:pt x="1603" y="151"/>
                    </a:lnTo>
                    <a:lnTo>
                      <a:pt x="1603" y="151"/>
                    </a:lnTo>
                    <a:lnTo>
                      <a:pt x="1600" y="149"/>
                    </a:lnTo>
                    <a:lnTo>
                      <a:pt x="1599" y="148"/>
                    </a:lnTo>
                    <a:lnTo>
                      <a:pt x="1598" y="148"/>
                    </a:lnTo>
                    <a:lnTo>
                      <a:pt x="1596" y="151"/>
                    </a:lnTo>
                    <a:lnTo>
                      <a:pt x="1596" y="151"/>
                    </a:lnTo>
                    <a:lnTo>
                      <a:pt x="1595" y="151"/>
                    </a:lnTo>
                    <a:lnTo>
                      <a:pt x="1592" y="152"/>
                    </a:lnTo>
                    <a:lnTo>
                      <a:pt x="1585" y="152"/>
                    </a:lnTo>
                    <a:lnTo>
                      <a:pt x="1578" y="151"/>
                    </a:lnTo>
                    <a:lnTo>
                      <a:pt x="1575" y="149"/>
                    </a:lnTo>
                    <a:lnTo>
                      <a:pt x="1573" y="146"/>
                    </a:lnTo>
                    <a:lnTo>
                      <a:pt x="1573" y="146"/>
                    </a:lnTo>
                    <a:lnTo>
                      <a:pt x="1573" y="143"/>
                    </a:lnTo>
                    <a:lnTo>
                      <a:pt x="1575" y="142"/>
                    </a:lnTo>
                    <a:lnTo>
                      <a:pt x="1580" y="139"/>
                    </a:lnTo>
                    <a:lnTo>
                      <a:pt x="1580" y="139"/>
                    </a:lnTo>
                    <a:lnTo>
                      <a:pt x="1580" y="138"/>
                    </a:lnTo>
                    <a:lnTo>
                      <a:pt x="1578" y="138"/>
                    </a:lnTo>
                    <a:lnTo>
                      <a:pt x="1573" y="136"/>
                    </a:lnTo>
                    <a:lnTo>
                      <a:pt x="1566" y="136"/>
                    </a:lnTo>
                    <a:lnTo>
                      <a:pt x="1566" y="136"/>
                    </a:lnTo>
                    <a:lnTo>
                      <a:pt x="1558" y="136"/>
                    </a:lnTo>
                    <a:lnTo>
                      <a:pt x="1551" y="133"/>
                    </a:lnTo>
                    <a:lnTo>
                      <a:pt x="1543" y="132"/>
                    </a:lnTo>
                    <a:lnTo>
                      <a:pt x="1536" y="132"/>
                    </a:lnTo>
                    <a:lnTo>
                      <a:pt x="1536" y="132"/>
                    </a:lnTo>
                    <a:lnTo>
                      <a:pt x="1512" y="135"/>
                    </a:lnTo>
                    <a:lnTo>
                      <a:pt x="1495" y="138"/>
                    </a:lnTo>
                    <a:lnTo>
                      <a:pt x="1495" y="138"/>
                    </a:lnTo>
                    <a:lnTo>
                      <a:pt x="1495" y="138"/>
                    </a:lnTo>
                    <a:lnTo>
                      <a:pt x="1495" y="139"/>
                    </a:lnTo>
                    <a:lnTo>
                      <a:pt x="1495" y="142"/>
                    </a:lnTo>
                    <a:lnTo>
                      <a:pt x="1495" y="145"/>
                    </a:lnTo>
                    <a:lnTo>
                      <a:pt x="1495" y="145"/>
                    </a:lnTo>
                    <a:lnTo>
                      <a:pt x="1494" y="146"/>
                    </a:lnTo>
                    <a:lnTo>
                      <a:pt x="1494" y="146"/>
                    </a:lnTo>
                    <a:lnTo>
                      <a:pt x="1492" y="145"/>
                    </a:lnTo>
                    <a:lnTo>
                      <a:pt x="1491" y="145"/>
                    </a:lnTo>
                    <a:lnTo>
                      <a:pt x="1491" y="141"/>
                    </a:lnTo>
                    <a:lnTo>
                      <a:pt x="1491" y="135"/>
                    </a:lnTo>
                    <a:lnTo>
                      <a:pt x="1491" y="131"/>
                    </a:lnTo>
                    <a:lnTo>
                      <a:pt x="1491" y="131"/>
                    </a:lnTo>
                    <a:lnTo>
                      <a:pt x="1489" y="126"/>
                    </a:lnTo>
                    <a:lnTo>
                      <a:pt x="1487" y="125"/>
                    </a:lnTo>
                    <a:lnTo>
                      <a:pt x="1484" y="126"/>
                    </a:lnTo>
                    <a:lnTo>
                      <a:pt x="1482" y="128"/>
                    </a:lnTo>
                    <a:lnTo>
                      <a:pt x="1482" y="128"/>
                    </a:lnTo>
                    <a:lnTo>
                      <a:pt x="1482" y="129"/>
                    </a:lnTo>
                    <a:lnTo>
                      <a:pt x="1481" y="131"/>
                    </a:lnTo>
                    <a:lnTo>
                      <a:pt x="1477" y="132"/>
                    </a:lnTo>
                    <a:lnTo>
                      <a:pt x="1471" y="132"/>
                    </a:lnTo>
                    <a:lnTo>
                      <a:pt x="1467" y="131"/>
                    </a:lnTo>
                    <a:lnTo>
                      <a:pt x="1467" y="131"/>
                    </a:lnTo>
                    <a:lnTo>
                      <a:pt x="1460" y="125"/>
                    </a:lnTo>
                    <a:lnTo>
                      <a:pt x="1454" y="124"/>
                    </a:lnTo>
                    <a:lnTo>
                      <a:pt x="1448" y="121"/>
                    </a:lnTo>
                    <a:lnTo>
                      <a:pt x="1448" y="121"/>
                    </a:lnTo>
                    <a:lnTo>
                      <a:pt x="1444" y="121"/>
                    </a:lnTo>
                    <a:lnTo>
                      <a:pt x="1441" y="121"/>
                    </a:lnTo>
                    <a:lnTo>
                      <a:pt x="1434" y="125"/>
                    </a:lnTo>
                    <a:lnTo>
                      <a:pt x="1430" y="128"/>
                    </a:lnTo>
                    <a:lnTo>
                      <a:pt x="1430" y="131"/>
                    </a:lnTo>
                    <a:lnTo>
                      <a:pt x="1430" y="132"/>
                    </a:lnTo>
                    <a:lnTo>
                      <a:pt x="1430" y="132"/>
                    </a:lnTo>
                    <a:lnTo>
                      <a:pt x="1433" y="133"/>
                    </a:lnTo>
                    <a:lnTo>
                      <a:pt x="1435" y="133"/>
                    </a:lnTo>
                    <a:lnTo>
                      <a:pt x="1438" y="133"/>
                    </a:lnTo>
                    <a:lnTo>
                      <a:pt x="1440" y="133"/>
                    </a:lnTo>
                    <a:lnTo>
                      <a:pt x="1440" y="133"/>
                    </a:lnTo>
                    <a:lnTo>
                      <a:pt x="1438" y="135"/>
                    </a:lnTo>
                    <a:lnTo>
                      <a:pt x="1437" y="136"/>
                    </a:lnTo>
                    <a:lnTo>
                      <a:pt x="1430" y="138"/>
                    </a:lnTo>
                    <a:lnTo>
                      <a:pt x="1423" y="138"/>
                    </a:lnTo>
                    <a:lnTo>
                      <a:pt x="1421" y="139"/>
                    </a:lnTo>
                    <a:lnTo>
                      <a:pt x="1420" y="139"/>
                    </a:lnTo>
                    <a:lnTo>
                      <a:pt x="1420" y="139"/>
                    </a:lnTo>
                    <a:lnTo>
                      <a:pt x="1418" y="141"/>
                    </a:lnTo>
                    <a:lnTo>
                      <a:pt x="1417" y="142"/>
                    </a:lnTo>
                    <a:lnTo>
                      <a:pt x="1410" y="145"/>
                    </a:lnTo>
                    <a:lnTo>
                      <a:pt x="1396" y="148"/>
                    </a:lnTo>
                    <a:lnTo>
                      <a:pt x="1396" y="148"/>
                    </a:lnTo>
                    <a:lnTo>
                      <a:pt x="1378" y="151"/>
                    </a:lnTo>
                    <a:lnTo>
                      <a:pt x="1374" y="153"/>
                    </a:lnTo>
                    <a:lnTo>
                      <a:pt x="1368" y="156"/>
                    </a:lnTo>
                    <a:lnTo>
                      <a:pt x="1368" y="156"/>
                    </a:lnTo>
                    <a:lnTo>
                      <a:pt x="1366" y="158"/>
                    </a:lnTo>
                    <a:lnTo>
                      <a:pt x="1366" y="155"/>
                    </a:lnTo>
                    <a:lnTo>
                      <a:pt x="1368" y="151"/>
                    </a:lnTo>
                    <a:lnTo>
                      <a:pt x="1373" y="145"/>
                    </a:lnTo>
                    <a:lnTo>
                      <a:pt x="1373" y="145"/>
                    </a:lnTo>
                    <a:lnTo>
                      <a:pt x="1377" y="142"/>
                    </a:lnTo>
                    <a:lnTo>
                      <a:pt x="1381" y="141"/>
                    </a:lnTo>
                    <a:lnTo>
                      <a:pt x="1386" y="139"/>
                    </a:lnTo>
                    <a:lnTo>
                      <a:pt x="1388" y="138"/>
                    </a:lnTo>
                    <a:lnTo>
                      <a:pt x="1388" y="138"/>
                    </a:lnTo>
                    <a:lnTo>
                      <a:pt x="1391" y="135"/>
                    </a:lnTo>
                    <a:lnTo>
                      <a:pt x="1394" y="133"/>
                    </a:lnTo>
                    <a:lnTo>
                      <a:pt x="1405" y="132"/>
                    </a:lnTo>
                    <a:lnTo>
                      <a:pt x="1405" y="132"/>
                    </a:lnTo>
                    <a:lnTo>
                      <a:pt x="1411" y="131"/>
                    </a:lnTo>
                    <a:lnTo>
                      <a:pt x="1414" y="128"/>
                    </a:lnTo>
                    <a:lnTo>
                      <a:pt x="1415" y="125"/>
                    </a:lnTo>
                    <a:lnTo>
                      <a:pt x="1418" y="124"/>
                    </a:lnTo>
                    <a:lnTo>
                      <a:pt x="1418" y="124"/>
                    </a:lnTo>
                    <a:lnTo>
                      <a:pt x="1427" y="119"/>
                    </a:lnTo>
                    <a:lnTo>
                      <a:pt x="1433" y="116"/>
                    </a:lnTo>
                    <a:lnTo>
                      <a:pt x="1435" y="114"/>
                    </a:lnTo>
                    <a:lnTo>
                      <a:pt x="1435" y="114"/>
                    </a:lnTo>
                    <a:lnTo>
                      <a:pt x="1440" y="109"/>
                    </a:lnTo>
                    <a:lnTo>
                      <a:pt x="1448" y="106"/>
                    </a:lnTo>
                    <a:lnTo>
                      <a:pt x="1457" y="104"/>
                    </a:lnTo>
                    <a:lnTo>
                      <a:pt x="1462" y="102"/>
                    </a:lnTo>
                    <a:lnTo>
                      <a:pt x="1462" y="102"/>
                    </a:lnTo>
                    <a:lnTo>
                      <a:pt x="1465" y="101"/>
                    </a:lnTo>
                    <a:lnTo>
                      <a:pt x="1467" y="98"/>
                    </a:lnTo>
                    <a:lnTo>
                      <a:pt x="1468" y="95"/>
                    </a:lnTo>
                    <a:lnTo>
                      <a:pt x="1469" y="94"/>
                    </a:lnTo>
                    <a:lnTo>
                      <a:pt x="1469" y="94"/>
                    </a:lnTo>
                    <a:lnTo>
                      <a:pt x="1479" y="91"/>
                    </a:lnTo>
                    <a:lnTo>
                      <a:pt x="1489" y="87"/>
                    </a:lnTo>
                    <a:lnTo>
                      <a:pt x="1489" y="87"/>
                    </a:lnTo>
                    <a:lnTo>
                      <a:pt x="1492" y="84"/>
                    </a:lnTo>
                    <a:lnTo>
                      <a:pt x="1495" y="81"/>
                    </a:lnTo>
                    <a:lnTo>
                      <a:pt x="1497" y="77"/>
                    </a:lnTo>
                    <a:lnTo>
                      <a:pt x="1497" y="77"/>
                    </a:lnTo>
                    <a:lnTo>
                      <a:pt x="1497" y="75"/>
                    </a:lnTo>
                    <a:lnTo>
                      <a:pt x="1494" y="74"/>
                    </a:lnTo>
                    <a:lnTo>
                      <a:pt x="1491" y="72"/>
                    </a:lnTo>
                    <a:lnTo>
                      <a:pt x="1489" y="71"/>
                    </a:lnTo>
                    <a:lnTo>
                      <a:pt x="1489" y="71"/>
                    </a:lnTo>
                    <a:lnTo>
                      <a:pt x="1489" y="69"/>
                    </a:lnTo>
                    <a:lnTo>
                      <a:pt x="1492" y="69"/>
                    </a:lnTo>
                    <a:lnTo>
                      <a:pt x="1498" y="68"/>
                    </a:lnTo>
                    <a:lnTo>
                      <a:pt x="1498" y="68"/>
                    </a:lnTo>
                    <a:lnTo>
                      <a:pt x="1499" y="65"/>
                    </a:lnTo>
                    <a:lnTo>
                      <a:pt x="1499" y="64"/>
                    </a:lnTo>
                    <a:lnTo>
                      <a:pt x="1497" y="61"/>
                    </a:lnTo>
                    <a:lnTo>
                      <a:pt x="1494" y="61"/>
                    </a:lnTo>
                    <a:lnTo>
                      <a:pt x="1494" y="61"/>
                    </a:lnTo>
                    <a:lnTo>
                      <a:pt x="1492" y="61"/>
                    </a:lnTo>
                    <a:lnTo>
                      <a:pt x="1492" y="58"/>
                    </a:lnTo>
                    <a:lnTo>
                      <a:pt x="1494" y="55"/>
                    </a:lnTo>
                    <a:lnTo>
                      <a:pt x="1492" y="52"/>
                    </a:lnTo>
                    <a:lnTo>
                      <a:pt x="1492" y="52"/>
                    </a:lnTo>
                    <a:lnTo>
                      <a:pt x="1491" y="51"/>
                    </a:lnTo>
                    <a:lnTo>
                      <a:pt x="1489" y="51"/>
                    </a:lnTo>
                    <a:lnTo>
                      <a:pt x="1485" y="52"/>
                    </a:lnTo>
                    <a:lnTo>
                      <a:pt x="1482" y="52"/>
                    </a:lnTo>
                    <a:lnTo>
                      <a:pt x="1482" y="52"/>
                    </a:lnTo>
                    <a:lnTo>
                      <a:pt x="1482" y="51"/>
                    </a:lnTo>
                    <a:lnTo>
                      <a:pt x="1482" y="51"/>
                    </a:lnTo>
                    <a:lnTo>
                      <a:pt x="1481" y="44"/>
                    </a:lnTo>
                    <a:lnTo>
                      <a:pt x="1481" y="41"/>
                    </a:lnTo>
                    <a:lnTo>
                      <a:pt x="1478" y="38"/>
                    </a:lnTo>
                    <a:lnTo>
                      <a:pt x="1478" y="38"/>
                    </a:lnTo>
                    <a:lnTo>
                      <a:pt x="1477" y="37"/>
                    </a:lnTo>
                    <a:lnTo>
                      <a:pt x="1472" y="38"/>
                    </a:lnTo>
                    <a:lnTo>
                      <a:pt x="1469" y="40"/>
                    </a:lnTo>
                    <a:lnTo>
                      <a:pt x="1467" y="40"/>
                    </a:lnTo>
                    <a:lnTo>
                      <a:pt x="1465" y="38"/>
                    </a:lnTo>
                    <a:lnTo>
                      <a:pt x="1465" y="38"/>
                    </a:lnTo>
                    <a:lnTo>
                      <a:pt x="1458" y="35"/>
                    </a:lnTo>
                    <a:lnTo>
                      <a:pt x="1451" y="32"/>
                    </a:lnTo>
                    <a:lnTo>
                      <a:pt x="1444" y="32"/>
                    </a:lnTo>
                    <a:lnTo>
                      <a:pt x="1441" y="32"/>
                    </a:lnTo>
                    <a:lnTo>
                      <a:pt x="1441" y="32"/>
                    </a:lnTo>
                    <a:lnTo>
                      <a:pt x="1440" y="34"/>
                    </a:lnTo>
                    <a:lnTo>
                      <a:pt x="1437" y="32"/>
                    </a:lnTo>
                    <a:lnTo>
                      <a:pt x="1434" y="31"/>
                    </a:lnTo>
                    <a:lnTo>
                      <a:pt x="1431" y="32"/>
                    </a:lnTo>
                    <a:lnTo>
                      <a:pt x="1431" y="32"/>
                    </a:lnTo>
                    <a:lnTo>
                      <a:pt x="1428" y="32"/>
                    </a:lnTo>
                    <a:lnTo>
                      <a:pt x="1423" y="34"/>
                    </a:lnTo>
                    <a:lnTo>
                      <a:pt x="1411" y="32"/>
                    </a:lnTo>
                    <a:lnTo>
                      <a:pt x="1411" y="32"/>
                    </a:lnTo>
                    <a:lnTo>
                      <a:pt x="1408" y="32"/>
                    </a:lnTo>
                    <a:lnTo>
                      <a:pt x="1405" y="34"/>
                    </a:lnTo>
                    <a:lnTo>
                      <a:pt x="1403" y="35"/>
                    </a:lnTo>
                    <a:lnTo>
                      <a:pt x="1401" y="38"/>
                    </a:lnTo>
                    <a:lnTo>
                      <a:pt x="1401" y="38"/>
                    </a:lnTo>
                    <a:lnTo>
                      <a:pt x="1400" y="40"/>
                    </a:lnTo>
                    <a:lnTo>
                      <a:pt x="1398" y="41"/>
                    </a:lnTo>
                    <a:lnTo>
                      <a:pt x="1393" y="41"/>
                    </a:lnTo>
                    <a:lnTo>
                      <a:pt x="1381" y="40"/>
                    </a:lnTo>
                    <a:lnTo>
                      <a:pt x="1381" y="40"/>
                    </a:lnTo>
                    <a:lnTo>
                      <a:pt x="1381" y="40"/>
                    </a:lnTo>
                    <a:lnTo>
                      <a:pt x="1381" y="38"/>
                    </a:lnTo>
                    <a:lnTo>
                      <a:pt x="1386" y="34"/>
                    </a:lnTo>
                    <a:lnTo>
                      <a:pt x="1390" y="28"/>
                    </a:lnTo>
                    <a:lnTo>
                      <a:pt x="1393" y="25"/>
                    </a:lnTo>
                    <a:lnTo>
                      <a:pt x="1393" y="25"/>
                    </a:lnTo>
                    <a:lnTo>
                      <a:pt x="1388" y="24"/>
                    </a:lnTo>
                    <a:lnTo>
                      <a:pt x="1380" y="24"/>
                    </a:lnTo>
                    <a:lnTo>
                      <a:pt x="1371" y="24"/>
                    </a:lnTo>
                    <a:lnTo>
                      <a:pt x="1367" y="24"/>
                    </a:lnTo>
                    <a:lnTo>
                      <a:pt x="1367" y="24"/>
                    </a:lnTo>
                    <a:lnTo>
                      <a:pt x="1364" y="23"/>
                    </a:lnTo>
                    <a:lnTo>
                      <a:pt x="1359" y="21"/>
                    </a:lnTo>
                    <a:lnTo>
                      <a:pt x="1347" y="21"/>
                    </a:lnTo>
                    <a:lnTo>
                      <a:pt x="1347" y="21"/>
                    </a:lnTo>
                    <a:lnTo>
                      <a:pt x="1346" y="20"/>
                    </a:lnTo>
                    <a:lnTo>
                      <a:pt x="1346" y="20"/>
                    </a:lnTo>
                    <a:lnTo>
                      <a:pt x="1353" y="18"/>
                    </a:lnTo>
                    <a:lnTo>
                      <a:pt x="1353" y="18"/>
                    </a:lnTo>
                    <a:lnTo>
                      <a:pt x="1356" y="18"/>
                    </a:lnTo>
                    <a:lnTo>
                      <a:pt x="1360" y="15"/>
                    </a:lnTo>
                    <a:lnTo>
                      <a:pt x="1367" y="13"/>
                    </a:lnTo>
                    <a:lnTo>
                      <a:pt x="1367" y="13"/>
                    </a:lnTo>
                    <a:lnTo>
                      <a:pt x="1370" y="13"/>
                    </a:lnTo>
                    <a:lnTo>
                      <a:pt x="1371" y="11"/>
                    </a:lnTo>
                    <a:lnTo>
                      <a:pt x="1368" y="7"/>
                    </a:lnTo>
                    <a:lnTo>
                      <a:pt x="1368" y="7"/>
                    </a:lnTo>
                    <a:lnTo>
                      <a:pt x="1367" y="5"/>
                    </a:lnTo>
                    <a:lnTo>
                      <a:pt x="1363" y="4"/>
                    </a:lnTo>
                    <a:lnTo>
                      <a:pt x="1356" y="4"/>
                    </a:lnTo>
                    <a:lnTo>
                      <a:pt x="1356" y="4"/>
                    </a:lnTo>
                    <a:lnTo>
                      <a:pt x="1347" y="1"/>
                    </a:lnTo>
                    <a:lnTo>
                      <a:pt x="1339" y="0"/>
                    </a:lnTo>
                    <a:lnTo>
                      <a:pt x="1339" y="0"/>
                    </a:lnTo>
                    <a:lnTo>
                      <a:pt x="1330" y="1"/>
                    </a:lnTo>
                    <a:lnTo>
                      <a:pt x="1317" y="4"/>
                    </a:lnTo>
                    <a:lnTo>
                      <a:pt x="1317" y="4"/>
                    </a:lnTo>
                    <a:lnTo>
                      <a:pt x="1310" y="7"/>
                    </a:lnTo>
                    <a:lnTo>
                      <a:pt x="1306" y="10"/>
                    </a:lnTo>
                    <a:lnTo>
                      <a:pt x="1303" y="14"/>
                    </a:lnTo>
                    <a:lnTo>
                      <a:pt x="1300" y="17"/>
                    </a:lnTo>
                    <a:lnTo>
                      <a:pt x="1300" y="17"/>
                    </a:lnTo>
                    <a:lnTo>
                      <a:pt x="1295" y="20"/>
                    </a:lnTo>
                    <a:lnTo>
                      <a:pt x="1290" y="24"/>
                    </a:lnTo>
                    <a:lnTo>
                      <a:pt x="1287" y="28"/>
                    </a:lnTo>
                    <a:lnTo>
                      <a:pt x="1287" y="30"/>
                    </a:lnTo>
                    <a:lnTo>
                      <a:pt x="1289" y="31"/>
                    </a:lnTo>
                    <a:lnTo>
                      <a:pt x="1289" y="31"/>
                    </a:lnTo>
                    <a:lnTo>
                      <a:pt x="1292" y="32"/>
                    </a:lnTo>
                    <a:lnTo>
                      <a:pt x="1292" y="34"/>
                    </a:lnTo>
                    <a:lnTo>
                      <a:pt x="1292" y="38"/>
                    </a:lnTo>
                    <a:lnTo>
                      <a:pt x="1292" y="38"/>
                    </a:lnTo>
                    <a:lnTo>
                      <a:pt x="1292" y="40"/>
                    </a:lnTo>
                    <a:lnTo>
                      <a:pt x="1290" y="41"/>
                    </a:lnTo>
                    <a:lnTo>
                      <a:pt x="1283" y="41"/>
                    </a:lnTo>
                    <a:lnTo>
                      <a:pt x="1283" y="41"/>
                    </a:lnTo>
                    <a:lnTo>
                      <a:pt x="1269" y="41"/>
                    </a:lnTo>
                    <a:lnTo>
                      <a:pt x="1262" y="41"/>
                    </a:lnTo>
                    <a:lnTo>
                      <a:pt x="1259" y="42"/>
                    </a:lnTo>
                    <a:lnTo>
                      <a:pt x="1259" y="44"/>
                    </a:lnTo>
                    <a:lnTo>
                      <a:pt x="1259" y="44"/>
                    </a:lnTo>
                    <a:lnTo>
                      <a:pt x="1260" y="47"/>
                    </a:lnTo>
                    <a:lnTo>
                      <a:pt x="1265" y="48"/>
                    </a:lnTo>
                    <a:lnTo>
                      <a:pt x="1267" y="51"/>
                    </a:lnTo>
                    <a:lnTo>
                      <a:pt x="1269" y="52"/>
                    </a:lnTo>
                    <a:lnTo>
                      <a:pt x="1269" y="52"/>
                    </a:lnTo>
                    <a:lnTo>
                      <a:pt x="1267" y="52"/>
                    </a:lnTo>
                    <a:lnTo>
                      <a:pt x="1265" y="52"/>
                    </a:lnTo>
                    <a:lnTo>
                      <a:pt x="1258" y="50"/>
                    </a:lnTo>
                    <a:lnTo>
                      <a:pt x="1258" y="50"/>
                    </a:lnTo>
                    <a:lnTo>
                      <a:pt x="1253" y="48"/>
                    </a:lnTo>
                    <a:lnTo>
                      <a:pt x="1249" y="50"/>
                    </a:lnTo>
                    <a:lnTo>
                      <a:pt x="1245" y="51"/>
                    </a:lnTo>
                    <a:lnTo>
                      <a:pt x="1243" y="52"/>
                    </a:lnTo>
                    <a:lnTo>
                      <a:pt x="1243" y="52"/>
                    </a:lnTo>
                    <a:lnTo>
                      <a:pt x="1240" y="55"/>
                    </a:lnTo>
                    <a:lnTo>
                      <a:pt x="1238" y="55"/>
                    </a:lnTo>
                    <a:lnTo>
                      <a:pt x="1232" y="55"/>
                    </a:lnTo>
                    <a:lnTo>
                      <a:pt x="1232" y="55"/>
                    </a:lnTo>
                    <a:lnTo>
                      <a:pt x="1230" y="55"/>
                    </a:lnTo>
                    <a:lnTo>
                      <a:pt x="1228" y="55"/>
                    </a:lnTo>
                    <a:lnTo>
                      <a:pt x="1225" y="55"/>
                    </a:lnTo>
                    <a:lnTo>
                      <a:pt x="1222" y="55"/>
                    </a:lnTo>
                    <a:lnTo>
                      <a:pt x="1222" y="55"/>
                    </a:lnTo>
                    <a:lnTo>
                      <a:pt x="1222" y="55"/>
                    </a:lnTo>
                    <a:lnTo>
                      <a:pt x="1222" y="54"/>
                    </a:lnTo>
                    <a:lnTo>
                      <a:pt x="1223" y="51"/>
                    </a:lnTo>
                    <a:lnTo>
                      <a:pt x="1226" y="50"/>
                    </a:lnTo>
                    <a:lnTo>
                      <a:pt x="1226" y="48"/>
                    </a:lnTo>
                    <a:lnTo>
                      <a:pt x="1226" y="47"/>
                    </a:lnTo>
                    <a:lnTo>
                      <a:pt x="1226" y="47"/>
                    </a:lnTo>
                    <a:lnTo>
                      <a:pt x="1223" y="45"/>
                    </a:lnTo>
                    <a:lnTo>
                      <a:pt x="1218" y="47"/>
                    </a:lnTo>
                    <a:lnTo>
                      <a:pt x="1213" y="48"/>
                    </a:lnTo>
                    <a:lnTo>
                      <a:pt x="1212" y="51"/>
                    </a:lnTo>
                    <a:lnTo>
                      <a:pt x="1212" y="51"/>
                    </a:lnTo>
                    <a:lnTo>
                      <a:pt x="1211" y="52"/>
                    </a:lnTo>
                    <a:lnTo>
                      <a:pt x="1209" y="52"/>
                    </a:lnTo>
                    <a:lnTo>
                      <a:pt x="1206" y="51"/>
                    </a:lnTo>
                    <a:lnTo>
                      <a:pt x="1203" y="50"/>
                    </a:lnTo>
                    <a:lnTo>
                      <a:pt x="1201" y="50"/>
                    </a:lnTo>
                    <a:lnTo>
                      <a:pt x="1201" y="50"/>
                    </a:lnTo>
                    <a:lnTo>
                      <a:pt x="1191" y="54"/>
                    </a:lnTo>
                    <a:lnTo>
                      <a:pt x="1191" y="54"/>
                    </a:lnTo>
                    <a:lnTo>
                      <a:pt x="1186" y="55"/>
                    </a:lnTo>
                    <a:lnTo>
                      <a:pt x="1181" y="54"/>
                    </a:lnTo>
                    <a:lnTo>
                      <a:pt x="1178" y="54"/>
                    </a:lnTo>
                    <a:lnTo>
                      <a:pt x="1175" y="55"/>
                    </a:lnTo>
                    <a:lnTo>
                      <a:pt x="1175" y="55"/>
                    </a:lnTo>
                    <a:lnTo>
                      <a:pt x="1175" y="57"/>
                    </a:lnTo>
                    <a:lnTo>
                      <a:pt x="1175" y="58"/>
                    </a:lnTo>
                    <a:lnTo>
                      <a:pt x="1179" y="60"/>
                    </a:lnTo>
                    <a:lnTo>
                      <a:pt x="1182" y="61"/>
                    </a:lnTo>
                    <a:lnTo>
                      <a:pt x="1185" y="62"/>
                    </a:lnTo>
                    <a:lnTo>
                      <a:pt x="1185" y="62"/>
                    </a:lnTo>
                    <a:lnTo>
                      <a:pt x="1181" y="64"/>
                    </a:lnTo>
                    <a:lnTo>
                      <a:pt x="1172" y="64"/>
                    </a:lnTo>
                    <a:lnTo>
                      <a:pt x="1162" y="65"/>
                    </a:lnTo>
                    <a:lnTo>
                      <a:pt x="1158" y="67"/>
                    </a:lnTo>
                    <a:lnTo>
                      <a:pt x="1158" y="67"/>
                    </a:lnTo>
                    <a:lnTo>
                      <a:pt x="1157" y="68"/>
                    </a:lnTo>
                    <a:lnTo>
                      <a:pt x="1152" y="68"/>
                    </a:lnTo>
                    <a:lnTo>
                      <a:pt x="1138" y="69"/>
                    </a:lnTo>
                    <a:lnTo>
                      <a:pt x="1138" y="69"/>
                    </a:lnTo>
                    <a:lnTo>
                      <a:pt x="1132" y="69"/>
                    </a:lnTo>
                    <a:lnTo>
                      <a:pt x="1129" y="72"/>
                    </a:lnTo>
                    <a:lnTo>
                      <a:pt x="1127" y="75"/>
                    </a:lnTo>
                    <a:lnTo>
                      <a:pt x="1122" y="77"/>
                    </a:lnTo>
                    <a:lnTo>
                      <a:pt x="1122" y="77"/>
                    </a:lnTo>
                    <a:lnTo>
                      <a:pt x="1114" y="78"/>
                    </a:lnTo>
                    <a:lnTo>
                      <a:pt x="1110" y="79"/>
                    </a:lnTo>
                    <a:lnTo>
                      <a:pt x="1108" y="82"/>
                    </a:lnTo>
                    <a:lnTo>
                      <a:pt x="1108" y="82"/>
                    </a:lnTo>
                    <a:lnTo>
                      <a:pt x="1105" y="85"/>
                    </a:lnTo>
                    <a:lnTo>
                      <a:pt x="1101" y="87"/>
                    </a:lnTo>
                    <a:lnTo>
                      <a:pt x="1098" y="85"/>
                    </a:lnTo>
                    <a:lnTo>
                      <a:pt x="1095" y="84"/>
                    </a:lnTo>
                    <a:lnTo>
                      <a:pt x="1095" y="84"/>
                    </a:lnTo>
                    <a:lnTo>
                      <a:pt x="1093" y="82"/>
                    </a:lnTo>
                    <a:lnTo>
                      <a:pt x="1090" y="84"/>
                    </a:lnTo>
                    <a:lnTo>
                      <a:pt x="1088" y="85"/>
                    </a:lnTo>
                    <a:lnTo>
                      <a:pt x="1088" y="85"/>
                    </a:lnTo>
                    <a:lnTo>
                      <a:pt x="1090" y="87"/>
                    </a:lnTo>
                    <a:lnTo>
                      <a:pt x="1090" y="87"/>
                    </a:lnTo>
                    <a:lnTo>
                      <a:pt x="1091" y="87"/>
                    </a:lnTo>
                    <a:lnTo>
                      <a:pt x="1090" y="88"/>
                    </a:lnTo>
                    <a:lnTo>
                      <a:pt x="1088" y="89"/>
                    </a:lnTo>
                    <a:lnTo>
                      <a:pt x="1087" y="89"/>
                    </a:lnTo>
                    <a:lnTo>
                      <a:pt x="1087" y="89"/>
                    </a:lnTo>
                    <a:lnTo>
                      <a:pt x="1084" y="91"/>
                    </a:lnTo>
                    <a:lnTo>
                      <a:pt x="1081" y="92"/>
                    </a:lnTo>
                    <a:lnTo>
                      <a:pt x="1080" y="94"/>
                    </a:lnTo>
                    <a:lnTo>
                      <a:pt x="1081" y="94"/>
                    </a:lnTo>
                    <a:lnTo>
                      <a:pt x="1081" y="94"/>
                    </a:lnTo>
                    <a:lnTo>
                      <a:pt x="1084" y="94"/>
                    </a:lnTo>
                    <a:lnTo>
                      <a:pt x="1085" y="95"/>
                    </a:lnTo>
                    <a:lnTo>
                      <a:pt x="1085" y="98"/>
                    </a:lnTo>
                    <a:lnTo>
                      <a:pt x="1085" y="99"/>
                    </a:lnTo>
                    <a:lnTo>
                      <a:pt x="1085" y="99"/>
                    </a:lnTo>
                    <a:lnTo>
                      <a:pt x="1083" y="101"/>
                    </a:lnTo>
                    <a:lnTo>
                      <a:pt x="1078" y="99"/>
                    </a:lnTo>
                    <a:lnTo>
                      <a:pt x="1074" y="98"/>
                    </a:lnTo>
                    <a:lnTo>
                      <a:pt x="1071" y="99"/>
                    </a:lnTo>
                    <a:lnTo>
                      <a:pt x="1071" y="99"/>
                    </a:lnTo>
                    <a:lnTo>
                      <a:pt x="1071" y="101"/>
                    </a:lnTo>
                    <a:lnTo>
                      <a:pt x="1073" y="102"/>
                    </a:lnTo>
                    <a:lnTo>
                      <a:pt x="1077" y="104"/>
                    </a:lnTo>
                    <a:lnTo>
                      <a:pt x="1080" y="104"/>
                    </a:lnTo>
                    <a:lnTo>
                      <a:pt x="1080" y="104"/>
                    </a:lnTo>
                    <a:lnTo>
                      <a:pt x="1083" y="104"/>
                    </a:lnTo>
                    <a:lnTo>
                      <a:pt x="1085" y="105"/>
                    </a:lnTo>
                    <a:lnTo>
                      <a:pt x="1087" y="109"/>
                    </a:lnTo>
                    <a:lnTo>
                      <a:pt x="1087" y="109"/>
                    </a:lnTo>
                    <a:lnTo>
                      <a:pt x="1087" y="111"/>
                    </a:lnTo>
                    <a:lnTo>
                      <a:pt x="1085" y="111"/>
                    </a:lnTo>
                    <a:lnTo>
                      <a:pt x="1083" y="109"/>
                    </a:lnTo>
                    <a:lnTo>
                      <a:pt x="1078" y="109"/>
                    </a:lnTo>
                    <a:lnTo>
                      <a:pt x="1075" y="111"/>
                    </a:lnTo>
                    <a:lnTo>
                      <a:pt x="1075" y="111"/>
                    </a:lnTo>
                    <a:lnTo>
                      <a:pt x="1074" y="112"/>
                    </a:lnTo>
                    <a:lnTo>
                      <a:pt x="1075" y="114"/>
                    </a:lnTo>
                    <a:lnTo>
                      <a:pt x="1081" y="115"/>
                    </a:lnTo>
                    <a:lnTo>
                      <a:pt x="1081" y="115"/>
                    </a:lnTo>
                    <a:lnTo>
                      <a:pt x="1084" y="115"/>
                    </a:lnTo>
                    <a:lnTo>
                      <a:pt x="1084" y="116"/>
                    </a:lnTo>
                    <a:lnTo>
                      <a:pt x="1084" y="118"/>
                    </a:lnTo>
                    <a:lnTo>
                      <a:pt x="1087" y="121"/>
                    </a:lnTo>
                    <a:lnTo>
                      <a:pt x="1087" y="121"/>
                    </a:lnTo>
                    <a:lnTo>
                      <a:pt x="1087" y="121"/>
                    </a:lnTo>
                    <a:lnTo>
                      <a:pt x="1087" y="121"/>
                    </a:lnTo>
                    <a:lnTo>
                      <a:pt x="1088" y="122"/>
                    </a:lnTo>
                    <a:lnTo>
                      <a:pt x="1087" y="125"/>
                    </a:lnTo>
                    <a:lnTo>
                      <a:pt x="1085" y="126"/>
                    </a:lnTo>
                    <a:lnTo>
                      <a:pt x="1085" y="128"/>
                    </a:lnTo>
                    <a:lnTo>
                      <a:pt x="1085" y="128"/>
                    </a:lnTo>
                    <a:lnTo>
                      <a:pt x="1085" y="129"/>
                    </a:lnTo>
                    <a:lnTo>
                      <a:pt x="1084" y="131"/>
                    </a:lnTo>
                    <a:lnTo>
                      <a:pt x="1081" y="131"/>
                    </a:lnTo>
                    <a:lnTo>
                      <a:pt x="1081" y="129"/>
                    </a:lnTo>
                    <a:lnTo>
                      <a:pt x="1081" y="129"/>
                    </a:lnTo>
                    <a:lnTo>
                      <a:pt x="1078" y="128"/>
                    </a:lnTo>
                    <a:lnTo>
                      <a:pt x="1074" y="126"/>
                    </a:lnTo>
                    <a:lnTo>
                      <a:pt x="1070" y="126"/>
                    </a:lnTo>
                    <a:lnTo>
                      <a:pt x="1065" y="128"/>
                    </a:lnTo>
                    <a:lnTo>
                      <a:pt x="1065" y="128"/>
                    </a:lnTo>
                    <a:lnTo>
                      <a:pt x="1063" y="132"/>
                    </a:lnTo>
                    <a:lnTo>
                      <a:pt x="1060" y="132"/>
                    </a:lnTo>
                    <a:lnTo>
                      <a:pt x="1058" y="131"/>
                    </a:lnTo>
                    <a:lnTo>
                      <a:pt x="1058" y="131"/>
                    </a:lnTo>
                    <a:lnTo>
                      <a:pt x="1054" y="129"/>
                    </a:lnTo>
                    <a:lnTo>
                      <a:pt x="1050" y="131"/>
                    </a:lnTo>
                    <a:lnTo>
                      <a:pt x="1034" y="132"/>
                    </a:lnTo>
                    <a:lnTo>
                      <a:pt x="1034" y="132"/>
                    </a:lnTo>
                    <a:lnTo>
                      <a:pt x="1011" y="133"/>
                    </a:lnTo>
                    <a:lnTo>
                      <a:pt x="1000" y="135"/>
                    </a:lnTo>
                    <a:lnTo>
                      <a:pt x="993" y="136"/>
                    </a:lnTo>
                    <a:lnTo>
                      <a:pt x="993" y="136"/>
                    </a:lnTo>
                    <a:lnTo>
                      <a:pt x="989" y="138"/>
                    </a:lnTo>
                    <a:lnTo>
                      <a:pt x="986" y="142"/>
                    </a:lnTo>
                    <a:lnTo>
                      <a:pt x="986" y="148"/>
                    </a:lnTo>
                    <a:lnTo>
                      <a:pt x="986" y="149"/>
                    </a:lnTo>
                    <a:lnTo>
                      <a:pt x="987" y="152"/>
                    </a:lnTo>
                    <a:lnTo>
                      <a:pt x="987" y="152"/>
                    </a:lnTo>
                    <a:lnTo>
                      <a:pt x="990" y="155"/>
                    </a:lnTo>
                    <a:lnTo>
                      <a:pt x="990" y="158"/>
                    </a:lnTo>
                    <a:lnTo>
                      <a:pt x="989" y="161"/>
                    </a:lnTo>
                    <a:lnTo>
                      <a:pt x="987" y="163"/>
                    </a:lnTo>
                    <a:lnTo>
                      <a:pt x="987" y="163"/>
                    </a:lnTo>
                    <a:lnTo>
                      <a:pt x="990" y="166"/>
                    </a:lnTo>
                    <a:lnTo>
                      <a:pt x="996" y="170"/>
                    </a:lnTo>
                    <a:lnTo>
                      <a:pt x="1003" y="173"/>
                    </a:lnTo>
                    <a:lnTo>
                      <a:pt x="1010" y="175"/>
                    </a:lnTo>
                    <a:lnTo>
                      <a:pt x="1010" y="175"/>
                    </a:lnTo>
                    <a:lnTo>
                      <a:pt x="1014" y="176"/>
                    </a:lnTo>
                    <a:lnTo>
                      <a:pt x="1019" y="180"/>
                    </a:lnTo>
                    <a:lnTo>
                      <a:pt x="1020" y="186"/>
                    </a:lnTo>
                    <a:lnTo>
                      <a:pt x="1020" y="188"/>
                    </a:lnTo>
                    <a:lnTo>
                      <a:pt x="1019" y="190"/>
                    </a:lnTo>
                    <a:lnTo>
                      <a:pt x="1019" y="190"/>
                    </a:lnTo>
                    <a:lnTo>
                      <a:pt x="1017" y="192"/>
                    </a:lnTo>
                    <a:lnTo>
                      <a:pt x="1014" y="192"/>
                    </a:lnTo>
                    <a:lnTo>
                      <a:pt x="1007" y="190"/>
                    </a:lnTo>
                    <a:lnTo>
                      <a:pt x="999" y="186"/>
                    </a:lnTo>
                    <a:lnTo>
                      <a:pt x="992" y="182"/>
                    </a:lnTo>
                    <a:lnTo>
                      <a:pt x="992" y="182"/>
                    </a:lnTo>
                    <a:lnTo>
                      <a:pt x="983" y="178"/>
                    </a:lnTo>
                    <a:lnTo>
                      <a:pt x="973" y="173"/>
                    </a:lnTo>
                    <a:lnTo>
                      <a:pt x="962" y="172"/>
                    </a:lnTo>
                    <a:lnTo>
                      <a:pt x="955" y="172"/>
                    </a:lnTo>
                    <a:lnTo>
                      <a:pt x="955" y="172"/>
                    </a:lnTo>
                    <a:lnTo>
                      <a:pt x="952" y="172"/>
                    </a:lnTo>
                    <a:lnTo>
                      <a:pt x="950" y="169"/>
                    </a:lnTo>
                    <a:lnTo>
                      <a:pt x="947" y="168"/>
                    </a:lnTo>
                    <a:lnTo>
                      <a:pt x="943" y="166"/>
                    </a:lnTo>
                    <a:lnTo>
                      <a:pt x="943" y="166"/>
                    </a:lnTo>
                    <a:lnTo>
                      <a:pt x="937" y="168"/>
                    </a:lnTo>
                    <a:lnTo>
                      <a:pt x="933" y="170"/>
                    </a:lnTo>
                    <a:lnTo>
                      <a:pt x="930" y="173"/>
                    </a:lnTo>
                    <a:lnTo>
                      <a:pt x="932" y="173"/>
                    </a:lnTo>
                    <a:lnTo>
                      <a:pt x="933" y="175"/>
                    </a:lnTo>
                    <a:lnTo>
                      <a:pt x="933" y="175"/>
                    </a:lnTo>
                    <a:lnTo>
                      <a:pt x="940" y="175"/>
                    </a:lnTo>
                    <a:lnTo>
                      <a:pt x="940" y="175"/>
                    </a:lnTo>
                    <a:lnTo>
                      <a:pt x="940" y="176"/>
                    </a:lnTo>
                    <a:lnTo>
                      <a:pt x="940" y="176"/>
                    </a:lnTo>
                    <a:lnTo>
                      <a:pt x="939" y="178"/>
                    </a:lnTo>
                    <a:lnTo>
                      <a:pt x="940" y="179"/>
                    </a:lnTo>
                    <a:lnTo>
                      <a:pt x="949" y="182"/>
                    </a:lnTo>
                    <a:lnTo>
                      <a:pt x="949" y="182"/>
                    </a:lnTo>
                    <a:lnTo>
                      <a:pt x="950" y="183"/>
                    </a:lnTo>
                    <a:lnTo>
                      <a:pt x="950" y="185"/>
                    </a:lnTo>
                    <a:lnTo>
                      <a:pt x="947" y="186"/>
                    </a:lnTo>
                    <a:lnTo>
                      <a:pt x="942" y="186"/>
                    </a:lnTo>
                    <a:lnTo>
                      <a:pt x="935" y="185"/>
                    </a:lnTo>
                    <a:lnTo>
                      <a:pt x="935" y="185"/>
                    </a:lnTo>
                    <a:lnTo>
                      <a:pt x="929" y="182"/>
                    </a:lnTo>
                    <a:lnTo>
                      <a:pt x="925" y="183"/>
                    </a:lnTo>
                    <a:lnTo>
                      <a:pt x="920" y="185"/>
                    </a:lnTo>
                    <a:lnTo>
                      <a:pt x="918" y="188"/>
                    </a:lnTo>
                    <a:lnTo>
                      <a:pt x="918" y="188"/>
                    </a:lnTo>
                    <a:lnTo>
                      <a:pt x="918" y="189"/>
                    </a:lnTo>
                    <a:lnTo>
                      <a:pt x="919" y="192"/>
                    </a:lnTo>
                    <a:lnTo>
                      <a:pt x="923" y="196"/>
                    </a:lnTo>
                    <a:lnTo>
                      <a:pt x="930" y="202"/>
                    </a:lnTo>
                    <a:lnTo>
                      <a:pt x="939" y="205"/>
                    </a:lnTo>
                    <a:lnTo>
                      <a:pt x="939" y="205"/>
                    </a:lnTo>
                    <a:lnTo>
                      <a:pt x="946" y="206"/>
                    </a:lnTo>
                    <a:lnTo>
                      <a:pt x="949" y="209"/>
                    </a:lnTo>
                    <a:lnTo>
                      <a:pt x="950" y="210"/>
                    </a:lnTo>
                    <a:lnTo>
                      <a:pt x="953" y="212"/>
                    </a:lnTo>
                    <a:lnTo>
                      <a:pt x="953" y="212"/>
                    </a:lnTo>
                    <a:lnTo>
                      <a:pt x="956" y="215"/>
                    </a:lnTo>
                    <a:lnTo>
                      <a:pt x="956" y="216"/>
                    </a:lnTo>
                    <a:lnTo>
                      <a:pt x="955" y="216"/>
                    </a:lnTo>
                    <a:lnTo>
                      <a:pt x="952" y="217"/>
                    </a:lnTo>
                    <a:lnTo>
                      <a:pt x="952" y="217"/>
                    </a:lnTo>
                    <a:lnTo>
                      <a:pt x="947" y="216"/>
                    </a:lnTo>
                    <a:lnTo>
                      <a:pt x="943" y="213"/>
                    </a:lnTo>
                    <a:lnTo>
                      <a:pt x="933" y="207"/>
                    </a:lnTo>
                    <a:lnTo>
                      <a:pt x="933" y="207"/>
                    </a:lnTo>
                    <a:lnTo>
                      <a:pt x="926" y="206"/>
                    </a:lnTo>
                    <a:lnTo>
                      <a:pt x="918" y="206"/>
                    </a:lnTo>
                    <a:lnTo>
                      <a:pt x="910" y="206"/>
                    </a:lnTo>
                    <a:lnTo>
                      <a:pt x="908" y="206"/>
                    </a:lnTo>
                    <a:lnTo>
                      <a:pt x="906" y="205"/>
                    </a:lnTo>
                    <a:lnTo>
                      <a:pt x="906" y="205"/>
                    </a:lnTo>
                    <a:lnTo>
                      <a:pt x="905" y="202"/>
                    </a:lnTo>
                    <a:lnTo>
                      <a:pt x="905" y="200"/>
                    </a:lnTo>
                    <a:lnTo>
                      <a:pt x="906" y="198"/>
                    </a:lnTo>
                    <a:lnTo>
                      <a:pt x="905" y="195"/>
                    </a:lnTo>
                    <a:lnTo>
                      <a:pt x="905" y="195"/>
                    </a:lnTo>
                    <a:lnTo>
                      <a:pt x="903" y="192"/>
                    </a:lnTo>
                    <a:lnTo>
                      <a:pt x="903" y="189"/>
                    </a:lnTo>
                    <a:lnTo>
                      <a:pt x="909" y="179"/>
                    </a:lnTo>
                    <a:lnTo>
                      <a:pt x="909" y="179"/>
                    </a:lnTo>
                    <a:lnTo>
                      <a:pt x="909" y="176"/>
                    </a:lnTo>
                    <a:lnTo>
                      <a:pt x="910" y="173"/>
                    </a:lnTo>
                    <a:lnTo>
                      <a:pt x="909" y="168"/>
                    </a:lnTo>
                    <a:lnTo>
                      <a:pt x="906" y="162"/>
                    </a:lnTo>
                    <a:lnTo>
                      <a:pt x="902" y="159"/>
                    </a:lnTo>
                    <a:lnTo>
                      <a:pt x="902" y="159"/>
                    </a:lnTo>
                    <a:lnTo>
                      <a:pt x="898" y="159"/>
                    </a:lnTo>
                    <a:lnTo>
                      <a:pt x="896" y="161"/>
                    </a:lnTo>
                    <a:lnTo>
                      <a:pt x="896" y="163"/>
                    </a:lnTo>
                    <a:lnTo>
                      <a:pt x="898" y="165"/>
                    </a:lnTo>
                    <a:lnTo>
                      <a:pt x="898" y="165"/>
                    </a:lnTo>
                    <a:lnTo>
                      <a:pt x="898" y="168"/>
                    </a:lnTo>
                    <a:lnTo>
                      <a:pt x="898" y="172"/>
                    </a:lnTo>
                    <a:lnTo>
                      <a:pt x="896" y="178"/>
                    </a:lnTo>
                    <a:lnTo>
                      <a:pt x="893" y="182"/>
                    </a:lnTo>
                    <a:lnTo>
                      <a:pt x="893" y="182"/>
                    </a:lnTo>
                    <a:lnTo>
                      <a:pt x="888" y="186"/>
                    </a:lnTo>
                    <a:lnTo>
                      <a:pt x="882" y="188"/>
                    </a:lnTo>
                    <a:lnTo>
                      <a:pt x="876" y="190"/>
                    </a:lnTo>
                    <a:lnTo>
                      <a:pt x="875" y="190"/>
                    </a:lnTo>
                    <a:lnTo>
                      <a:pt x="873" y="192"/>
                    </a:lnTo>
                    <a:lnTo>
                      <a:pt x="873" y="192"/>
                    </a:lnTo>
                    <a:lnTo>
                      <a:pt x="872" y="195"/>
                    </a:lnTo>
                    <a:lnTo>
                      <a:pt x="869" y="198"/>
                    </a:lnTo>
                    <a:lnTo>
                      <a:pt x="868" y="200"/>
                    </a:lnTo>
                    <a:lnTo>
                      <a:pt x="866" y="200"/>
                    </a:lnTo>
                    <a:lnTo>
                      <a:pt x="868" y="202"/>
                    </a:lnTo>
                    <a:lnTo>
                      <a:pt x="868" y="202"/>
                    </a:lnTo>
                    <a:lnTo>
                      <a:pt x="878" y="213"/>
                    </a:lnTo>
                    <a:lnTo>
                      <a:pt x="882" y="219"/>
                    </a:lnTo>
                    <a:lnTo>
                      <a:pt x="886" y="225"/>
                    </a:lnTo>
                    <a:lnTo>
                      <a:pt x="886" y="225"/>
                    </a:lnTo>
                    <a:lnTo>
                      <a:pt x="886" y="226"/>
                    </a:lnTo>
                    <a:lnTo>
                      <a:pt x="885" y="229"/>
                    </a:lnTo>
                    <a:lnTo>
                      <a:pt x="881" y="236"/>
                    </a:lnTo>
                    <a:lnTo>
                      <a:pt x="878" y="244"/>
                    </a:lnTo>
                    <a:lnTo>
                      <a:pt x="876" y="247"/>
                    </a:lnTo>
                    <a:lnTo>
                      <a:pt x="876" y="252"/>
                    </a:lnTo>
                    <a:lnTo>
                      <a:pt x="876" y="252"/>
                    </a:lnTo>
                    <a:lnTo>
                      <a:pt x="876" y="257"/>
                    </a:lnTo>
                    <a:lnTo>
                      <a:pt x="876" y="262"/>
                    </a:lnTo>
                    <a:lnTo>
                      <a:pt x="876" y="264"/>
                    </a:lnTo>
                    <a:lnTo>
                      <a:pt x="878" y="267"/>
                    </a:lnTo>
                    <a:lnTo>
                      <a:pt x="878" y="267"/>
                    </a:lnTo>
                    <a:lnTo>
                      <a:pt x="879" y="269"/>
                    </a:lnTo>
                    <a:lnTo>
                      <a:pt x="883" y="269"/>
                    </a:lnTo>
                    <a:lnTo>
                      <a:pt x="886" y="269"/>
                    </a:lnTo>
                    <a:lnTo>
                      <a:pt x="889" y="270"/>
                    </a:lnTo>
                    <a:lnTo>
                      <a:pt x="889" y="270"/>
                    </a:lnTo>
                    <a:lnTo>
                      <a:pt x="892" y="270"/>
                    </a:lnTo>
                    <a:lnTo>
                      <a:pt x="896" y="269"/>
                    </a:lnTo>
                    <a:lnTo>
                      <a:pt x="908" y="266"/>
                    </a:lnTo>
                    <a:lnTo>
                      <a:pt x="908" y="266"/>
                    </a:lnTo>
                    <a:lnTo>
                      <a:pt x="916" y="266"/>
                    </a:lnTo>
                    <a:lnTo>
                      <a:pt x="925" y="269"/>
                    </a:lnTo>
                    <a:lnTo>
                      <a:pt x="939" y="276"/>
                    </a:lnTo>
                    <a:lnTo>
                      <a:pt x="939" y="276"/>
                    </a:lnTo>
                    <a:lnTo>
                      <a:pt x="942" y="279"/>
                    </a:lnTo>
                    <a:lnTo>
                      <a:pt x="943" y="281"/>
                    </a:lnTo>
                    <a:lnTo>
                      <a:pt x="943" y="284"/>
                    </a:lnTo>
                    <a:lnTo>
                      <a:pt x="945" y="289"/>
                    </a:lnTo>
                    <a:lnTo>
                      <a:pt x="945" y="289"/>
                    </a:lnTo>
                    <a:lnTo>
                      <a:pt x="946" y="290"/>
                    </a:lnTo>
                    <a:lnTo>
                      <a:pt x="945" y="291"/>
                    </a:lnTo>
                    <a:lnTo>
                      <a:pt x="942" y="293"/>
                    </a:lnTo>
                    <a:lnTo>
                      <a:pt x="939" y="296"/>
                    </a:lnTo>
                    <a:lnTo>
                      <a:pt x="937" y="297"/>
                    </a:lnTo>
                    <a:lnTo>
                      <a:pt x="937" y="300"/>
                    </a:lnTo>
                    <a:lnTo>
                      <a:pt x="937" y="300"/>
                    </a:lnTo>
                    <a:lnTo>
                      <a:pt x="937" y="303"/>
                    </a:lnTo>
                    <a:lnTo>
                      <a:pt x="940" y="304"/>
                    </a:lnTo>
                    <a:lnTo>
                      <a:pt x="946" y="308"/>
                    </a:lnTo>
                    <a:lnTo>
                      <a:pt x="953" y="310"/>
                    </a:lnTo>
                    <a:lnTo>
                      <a:pt x="956" y="313"/>
                    </a:lnTo>
                    <a:lnTo>
                      <a:pt x="956" y="313"/>
                    </a:lnTo>
                    <a:lnTo>
                      <a:pt x="955" y="313"/>
                    </a:lnTo>
                    <a:lnTo>
                      <a:pt x="949" y="313"/>
                    </a:lnTo>
                    <a:lnTo>
                      <a:pt x="937" y="311"/>
                    </a:lnTo>
                    <a:lnTo>
                      <a:pt x="937" y="311"/>
                    </a:lnTo>
                    <a:lnTo>
                      <a:pt x="935" y="308"/>
                    </a:lnTo>
                    <a:lnTo>
                      <a:pt x="933" y="306"/>
                    </a:lnTo>
                    <a:lnTo>
                      <a:pt x="930" y="301"/>
                    </a:lnTo>
                    <a:lnTo>
                      <a:pt x="930" y="301"/>
                    </a:lnTo>
                    <a:lnTo>
                      <a:pt x="930" y="299"/>
                    </a:lnTo>
                    <a:lnTo>
                      <a:pt x="932" y="296"/>
                    </a:lnTo>
                    <a:lnTo>
                      <a:pt x="933" y="293"/>
                    </a:lnTo>
                    <a:lnTo>
                      <a:pt x="935" y="289"/>
                    </a:lnTo>
                    <a:lnTo>
                      <a:pt x="935" y="289"/>
                    </a:lnTo>
                    <a:lnTo>
                      <a:pt x="933" y="286"/>
                    </a:lnTo>
                    <a:lnTo>
                      <a:pt x="932" y="283"/>
                    </a:lnTo>
                    <a:lnTo>
                      <a:pt x="926" y="279"/>
                    </a:lnTo>
                    <a:lnTo>
                      <a:pt x="926" y="279"/>
                    </a:lnTo>
                    <a:lnTo>
                      <a:pt x="922" y="274"/>
                    </a:lnTo>
                    <a:lnTo>
                      <a:pt x="919" y="273"/>
                    </a:lnTo>
                    <a:lnTo>
                      <a:pt x="916" y="273"/>
                    </a:lnTo>
                    <a:lnTo>
                      <a:pt x="916" y="273"/>
                    </a:lnTo>
                    <a:lnTo>
                      <a:pt x="905" y="274"/>
                    </a:lnTo>
                    <a:lnTo>
                      <a:pt x="898" y="276"/>
                    </a:lnTo>
                    <a:lnTo>
                      <a:pt x="892" y="279"/>
                    </a:lnTo>
                    <a:lnTo>
                      <a:pt x="892" y="279"/>
                    </a:lnTo>
                    <a:lnTo>
                      <a:pt x="890" y="281"/>
                    </a:lnTo>
                    <a:lnTo>
                      <a:pt x="890" y="283"/>
                    </a:lnTo>
                    <a:lnTo>
                      <a:pt x="890" y="290"/>
                    </a:lnTo>
                    <a:lnTo>
                      <a:pt x="895" y="301"/>
                    </a:lnTo>
                    <a:lnTo>
                      <a:pt x="895" y="301"/>
                    </a:lnTo>
                    <a:lnTo>
                      <a:pt x="895" y="304"/>
                    </a:lnTo>
                    <a:lnTo>
                      <a:pt x="893" y="306"/>
                    </a:lnTo>
                    <a:lnTo>
                      <a:pt x="889" y="311"/>
                    </a:lnTo>
                    <a:lnTo>
                      <a:pt x="883" y="316"/>
                    </a:lnTo>
                    <a:lnTo>
                      <a:pt x="882" y="318"/>
                    </a:lnTo>
                    <a:lnTo>
                      <a:pt x="882" y="320"/>
                    </a:lnTo>
                    <a:lnTo>
                      <a:pt x="882" y="320"/>
                    </a:lnTo>
                    <a:lnTo>
                      <a:pt x="881" y="323"/>
                    </a:lnTo>
                    <a:lnTo>
                      <a:pt x="879" y="326"/>
                    </a:lnTo>
                    <a:lnTo>
                      <a:pt x="869" y="331"/>
                    </a:lnTo>
                    <a:lnTo>
                      <a:pt x="869" y="331"/>
                    </a:lnTo>
                    <a:lnTo>
                      <a:pt x="859" y="337"/>
                    </a:lnTo>
                    <a:lnTo>
                      <a:pt x="856" y="340"/>
                    </a:lnTo>
                    <a:lnTo>
                      <a:pt x="855" y="344"/>
                    </a:lnTo>
                    <a:lnTo>
                      <a:pt x="855" y="344"/>
                    </a:lnTo>
                    <a:lnTo>
                      <a:pt x="855" y="345"/>
                    </a:lnTo>
                    <a:lnTo>
                      <a:pt x="854" y="347"/>
                    </a:lnTo>
                    <a:lnTo>
                      <a:pt x="849" y="347"/>
                    </a:lnTo>
                    <a:lnTo>
                      <a:pt x="845" y="345"/>
                    </a:lnTo>
                    <a:lnTo>
                      <a:pt x="841" y="344"/>
                    </a:lnTo>
                    <a:lnTo>
                      <a:pt x="841" y="344"/>
                    </a:lnTo>
                    <a:lnTo>
                      <a:pt x="836" y="343"/>
                    </a:lnTo>
                    <a:lnTo>
                      <a:pt x="832" y="344"/>
                    </a:lnTo>
                    <a:lnTo>
                      <a:pt x="826" y="344"/>
                    </a:lnTo>
                    <a:lnTo>
                      <a:pt x="822" y="345"/>
                    </a:lnTo>
                    <a:lnTo>
                      <a:pt x="822" y="345"/>
                    </a:lnTo>
                    <a:lnTo>
                      <a:pt x="818" y="344"/>
                    </a:lnTo>
                    <a:lnTo>
                      <a:pt x="815" y="343"/>
                    </a:lnTo>
                    <a:lnTo>
                      <a:pt x="812" y="341"/>
                    </a:lnTo>
                    <a:lnTo>
                      <a:pt x="809" y="341"/>
                    </a:lnTo>
                    <a:lnTo>
                      <a:pt x="809" y="341"/>
                    </a:lnTo>
                    <a:lnTo>
                      <a:pt x="805" y="341"/>
                    </a:lnTo>
                    <a:lnTo>
                      <a:pt x="802" y="340"/>
                    </a:lnTo>
                    <a:lnTo>
                      <a:pt x="801" y="337"/>
                    </a:lnTo>
                    <a:lnTo>
                      <a:pt x="801" y="334"/>
                    </a:lnTo>
                    <a:lnTo>
                      <a:pt x="801" y="334"/>
                    </a:lnTo>
                    <a:lnTo>
                      <a:pt x="804" y="333"/>
                    </a:lnTo>
                    <a:lnTo>
                      <a:pt x="807" y="333"/>
                    </a:lnTo>
                    <a:lnTo>
                      <a:pt x="808" y="334"/>
                    </a:lnTo>
                    <a:lnTo>
                      <a:pt x="809" y="337"/>
                    </a:lnTo>
                    <a:lnTo>
                      <a:pt x="809" y="337"/>
                    </a:lnTo>
                    <a:lnTo>
                      <a:pt x="811" y="338"/>
                    </a:lnTo>
                    <a:lnTo>
                      <a:pt x="812" y="338"/>
                    </a:lnTo>
                    <a:lnTo>
                      <a:pt x="819" y="335"/>
                    </a:lnTo>
                    <a:lnTo>
                      <a:pt x="819" y="335"/>
                    </a:lnTo>
                    <a:lnTo>
                      <a:pt x="822" y="335"/>
                    </a:lnTo>
                    <a:lnTo>
                      <a:pt x="824" y="335"/>
                    </a:lnTo>
                    <a:lnTo>
                      <a:pt x="825" y="338"/>
                    </a:lnTo>
                    <a:lnTo>
                      <a:pt x="828" y="340"/>
                    </a:lnTo>
                    <a:lnTo>
                      <a:pt x="828" y="340"/>
                    </a:lnTo>
                    <a:lnTo>
                      <a:pt x="832" y="338"/>
                    </a:lnTo>
                    <a:lnTo>
                      <a:pt x="834" y="338"/>
                    </a:lnTo>
                    <a:lnTo>
                      <a:pt x="834" y="337"/>
                    </a:lnTo>
                    <a:lnTo>
                      <a:pt x="836" y="335"/>
                    </a:lnTo>
                    <a:lnTo>
                      <a:pt x="836" y="335"/>
                    </a:lnTo>
                    <a:lnTo>
                      <a:pt x="839" y="335"/>
                    </a:lnTo>
                    <a:lnTo>
                      <a:pt x="841" y="335"/>
                    </a:lnTo>
                    <a:lnTo>
                      <a:pt x="841" y="334"/>
                    </a:lnTo>
                    <a:lnTo>
                      <a:pt x="841" y="333"/>
                    </a:lnTo>
                    <a:lnTo>
                      <a:pt x="841" y="333"/>
                    </a:lnTo>
                    <a:lnTo>
                      <a:pt x="841" y="330"/>
                    </a:lnTo>
                    <a:lnTo>
                      <a:pt x="842" y="328"/>
                    </a:lnTo>
                    <a:lnTo>
                      <a:pt x="848" y="327"/>
                    </a:lnTo>
                    <a:lnTo>
                      <a:pt x="848" y="327"/>
                    </a:lnTo>
                    <a:lnTo>
                      <a:pt x="849" y="324"/>
                    </a:lnTo>
                    <a:lnTo>
                      <a:pt x="851" y="323"/>
                    </a:lnTo>
                    <a:lnTo>
                      <a:pt x="851" y="320"/>
                    </a:lnTo>
                    <a:lnTo>
                      <a:pt x="852" y="318"/>
                    </a:lnTo>
                    <a:lnTo>
                      <a:pt x="852" y="318"/>
                    </a:lnTo>
                    <a:lnTo>
                      <a:pt x="854" y="317"/>
                    </a:lnTo>
                    <a:lnTo>
                      <a:pt x="855" y="314"/>
                    </a:lnTo>
                    <a:lnTo>
                      <a:pt x="855" y="313"/>
                    </a:lnTo>
                    <a:lnTo>
                      <a:pt x="856" y="313"/>
                    </a:lnTo>
                    <a:lnTo>
                      <a:pt x="856" y="313"/>
                    </a:lnTo>
                    <a:lnTo>
                      <a:pt x="859" y="311"/>
                    </a:lnTo>
                    <a:lnTo>
                      <a:pt x="861" y="310"/>
                    </a:lnTo>
                    <a:lnTo>
                      <a:pt x="862" y="308"/>
                    </a:lnTo>
                    <a:lnTo>
                      <a:pt x="865" y="307"/>
                    </a:lnTo>
                    <a:lnTo>
                      <a:pt x="865" y="307"/>
                    </a:lnTo>
                    <a:lnTo>
                      <a:pt x="866" y="307"/>
                    </a:lnTo>
                    <a:lnTo>
                      <a:pt x="868" y="304"/>
                    </a:lnTo>
                    <a:lnTo>
                      <a:pt x="868" y="303"/>
                    </a:lnTo>
                    <a:lnTo>
                      <a:pt x="868" y="300"/>
                    </a:lnTo>
                    <a:lnTo>
                      <a:pt x="868" y="300"/>
                    </a:lnTo>
                    <a:lnTo>
                      <a:pt x="866" y="297"/>
                    </a:lnTo>
                    <a:lnTo>
                      <a:pt x="868" y="294"/>
                    </a:lnTo>
                    <a:lnTo>
                      <a:pt x="869" y="291"/>
                    </a:lnTo>
                    <a:lnTo>
                      <a:pt x="872" y="289"/>
                    </a:lnTo>
                    <a:lnTo>
                      <a:pt x="872" y="289"/>
                    </a:lnTo>
                    <a:lnTo>
                      <a:pt x="873" y="289"/>
                    </a:lnTo>
                    <a:lnTo>
                      <a:pt x="875" y="287"/>
                    </a:lnTo>
                    <a:lnTo>
                      <a:pt x="873" y="284"/>
                    </a:lnTo>
                    <a:lnTo>
                      <a:pt x="872" y="283"/>
                    </a:lnTo>
                    <a:lnTo>
                      <a:pt x="872" y="283"/>
                    </a:lnTo>
                    <a:lnTo>
                      <a:pt x="865" y="277"/>
                    </a:lnTo>
                    <a:lnTo>
                      <a:pt x="861" y="273"/>
                    </a:lnTo>
                    <a:lnTo>
                      <a:pt x="859" y="270"/>
                    </a:lnTo>
                    <a:lnTo>
                      <a:pt x="859" y="270"/>
                    </a:lnTo>
                    <a:lnTo>
                      <a:pt x="859" y="262"/>
                    </a:lnTo>
                    <a:lnTo>
                      <a:pt x="859" y="256"/>
                    </a:lnTo>
                    <a:lnTo>
                      <a:pt x="859" y="253"/>
                    </a:lnTo>
                    <a:lnTo>
                      <a:pt x="859" y="253"/>
                    </a:lnTo>
                    <a:lnTo>
                      <a:pt x="859" y="246"/>
                    </a:lnTo>
                    <a:lnTo>
                      <a:pt x="859" y="237"/>
                    </a:lnTo>
                    <a:lnTo>
                      <a:pt x="859" y="237"/>
                    </a:lnTo>
                    <a:lnTo>
                      <a:pt x="859" y="234"/>
                    </a:lnTo>
                    <a:lnTo>
                      <a:pt x="861" y="230"/>
                    </a:lnTo>
                    <a:lnTo>
                      <a:pt x="863" y="222"/>
                    </a:lnTo>
                    <a:lnTo>
                      <a:pt x="863" y="222"/>
                    </a:lnTo>
                    <a:lnTo>
                      <a:pt x="863" y="219"/>
                    </a:lnTo>
                    <a:lnTo>
                      <a:pt x="862" y="215"/>
                    </a:lnTo>
                    <a:lnTo>
                      <a:pt x="859" y="210"/>
                    </a:lnTo>
                    <a:lnTo>
                      <a:pt x="854" y="206"/>
                    </a:lnTo>
                    <a:lnTo>
                      <a:pt x="851" y="203"/>
                    </a:lnTo>
                    <a:lnTo>
                      <a:pt x="851" y="203"/>
                    </a:lnTo>
                    <a:lnTo>
                      <a:pt x="848" y="200"/>
                    </a:lnTo>
                    <a:lnTo>
                      <a:pt x="848" y="198"/>
                    </a:lnTo>
                    <a:lnTo>
                      <a:pt x="851" y="195"/>
                    </a:lnTo>
                    <a:lnTo>
                      <a:pt x="855" y="190"/>
                    </a:lnTo>
                    <a:lnTo>
                      <a:pt x="855" y="190"/>
                    </a:lnTo>
                    <a:lnTo>
                      <a:pt x="858" y="188"/>
                    </a:lnTo>
                    <a:lnTo>
                      <a:pt x="859" y="185"/>
                    </a:lnTo>
                    <a:lnTo>
                      <a:pt x="862" y="176"/>
                    </a:lnTo>
                    <a:lnTo>
                      <a:pt x="862" y="169"/>
                    </a:lnTo>
                    <a:lnTo>
                      <a:pt x="862" y="163"/>
                    </a:lnTo>
                    <a:lnTo>
                      <a:pt x="862" y="163"/>
                    </a:lnTo>
                    <a:lnTo>
                      <a:pt x="859" y="161"/>
                    </a:lnTo>
                    <a:lnTo>
                      <a:pt x="854" y="159"/>
                    </a:lnTo>
                    <a:lnTo>
                      <a:pt x="848" y="158"/>
                    </a:lnTo>
                    <a:lnTo>
                      <a:pt x="842" y="156"/>
                    </a:lnTo>
                    <a:lnTo>
                      <a:pt x="842" y="156"/>
                    </a:lnTo>
                    <a:lnTo>
                      <a:pt x="826" y="156"/>
                    </a:lnTo>
                    <a:lnTo>
                      <a:pt x="812" y="155"/>
                    </a:lnTo>
                    <a:lnTo>
                      <a:pt x="812" y="155"/>
                    </a:lnTo>
                    <a:lnTo>
                      <a:pt x="808" y="156"/>
                    </a:lnTo>
                    <a:lnTo>
                      <a:pt x="807" y="158"/>
                    </a:lnTo>
                    <a:lnTo>
                      <a:pt x="802" y="165"/>
                    </a:lnTo>
                    <a:lnTo>
                      <a:pt x="802" y="165"/>
                    </a:lnTo>
                    <a:lnTo>
                      <a:pt x="798" y="173"/>
                    </a:lnTo>
                    <a:lnTo>
                      <a:pt x="795" y="180"/>
                    </a:lnTo>
                    <a:lnTo>
                      <a:pt x="792" y="188"/>
                    </a:lnTo>
                    <a:lnTo>
                      <a:pt x="792" y="188"/>
                    </a:lnTo>
                    <a:lnTo>
                      <a:pt x="791" y="190"/>
                    </a:lnTo>
                    <a:lnTo>
                      <a:pt x="788" y="193"/>
                    </a:lnTo>
                    <a:lnTo>
                      <a:pt x="782" y="199"/>
                    </a:lnTo>
                    <a:lnTo>
                      <a:pt x="771" y="203"/>
                    </a:lnTo>
                    <a:lnTo>
                      <a:pt x="771" y="203"/>
                    </a:lnTo>
                    <a:lnTo>
                      <a:pt x="767" y="206"/>
                    </a:lnTo>
                    <a:lnTo>
                      <a:pt x="764" y="210"/>
                    </a:lnTo>
                    <a:lnTo>
                      <a:pt x="762" y="215"/>
                    </a:lnTo>
                    <a:lnTo>
                      <a:pt x="764" y="217"/>
                    </a:lnTo>
                    <a:lnTo>
                      <a:pt x="764" y="217"/>
                    </a:lnTo>
                    <a:lnTo>
                      <a:pt x="767" y="219"/>
                    </a:lnTo>
                    <a:lnTo>
                      <a:pt x="768" y="219"/>
                    </a:lnTo>
                    <a:lnTo>
                      <a:pt x="771" y="219"/>
                    </a:lnTo>
                    <a:lnTo>
                      <a:pt x="772" y="220"/>
                    </a:lnTo>
                    <a:lnTo>
                      <a:pt x="772" y="220"/>
                    </a:lnTo>
                    <a:lnTo>
                      <a:pt x="774" y="222"/>
                    </a:lnTo>
                    <a:lnTo>
                      <a:pt x="774" y="226"/>
                    </a:lnTo>
                    <a:lnTo>
                      <a:pt x="771" y="233"/>
                    </a:lnTo>
                    <a:lnTo>
                      <a:pt x="771" y="233"/>
                    </a:lnTo>
                    <a:lnTo>
                      <a:pt x="771" y="234"/>
                    </a:lnTo>
                    <a:lnTo>
                      <a:pt x="771" y="236"/>
                    </a:lnTo>
                    <a:lnTo>
                      <a:pt x="771" y="237"/>
                    </a:lnTo>
                    <a:lnTo>
                      <a:pt x="770" y="240"/>
                    </a:lnTo>
                    <a:lnTo>
                      <a:pt x="770" y="240"/>
                    </a:lnTo>
                    <a:lnTo>
                      <a:pt x="767" y="243"/>
                    </a:lnTo>
                    <a:lnTo>
                      <a:pt x="765" y="246"/>
                    </a:lnTo>
                    <a:lnTo>
                      <a:pt x="764" y="249"/>
                    </a:lnTo>
                    <a:lnTo>
                      <a:pt x="765" y="252"/>
                    </a:lnTo>
                    <a:lnTo>
                      <a:pt x="765" y="252"/>
                    </a:lnTo>
                    <a:lnTo>
                      <a:pt x="768" y="253"/>
                    </a:lnTo>
                    <a:lnTo>
                      <a:pt x="772" y="254"/>
                    </a:lnTo>
                    <a:lnTo>
                      <a:pt x="784" y="259"/>
                    </a:lnTo>
                    <a:lnTo>
                      <a:pt x="784" y="259"/>
                    </a:lnTo>
                    <a:lnTo>
                      <a:pt x="787" y="260"/>
                    </a:lnTo>
                    <a:lnTo>
                      <a:pt x="788" y="264"/>
                    </a:lnTo>
                    <a:lnTo>
                      <a:pt x="788" y="267"/>
                    </a:lnTo>
                    <a:lnTo>
                      <a:pt x="791" y="271"/>
                    </a:lnTo>
                    <a:lnTo>
                      <a:pt x="791" y="271"/>
                    </a:lnTo>
                    <a:lnTo>
                      <a:pt x="794" y="273"/>
                    </a:lnTo>
                    <a:lnTo>
                      <a:pt x="797" y="274"/>
                    </a:lnTo>
                    <a:lnTo>
                      <a:pt x="798" y="274"/>
                    </a:lnTo>
                    <a:lnTo>
                      <a:pt x="801" y="276"/>
                    </a:lnTo>
                    <a:lnTo>
                      <a:pt x="801" y="276"/>
                    </a:lnTo>
                    <a:lnTo>
                      <a:pt x="799" y="280"/>
                    </a:lnTo>
                    <a:lnTo>
                      <a:pt x="797" y="286"/>
                    </a:lnTo>
                    <a:lnTo>
                      <a:pt x="794" y="290"/>
                    </a:lnTo>
                    <a:lnTo>
                      <a:pt x="791" y="291"/>
                    </a:lnTo>
                    <a:lnTo>
                      <a:pt x="791" y="291"/>
                    </a:lnTo>
                    <a:lnTo>
                      <a:pt x="787" y="290"/>
                    </a:lnTo>
                    <a:lnTo>
                      <a:pt x="781" y="286"/>
                    </a:lnTo>
                    <a:lnTo>
                      <a:pt x="771" y="277"/>
                    </a:lnTo>
                    <a:lnTo>
                      <a:pt x="771" y="277"/>
                    </a:lnTo>
                    <a:lnTo>
                      <a:pt x="760" y="271"/>
                    </a:lnTo>
                    <a:lnTo>
                      <a:pt x="745" y="266"/>
                    </a:lnTo>
                    <a:lnTo>
                      <a:pt x="745" y="266"/>
                    </a:lnTo>
                    <a:lnTo>
                      <a:pt x="734" y="262"/>
                    </a:lnTo>
                    <a:lnTo>
                      <a:pt x="730" y="260"/>
                    </a:lnTo>
                    <a:lnTo>
                      <a:pt x="724" y="257"/>
                    </a:lnTo>
                    <a:lnTo>
                      <a:pt x="724" y="257"/>
                    </a:lnTo>
                    <a:lnTo>
                      <a:pt x="717" y="253"/>
                    </a:lnTo>
                    <a:lnTo>
                      <a:pt x="711" y="250"/>
                    </a:lnTo>
                    <a:lnTo>
                      <a:pt x="704" y="249"/>
                    </a:lnTo>
                    <a:lnTo>
                      <a:pt x="694" y="249"/>
                    </a:lnTo>
                    <a:lnTo>
                      <a:pt x="694" y="249"/>
                    </a:lnTo>
                    <a:lnTo>
                      <a:pt x="684" y="249"/>
                    </a:lnTo>
                    <a:lnTo>
                      <a:pt x="676" y="247"/>
                    </a:lnTo>
                    <a:lnTo>
                      <a:pt x="670" y="246"/>
                    </a:lnTo>
                    <a:lnTo>
                      <a:pt x="664" y="246"/>
                    </a:lnTo>
                    <a:lnTo>
                      <a:pt x="664" y="246"/>
                    </a:lnTo>
                    <a:lnTo>
                      <a:pt x="661" y="246"/>
                    </a:lnTo>
                    <a:lnTo>
                      <a:pt x="660" y="243"/>
                    </a:lnTo>
                    <a:lnTo>
                      <a:pt x="657" y="240"/>
                    </a:lnTo>
                    <a:lnTo>
                      <a:pt x="653" y="237"/>
                    </a:lnTo>
                    <a:lnTo>
                      <a:pt x="653" y="237"/>
                    </a:lnTo>
                    <a:lnTo>
                      <a:pt x="642" y="232"/>
                    </a:lnTo>
                    <a:lnTo>
                      <a:pt x="637" y="230"/>
                    </a:lnTo>
                    <a:lnTo>
                      <a:pt x="633" y="232"/>
                    </a:lnTo>
                    <a:lnTo>
                      <a:pt x="633" y="232"/>
                    </a:lnTo>
                    <a:lnTo>
                      <a:pt x="632" y="234"/>
                    </a:lnTo>
                    <a:lnTo>
                      <a:pt x="632" y="239"/>
                    </a:lnTo>
                    <a:lnTo>
                      <a:pt x="633" y="242"/>
                    </a:lnTo>
                    <a:lnTo>
                      <a:pt x="639" y="244"/>
                    </a:lnTo>
                    <a:lnTo>
                      <a:pt x="639" y="244"/>
                    </a:lnTo>
                    <a:lnTo>
                      <a:pt x="642" y="246"/>
                    </a:lnTo>
                    <a:lnTo>
                      <a:pt x="644" y="247"/>
                    </a:lnTo>
                    <a:lnTo>
                      <a:pt x="646" y="249"/>
                    </a:lnTo>
                    <a:lnTo>
                      <a:pt x="650" y="249"/>
                    </a:lnTo>
                    <a:lnTo>
                      <a:pt x="650" y="249"/>
                    </a:lnTo>
                    <a:lnTo>
                      <a:pt x="654" y="249"/>
                    </a:lnTo>
                    <a:lnTo>
                      <a:pt x="659" y="250"/>
                    </a:lnTo>
                    <a:lnTo>
                      <a:pt x="660" y="253"/>
                    </a:lnTo>
                    <a:lnTo>
                      <a:pt x="660" y="256"/>
                    </a:lnTo>
                    <a:lnTo>
                      <a:pt x="660" y="256"/>
                    </a:lnTo>
                    <a:lnTo>
                      <a:pt x="660" y="260"/>
                    </a:lnTo>
                    <a:lnTo>
                      <a:pt x="663" y="264"/>
                    </a:lnTo>
                    <a:lnTo>
                      <a:pt x="667" y="270"/>
                    </a:lnTo>
                    <a:lnTo>
                      <a:pt x="667" y="270"/>
                    </a:lnTo>
                    <a:lnTo>
                      <a:pt x="669" y="273"/>
                    </a:lnTo>
                    <a:lnTo>
                      <a:pt x="669" y="276"/>
                    </a:lnTo>
                    <a:lnTo>
                      <a:pt x="666" y="277"/>
                    </a:lnTo>
                    <a:lnTo>
                      <a:pt x="663" y="279"/>
                    </a:lnTo>
                    <a:lnTo>
                      <a:pt x="663" y="279"/>
                    </a:lnTo>
                    <a:lnTo>
                      <a:pt x="653" y="280"/>
                    </a:lnTo>
                    <a:lnTo>
                      <a:pt x="652" y="281"/>
                    </a:lnTo>
                    <a:lnTo>
                      <a:pt x="652" y="284"/>
                    </a:lnTo>
                    <a:lnTo>
                      <a:pt x="652" y="284"/>
                    </a:lnTo>
                    <a:lnTo>
                      <a:pt x="653" y="287"/>
                    </a:lnTo>
                    <a:lnTo>
                      <a:pt x="652" y="289"/>
                    </a:lnTo>
                    <a:lnTo>
                      <a:pt x="647" y="289"/>
                    </a:lnTo>
                    <a:lnTo>
                      <a:pt x="643" y="287"/>
                    </a:lnTo>
                    <a:lnTo>
                      <a:pt x="643" y="287"/>
                    </a:lnTo>
                    <a:lnTo>
                      <a:pt x="640" y="286"/>
                    </a:lnTo>
                    <a:lnTo>
                      <a:pt x="640" y="283"/>
                    </a:lnTo>
                    <a:lnTo>
                      <a:pt x="642" y="280"/>
                    </a:lnTo>
                    <a:lnTo>
                      <a:pt x="643" y="277"/>
                    </a:lnTo>
                    <a:lnTo>
                      <a:pt x="643" y="277"/>
                    </a:lnTo>
                    <a:lnTo>
                      <a:pt x="644" y="277"/>
                    </a:lnTo>
                    <a:lnTo>
                      <a:pt x="643" y="276"/>
                    </a:lnTo>
                    <a:lnTo>
                      <a:pt x="642" y="274"/>
                    </a:lnTo>
                    <a:lnTo>
                      <a:pt x="633" y="270"/>
                    </a:lnTo>
                    <a:lnTo>
                      <a:pt x="633" y="270"/>
                    </a:lnTo>
                    <a:lnTo>
                      <a:pt x="629" y="271"/>
                    </a:lnTo>
                    <a:lnTo>
                      <a:pt x="622" y="276"/>
                    </a:lnTo>
                    <a:lnTo>
                      <a:pt x="609" y="283"/>
                    </a:lnTo>
                    <a:lnTo>
                      <a:pt x="609" y="283"/>
                    </a:lnTo>
                    <a:lnTo>
                      <a:pt x="605" y="283"/>
                    </a:lnTo>
                    <a:lnTo>
                      <a:pt x="597" y="283"/>
                    </a:lnTo>
                    <a:lnTo>
                      <a:pt x="590" y="281"/>
                    </a:lnTo>
                    <a:lnTo>
                      <a:pt x="582" y="283"/>
                    </a:lnTo>
                    <a:lnTo>
                      <a:pt x="582" y="283"/>
                    </a:lnTo>
                    <a:lnTo>
                      <a:pt x="575" y="286"/>
                    </a:lnTo>
                    <a:lnTo>
                      <a:pt x="572" y="290"/>
                    </a:lnTo>
                    <a:lnTo>
                      <a:pt x="569" y="293"/>
                    </a:lnTo>
                    <a:lnTo>
                      <a:pt x="569" y="294"/>
                    </a:lnTo>
                    <a:lnTo>
                      <a:pt x="568" y="294"/>
                    </a:lnTo>
                    <a:lnTo>
                      <a:pt x="568" y="294"/>
                    </a:lnTo>
                    <a:lnTo>
                      <a:pt x="556" y="294"/>
                    </a:lnTo>
                    <a:lnTo>
                      <a:pt x="551" y="293"/>
                    </a:lnTo>
                    <a:lnTo>
                      <a:pt x="545" y="291"/>
                    </a:lnTo>
                    <a:lnTo>
                      <a:pt x="545" y="291"/>
                    </a:lnTo>
                    <a:lnTo>
                      <a:pt x="543" y="290"/>
                    </a:lnTo>
                    <a:lnTo>
                      <a:pt x="543" y="289"/>
                    </a:lnTo>
                    <a:lnTo>
                      <a:pt x="549" y="287"/>
                    </a:lnTo>
                    <a:lnTo>
                      <a:pt x="549" y="287"/>
                    </a:lnTo>
                    <a:lnTo>
                      <a:pt x="552" y="287"/>
                    </a:lnTo>
                    <a:lnTo>
                      <a:pt x="555" y="287"/>
                    </a:lnTo>
                    <a:lnTo>
                      <a:pt x="555" y="286"/>
                    </a:lnTo>
                    <a:lnTo>
                      <a:pt x="553" y="283"/>
                    </a:lnTo>
                    <a:lnTo>
                      <a:pt x="553" y="283"/>
                    </a:lnTo>
                    <a:lnTo>
                      <a:pt x="552" y="280"/>
                    </a:lnTo>
                    <a:lnTo>
                      <a:pt x="553" y="277"/>
                    </a:lnTo>
                    <a:lnTo>
                      <a:pt x="556" y="274"/>
                    </a:lnTo>
                    <a:lnTo>
                      <a:pt x="556" y="271"/>
                    </a:lnTo>
                    <a:lnTo>
                      <a:pt x="556" y="271"/>
                    </a:lnTo>
                    <a:lnTo>
                      <a:pt x="556" y="271"/>
                    </a:lnTo>
                    <a:lnTo>
                      <a:pt x="553" y="271"/>
                    </a:lnTo>
                    <a:lnTo>
                      <a:pt x="546" y="273"/>
                    </a:lnTo>
                    <a:lnTo>
                      <a:pt x="539" y="276"/>
                    </a:lnTo>
                    <a:lnTo>
                      <a:pt x="535" y="279"/>
                    </a:lnTo>
                    <a:lnTo>
                      <a:pt x="535" y="279"/>
                    </a:lnTo>
                    <a:lnTo>
                      <a:pt x="533" y="281"/>
                    </a:lnTo>
                    <a:lnTo>
                      <a:pt x="533" y="283"/>
                    </a:lnTo>
                    <a:lnTo>
                      <a:pt x="533" y="286"/>
                    </a:lnTo>
                    <a:lnTo>
                      <a:pt x="532" y="287"/>
                    </a:lnTo>
                    <a:lnTo>
                      <a:pt x="532" y="287"/>
                    </a:lnTo>
                    <a:lnTo>
                      <a:pt x="529" y="287"/>
                    </a:lnTo>
                    <a:lnTo>
                      <a:pt x="528" y="287"/>
                    </a:lnTo>
                    <a:lnTo>
                      <a:pt x="526" y="284"/>
                    </a:lnTo>
                    <a:lnTo>
                      <a:pt x="525" y="283"/>
                    </a:lnTo>
                    <a:lnTo>
                      <a:pt x="525" y="283"/>
                    </a:lnTo>
                    <a:lnTo>
                      <a:pt x="518" y="283"/>
                    </a:lnTo>
                    <a:lnTo>
                      <a:pt x="506" y="286"/>
                    </a:lnTo>
                    <a:lnTo>
                      <a:pt x="495" y="290"/>
                    </a:lnTo>
                    <a:lnTo>
                      <a:pt x="491" y="291"/>
                    </a:lnTo>
                    <a:lnTo>
                      <a:pt x="488" y="294"/>
                    </a:lnTo>
                    <a:lnTo>
                      <a:pt x="488" y="294"/>
                    </a:lnTo>
                    <a:lnTo>
                      <a:pt x="484" y="297"/>
                    </a:lnTo>
                    <a:lnTo>
                      <a:pt x="478" y="300"/>
                    </a:lnTo>
                    <a:lnTo>
                      <a:pt x="474" y="301"/>
                    </a:lnTo>
                    <a:lnTo>
                      <a:pt x="472" y="304"/>
                    </a:lnTo>
                    <a:lnTo>
                      <a:pt x="472" y="304"/>
                    </a:lnTo>
                    <a:lnTo>
                      <a:pt x="472" y="304"/>
                    </a:lnTo>
                    <a:lnTo>
                      <a:pt x="471" y="306"/>
                    </a:lnTo>
                    <a:lnTo>
                      <a:pt x="465" y="307"/>
                    </a:lnTo>
                    <a:lnTo>
                      <a:pt x="459" y="307"/>
                    </a:lnTo>
                    <a:lnTo>
                      <a:pt x="455" y="308"/>
                    </a:lnTo>
                    <a:lnTo>
                      <a:pt x="455" y="308"/>
                    </a:lnTo>
                    <a:lnTo>
                      <a:pt x="454" y="310"/>
                    </a:lnTo>
                    <a:lnTo>
                      <a:pt x="452" y="311"/>
                    </a:lnTo>
                    <a:lnTo>
                      <a:pt x="452" y="317"/>
                    </a:lnTo>
                    <a:lnTo>
                      <a:pt x="452" y="321"/>
                    </a:lnTo>
                    <a:lnTo>
                      <a:pt x="451" y="326"/>
                    </a:lnTo>
                    <a:lnTo>
                      <a:pt x="451" y="326"/>
                    </a:lnTo>
                    <a:lnTo>
                      <a:pt x="450" y="327"/>
                    </a:lnTo>
                    <a:lnTo>
                      <a:pt x="447" y="328"/>
                    </a:lnTo>
                    <a:lnTo>
                      <a:pt x="440" y="330"/>
                    </a:lnTo>
                    <a:lnTo>
                      <a:pt x="424" y="330"/>
                    </a:lnTo>
                    <a:lnTo>
                      <a:pt x="424" y="330"/>
                    </a:lnTo>
                    <a:lnTo>
                      <a:pt x="422" y="328"/>
                    </a:lnTo>
                    <a:lnTo>
                      <a:pt x="420" y="328"/>
                    </a:lnTo>
                    <a:lnTo>
                      <a:pt x="417" y="324"/>
                    </a:lnTo>
                    <a:lnTo>
                      <a:pt x="414" y="320"/>
                    </a:lnTo>
                    <a:lnTo>
                      <a:pt x="411" y="317"/>
                    </a:lnTo>
                    <a:lnTo>
                      <a:pt x="411" y="317"/>
                    </a:lnTo>
                    <a:lnTo>
                      <a:pt x="410" y="316"/>
                    </a:lnTo>
                    <a:lnTo>
                      <a:pt x="408" y="313"/>
                    </a:lnTo>
                    <a:lnTo>
                      <a:pt x="411" y="307"/>
                    </a:lnTo>
                    <a:lnTo>
                      <a:pt x="411" y="307"/>
                    </a:lnTo>
                    <a:lnTo>
                      <a:pt x="413" y="306"/>
                    </a:lnTo>
                    <a:lnTo>
                      <a:pt x="415" y="306"/>
                    </a:lnTo>
                    <a:lnTo>
                      <a:pt x="418" y="304"/>
                    </a:lnTo>
                    <a:lnTo>
                      <a:pt x="422" y="303"/>
                    </a:lnTo>
                    <a:lnTo>
                      <a:pt x="422" y="303"/>
                    </a:lnTo>
                    <a:lnTo>
                      <a:pt x="427" y="301"/>
                    </a:lnTo>
                    <a:lnTo>
                      <a:pt x="431" y="303"/>
                    </a:lnTo>
                    <a:lnTo>
                      <a:pt x="434" y="303"/>
                    </a:lnTo>
                    <a:lnTo>
                      <a:pt x="437" y="303"/>
                    </a:lnTo>
                    <a:lnTo>
                      <a:pt x="437" y="303"/>
                    </a:lnTo>
                    <a:lnTo>
                      <a:pt x="437" y="301"/>
                    </a:lnTo>
                    <a:lnTo>
                      <a:pt x="435" y="300"/>
                    </a:lnTo>
                    <a:lnTo>
                      <a:pt x="432" y="296"/>
                    </a:lnTo>
                    <a:lnTo>
                      <a:pt x="428" y="291"/>
                    </a:lnTo>
                    <a:lnTo>
                      <a:pt x="427" y="287"/>
                    </a:lnTo>
                    <a:lnTo>
                      <a:pt x="427" y="287"/>
                    </a:lnTo>
                    <a:lnTo>
                      <a:pt x="425" y="284"/>
                    </a:lnTo>
                    <a:lnTo>
                      <a:pt x="424" y="283"/>
                    </a:lnTo>
                    <a:lnTo>
                      <a:pt x="418" y="281"/>
                    </a:lnTo>
                    <a:lnTo>
                      <a:pt x="413" y="280"/>
                    </a:lnTo>
                    <a:lnTo>
                      <a:pt x="407" y="281"/>
                    </a:lnTo>
                    <a:lnTo>
                      <a:pt x="407" y="281"/>
                    </a:lnTo>
                    <a:lnTo>
                      <a:pt x="401" y="281"/>
                    </a:lnTo>
                    <a:lnTo>
                      <a:pt x="395" y="281"/>
                    </a:lnTo>
                    <a:lnTo>
                      <a:pt x="387" y="279"/>
                    </a:lnTo>
                    <a:lnTo>
                      <a:pt x="387" y="279"/>
                    </a:lnTo>
                    <a:lnTo>
                      <a:pt x="384" y="279"/>
                    </a:lnTo>
                    <a:lnTo>
                      <a:pt x="383" y="280"/>
                    </a:lnTo>
                    <a:lnTo>
                      <a:pt x="385" y="283"/>
                    </a:lnTo>
                    <a:lnTo>
                      <a:pt x="390" y="286"/>
                    </a:lnTo>
                    <a:lnTo>
                      <a:pt x="390" y="286"/>
                    </a:lnTo>
                    <a:lnTo>
                      <a:pt x="393" y="287"/>
                    </a:lnTo>
                    <a:lnTo>
                      <a:pt x="394" y="290"/>
                    </a:lnTo>
                    <a:lnTo>
                      <a:pt x="394" y="293"/>
                    </a:lnTo>
                    <a:lnTo>
                      <a:pt x="394" y="296"/>
                    </a:lnTo>
                    <a:lnTo>
                      <a:pt x="394" y="296"/>
                    </a:lnTo>
                    <a:lnTo>
                      <a:pt x="394" y="300"/>
                    </a:lnTo>
                    <a:lnTo>
                      <a:pt x="393" y="304"/>
                    </a:lnTo>
                    <a:lnTo>
                      <a:pt x="388" y="314"/>
                    </a:lnTo>
                    <a:lnTo>
                      <a:pt x="388" y="314"/>
                    </a:lnTo>
                    <a:lnTo>
                      <a:pt x="385" y="317"/>
                    </a:lnTo>
                    <a:lnTo>
                      <a:pt x="387" y="320"/>
                    </a:lnTo>
                    <a:lnTo>
                      <a:pt x="388" y="320"/>
                    </a:lnTo>
                    <a:lnTo>
                      <a:pt x="393" y="320"/>
                    </a:lnTo>
                    <a:lnTo>
                      <a:pt x="393" y="320"/>
                    </a:lnTo>
                    <a:lnTo>
                      <a:pt x="395" y="320"/>
                    </a:lnTo>
                    <a:lnTo>
                      <a:pt x="397" y="321"/>
                    </a:lnTo>
                    <a:lnTo>
                      <a:pt x="398" y="324"/>
                    </a:lnTo>
                    <a:lnTo>
                      <a:pt x="398" y="334"/>
                    </a:lnTo>
                    <a:lnTo>
                      <a:pt x="398" y="334"/>
                    </a:lnTo>
                    <a:lnTo>
                      <a:pt x="398" y="338"/>
                    </a:lnTo>
                    <a:lnTo>
                      <a:pt x="397" y="341"/>
                    </a:lnTo>
                    <a:lnTo>
                      <a:pt x="394" y="344"/>
                    </a:lnTo>
                    <a:lnTo>
                      <a:pt x="394" y="347"/>
                    </a:lnTo>
                    <a:lnTo>
                      <a:pt x="394" y="347"/>
                    </a:lnTo>
                    <a:lnTo>
                      <a:pt x="393" y="348"/>
                    </a:lnTo>
                    <a:lnTo>
                      <a:pt x="391" y="347"/>
                    </a:lnTo>
                    <a:lnTo>
                      <a:pt x="388" y="345"/>
                    </a:lnTo>
                    <a:lnTo>
                      <a:pt x="387" y="345"/>
                    </a:lnTo>
                    <a:lnTo>
                      <a:pt x="387" y="345"/>
                    </a:lnTo>
                    <a:lnTo>
                      <a:pt x="385" y="347"/>
                    </a:lnTo>
                    <a:lnTo>
                      <a:pt x="384" y="345"/>
                    </a:lnTo>
                    <a:lnTo>
                      <a:pt x="383" y="341"/>
                    </a:lnTo>
                    <a:lnTo>
                      <a:pt x="383" y="341"/>
                    </a:lnTo>
                    <a:lnTo>
                      <a:pt x="380" y="340"/>
                    </a:lnTo>
                    <a:lnTo>
                      <a:pt x="376" y="338"/>
                    </a:lnTo>
                    <a:lnTo>
                      <a:pt x="366" y="338"/>
                    </a:lnTo>
                    <a:lnTo>
                      <a:pt x="366" y="338"/>
                    </a:lnTo>
                    <a:lnTo>
                      <a:pt x="363" y="338"/>
                    </a:lnTo>
                    <a:lnTo>
                      <a:pt x="360" y="338"/>
                    </a:lnTo>
                    <a:lnTo>
                      <a:pt x="356" y="343"/>
                    </a:lnTo>
                    <a:lnTo>
                      <a:pt x="356" y="343"/>
                    </a:lnTo>
                    <a:lnTo>
                      <a:pt x="353" y="345"/>
                    </a:lnTo>
                    <a:lnTo>
                      <a:pt x="350" y="348"/>
                    </a:lnTo>
                    <a:lnTo>
                      <a:pt x="341" y="350"/>
                    </a:lnTo>
                    <a:lnTo>
                      <a:pt x="341" y="350"/>
                    </a:lnTo>
                    <a:lnTo>
                      <a:pt x="339" y="351"/>
                    </a:lnTo>
                    <a:lnTo>
                      <a:pt x="334" y="354"/>
                    </a:lnTo>
                    <a:lnTo>
                      <a:pt x="326" y="361"/>
                    </a:lnTo>
                    <a:lnTo>
                      <a:pt x="326" y="361"/>
                    </a:lnTo>
                    <a:lnTo>
                      <a:pt x="324" y="363"/>
                    </a:lnTo>
                    <a:lnTo>
                      <a:pt x="323" y="367"/>
                    </a:lnTo>
                    <a:lnTo>
                      <a:pt x="324" y="370"/>
                    </a:lnTo>
                    <a:lnTo>
                      <a:pt x="327" y="374"/>
                    </a:lnTo>
                    <a:lnTo>
                      <a:pt x="327" y="374"/>
                    </a:lnTo>
                    <a:lnTo>
                      <a:pt x="331" y="378"/>
                    </a:lnTo>
                    <a:lnTo>
                      <a:pt x="333" y="382"/>
                    </a:lnTo>
                    <a:lnTo>
                      <a:pt x="334" y="385"/>
                    </a:lnTo>
                    <a:lnTo>
                      <a:pt x="334" y="387"/>
                    </a:lnTo>
                    <a:lnTo>
                      <a:pt x="334" y="387"/>
                    </a:lnTo>
                    <a:lnTo>
                      <a:pt x="333" y="388"/>
                    </a:lnTo>
                    <a:lnTo>
                      <a:pt x="331" y="388"/>
                    </a:lnTo>
                    <a:lnTo>
                      <a:pt x="324" y="390"/>
                    </a:lnTo>
                    <a:lnTo>
                      <a:pt x="319" y="388"/>
                    </a:lnTo>
                    <a:lnTo>
                      <a:pt x="314" y="385"/>
                    </a:lnTo>
                    <a:lnTo>
                      <a:pt x="314" y="385"/>
                    </a:lnTo>
                    <a:lnTo>
                      <a:pt x="312" y="384"/>
                    </a:lnTo>
                    <a:lnTo>
                      <a:pt x="307" y="382"/>
                    </a:lnTo>
                    <a:lnTo>
                      <a:pt x="299" y="382"/>
                    </a:lnTo>
                    <a:lnTo>
                      <a:pt x="299" y="382"/>
                    </a:lnTo>
                    <a:lnTo>
                      <a:pt x="294" y="381"/>
                    </a:lnTo>
                    <a:lnTo>
                      <a:pt x="289" y="377"/>
                    </a:lnTo>
                    <a:lnTo>
                      <a:pt x="284" y="372"/>
                    </a:lnTo>
                    <a:lnTo>
                      <a:pt x="280" y="371"/>
                    </a:lnTo>
                    <a:lnTo>
                      <a:pt x="280" y="371"/>
                    </a:lnTo>
                    <a:lnTo>
                      <a:pt x="276" y="372"/>
                    </a:lnTo>
                    <a:lnTo>
                      <a:pt x="273" y="374"/>
                    </a:lnTo>
                    <a:lnTo>
                      <a:pt x="270" y="380"/>
                    </a:lnTo>
                    <a:lnTo>
                      <a:pt x="270" y="380"/>
                    </a:lnTo>
                    <a:lnTo>
                      <a:pt x="270" y="382"/>
                    </a:lnTo>
                    <a:lnTo>
                      <a:pt x="270" y="384"/>
                    </a:lnTo>
                    <a:lnTo>
                      <a:pt x="275" y="390"/>
                    </a:lnTo>
                    <a:lnTo>
                      <a:pt x="275" y="390"/>
                    </a:lnTo>
                    <a:lnTo>
                      <a:pt x="277" y="392"/>
                    </a:lnTo>
                    <a:lnTo>
                      <a:pt x="282" y="394"/>
                    </a:lnTo>
                    <a:lnTo>
                      <a:pt x="290" y="395"/>
                    </a:lnTo>
                    <a:lnTo>
                      <a:pt x="290" y="395"/>
                    </a:lnTo>
                    <a:lnTo>
                      <a:pt x="293" y="397"/>
                    </a:lnTo>
                    <a:lnTo>
                      <a:pt x="293" y="398"/>
                    </a:lnTo>
                    <a:lnTo>
                      <a:pt x="292" y="405"/>
                    </a:lnTo>
                    <a:lnTo>
                      <a:pt x="292" y="405"/>
                    </a:lnTo>
                    <a:lnTo>
                      <a:pt x="290" y="407"/>
                    </a:lnTo>
                    <a:lnTo>
                      <a:pt x="286" y="408"/>
                    </a:lnTo>
                    <a:lnTo>
                      <a:pt x="283" y="408"/>
                    </a:lnTo>
                    <a:lnTo>
                      <a:pt x="280" y="407"/>
                    </a:lnTo>
                    <a:lnTo>
                      <a:pt x="280" y="407"/>
                    </a:lnTo>
                    <a:lnTo>
                      <a:pt x="277" y="405"/>
                    </a:lnTo>
                    <a:lnTo>
                      <a:pt x="273" y="405"/>
                    </a:lnTo>
                    <a:lnTo>
                      <a:pt x="269" y="404"/>
                    </a:lnTo>
                    <a:lnTo>
                      <a:pt x="267" y="404"/>
                    </a:lnTo>
                    <a:lnTo>
                      <a:pt x="267" y="402"/>
                    </a:lnTo>
                    <a:lnTo>
                      <a:pt x="267" y="402"/>
                    </a:lnTo>
                    <a:lnTo>
                      <a:pt x="266" y="400"/>
                    </a:lnTo>
                    <a:lnTo>
                      <a:pt x="263" y="397"/>
                    </a:lnTo>
                    <a:lnTo>
                      <a:pt x="257" y="395"/>
                    </a:lnTo>
                    <a:lnTo>
                      <a:pt x="253" y="394"/>
                    </a:lnTo>
                    <a:lnTo>
                      <a:pt x="253" y="394"/>
                    </a:lnTo>
                    <a:lnTo>
                      <a:pt x="247" y="394"/>
                    </a:lnTo>
                    <a:lnTo>
                      <a:pt x="246" y="392"/>
                    </a:lnTo>
                    <a:lnTo>
                      <a:pt x="245" y="390"/>
                    </a:lnTo>
                    <a:lnTo>
                      <a:pt x="245" y="385"/>
                    </a:lnTo>
                    <a:lnTo>
                      <a:pt x="245" y="385"/>
                    </a:lnTo>
                    <a:lnTo>
                      <a:pt x="243" y="381"/>
                    </a:lnTo>
                    <a:lnTo>
                      <a:pt x="242" y="378"/>
                    </a:lnTo>
                    <a:lnTo>
                      <a:pt x="240" y="375"/>
                    </a:lnTo>
                    <a:lnTo>
                      <a:pt x="240" y="374"/>
                    </a:lnTo>
                    <a:lnTo>
                      <a:pt x="240" y="374"/>
                    </a:lnTo>
                    <a:lnTo>
                      <a:pt x="239" y="368"/>
                    </a:lnTo>
                    <a:lnTo>
                      <a:pt x="239" y="365"/>
                    </a:lnTo>
                    <a:lnTo>
                      <a:pt x="240" y="363"/>
                    </a:lnTo>
                    <a:lnTo>
                      <a:pt x="240" y="363"/>
                    </a:lnTo>
                    <a:lnTo>
                      <a:pt x="243" y="361"/>
                    </a:lnTo>
                    <a:lnTo>
                      <a:pt x="243" y="358"/>
                    </a:lnTo>
                    <a:lnTo>
                      <a:pt x="242" y="353"/>
                    </a:lnTo>
                    <a:lnTo>
                      <a:pt x="242" y="353"/>
                    </a:lnTo>
                    <a:lnTo>
                      <a:pt x="240" y="350"/>
                    </a:lnTo>
                    <a:lnTo>
                      <a:pt x="238" y="347"/>
                    </a:lnTo>
                    <a:lnTo>
                      <a:pt x="235" y="345"/>
                    </a:lnTo>
                    <a:lnTo>
                      <a:pt x="230" y="344"/>
                    </a:lnTo>
                    <a:lnTo>
                      <a:pt x="230" y="344"/>
                    </a:lnTo>
                    <a:lnTo>
                      <a:pt x="226" y="343"/>
                    </a:lnTo>
                    <a:lnTo>
                      <a:pt x="225" y="341"/>
                    </a:lnTo>
                    <a:lnTo>
                      <a:pt x="223" y="338"/>
                    </a:lnTo>
                    <a:lnTo>
                      <a:pt x="220" y="337"/>
                    </a:lnTo>
                    <a:lnTo>
                      <a:pt x="220" y="337"/>
                    </a:lnTo>
                    <a:lnTo>
                      <a:pt x="216" y="334"/>
                    </a:lnTo>
                    <a:lnTo>
                      <a:pt x="211" y="331"/>
                    </a:lnTo>
                    <a:lnTo>
                      <a:pt x="206" y="327"/>
                    </a:lnTo>
                    <a:lnTo>
                      <a:pt x="205" y="324"/>
                    </a:lnTo>
                    <a:lnTo>
                      <a:pt x="205" y="324"/>
                    </a:lnTo>
                    <a:lnTo>
                      <a:pt x="203" y="321"/>
                    </a:lnTo>
                    <a:lnTo>
                      <a:pt x="201" y="320"/>
                    </a:lnTo>
                    <a:lnTo>
                      <a:pt x="198" y="320"/>
                    </a:lnTo>
                    <a:lnTo>
                      <a:pt x="199" y="318"/>
                    </a:lnTo>
                    <a:lnTo>
                      <a:pt x="199" y="318"/>
                    </a:lnTo>
                    <a:lnTo>
                      <a:pt x="201" y="318"/>
                    </a:lnTo>
                    <a:lnTo>
                      <a:pt x="205" y="318"/>
                    </a:lnTo>
                    <a:lnTo>
                      <a:pt x="208" y="321"/>
                    </a:lnTo>
                    <a:lnTo>
                      <a:pt x="212" y="323"/>
                    </a:lnTo>
                    <a:lnTo>
                      <a:pt x="212" y="323"/>
                    </a:lnTo>
                    <a:lnTo>
                      <a:pt x="215" y="327"/>
                    </a:lnTo>
                    <a:lnTo>
                      <a:pt x="220" y="328"/>
                    </a:lnTo>
                    <a:lnTo>
                      <a:pt x="226" y="331"/>
                    </a:lnTo>
                    <a:lnTo>
                      <a:pt x="233" y="333"/>
                    </a:lnTo>
                    <a:lnTo>
                      <a:pt x="233" y="333"/>
                    </a:lnTo>
                    <a:lnTo>
                      <a:pt x="242" y="334"/>
                    </a:lnTo>
                    <a:lnTo>
                      <a:pt x="247" y="337"/>
                    </a:lnTo>
                    <a:lnTo>
                      <a:pt x="253" y="340"/>
                    </a:lnTo>
                    <a:lnTo>
                      <a:pt x="262" y="341"/>
                    </a:lnTo>
                    <a:lnTo>
                      <a:pt x="262" y="341"/>
                    </a:lnTo>
                    <a:lnTo>
                      <a:pt x="299" y="348"/>
                    </a:lnTo>
                    <a:lnTo>
                      <a:pt x="299" y="348"/>
                    </a:lnTo>
                    <a:lnTo>
                      <a:pt x="306" y="348"/>
                    </a:lnTo>
                    <a:lnTo>
                      <a:pt x="313" y="347"/>
                    </a:lnTo>
                    <a:lnTo>
                      <a:pt x="320" y="344"/>
                    </a:lnTo>
                    <a:lnTo>
                      <a:pt x="327" y="340"/>
                    </a:lnTo>
                    <a:lnTo>
                      <a:pt x="339" y="333"/>
                    </a:lnTo>
                    <a:lnTo>
                      <a:pt x="346" y="327"/>
                    </a:lnTo>
                    <a:lnTo>
                      <a:pt x="346" y="327"/>
                    </a:lnTo>
                    <a:lnTo>
                      <a:pt x="347" y="326"/>
                    </a:lnTo>
                    <a:lnTo>
                      <a:pt x="347" y="323"/>
                    </a:lnTo>
                    <a:lnTo>
                      <a:pt x="347" y="317"/>
                    </a:lnTo>
                    <a:lnTo>
                      <a:pt x="344" y="308"/>
                    </a:lnTo>
                    <a:lnTo>
                      <a:pt x="344" y="308"/>
                    </a:lnTo>
                    <a:lnTo>
                      <a:pt x="343" y="306"/>
                    </a:lnTo>
                    <a:lnTo>
                      <a:pt x="340" y="304"/>
                    </a:lnTo>
                    <a:lnTo>
                      <a:pt x="337" y="303"/>
                    </a:lnTo>
                    <a:lnTo>
                      <a:pt x="336" y="301"/>
                    </a:lnTo>
                    <a:lnTo>
                      <a:pt x="336" y="301"/>
                    </a:lnTo>
                    <a:lnTo>
                      <a:pt x="333" y="299"/>
                    </a:lnTo>
                    <a:lnTo>
                      <a:pt x="330" y="296"/>
                    </a:lnTo>
                    <a:lnTo>
                      <a:pt x="327" y="294"/>
                    </a:lnTo>
                    <a:lnTo>
                      <a:pt x="321" y="293"/>
                    </a:lnTo>
                    <a:lnTo>
                      <a:pt x="321" y="293"/>
                    </a:lnTo>
                    <a:lnTo>
                      <a:pt x="317" y="291"/>
                    </a:lnTo>
                    <a:lnTo>
                      <a:pt x="314" y="290"/>
                    </a:lnTo>
                    <a:lnTo>
                      <a:pt x="312" y="287"/>
                    </a:lnTo>
                    <a:lnTo>
                      <a:pt x="309" y="286"/>
                    </a:lnTo>
                    <a:lnTo>
                      <a:pt x="309" y="286"/>
                    </a:lnTo>
                    <a:lnTo>
                      <a:pt x="304" y="286"/>
                    </a:lnTo>
                    <a:lnTo>
                      <a:pt x="300" y="284"/>
                    </a:lnTo>
                    <a:lnTo>
                      <a:pt x="284" y="274"/>
                    </a:lnTo>
                    <a:lnTo>
                      <a:pt x="284" y="274"/>
                    </a:lnTo>
                    <a:lnTo>
                      <a:pt x="273" y="267"/>
                    </a:lnTo>
                    <a:lnTo>
                      <a:pt x="262" y="263"/>
                    </a:lnTo>
                    <a:lnTo>
                      <a:pt x="253" y="260"/>
                    </a:lnTo>
                    <a:lnTo>
                      <a:pt x="247" y="259"/>
                    </a:lnTo>
                    <a:lnTo>
                      <a:pt x="247" y="259"/>
                    </a:lnTo>
                    <a:lnTo>
                      <a:pt x="243" y="260"/>
                    </a:lnTo>
                    <a:lnTo>
                      <a:pt x="240" y="260"/>
                    </a:lnTo>
                    <a:lnTo>
                      <a:pt x="239" y="259"/>
                    </a:lnTo>
                    <a:lnTo>
                      <a:pt x="239" y="259"/>
                    </a:lnTo>
                    <a:lnTo>
                      <a:pt x="238" y="256"/>
                    </a:lnTo>
                    <a:lnTo>
                      <a:pt x="233" y="256"/>
                    </a:lnTo>
                    <a:lnTo>
                      <a:pt x="230" y="256"/>
                    </a:lnTo>
                    <a:lnTo>
                      <a:pt x="228" y="259"/>
                    </a:lnTo>
                    <a:lnTo>
                      <a:pt x="228" y="259"/>
                    </a:lnTo>
                    <a:lnTo>
                      <a:pt x="225" y="259"/>
                    </a:lnTo>
                    <a:lnTo>
                      <a:pt x="222" y="259"/>
                    </a:lnTo>
                    <a:lnTo>
                      <a:pt x="218" y="257"/>
                    </a:lnTo>
                    <a:lnTo>
                      <a:pt x="213" y="257"/>
                    </a:lnTo>
                    <a:lnTo>
                      <a:pt x="213" y="257"/>
                    </a:lnTo>
                    <a:lnTo>
                      <a:pt x="208" y="257"/>
                    </a:lnTo>
                    <a:lnTo>
                      <a:pt x="205" y="256"/>
                    </a:lnTo>
                    <a:lnTo>
                      <a:pt x="203" y="254"/>
                    </a:lnTo>
                    <a:lnTo>
                      <a:pt x="203" y="252"/>
                    </a:lnTo>
                    <a:lnTo>
                      <a:pt x="203" y="252"/>
                    </a:lnTo>
                    <a:lnTo>
                      <a:pt x="206" y="252"/>
                    </a:lnTo>
                    <a:lnTo>
                      <a:pt x="211" y="250"/>
                    </a:lnTo>
                    <a:lnTo>
                      <a:pt x="215" y="250"/>
                    </a:lnTo>
                    <a:lnTo>
                      <a:pt x="215" y="249"/>
                    </a:lnTo>
                    <a:lnTo>
                      <a:pt x="216" y="249"/>
                    </a:lnTo>
                    <a:lnTo>
                      <a:pt x="216" y="249"/>
                    </a:lnTo>
                    <a:lnTo>
                      <a:pt x="215" y="246"/>
                    </a:lnTo>
                    <a:lnTo>
                      <a:pt x="212" y="246"/>
                    </a:lnTo>
                    <a:lnTo>
                      <a:pt x="209" y="246"/>
                    </a:lnTo>
                    <a:lnTo>
                      <a:pt x="205" y="244"/>
                    </a:lnTo>
                    <a:lnTo>
                      <a:pt x="205" y="244"/>
                    </a:lnTo>
                    <a:lnTo>
                      <a:pt x="201" y="242"/>
                    </a:lnTo>
                    <a:lnTo>
                      <a:pt x="198" y="242"/>
                    </a:lnTo>
                    <a:lnTo>
                      <a:pt x="195" y="243"/>
                    </a:lnTo>
                    <a:lnTo>
                      <a:pt x="193" y="246"/>
                    </a:lnTo>
                    <a:lnTo>
                      <a:pt x="193" y="246"/>
                    </a:lnTo>
                    <a:lnTo>
                      <a:pt x="192" y="247"/>
                    </a:lnTo>
                    <a:lnTo>
                      <a:pt x="189" y="249"/>
                    </a:lnTo>
                    <a:lnTo>
                      <a:pt x="186" y="247"/>
                    </a:lnTo>
                    <a:lnTo>
                      <a:pt x="183" y="246"/>
                    </a:lnTo>
                    <a:lnTo>
                      <a:pt x="183" y="246"/>
                    </a:lnTo>
                    <a:lnTo>
                      <a:pt x="183" y="244"/>
                    </a:lnTo>
                    <a:lnTo>
                      <a:pt x="183" y="244"/>
                    </a:lnTo>
                    <a:lnTo>
                      <a:pt x="182" y="249"/>
                    </a:lnTo>
                    <a:lnTo>
                      <a:pt x="179" y="250"/>
                    </a:lnTo>
                    <a:lnTo>
                      <a:pt x="178" y="250"/>
                    </a:lnTo>
                    <a:lnTo>
                      <a:pt x="175" y="250"/>
                    </a:lnTo>
                    <a:lnTo>
                      <a:pt x="175" y="250"/>
                    </a:lnTo>
                    <a:lnTo>
                      <a:pt x="172" y="252"/>
                    </a:lnTo>
                    <a:lnTo>
                      <a:pt x="168" y="253"/>
                    </a:lnTo>
                    <a:lnTo>
                      <a:pt x="165" y="256"/>
                    </a:lnTo>
                    <a:lnTo>
                      <a:pt x="162" y="257"/>
                    </a:lnTo>
                    <a:lnTo>
                      <a:pt x="162" y="257"/>
                    </a:lnTo>
                    <a:lnTo>
                      <a:pt x="158" y="257"/>
                    </a:lnTo>
                    <a:lnTo>
                      <a:pt x="155" y="260"/>
                    </a:lnTo>
                    <a:lnTo>
                      <a:pt x="152" y="263"/>
                    </a:lnTo>
                    <a:lnTo>
                      <a:pt x="151" y="266"/>
                    </a:lnTo>
                    <a:lnTo>
                      <a:pt x="151" y="266"/>
                    </a:lnTo>
                    <a:lnTo>
                      <a:pt x="149" y="269"/>
                    </a:lnTo>
                    <a:lnTo>
                      <a:pt x="146" y="269"/>
                    </a:lnTo>
                    <a:lnTo>
                      <a:pt x="145" y="270"/>
                    </a:lnTo>
                    <a:lnTo>
                      <a:pt x="145" y="271"/>
                    </a:lnTo>
                    <a:lnTo>
                      <a:pt x="145" y="271"/>
                    </a:lnTo>
                    <a:lnTo>
                      <a:pt x="144" y="276"/>
                    </a:lnTo>
                    <a:lnTo>
                      <a:pt x="142" y="280"/>
                    </a:lnTo>
                    <a:lnTo>
                      <a:pt x="142" y="280"/>
                    </a:lnTo>
                    <a:lnTo>
                      <a:pt x="141" y="281"/>
                    </a:lnTo>
                    <a:lnTo>
                      <a:pt x="141" y="283"/>
                    </a:lnTo>
                    <a:lnTo>
                      <a:pt x="145" y="289"/>
                    </a:lnTo>
                    <a:lnTo>
                      <a:pt x="145" y="289"/>
                    </a:lnTo>
                    <a:lnTo>
                      <a:pt x="146" y="291"/>
                    </a:lnTo>
                    <a:lnTo>
                      <a:pt x="149" y="293"/>
                    </a:lnTo>
                    <a:lnTo>
                      <a:pt x="155" y="294"/>
                    </a:lnTo>
                    <a:lnTo>
                      <a:pt x="155" y="294"/>
                    </a:lnTo>
                    <a:lnTo>
                      <a:pt x="161" y="300"/>
                    </a:lnTo>
                    <a:lnTo>
                      <a:pt x="164" y="303"/>
                    </a:lnTo>
                    <a:lnTo>
                      <a:pt x="166" y="306"/>
                    </a:lnTo>
                    <a:lnTo>
                      <a:pt x="166" y="306"/>
                    </a:lnTo>
                    <a:lnTo>
                      <a:pt x="165" y="308"/>
                    </a:lnTo>
                    <a:lnTo>
                      <a:pt x="162" y="313"/>
                    </a:lnTo>
                    <a:lnTo>
                      <a:pt x="156" y="318"/>
                    </a:lnTo>
                    <a:lnTo>
                      <a:pt x="156" y="318"/>
                    </a:lnTo>
                    <a:lnTo>
                      <a:pt x="152" y="323"/>
                    </a:lnTo>
                    <a:lnTo>
                      <a:pt x="151" y="326"/>
                    </a:lnTo>
                    <a:lnTo>
                      <a:pt x="151" y="327"/>
                    </a:lnTo>
                    <a:lnTo>
                      <a:pt x="151" y="327"/>
                    </a:lnTo>
                    <a:lnTo>
                      <a:pt x="158" y="337"/>
                    </a:lnTo>
                    <a:lnTo>
                      <a:pt x="166" y="351"/>
                    </a:lnTo>
                    <a:lnTo>
                      <a:pt x="166" y="351"/>
                    </a:lnTo>
                    <a:lnTo>
                      <a:pt x="168" y="357"/>
                    </a:lnTo>
                    <a:lnTo>
                      <a:pt x="168" y="357"/>
                    </a:lnTo>
                    <a:lnTo>
                      <a:pt x="166" y="358"/>
                    </a:lnTo>
                    <a:lnTo>
                      <a:pt x="164" y="360"/>
                    </a:lnTo>
                    <a:lnTo>
                      <a:pt x="161" y="361"/>
                    </a:lnTo>
                    <a:lnTo>
                      <a:pt x="161" y="361"/>
                    </a:lnTo>
                    <a:lnTo>
                      <a:pt x="159" y="364"/>
                    </a:lnTo>
                    <a:lnTo>
                      <a:pt x="161" y="368"/>
                    </a:lnTo>
                    <a:lnTo>
                      <a:pt x="164" y="374"/>
                    </a:lnTo>
                    <a:lnTo>
                      <a:pt x="164" y="374"/>
                    </a:lnTo>
                    <a:lnTo>
                      <a:pt x="164" y="375"/>
                    </a:lnTo>
                    <a:lnTo>
                      <a:pt x="162" y="375"/>
                    </a:lnTo>
                    <a:lnTo>
                      <a:pt x="161" y="377"/>
                    </a:lnTo>
                    <a:lnTo>
                      <a:pt x="159" y="378"/>
                    </a:lnTo>
                    <a:lnTo>
                      <a:pt x="159" y="378"/>
                    </a:lnTo>
                    <a:lnTo>
                      <a:pt x="161" y="380"/>
                    </a:lnTo>
                    <a:lnTo>
                      <a:pt x="164" y="381"/>
                    </a:lnTo>
                    <a:lnTo>
                      <a:pt x="166" y="382"/>
                    </a:lnTo>
                    <a:lnTo>
                      <a:pt x="168" y="384"/>
                    </a:lnTo>
                    <a:lnTo>
                      <a:pt x="168" y="384"/>
                    </a:lnTo>
                    <a:lnTo>
                      <a:pt x="166" y="385"/>
                    </a:lnTo>
                    <a:lnTo>
                      <a:pt x="166" y="387"/>
                    </a:lnTo>
                    <a:lnTo>
                      <a:pt x="165" y="388"/>
                    </a:lnTo>
                    <a:lnTo>
                      <a:pt x="165" y="391"/>
                    </a:lnTo>
                    <a:lnTo>
                      <a:pt x="165" y="391"/>
                    </a:lnTo>
                    <a:lnTo>
                      <a:pt x="168" y="394"/>
                    </a:lnTo>
                    <a:lnTo>
                      <a:pt x="171" y="395"/>
                    </a:lnTo>
                    <a:lnTo>
                      <a:pt x="172" y="397"/>
                    </a:lnTo>
                    <a:lnTo>
                      <a:pt x="174" y="400"/>
                    </a:lnTo>
                    <a:lnTo>
                      <a:pt x="174" y="400"/>
                    </a:lnTo>
                    <a:lnTo>
                      <a:pt x="174" y="401"/>
                    </a:lnTo>
                    <a:lnTo>
                      <a:pt x="172" y="402"/>
                    </a:lnTo>
                    <a:lnTo>
                      <a:pt x="169" y="405"/>
                    </a:lnTo>
                    <a:lnTo>
                      <a:pt x="165" y="407"/>
                    </a:lnTo>
                    <a:lnTo>
                      <a:pt x="164" y="408"/>
                    </a:lnTo>
                    <a:lnTo>
                      <a:pt x="164" y="409"/>
                    </a:lnTo>
                    <a:lnTo>
                      <a:pt x="164" y="409"/>
                    </a:lnTo>
                    <a:lnTo>
                      <a:pt x="166" y="412"/>
                    </a:lnTo>
                    <a:lnTo>
                      <a:pt x="172" y="415"/>
                    </a:lnTo>
                    <a:lnTo>
                      <a:pt x="178" y="419"/>
                    </a:lnTo>
                    <a:lnTo>
                      <a:pt x="185" y="425"/>
                    </a:lnTo>
                    <a:lnTo>
                      <a:pt x="185" y="425"/>
                    </a:lnTo>
                    <a:lnTo>
                      <a:pt x="188" y="429"/>
                    </a:lnTo>
                    <a:lnTo>
                      <a:pt x="189" y="432"/>
                    </a:lnTo>
                    <a:lnTo>
                      <a:pt x="189" y="435"/>
                    </a:lnTo>
                    <a:lnTo>
                      <a:pt x="189" y="438"/>
                    </a:lnTo>
                    <a:lnTo>
                      <a:pt x="189" y="438"/>
                    </a:lnTo>
                    <a:lnTo>
                      <a:pt x="186" y="441"/>
                    </a:lnTo>
                    <a:lnTo>
                      <a:pt x="183" y="444"/>
                    </a:lnTo>
                    <a:lnTo>
                      <a:pt x="176" y="448"/>
                    </a:lnTo>
                    <a:lnTo>
                      <a:pt x="169" y="454"/>
                    </a:lnTo>
                    <a:lnTo>
                      <a:pt x="166" y="456"/>
                    </a:lnTo>
                    <a:lnTo>
                      <a:pt x="165" y="461"/>
                    </a:lnTo>
                    <a:lnTo>
                      <a:pt x="165" y="461"/>
                    </a:lnTo>
                    <a:lnTo>
                      <a:pt x="161" y="466"/>
                    </a:lnTo>
                    <a:lnTo>
                      <a:pt x="154" y="471"/>
                    </a:lnTo>
                    <a:lnTo>
                      <a:pt x="146" y="475"/>
                    </a:lnTo>
                    <a:lnTo>
                      <a:pt x="141" y="481"/>
                    </a:lnTo>
                    <a:lnTo>
                      <a:pt x="141" y="481"/>
                    </a:lnTo>
                    <a:lnTo>
                      <a:pt x="132" y="489"/>
                    </a:lnTo>
                    <a:lnTo>
                      <a:pt x="132" y="489"/>
                    </a:lnTo>
                    <a:lnTo>
                      <a:pt x="139" y="488"/>
                    </a:lnTo>
                    <a:lnTo>
                      <a:pt x="139" y="488"/>
                    </a:lnTo>
                    <a:lnTo>
                      <a:pt x="141" y="488"/>
                    </a:lnTo>
                    <a:lnTo>
                      <a:pt x="142" y="488"/>
                    </a:lnTo>
                    <a:lnTo>
                      <a:pt x="144" y="491"/>
                    </a:lnTo>
                    <a:lnTo>
                      <a:pt x="146" y="495"/>
                    </a:lnTo>
                    <a:lnTo>
                      <a:pt x="149" y="498"/>
                    </a:lnTo>
                    <a:lnTo>
                      <a:pt x="149" y="498"/>
                    </a:lnTo>
                    <a:lnTo>
                      <a:pt x="152" y="499"/>
                    </a:lnTo>
                    <a:lnTo>
                      <a:pt x="156" y="499"/>
                    </a:lnTo>
                    <a:lnTo>
                      <a:pt x="161" y="499"/>
                    </a:lnTo>
                    <a:lnTo>
                      <a:pt x="164" y="501"/>
                    </a:lnTo>
                    <a:lnTo>
                      <a:pt x="164" y="501"/>
                    </a:lnTo>
                    <a:lnTo>
                      <a:pt x="164" y="502"/>
                    </a:lnTo>
                    <a:lnTo>
                      <a:pt x="162" y="503"/>
                    </a:lnTo>
                    <a:lnTo>
                      <a:pt x="156" y="503"/>
                    </a:lnTo>
                    <a:lnTo>
                      <a:pt x="156" y="503"/>
                    </a:lnTo>
                    <a:lnTo>
                      <a:pt x="152" y="503"/>
                    </a:lnTo>
                    <a:lnTo>
                      <a:pt x="149" y="505"/>
                    </a:lnTo>
                    <a:lnTo>
                      <a:pt x="141" y="508"/>
                    </a:lnTo>
                    <a:lnTo>
                      <a:pt x="141" y="508"/>
                    </a:lnTo>
                    <a:lnTo>
                      <a:pt x="137" y="510"/>
                    </a:lnTo>
                    <a:lnTo>
                      <a:pt x="135" y="512"/>
                    </a:lnTo>
                    <a:lnTo>
                      <a:pt x="132" y="515"/>
                    </a:lnTo>
                    <a:lnTo>
                      <a:pt x="132" y="515"/>
                    </a:lnTo>
                    <a:lnTo>
                      <a:pt x="134" y="518"/>
                    </a:lnTo>
                    <a:lnTo>
                      <a:pt x="134" y="520"/>
                    </a:lnTo>
                    <a:lnTo>
                      <a:pt x="129" y="525"/>
                    </a:lnTo>
                    <a:lnTo>
                      <a:pt x="129" y="525"/>
                    </a:lnTo>
                    <a:lnTo>
                      <a:pt x="127" y="530"/>
                    </a:lnTo>
                    <a:lnTo>
                      <a:pt x="124" y="533"/>
                    </a:lnTo>
                    <a:lnTo>
                      <a:pt x="124" y="533"/>
                    </a:lnTo>
                    <a:lnTo>
                      <a:pt x="124" y="538"/>
                    </a:lnTo>
                    <a:lnTo>
                      <a:pt x="125" y="542"/>
                    </a:lnTo>
                    <a:lnTo>
                      <a:pt x="125" y="542"/>
                    </a:lnTo>
                    <a:lnTo>
                      <a:pt x="127" y="547"/>
                    </a:lnTo>
                    <a:lnTo>
                      <a:pt x="128" y="550"/>
                    </a:lnTo>
                    <a:lnTo>
                      <a:pt x="128" y="550"/>
                    </a:lnTo>
                    <a:lnTo>
                      <a:pt x="129" y="553"/>
                    </a:lnTo>
                    <a:lnTo>
                      <a:pt x="128" y="555"/>
                    </a:lnTo>
                    <a:lnTo>
                      <a:pt x="124" y="556"/>
                    </a:lnTo>
                    <a:lnTo>
                      <a:pt x="124" y="556"/>
                    </a:lnTo>
                    <a:lnTo>
                      <a:pt x="124" y="557"/>
                    </a:lnTo>
                    <a:lnTo>
                      <a:pt x="124" y="560"/>
                    </a:lnTo>
                    <a:lnTo>
                      <a:pt x="127" y="565"/>
                    </a:lnTo>
                    <a:lnTo>
                      <a:pt x="127" y="565"/>
                    </a:lnTo>
                    <a:lnTo>
                      <a:pt x="128" y="567"/>
                    </a:lnTo>
                    <a:lnTo>
                      <a:pt x="129" y="569"/>
                    </a:lnTo>
                    <a:lnTo>
                      <a:pt x="128" y="573"/>
                    </a:lnTo>
                    <a:lnTo>
                      <a:pt x="128" y="573"/>
                    </a:lnTo>
                    <a:lnTo>
                      <a:pt x="128" y="576"/>
                    </a:lnTo>
                    <a:lnTo>
                      <a:pt x="129" y="579"/>
                    </a:lnTo>
                    <a:lnTo>
                      <a:pt x="134" y="583"/>
                    </a:lnTo>
                    <a:lnTo>
                      <a:pt x="134" y="583"/>
                    </a:lnTo>
                    <a:lnTo>
                      <a:pt x="135" y="586"/>
                    </a:lnTo>
                    <a:lnTo>
                      <a:pt x="135" y="589"/>
                    </a:lnTo>
                    <a:lnTo>
                      <a:pt x="137" y="592"/>
                    </a:lnTo>
                    <a:lnTo>
                      <a:pt x="138" y="594"/>
                    </a:lnTo>
                    <a:lnTo>
                      <a:pt x="138" y="594"/>
                    </a:lnTo>
                    <a:lnTo>
                      <a:pt x="141" y="596"/>
                    </a:lnTo>
                    <a:lnTo>
                      <a:pt x="144" y="597"/>
                    </a:lnTo>
                    <a:lnTo>
                      <a:pt x="146" y="596"/>
                    </a:lnTo>
                    <a:lnTo>
                      <a:pt x="146" y="596"/>
                    </a:lnTo>
                    <a:lnTo>
                      <a:pt x="148" y="596"/>
                    </a:lnTo>
                    <a:lnTo>
                      <a:pt x="151" y="597"/>
                    </a:lnTo>
                    <a:lnTo>
                      <a:pt x="154" y="600"/>
                    </a:lnTo>
                    <a:lnTo>
                      <a:pt x="154" y="600"/>
                    </a:lnTo>
                    <a:lnTo>
                      <a:pt x="155" y="602"/>
                    </a:lnTo>
                    <a:lnTo>
                      <a:pt x="158" y="602"/>
                    </a:lnTo>
                    <a:lnTo>
                      <a:pt x="162" y="600"/>
                    </a:lnTo>
                    <a:lnTo>
                      <a:pt x="162" y="600"/>
                    </a:lnTo>
                    <a:lnTo>
                      <a:pt x="166" y="600"/>
                    </a:lnTo>
                    <a:lnTo>
                      <a:pt x="171" y="602"/>
                    </a:lnTo>
                    <a:lnTo>
                      <a:pt x="178" y="604"/>
                    </a:lnTo>
                    <a:lnTo>
                      <a:pt x="178" y="604"/>
                    </a:lnTo>
                    <a:lnTo>
                      <a:pt x="179" y="606"/>
                    </a:lnTo>
                    <a:lnTo>
                      <a:pt x="179" y="609"/>
                    </a:lnTo>
                    <a:lnTo>
                      <a:pt x="179" y="616"/>
                    </a:lnTo>
                    <a:lnTo>
                      <a:pt x="179" y="616"/>
                    </a:lnTo>
                    <a:lnTo>
                      <a:pt x="179" y="621"/>
                    </a:lnTo>
                    <a:lnTo>
                      <a:pt x="179" y="624"/>
                    </a:lnTo>
                    <a:lnTo>
                      <a:pt x="181" y="627"/>
                    </a:lnTo>
                    <a:lnTo>
                      <a:pt x="181" y="627"/>
                    </a:lnTo>
                    <a:lnTo>
                      <a:pt x="183" y="630"/>
                    </a:lnTo>
                    <a:lnTo>
                      <a:pt x="185" y="633"/>
                    </a:lnTo>
                    <a:lnTo>
                      <a:pt x="186" y="636"/>
                    </a:lnTo>
                    <a:lnTo>
                      <a:pt x="188" y="637"/>
                    </a:lnTo>
                    <a:lnTo>
                      <a:pt x="188" y="637"/>
                    </a:lnTo>
                    <a:lnTo>
                      <a:pt x="191" y="639"/>
                    </a:lnTo>
                    <a:lnTo>
                      <a:pt x="193" y="641"/>
                    </a:lnTo>
                    <a:lnTo>
                      <a:pt x="195" y="644"/>
                    </a:lnTo>
                    <a:lnTo>
                      <a:pt x="198" y="646"/>
                    </a:lnTo>
                    <a:lnTo>
                      <a:pt x="198" y="646"/>
                    </a:lnTo>
                    <a:lnTo>
                      <a:pt x="203" y="648"/>
                    </a:lnTo>
                    <a:lnTo>
                      <a:pt x="205" y="651"/>
                    </a:lnTo>
                    <a:lnTo>
                      <a:pt x="206" y="654"/>
                    </a:lnTo>
                    <a:lnTo>
                      <a:pt x="206" y="654"/>
                    </a:lnTo>
                    <a:lnTo>
                      <a:pt x="206" y="657"/>
                    </a:lnTo>
                    <a:lnTo>
                      <a:pt x="203" y="658"/>
                    </a:lnTo>
                    <a:lnTo>
                      <a:pt x="198" y="661"/>
                    </a:lnTo>
                    <a:lnTo>
                      <a:pt x="198" y="661"/>
                    </a:lnTo>
                    <a:lnTo>
                      <a:pt x="195" y="661"/>
                    </a:lnTo>
                    <a:lnTo>
                      <a:pt x="192" y="660"/>
                    </a:lnTo>
                    <a:lnTo>
                      <a:pt x="189" y="660"/>
                    </a:lnTo>
                    <a:lnTo>
                      <a:pt x="186" y="660"/>
                    </a:lnTo>
                    <a:lnTo>
                      <a:pt x="186" y="660"/>
                    </a:lnTo>
                    <a:lnTo>
                      <a:pt x="186" y="663"/>
                    </a:lnTo>
                    <a:lnTo>
                      <a:pt x="186" y="666"/>
                    </a:lnTo>
                    <a:lnTo>
                      <a:pt x="189" y="674"/>
                    </a:lnTo>
                    <a:lnTo>
                      <a:pt x="189" y="674"/>
                    </a:lnTo>
                    <a:lnTo>
                      <a:pt x="192" y="681"/>
                    </a:lnTo>
                    <a:lnTo>
                      <a:pt x="193" y="683"/>
                    </a:lnTo>
                    <a:lnTo>
                      <a:pt x="196" y="683"/>
                    </a:lnTo>
                    <a:lnTo>
                      <a:pt x="196" y="683"/>
                    </a:lnTo>
                    <a:lnTo>
                      <a:pt x="198" y="683"/>
                    </a:lnTo>
                    <a:lnTo>
                      <a:pt x="201" y="681"/>
                    </a:lnTo>
                    <a:lnTo>
                      <a:pt x="203" y="680"/>
                    </a:lnTo>
                    <a:lnTo>
                      <a:pt x="203" y="680"/>
                    </a:lnTo>
                    <a:lnTo>
                      <a:pt x="206" y="678"/>
                    </a:lnTo>
                    <a:lnTo>
                      <a:pt x="209" y="678"/>
                    </a:lnTo>
                    <a:lnTo>
                      <a:pt x="215" y="678"/>
                    </a:lnTo>
                    <a:lnTo>
                      <a:pt x="215" y="678"/>
                    </a:lnTo>
                    <a:lnTo>
                      <a:pt x="220" y="678"/>
                    </a:lnTo>
                    <a:lnTo>
                      <a:pt x="225" y="678"/>
                    </a:lnTo>
                    <a:lnTo>
                      <a:pt x="228" y="680"/>
                    </a:lnTo>
                    <a:lnTo>
                      <a:pt x="228" y="680"/>
                    </a:lnTo>
                    <a:lnTo>
                      <a:pt x="229" y="687"/>
                    </a:lnTo>
                    <a:lnTo>
                      <a:pt x="230" y="690"/>
                    </a:lnTo>
                    <a:lnTo>
                      <a:pt x="229" y="693"/>
                    </a:lnTo>
                    <a:lnTo>
                      <a:pt x="229" y="693"/>
                    </a:lnTo>
                    <a:lnTo>
                      <a:pt x="229" y="694"/>
                    </a:lnTo>
                    <a:lnTo>
                      <a:pt x="230" y="697"/>
                    </a:lnTo>
                    <a:lnTo>
                      <a:pt x="233" y="701"/>
                    </a:lnTo>
                    <a:lnTo>
                      <a:pt x="233" y="701"/>
                    </a:lnTo>
                    <a:lnTo>
                      <a:pt x="235" y="703"/>
                    </a:lnTo>
                    <a:lnTo>
                      <a:pt x="239" y="704"/>
                    </a:lnTo>
                    <a:lnTo>
                      <a:pt x="245" y="704"/>
                    </a:lnTo>
                    <a:lnTo>
                      <a:pt x="245" y="704"/>
                    </a:lnTo>
                    <a:lnTo>
                      <a:pt x="250" y="710"/>
                    </a:lnTo>
                    <a:lnTo>
                      <a:pt x="252" y="714"/>
                    </a:lnTo>
                    <a:lnTo>
                      <a:pt x="252" y="717"/>
                    </a:lnTo>
                    <a:lnTo>
                      <a:pt x="252" y="717"/>
                    </a:lnTo>
                    <a:lnTo>
                      <a:pt x="252" y="718"/>
                    </a:lnTo>
                    <a:lnTo>
                      <a:pt x="253" y="720"/>
                    </a:lnTo>
                    <a:lnTo>
                      <a:pt x="257" y="720"/>
                    </a:lnTo>
                    <a:lnTo>
                      <a:pt x="257" y="720"/>
                    </a:lnTo>
                    <a:lnTo>
                      <a:pt x="260" y="720"/>
                    </a:lnTo>
                    <a:lnTo>
                      <a:pt x="262" y="721"/>
                    </a:lnTo>
                    <a:lnTo>
                      <a:pt x="266" y="724"/>
                    </a:lnTo>
                    <a:lnTo>
                      <a:pt x="266" y="724"/>
                    </a:lnTo>
                    <a:lnTo>
                      <a:pt x="270" y="724"/>
                    </a:lnTo>
                    <a:lnTo>
                      <a:pt x="275" y="722"/>
                    </a:lnTo>
                    <a:lnTo>
                      <a:pt x="275" y="722"/>
                    </a:lnTo>
                    <a:lnTo>
                      <a:pt x="279" y="721"/>
                    </a:lnTo>
                    <a:lnTo>
                      <a:pt x="282" y="721"/>
                    </a:lnTo>
                    <a:lnTo>
                      <a:pt x="283" y="722"/>
                    </a:lnTo>
                    <a:lnTo>
                      <a:pt x="283" y="722"/>
                    </a:lnTo>
                    <a:lnTo>
                      <a:pt x="287" y="727"/>
                    </a:lnTo>
                    <a:lnTo>
                      <a:pt x="290" y="731"/>
                    </a:lnTo>
                    <a:lnTo>
                      <a:pt x="290" y="731"/>
                    </a:lnTo>
                    <a:lnTo>
                      <a:pt x="292" y="731"/>
                    </a:lnTo>
                    <a:lnTo>
                      <a:pt x="294" y="731"/>
                    </a:lnTo>
                    <a:lnTo>
                      <a:pt x="299" y="731"/>
                    </a:lnTo>
                    <a:lnTo>
                      <a:pt x="303" y="732"/>
                    </a:lnTo>
                    <a:lnTo>
                      <a:pt x="303" y="732"/>
                    </a:lnTo>
                    <a:lnTo>
                      <a:pt x="310" y="734"/>
                    </a:lnTo>
                    <a:lnTo>
                      <a:pt x="313" y="735"/>
                    </a:lnTo>
                    <a:lnTo>
                      <a:pt x="317" y="737"/>
                    </a:lnTo>
                    <a:lnTo>
                      <a:pt x="317" y="737"/>
                    </a:lnTo>
                    <a:lnTo>
                      <a:pt x="323" y="740"/>
                    </a:lnTo>
                    <a:lnTo>
                      <a:pt x="324" y="740"/>
                    </a:lnTo>
                    <a:lnTo>
                      <a:pt x="326" y="742"/>
                    </a:lnTo>
                    <a:lnTo>
                      <a:pt x="326" y="742"/>
                    </a:lnTo>
                    <a:lnTo>
                      <a:pt x="326" y="744"/>
                    </a:lnTo>
                    <a:lnTo>
                      <a:pt x="324" y="745"/>
                    </a:lnTo>
                    <a:lnTo>
                      <a:pt x="321" y="748"/>
                    </a:lnTo>
                    <a:lnTo>
                      <a:pt x="321" y="748"/>
                    </a:lnTo>
                    <a:lnTo>
                      <a:pt x="323" y="751"/>
                    </a:lnTo>
                    <a:lnTo>
                      <a:pt x="324" y="752"/>
                    </a:lnTo>
                    <a:lnTo>
                      <a:pt x="326" y="754"/>
                    </a:lnTo>
                    <a:lnTo>
                      <a:pt x="326" y="754"/>
                    </a:lnTo>
                    <a:lnTo>
                      <a:pt x="324" y="755"/>
                    </a:lnTo>
                    <a:lnTo>
                      <a:pt x="323" y="755"/>
                    </a:lnTo>
                    <a:lnTo>
                      <a:pt x="320" y="757"/>
                    </a:lnTo>
                    <a:lnTo>
                      <a:pt x="320" y="757"/>
                    </a:lnTo>
                    <a:lnTo>
                      <a:pt x="320" y="757"/>
                    </a:lnTo>
                    <a:lnTo>
                      <a:pt x="320" y="758"/>
                    </a:lnTo>
                    <a:lnTo>
                      <a:pt x="320" y="761"/>
                    </a:lnTo>
                    <a:lnTo>
                      <a:pt x="323" y="764"/>
                    </a:lnTo>
                    <a:lnTo>
                      <a:pt x="323" y="764"/>
                    </a:lnTo>
                    <a:lnTo>
                      <a:pt x="321" y="768"/>
                    </a:lnTo>
                    <a:lnTo>
                      <a:pt x="320" y="772"/>
                    </a:lnTo>
                    <a:lnTo>
                      <a:pt x="320" y="772"/>
                    </a:lnTo>
                    <a:lnTo>
                      <a:pt x="319" y="774"/>
                    </a:lnTo>
                    <a:lnTo>
                      <a:pt x="314" y="774"/>
                    </a:lnTo>
                    <a:lnTo>
                      <a:pt x="307" y="772"/>
                    </a:lnTo>
                    <a:lnTo>
                      <a:pt x="307" y="772"/>
                    </a:lnTo>
                    <a:lnTo>
                      <a:pt x="304" y="774"/>
                    </a:lnTo>
                    <a:lnTo>
                      <a:pt x="300" y="776"/>
                    </a:lnTo>
                    <a:lnTo>
                      <a:pt x="297" y="779"/>
                    </a:lnTo>
                    <a:lnTo>
                      <a:pt x="294" y="781"/>
                    </a:lnTo>
                    <a:lnTo>
                      <a:pt x="294" y="781"/>
                    </a:lnTo>
                    <a:lnTo>
                      <a:pt x="293" y="782"/>
                    </a:lnTo>
                    <a:lnTo>
                      <a:pt x="293" y="784"/>
                    </a:lnTo>
                    <a:lnTo>
                      <a:pt x="294" y="789"/>
                    </a:lnTo>
                    <a:lnTo>
                      <a:pt x="294" y="789"/>
                    </a:lnTo>
                    <a:lnTo>
                      <a:pt x="304" y="788"/>
                    </a:lnTo>
                    <a:lnTo>
                      <a:pt x="309" y="788"/>
                    </a:lnTo>
                    <a:lnTo>
                      <a:pt x="310" y="788"/>
                    </a:lnTo>
                    <a:lnTo>
                      <a:pt x="310" y="788"/>
                    </a:lnTo>
                    <a:lnTo>
                      <a:pt x="310" y="789"/>
                    </a:lnTo>
                    <a:lnTo>
                      <a:pt x="309" y="791"/>
                    </a:lnTo>
                    <a:lnTo>
                      <a:pt x="303" y="795"/>
                    </a:lnTo>
                    <a:lnTo>
                      <a:pt x="290" y="799"/>
                    </a:lnTo>
                    <a:lnTo>
                      <a:pt x="290" y="799"/>
                    </a:lnTo>
                    <a:lnTo>
                      <a:pt x="290" y="801"/>
                    </a:lnTo>
                    <a:lnTo>
                      <a:pt x="290" y="801"/>
                    </a:lnTo>
                    <a:lnTo>
                      <a:pt x="293" y="804"/>
                    </a:lnTo>
                    <a:lnTo>
                      <a:pt x="296" y="806"/>
                    </a:lnTo>
                    <a:lnTo>
                      <a:pt x="297" y="809"/>
                    </a:lnTo>
                    <a:lnTo>
                      <a:pt x="297" y="809"/>
                    </a:lnTo>
                    <a:lnTo>
                      <a:pt x="294" y="811"/>
                    </a:lnTo>
                    <a:lnTo>
                      <a:pt x="292" y="812"/>
                    </a:lnTo>
                    <a:lnTo>
                      <a:pt x="289" y="815"/>
                    </a:lnTo>
                    <a:lnTo>
                      <a:pt x="287" y="816"/>
                    </a:lnTo>
                    <a:lnTo>
                      <a:pt x="287" y="818"/>
                    </a:lnTo>
                    <a:lnTo>
                      <a:pt x="287" y="818"/>
                    </a:lnTo>
                    <a:lnTo>
                      <a:pt x="287" y="822"/>
                    </a:lnTo>
                    <a:lnTo>
                      <a:pt x="286" y="823"/>
                    </a:lnTo>
                    <a:lnTo>
                      <a:pt x="283" y="825"/>
                    </a:lnTo>
                    <a:lnTo>
                      <a:pt x="279" y="825"/>
                    </a:lnTo>
                    <a:lnTo>
                      <a:pt x="279" y="825"/>
                    </a:lnTo>
                    <a:lnTo>
                      <a:pt x="275" y="825"/>
                    </a:lnTo>
                    <a:lnTo>
                      <a:pt x="273" y="826"/>
                    </a:lnTo>
                    <a:lnTo>
                      <a:pt x="273" y="828"/>
                    </a:lnTo>
                    <a:lnTo>
                      <a:pt x="275" y="829"/>
                    </a:lnTo>
                    <a:lnTo>
                      <a:pt x="275" y="829"/>
                    </a:lnTo>
                    <a:lnTo>
                      <a:pt x="276" y="831"/>
                    </a:lnTo>
                    <a:lnTo>
                      <a:pt x="277" y="833"/>
                    </a:lnTo>
                    <a:lnTo>
                      <a:pt x="282" y="836"/>
                    </a:lnTo>
                    <a:lnTo>
                      <a:pt x="287" y="839"/>
                    </a:lnTo>
                    <a:lnTo>
                      <a:pt x="287" y="839"/>
                    </a:lnTo>
                    <a:lnTo>
                      <a:pt x="294" y="842"/>
                    </a:lnTo>
                    <a:lnTo>
                      <a:pt x="303" y="848"/>
                    </a:lnTo>
                    <a:lnTo>
                      <a:pt x="310" y="853"/>
                    </a:lnTo>
                    <a:lnTo>
                      <a:pt x="317" y="860"/>
                    </a:lnTo>
                    <a:lnTo>
                      <a:pt x="317" y="860"/>
                    </a:lnTo>
                    <a:lnTo>
                      <a:pt x="321" y="863"/>
                    </a:lnTo>
                    <a:lnTo>
                      <a:pt x="321" y="863"/>
                    </a:lnTo>
                    <a:lnTo>
                      <a:pt x="327" y="860"/>
                    </a:lnTo>
                    <a:lnTo>
                      <a:pt x="327" y="860"/>
                    </a:lnTo>
                    <a:lnTo>
                      <a:pt x="331" y="860"/>
                    </a:lnTo>
                    <a:lnTo>
                      <a:pt x="337" y="862"/>
                    </a:lnTo>
                    <a:lnTo>
                      <a:pt x="346" y="866"/>
                    </a:lnTo>
                    <a:lnTo>
                      <a:pt x="346" y="866"/>
                    </a:lnTo>
                    <a:lnTo>
                      <a:pt x="351" y="868"/>
                    </a:lnTo>
                    <a:lnTo>
                      <a:pt x="360" y="868"/>
                    </a:lnTo>
                    <a:lnTo>
                      <a:pt x="367" y="868"/>
                    </a:lnTo>
                    <a:lnTo>
                      <a:pt x="371" y="869"/>
                    </a:lnTo>
                    <a:lnTo>
                      <a:pt x="371" y="869"/>
                    </a:lnTo>
                    <a:lnTo>
                      <a:pt x="376" y="873"/>
                    </a:lnTo>
                    <a:lnTo>
                      <a:pt x="378" y="875"/>
                    </a:lnTo>
                    <a:lnTo>
                      <a:pt x="381" y="875"/>
                    </a:lnTo>
                    <a:lnTo>
                      <a:pt x="381" y="875"/>
                    </a:lnTo>
                    <a:lnTo>
                      <a:pt x="384" y="876"/>
                    </a:lnTo>
                    <a:lnTo>
                      <a:pt x="387" y="879"/>
                    </a:lnTo>
                    <a:lnTo>
                      <a:pt x="388" y="880"/>
                    </a:lnTo>
                    <a:lnTo>
                      <a:pt x="391" y="880"/>
                    </a:lnTo>
                    <a:lnTo>
                      <a:pt x="391" y="880"/>
                    </a:lnTo>
                    <a:lnTo>
                      <a:pt x="394" y="879"/>
                    </a:lnTo>
                    <a:lnTo>
                      <a:pt x="400" y="879"/>
                    </a:lnTo>
                    <a:lnTo>
                      <a:pt x="407" y="877"/>
                    </a:lnTo>
                    <a:lnTo>
                      <a:pt x="407" y="877"/>
                    </a:lnTo>
                    <a:lnTo>
                      <a:pt x="410" y="879"/>
                    </a:lnTo>
                    <a:lnTo>
                      <a:pt x="413" y="880"/>
                    </a:lnTo>
                    <a:lnTo>
                      <a:pt x="413" y="880"/>
                    </a:lnTo>
                    <a:lnTo>
                      <a:pt x="415" y="882"/>
                    </a:lnTo>
                    <a:lnTo>
                      <a:pt x="415" y="886"/>
                    </a:lnTo>
                    <a:lnTo>
                      <a:pt x="417" y="889"/>
                    </a:lnTo>
                    <a:lnTo>
                      <a:pt x="418" y="890"/>
                    </a:lnTo>
                    <a:lnTo>
                      <a:pt x="418" y="890"/>
                    </a:lnTo>
                    <a:lnTo>
                      <a:pt x="421" y="890"/>
                    </a:lnTo>
                    <a:lnTo>
                      <a:pt x="424" y="893"/>
                    </a:lnTo>
                    <a:lnTo>
                      <a:pt x="428" y="896"/>
                    </a:lnTo>
                    <a:lnTo>
                      <a:pt x="432" y="897"/>
                    </a:lnTo>
                    <a:lnTo>
                      <a:pt x="432" y="897"/>
                    </a:lnTo>
                    <a:lnTo>
                      <a:pt x="437" y="899"/>
                    </a:lnTo>
                    <a:lnTo>
                      <a:pt x="440" y="902"/>
                    </a:lnTo>
                    <a:lnTo>
                      <a:pt x="442" y="905"/>
                    </a:lnTo>
                    <a:lnTo>
                      <a:pt x="445" y="906"/>
                    </a:lnTo>
                    <a:lnTo>
                      <a:pt x="445" y="906"/>
                    </a:lnTo>
                    <a:lnTo>
                      <a:pt x="447" y="906"/>
                    </a:lnTo>
                    <a:lnTo>
                      <a:pt x="450" y="907"/>
                    </a:lnTo>
                    <a:lnTo>
                      <a:pt x="451" y="907"/>
                    </a:lnTo>
                    <a:lnTo>
                      <a:pt x="452" y="906"/>
                    </a:lnTo>
                    <a:lnTo>
                      <a:pt x="452" y="906"/>
                    </a:lnTo>
                    <a:lnTo>
                      <a:pt x="454" y="905"/>
                    </a:lnTo>
                    <a:lnTo>
                      <a:pt x="457" y="903"/>
                    </a:lnTo>
                    <a:lnTo>
                      <a:pt x="461" y="902"/>
                    </a:lnTo>
                    <a:lnTo>
                      <a:pt x="462" y="899"/>
                    </a:lnTo>
                    <a:lnTo>
                      <a:pt x="462" y="899"/>
                    </a:lnTo>
                    <a:lnTo>
                      <a:pt x="450" y="882"/>
                    </a:lnTo>
                    <a:lnTo>
                      <a:pt x="445" y="875"/>
                    </a:lnTo>
                    <a:lnTo>
                      <a:pt x="444" y="870"/>
                    </a:lnTo>
                    <a:lnTo>
                      <a:pt x="444" y="870"/>
                    </a:lnTo>
                    <a:lnTo>
                      <a:pt x="445" y="865"/>
                    </a:lnTo>
                    <a:lnTo>
                      <a:pt x="445" y="859"/>
                    </a:lnTo>
                    <a:lnTo>
                      <a:pt x="444" y="855"/>
                    </a:lnTo>
                    <a:lnTo>
                      <a:pt x="438" y="849"/>
                    </a:lnTo>
                    <a:lnTo>
                      <a:pt x="438" y="849"/>
                    </a:lnTo>
                    <a:lnTo>
                      <a:pt x="435" y="845"/>
                    </a:lnTo>
                    <a:lnTo>
                      <a:pt x="434" y="842"/>
                    </a:lnTo>
                    <a:lnTo>
                      <a:pt x="434" y="839"/>
                    </a:lnTo>
                    <a:lnTo>
                      <a:pt x="435" y="838"/>
                    </a:lnTo>
                    <a:lnTo>
                      <a:pt x="441" y="832"/>
                    </a:lnTo>
                    <a:lnTo>
                      <a:pt x="447" y="825"/>
                    </a:lnTo>
                    <a:lnTo>
                      <a:pt x="447" y="825"/>
                    </a:lnTo>
                    <a:lnTo>
                      <a:pt x="452" y="821"/>
                    </a:lnTo>
                    <a:lnTo>
                      <a:pt x="459" y="816"/>
                    </a:lnTo>
                    <a:lnTo>
                      <a:pt x="467" y="812"/>
                    </a:lnTo>
                    <a:lnTo>
                      <a:pt x="475" y="808"/>
                    </a:lnTo>
                    <a:lnTo>
                      <a:pt x="475" y="808"/>
                    </a:lnTo>
                    <a:lnTo>
                      <a:pt x="469" y="805"/>
                    </a:lnTo>
                    <a:lnTo>
                      <a:pt x="469" y="805"/>
                    </a:lnTo>
                    <a:lnTo>
                      <a:pt x="465" y="802"/>
                    </a:lnTo>
                    <a:lnTo>
                      <a:pt x="464" y="801"/>
                    </a:lnTo>
                    <a:lnTo>
                      <a:pt x="464" y="799"/>
                    </a:lnTo>
                    <a:lnTo>
                      <a:pt x="465" y="798"/>
                    </a:lnTo>
                    <a:lnTo>
                      <a:pt x="465" y="798"/>
                    </a:lnTo>
                    <a:lnTo>
                      <a:pt x="468" y="796"/>
                    </a:lnTo>
                    <a:lnTo>
                      <a:pt x="468" y="795"/>
                    </a:lnTo>
                    <a:lnTo>
                      <a:pt x="464" y="788"/>
                    </a:lnTo>
                    <a:lnTo>
                      <a:pt x="464" y="788"/>
                    </a:lnTo>
                    <a:lnTo>
                      <a:pt x="458" y="779"/>
                    </a:lnTo>
                    <a:lnTo>
                      <a:pt x="455" y="778"/>
                    </a:lnTo>
                    <a:lnTo>
                      <a:pt x="454" y="776"/>
                    </a:lnTo>
                    <a:lnTo>
                      <a:pt x="454" y="776"/>
                    </a:lnTo>
                    <a:lnTo>
                      <a:pt x="448" y="776"/>
                    </a:lnTo>
                    <a:lnTo>
                      <a:pt x="442" y="776"/>
                    </a:lnTo>
                    <a:lnTo>
                      <a:pt x="442" y="776"/>
                    </a:lnTo>
                    <a:lnTo>
                      <a:pt x="440" y="776"/>
                    </a:lnTo>
                    <a:lnTo>
                      <a:pt x="440" y="775"/>
                    </a:lnTo>
                    <a:lnTo>
                      <a:pt x="440" y="768"/>
                    </a:lnTo>
                    <a:lnTo>
                      <a:pt x="440" y="768"/>
                    </a:lnTo>
                    <a:lnTo>
                      <a:pt x="438" y="765"/>
                    </a:lnTo>
                    <a:lnTo>
                      <a:pt x="435" y="764"/>
                    </a:lnTo>
                    <a:lnTo>
                      <a:pt x="432" y="764"/>
                    </a:lnTo>
                    <a:lnTo>
                      <a:pt x="430" y="762"/>
                    </a:lnTo>
                    <a:lnTo>
                      <a:pt x="430" y="762"/>
                    </a:lnTo>
                    <a:lnTo>
                      <a:pt x="430" y="759"/>
                    </a:lnTo>
                    <a:lnTo>
                      <a:pt x="431" y="757"/>
                    </a:lnTo>
                    <a:lnTo>
                      <a:pt x="434" y="752"/>
                    </a:lnTo>
                    <a:lnTo>
                      <a:pt x="434" y="752"/>
                    </a:lnTo>
                    <a:lnTo>
                      <a:pt x="437" y="751"/>
                    </a:lnTo>
                    <a:lnTo>
                      <a:pt x="438" y="749"/>
                    </a:lnTo>
                    <a:lnTo>
                      <a:pt x="440" y="747"/>
                    </a:lnTo>
                    <a:lnTo>
                      <a:pt x="440" y="747"/>
                    </a:lnTo>
                    <a:lnTo>
                      <a:pt x="438" y="745"/>
                    </a:lnTo>
                    <a:lnTo>
                      <a:pt x="435" y="744"/>
                    </a:lnTo>
                    <a:lnTo>
                      <a:pt x="434" y="742"/>
                    </a:lnTo>
                    <a:lnTo>
                      <a:pt x="434" y="740"/>
                    </a:lnTo>
                    <a:lnTo>
                      <a:pt x="434" y="740"/>
                    </a:lnTo>
                    <a:lnTo>
                      <a:pt x="437" y="737"/>
                    </a:lnTo>
                    <a:lnTo>
                      <a:pt x="440" y="734"/>
                    </a:lnTo>
                    <a:lnTo>
                      <a:pt x="442" y="732"/>
                    </a:lnTo>
                    <a:lnTo>
                      <a:pt x="442" y="730"/>
                    </a:lnTo>
                    <a:lnTo>
                      <a:pt x="442" y="730"/>
                    </a:lnTo>
                    <a:lnTo>
                      <a:pt x="444" y="725"/>
                    </a:lnTo>
                    <a:lnTo>
                      <a:pt x="445" y="724"/>
                    </a:lnTo>
                    <a:lnTo>
                      <a:pt x="448" y="722"/>
                    </a:lnTo>
                    <a:lnTo>
                      <a:pt x="452" y="724"/>
                    </a:lnTo>
                    <a:lnTo>
                      <a:pt x="452" y="724"/>
                    </a:lnTo>
                    <a:lnTo>
                      <a:pt x="455" y="727"/>
                    </a:lnTo>
                    <a:lnTo>
                      <a:pt x="458" y="731"/>
                    </a:lnTo>
                    <a:lnTo>
                      <a:pt x="461" y="734"/>
                    </a:lnTo>
                    <a:lnTo>
                      <a:pt x="462" y="735"/>
                    </a:lnTo>
                    <a:lnTo>
                      <a:pt x="465" y="734"/>
                    </a:lnTo>
                    <a:lnTo>
                      <a:pt x="465" y="734"/>
                    </a:lnTo>
                    <a:lnTo>
                      <a:pt x="468" y="732"/>
                    </a:lnTo>
                    <a:lnTo>
                      <a:pt x="468" y="730"/>
                    </a:lnTo>
                    <a:lnTo>
                      <a:pt x="467" y="724"/>
                    </a:lnTo>
                    <a:lnTo>
                      <a:pt x="467" y="724"/>
                    </a:lnTo>
                    <a:lnTo>
                      <a:pt x="465" y="720"/>
                    </a:lnTo>
                    <a:lnTo>
                      <a:pt x="467" y="717"/>
                    </a:lnTo>
                    <a:lnTo>
                      <a:pt x="471" y="715"/>
                    </a:lnTo>
                    <a:lnTo>
                      <a:pt x="471" y="715"/>
                    </a:lnTo>
                    <a:lnTo>
                      <a:pt x="474" y="714"/>
                    </a:lnTo>
                    <a:lnTo>
                      <a:pt x="475" y="711"/>
                    </a:lnTo>
                    <a:lnTo>
                      <a:pt x="477" y="710"/>
                    </a:lnTo>
                    <a:lnTo>
                      <a:pt x="479" y="708"/>
                    </a:lnTo>
                    <a:lnTo>
                      <a:pt x="479" y="708"/>
                    </a:lnTo>
                    <a:lnTo>
                      <a:pt x="484" y="707"/>
                    </a:lnTo>
                    <a:lnTo>
                      <a:pt x="488" y="705"/>
                    </a:lnTo>
                    <a:lnTo>
                      <a:pt x="496" y="700"/>
                    </a:lnTo>
                    <a:lnTo>
                      <a:pt x="496" y="700"/>
                    </a:lnTo>
                    <a:lnTo>
                      <a:pt x="502" y="697"/>
                    </a:lnTo>
                    <a:lnTo>
                      <a:pt x="505" y="697"/>
                    </a:lnTo>
                    <a:lnTo>
                      <a:pt x="508" y="697"/>
                    </a:lnTo>
                    <a:lnTo>
                      <a:pt x="508" y="697"/>
                    </a:lnTo>
                    <a:lnTo>
                      <a:pt x="514" y="700"/>
                    </a:lnTo>
                    <a:lnTo>
                      <a:pt x="515" y="700"/>
                    </a:lnTo>
                    <a:lnTo>
                      <a:pt x="516" y="697"/>
                    </a:lnTo>
                    <a:lnTo>
                      <a:pt x="516" y="697"/>
                    </a:lnTo>
                    <a:lnTo>
                      <a:pt x="519" y="694"/>
                    </a:lnTo>
                    <a:lnTo>
                      <a:pt x="523" y="694"/>
                    </a:lnTo>
                    <a:lnTo>
                      <a:pt x="526" y="695"/>
                    </a:lnTo>
                    <a:lnTo>
                      <a:pt x="528" y="697"/>
                    </a:lnTo>
                    <a:lnTo>
                      <a:pt x="528" y="697"/>
                    </a:lnTo>
                    <a:lnTo>
                      <a:pt x="531" y="698"/>
                    </a:lnTo>
                    <a:lnTo>
                      <a:pt x="536" y="700"/>
                    </a:lnTo>
                    <a:lnTo>
                      <a:pt x="542" y="701"/>
                    </a:lnTo>
                    <a:lnTo>
                      <a:pt x="546" y="703"/>
                    </a:lnTo>
                    <a:lnTo>
                      <a:pt x="546" y="703"/>
                    </a:lnTo>
                    <a:lnTo>
                      <a:pt x="555" y="708"/>
                    </a:lnTo>
                    <a:lnTo>
                      <a:pt x="559" y="711"/>
                    </a:lnTo>
                    <a:lnTo>
                      <a:pt x="560" y="714"/>
                    </a:lnTo>
                    <a:lnTo>
                      <a:pt x="560" y="714"/>
                    </a:lnTo>
                    <a:lnTo>
                      <a:pt x="560" y="715"/>
                    </a:lnTo>
                    <a:lnTo>
                      <a:pt x="562" y="718"/>
                    </a:lnTo>
                    <a:lnTo>
                      <a:pt x="563" y="718"/>
                    </a:lnTo>
                    <a:lnTo>
                      <a:pt x="565" y="715"/>
                    </a:lnTo>
                    <a:lnTo>
                      <a:pt x="565" y="715"/>
                    </a:lnTo>
                    <a:lnTo>
                      <a:pt x="565" y="714"/>
                    </a:lnTo>
                    <a:lnTo>
                      <a:pt x="568" y="712"/>
                    </a:lnTo>
                    <a:lnTo>
                      <a:pt x="573" y="715"/>
                    </a:lnTo>
                    <a:lnTo>
                      <a:pt x="573" y="715"/>
                    </a:lnTo>
                    <a:lnTo>
                      <a:pt x="579" y="718"/>
                    </a:lnTo>
                    <a:lnTo>
                      <a:pt x="583" y="718"/>
                    </a:lnTo>
                    <a:lnTo>
                      <a:pt x="586" y="717"/>
                    </a:lnTo>
                    <a:lnTo>
                      <a:pt x="589" y="714"/>
                    </a:lnTo>
                    <a:lnTo>
                      <a:pt x="589" y="714"/>
                    </a:lnTo>
                    <a:lnTo>
                      <a:pt x="592" y="712"/>
                    </a:lnTo>
                    <a:lnTo>
                      <a:pt x="596" y="710"/>
                    </a:lnTo>
                    <a:lnTo>
                      <a:pt x="600" y="708"/>
                    </a:lnTo>
                    <a:lnTo>
                      <a:pt x="605" y="710"/>
                    </a:lnTo>
                    <a:lnTo>
                      <a:pt x="605" y="710"/>
                    </a:lnTo>
                    <a:lnTo>
                      <a:pt x="609" y="712"/>
                    </a:lnTo>
                    <a:lnTo>
                      <a:pt x="610" y="712"/>
                    </a:lnTo>
                    <a:lnTo>
                      <a:pt x="613" y="710"/>
                    </a:lnTo>
                    <a:lnTo>
                      <a:pt x="613" y="710"/>
                    </a:lnTo>
                    <a:lnTo>
                      <a:pt x="617" y="708"/>
                    </a:lnTo>
                    <a:lnTo>
                      <a:pt x="623" y="707"/>
                    </a:lnTo>
                    <a:lnTo>
                      <a:pt x="627" y="708"/>
                    </a:lnTo>
                    <a:lnTo>
                      <a:pt x="629" y="711"/>
                    </a:lnTo>
                    <a:lnTo>
                      <a:pt x="629" y="711"/>
                    </a:lnTo>
                    <a:lnTo>
                      <a:pt x="632" y="714"/>
                    </a:lnTo>
                    <a:lnTo>
                      <a:pt x="633" y="715"/>
                    </a:lnTo>
                    <a:lnTo>
                      <a:pt x="640" y="715"/>
                    </a:lnTo>
                    <a:lnTo>
                      <a:pt x="640" y="715"/>
                    </a:lnTo>
                    <a:lnTo>
                      <a:pt x="643" y="717"/>
                    </a:lnTo>
                    <a:lnTo>
                      <a:pt x="644" y="720"/>
                    </a:lnTo>
                    <a:lnTo>
                      <a:pt x="646" y="721"/>
                    </a:lnTo>
                    <a:lnTo>
                      <a:pt x="647" y="721"/>
                    </a:lnTo>
                    <a:lnTo>
                      <a:pt x="647" y="721"/>
                    </a:lnTo>
                    <a:lnTo>
                      <a:pt x="649" y="720"/>
                    </a:lnTo>
                    <a:lnTo>
                      <a:pt x="650" y="717"/>
                    </a:lnTo>
                    <a:lnTo>
                      <a:pt x="652" y="714"/>
                    </a:lnTo>
                    <a:lnTo>
                      <a:pt x="653" y="712"/>
                    </a:lnTo>
                    <a:lnTo>
                      <a:pt x="653" y="712"/>
                    </a:lnTo>
                    <a:lnTo>
                      <a:pt x="659" y="715"/>
                    </a:lnTo>
                    <a:lnTo>
                      <a:pt x="661" y="717"/>
                    </a:lnTo>
                    <a:lnTo>
                      <a:pt x="666" y="718"/>
                    </a:lnTo>
                    <a:lnTo>
                      <a:pt x="666" y="718"/>
                    </a:lnTo>
                    <a:lnTo>
                      <a:pt x="670" y="718"/>
                    </a:lnTo>
                    <a:lnTo>
                      <a:pt x="673" y="717"/>
                    </a:lnTo>
                    <a:lnTo>
                      <a:pt x="674" y="715"/>
                    </a:lnTo>
                    <a:lnTo>
                      <a:pt x="676" y="712"/>
                    </a:lnTo>
                    <a:lnTo>
                      <a:pt x="676" y="712"/>
                    </a:lnTo>
                    <a:lnTo>
                      <a:pt x="674" y="705"/>
                    </a:lnTo>
                    <a:lnTo>
                      <a:pt x="673" y="703"/>
                    </a:lnTo>
                    <a:lnTo>
                      <a:pt x="671" y="701"/>
                    </a:lnTo>
                    <a:lnTo>
                      <a:pt x="671" y="701"/>
                    </a:lnTo>
                    <a:lnTo>
                      <a:pt x="666" y="700"/>
                    </a:lnTo>
                    <a:lnTo>
                      <a:pt x="663" y="698"/>
                    </a:lnTo>
                    <a:lnTo>
                      <a:pt x="660" y="697"/>
                    </a:lnTo>
                    <a:lnTo>
                      <a:pt x="660" y="697"/>
                    </a:lnTo>
                    <a:lnTo>
                      <a:pt x="657" y="697"/>
                    </a:lnTo>
                    <a:lnTo>
                      <a:pt x="654" y="694"/>
                    </a:lnTo>
                    <a:lnTo>
                      <a:pt x="654" y="691"/>
                    </a:lnTo>
                    <a:lnTo>
                      <a:pt x="656" y="688"/>
                    </a:lnTo>
                    <a:lnTo>
                      <a:pt x="656" y="688"/>
                    </a:lnTo>
                    <a:lnTo>
                      <a:pt x="663" y="685"/>
                    </a:lnTo>
                    <a:lnTo>
                      <a:pt x="666" y="683"/>
                    </a:lnTo>
                    <a:lnTo>
                      <a:pt x="666" y="680"/>
                    </a:lnTo>
                    <a:lnTo>
                      <a:pt x="666" y="680"/>
                    </a:lnTo>
                    <a:lnTo>
                      <a:pt x="664" y="677"/>
                    </a:lnTo>
                    <a:lnTo>
                      <a:pt x="664" y="674"/>
                    </a:lnTo>
                    <a:lnTo>
                      <a:pt x="666" y="671"/>
                    </a:lnTo>
                    <a:lnTo>
                      <a:pt x="669" y="668"/>
                    </a:lnTo>
                    <a:lnTo>
                      <a:pt x="669" y="668"/>
                    </a:lnTo>
                    <a:lnTo>
                      <a:pt x="680" y="668"/>
                    </a:lnTo>
                    <a:lnTo>
                      <a:pt x="684" y="667"/>
                    </a:lnTo>
                    <a:lnTo>
                      <a:pt x="686" y="666"/>
                    </a:lnTo>
                    <a:lnTo>
                      <a:pt x="686" y="666"/>
                    </a:lnTo>
                    <a:lnTo>
                      <a:pt x="683" y="664"/>
                    </a:lnTo>
                    <a:lnTo>
                      <a:pt x="679" y="663"/>
                    </a:lnTo>
                    <a:lnTo>
                      <a:pt x="674" y="661"/>
                    </a:lnTo>
                    <a:lnTo>
                      <a:pt x="671" y="658"/>
                    </a:lnTo>
                    <a:lnTo>
                      <a:pt x="671" y="658"/>
                    </a:lnTo>
                    <a:lnTo>
                      <a:pt x="670" y="656"/>
                    </a:lnTo>
                    <a:lnTo>
                      <a:pt x="669" y="651"/>
                    </a:lnTo>
                    <a:lnTo>
                      <a:pt x="670" y="647"/>
                    </a:lnTo>
                    <a:lnTo>
                      <a:pt x="670" y="646"/>
                    </a:lnTo>
                    <a:lnTo>
                      <a:pt x="670" y="646"/>
                    </a:lnTo>
                    <a:lnTo>
                      <a:pt x="673" y="646"/>
                    </a:lnTo>
                    <a:lnTo>
                      <a:pt x="677" y="646"/>
                    </a:lnTo>
                    <a:lnTo>
                      <a:pt x="680" y="646"/>
                    </a:lnTo>
                    <a:lnTo>
                      <a:pt x="684" y="644"/>
                    </a:lnTo>
                    <a:lnTo>
                      <a:pt x="684" y="644"/>
                    </a:lnTo>
                    <a:lnTo>
                      <a:pt x="688" y="644"/>
                    </a:lnTo>
                    <a:lnTo>
                      <a:pt x="693" y="644"/>
                    </a:lnTo>
                    <a:lnTo>
                      <a:pt x="698" y="644"/>
                    </a:lnTo>
                    <a:lnTo>
                      <a:pt x="703" y="643"/>
                    </a:lnTo>
                    <a:lnTo>
                      <a:pt x="703" y="643"/>
                    </a:lnTo>
                    <a:lnTo>
                      <a:pt x="708" y="640"/>
                    </a:lnTo>
                    <a:lnTo>
                      <a:pt x="716" y="639"/>
                    </a:lnTo>
                    <a:lnTo>
                      <a:pt x="727" y="637"/>
                    </a:lnTo>
                    <a:lnTo>
                      <a:pt x="727" y="637"/>
                    </a:lnTo>
                    <a:lnTo>
                      <a:pt x="733" y="637"/>
                    </a:lnTo>
                    <a:lnTo>
                      <a:pt x="735" y="636"/>
                    </a:lnTo>
                    <a:lnTo>
                      <a:pt x="744" y="633"/>
                    </a:lnTo>
                    <a:lnTo>
                      <a:pt x="744" y="633"/>
                    </a:lnTo>
                    <a:lnTo>
                      <a:pt x="755" y="631"/>
                    </a:lnTo>
                    <a:lnTo>
                      <a:pt x="767" y="629"/>
                    </a:lnTo>
                    <a:lnTo>
                      <a:pt x="767" y="629"/>
                    </a:lnTo>
                    <a:lnTo>
                      <a:pt x="780" y="626"/>
                    </a:lnTo>
                    <a:lnTo>
                      <a:pt x="787" y="623"/>
                    </a:lnTo>
                    <a:lnTo>
                      <a:pt x="789" y="621"/>
                    </a:lnTo>
                    <a:lnTo>
                      <a:pt x="789" y="620"/>
                    </a:lnTo>
                    <a:lnTo>
                      <a:pt x="789" y="620"/>
                    </a:lnTo>
                    <a:lnTo>
                      <a:pt x="792" y="619"/>
                    </a:lnTo>
                    <a:lnTo>
                      <a:pt x="799" y="616"/>
                    </a:lnTo>
                    <a:lnTo>
                      <a:pt x="805" y="616"/>
                    </a:lnTo>
                    <a:lnTo>
                      <a:pt x="809" y="616"/>
                    </a:lnTo>
                    <a:lnTo>
                      <a:pt x="809" y="616"/>
                    </a:lnTo>
                    <a:lnTo>
                      <a:pt x="817" y="619"/>
                    </a:lnTo>
                    <a:lnTo>
                      <a:pt x="819" y="619"/>
                    </a:lnTo>
                    <a:lnTo>
                      <a:pt x="822" y="617"/>
                    </a:lnTo>
                    <a:lnTo>
                      <a:pt x="822" y="617"/>
                    </a:lnTo>
                    <a:lnTo>
                      <a:pt x="825" y="617"/>
                    </a:lnTo>
                    <a:lnTo>
                      <a:pt x="829" y="619"/>
                    </a:lnTo>
                    <a:lnTo>
                      <a:pt x="832" y="621"/>
                    </a:lnTo>
                    <a:lnTo>
                      <a:pt x="832" y="624"/>
                    </a:lnTo>
                    <a:lnTo>
                      <a:pt x="832" y="624"/>
                    </a:lnTo>
                    <a:lnTo>
                      <a:pt x="832" y="627"/>
                    </a:lnTo>
                    <a:lnTo>
                      <a:pt x="834" y="630"/>
                    </a:lnTo>
                    <a:lnTo>
                      <a:pt x="835" y="633"/>
                    </a:lnTo>
                    <a:lnTo>
                      <a:pt x="835" y="636"/>
                    </a:lnTo>
                    <a:lnTo>
                      <a:pt x="835" y="636"/>
                    </a:lnTo>
                    <a:lnTo>
                      <a:pt x="834" y="639"/>
                    </a:lnTo>
                    <a:lnTo>
                      <a:pt x="834" y="640"/>
                    </a:lnTo>
                    <a:lnTo>
                      <a:pt x="834" y="643"/>
                    </a:lnTo>
                    <a:lnTo>
                      <a:pt x="834" y="643"/>
                    </a:lnTo>
                    <a:lnTo>
                      <a:pt x="836" y="643"/>
                    </a:lnTo>
                    <a:lnTo>
                      <a:pt x="841" y="643"/>
                    </a:lnTo>
                    <a:lnTo>
                      <a:pt x="845" y="641"/>
                    </a:lnTo>
                    <a:lnTo>
                      <a:pt x="848" y="640"/>
                    </a:lnTo>
                    <a:lnTo>
                      <a:pt x="848" y="640"/>
                    </a:lnTo>
                    <a:lnTo>
                      <a:pt x="851" y="639"/>
                    </a:lnTo>
                    <a:lnTo>
                      <a:pt x="852" y="640"/>
                    </a:lnTo>
                    <a:lnTo>
                      <a:pt x="854" y="641"/>
                    </a:lnTo>
                    <a:lnTo>
                      <a:pt x="855" y="644"/>
                    </a:lnTo>
                    <a:lnTo>
                      <a:pt x="855" y="644"/>
                    </a:lnTo>
                    <a:lnTo>
                      <a:pt x="855" y="646"/>
                    </a:lnTo>
                    <a:lnTo>
                      <a:pt x="856" y="647"/>
                    </a:lnTo>
                    <a:lnTo>
                      <a:pt x="858" y="646"/>
                    </a:lnTo>
                    <a:lnTo>
                      <a:pt x="859" y="644"/>
                    </a:lnTo>
                    <a:lnTo>
                      <a:pt x="859" y="644"/>
                    </a:lnTo>
                    <a:lnTo>
                      <a:pt x="859" y="643"/>
                    </a:lnTo>
                    <a:lnTo>
                      <a:pt x="862" y="643"/>
                    </a:lnTo>
                    <a:lnTo>
                      <a:pt x="866" y="646"/>
                    </a:lnTo>
                    <a:lnTo>
                      <a:pt x="866" y="646"/>
                    </a:lnTo>
                    <a:lnTo>
                      <a:pt x="869" y="647"/>
                    </a:lnTo>
                    <a:lnTo>
                      <a:pt x="872" y="646"/>
                    </a:lnTo>
                    <a:lnTo>
                      <a:pt x="873" y="646"/>
                    </a:lnTo>
                    <a:lnTo>
                      <a:pt x="875" y="647"/>
                    </a:lnTo>
                    <a:lnTo>
                      <a:pt x="875" y="647"/>
                    </a:lnTo>
                    <a:lnTo>
                      <a:pt x="873" y="650"/>
                    </a:lnTo>
                    <a:lnTo>
                      <a:pt x="871" y="651"/>
                    </a:lnTo>
                    <a:lnTo>
                      <a:pt x="868" y="654"/>
                    </a:lnTo>
                    <a:lnTo>
                      <a:pt x="868" y="656"/>
                    </a:lnTo>
                    <a:lnTo>
                      <a:pt x="869" y="657"/>
                    </a:lnTo>
                    <a:lnTo>
                      <a:pt x="869" y="657"/>
                    </a:lnTo>
                    <a:lnTo>
                      <a:pt x="871" y="658"/>
                    </a:lnTo>
                    <a:lnTo>
                      <a:pt x="872" y="658"/>
                    </a:lnTo>
                    <a:lnTo>
                      <a:pt x="875" y="657"/>
                    </a:lnTo>
                    <a:lnTo>
                      <a:pt x="878" y="654"/>
                    </a:lnTo>
                    <a:lnTo>
                      <a:pt x="882" y="654"/>
                    </a:lnTo>
                    <a:lnTo>
                      <a:pt x="882" y="654"/>
                    </a:lnTo>
                    <a:lnTo>
                      <a:pt x="886" y="654"/>
                    </a:lnTo>
                    <a:lnTo>
                      <a:pt x="890" y="651"/>
                    </a:lnTo>
                    <a:lnTo>
                      <a:pt x="895" y="648"/>
                    </a:lnTo>
                    <a:lnTo>
                      <a:pt x="899" y="647"/>
                    </a:lnTo>
                    <a:lnTo>
                      <a:pt x="899" y="647"/>
                    </a:lnTo>
                    <a:lnTo>
                      <a:pt x="903" y="646"/>
                    </a:lnTo>
                    <a:lnTo>
                      <a:pt x="906" y="644"/>
                    </a:lnTo>
                    <a:lnTo>
                      <a:pt x="913" y="639"/>
                    </a:lnTo>
                    <a:lnTo>
                      <a:pt x="913" y="639"/>
                    </a:lnTo>
                    <a:lnTo>
                      <a:pt x="918" y="639"/>
                    </a:lnTo>
                    <a:lnTo>
                      <a:pt x="922" y="637"/>
                    </a:lnTo>
                    <a:lnTo>
                      <a:pt x="925" y="639"/>
                    </a:lnTo>
                    <a:lnTo>
                      <a:pt x="925" y="639"/>
                    </a:lnTo>
                    <a:lnTo>
                      <a:pt x="925" y="640"/>
                    </a:lnTo>
                    <a:lnTo>
                      <a:pt x="925" y="640"/>
                    </a:lnTo>
                    <a:lnTo>
                      <a:pt x="922" y="643"/>
                    </a:lnTo>
                    <a:lnTo>
                      <a:pt x="922" y="646"/>
                    </a:lnTo>
                    <a:lnTo>
                      <a:pt x="923" y="648"/>
                    </a:lnTo>
                    <a:lnTo>
                      <a:pt x="929" y="653"/>
                    </a:lnTo>
                    <a:lnTo>
                      <a:pt x="929" y="653"/>
                    </a:lnTo>
                    <a:lnTo>
                      <a:pt x="933" y="654"/>
                    </a:lnTo>
                    <a:lnTo>
                      <a:pt x="937" y="658"/>
                    </a:lnTo>
                    <a:lnTo>
                      <a:pt x="945" y="667"/>
                    </a:lnTo>
                    <a:lnTo>
                      <a:pt x="959" y="687"/>
                    </a:lnTo>
                    <a:lnTo>
                      <a:pt x="959" y="687"/>
                    </a:lnTo>
                    <a:lnTo>
                      <a:pt x="963" y="695"/>
                    </a:lnTo>
                    <a:lnTo>
                      <a:pt x="967" y="705"/>
                    </a:lnTo>
                    <a:lnTo>
                      <a:pt x="972" y="712"/>
                    </a:lnTo>
                    <a:lnTo>
                      <a:pt x="973" y="715"/>
                    </a:lnTo>
                    <a:lnTo>
                      <a:pt x="974" y="715"/>
                    </a:lnTo>
                    <a:lnTo>
                      <a:pt x="974" y="715"/>
                    </a:lnTo>
                    <a:lnTo>
                      <a:pt x="977" y="714"/>
                    </a:lnTo>
                    <a:lnTo>
                      <a:pt x="979" y="711"/>
                    </a:lnTo>
                    <a:lnTo>
                      <a:pt x="982" y="708"/>
                    </a:lnTo>
                    <a:lnTo>
                      <a:pt x="984" y="705"/>
                    </a:lnTo>
                    <a:lnTo>
                      <a:pt x="984" y="705"/>
                    </a:lnTo>
                    <a:lnTo>
                      <a:pt x="987" y="707"/>
                    </a:lnTo>
                    <a:lnTo>
                      <a:pt x="990" y="710"/>
                    </a:lnTo>
                    <a:lnTo>
                      <a:pt x="993" y="712"/>
                    </a:lnTo>
                    <a:lnTo>
                      <a:pt x="997" y="714"/>
                    </a:lnTo>
                    <a:lnTo>
                      <a:pt x="997" y="714"/>
                    </a:lnTo>
                    <a:lnTo>
                      <a:pt x="1004" y="717"/>
                    </a:lnTo>
                    <a:lnTo>
                      <a:pt x="1009" y="717"/>
                    </a:lnTo>
                    <a:lnTo>
                      <a:pt x="1013" y="717"/>
                    </a:lnTo>
                    <a:lnTo>
                      <a:pt x="1013" y="717"/>
                    </a:lnTo>
                    <a:lnTo>
                      <a:pt x="1020" y="714"/>
                    </a:lnTo>
                    <a:lnTo>
                      <a:pt x="1026" y="712"/>
                    </a:lnTo>
                    <a:lnTo>
                      <a:pt x="1028" y="712"/>
                    </a:lnTo>
                    <a:lnTo>
                      <a:pt x="1028" y="712"/>
                    </a:lnTo>
                    <a:lnTo>
                      <a:pt x="1034" y="715"/>
                    </a:lnTo>
                    <a:lnTo>
                      <a:pt x="1036" y="717"/>
                    </a:lnTo>
                    <a:lnTo>
                      <a:pt x="1038" y="721"/>
                    </a:lnTo>
                    <a:lnTo>
                      <a:pt x="1038" y="721"/>
                    </a:lnTo>
                    <a:lnTo>
                      <a:pt x="1041" y="725"/>
                    </a:lnTo>
                    <a:lnTo>
                      <a:pt x="1044" y="728"/>
                    </a:lnTo>
                    <a:lnTo>
                      <a:pt x="1046" y="728"/>
                    </a:lnTo>
                    <a:lnTo>
                      <a:pt x="1048" y="730"/>
                    </a:lnTo>
                    <a:lnTo>
                      <a:pt x="1048" y="730"/>
                    </a:lnTo>
                    <a:lnTo>
                      <a:pt x="1050" y="730"/>
                    </a:lnTo>
                    <a:lnTo>
                      <a:pt x="1051" y="731"/>
                    </a:lnTo>
                    <a:lnTo>
                      <a:pt x="1053" y="735"/>
                    </a:lnTo>
                    <a:lnTo>
                      <a:pt x="1053" y="735"/>
                    </a:lnTo>
                    <a:lnTo>
                      <a:pt x="1053" y="737"/>
                    </a:lnTo>
                    <a:lnTo>
                      <a:pt x="1056" y="740"/>
                    </a:lnTo>
                    <a:lnTo>
                      <a:pt x="1057" y="741"/>
                    </a:lnTo>
                    <a:lnTo>
                      <a:pt x="1060" y="742"/>
                    </a:lnTo>
                    <a:lnTo>
                      <a:pt x="1060" y="742"/>
                    </a:lnTo>
                    <a:lnTo>
                      <a:pt x="1067" y="741"/>
                    </a:lnTo>
                    <a:lnTo>
                      <a:pt x="1073" y="740"/>
                    </a:lnTo>
                    <a:lnTo>
                      <a:pt x="1073" y="740"/>
                    </a:lnTo>
                    <a:lnTo>
                      <a:pt x="1077" y="738"/>
                    </a:lnTo>
                    <a:lnTo>
                      <a:pt x="1078" y="738"/>
                    </a:lnTo>
                    <a:lnTo>
                      <a:pt x="1078" y="740"/>
                    </a:lnTo>
                    <a:lnTo>
                      <a:pt x="1078" y="740"/>
                    </a:lnTo>
                    <a:lnTo>
                      <a:pt x="1081" y="745"/>
                    </a:lnTo>
                    <a:lnTo>
                      <a:pt x="1084" y="748"/>
                    </a:lnTo>
                    <a:lnTo>
                      <a:pt x="1087" y="748"/>
                    </a:lnTo>
                    <a:lnTo>
                      <a:pt x="1087" y="748"/>
                    </a:lnTo>
                    <a:lnTo>
                      <a:pt x="1091" y="749"/>
                    </a:lnTo>
                    <a:lnTo>
                      <a:pt x="1094" y="749"/>
                    </a:lnTo>
                    <a:lnTo>
                      <a:pt x="1095" y="748"/>
                    </a:lnTo>
                    <a:lnTo>
                      <a:pt x="1095" y="748"/>
                    </a:lnTo>
                    <a:lnTo>
                      <a:pt x="1097" y="747"/>
                    </a:lnTo>
                    <a:lnTo>
                      <a:pt x="1100" y="745"/>
                    </a:lnTo>
                    <a:lnTo>
                      <a:pt x="1107" y="744"/>
                    </a:lnTo>
                    <a:lnTo>
                      <a:pt x="1107" y="744"/>
                    </a:lnTo>
                    <a:lnTo>
                      <a:pt x="1114" y="742"/>
                    </a:lnTo>
                    <a:lnTo>
                      <a:pt x="1118" y="741"/>
                    </a:lnTo>
                    <a:lnTo>
                      <a:pt x="1121" y="738"/>
                    </a:lnTo>
                    <a:lnTo>
                      <a:pt x="1121" y="738"/>
                    </a:lnTo>
                    <a:lnTo>
                      <a:pt x="1124" y="735"/>
                    </a:lnTo>
                    <a:lnTo>
                      <a:pt x="1127" y="734"/>
                    </a:lnTo>
                    <a:lnTo>
                      <a:pt x="1131" y="732"/>
                    </a:lnTo>
                    <a:lnTo>
                      <a:pt x="1134" y="731"/>
                    </a:lnTo>
                    <a:lnTo>
                      <a:pt x="1134" y="731"/>
                    </a:lnTo>
                    <a:lnTo>
                      <a:pt x="1138" y="727"/>
                    </a:lnTo>
                    <a:lnTo>
                      <a:pt x="1142" y="725"/>
                    </a:lnTo>
                    <a:lnTo>
                      <a:pt x="1144" y="724"/>
                    </a:lnTo>
                    <a:lnTo>
                      <a:pt x="1144" y="724"/>
                    </a:lnTo>
                    <a:lnTo>
                      <a:pt x="1145" y="721"/>
                    </a:lnTo>
                    <a:lnTo>
                      <a:pt x="1149" y="721"/>
                    </a:lnTo>
                    <a:lnTo>
                      <a:pt x="1152" y="720"/>
                    </a:lnTo>
                    <a:lnTo>
                      <a:pt x="1155" y="718"/>
                    </a:lnTo>
                    <a:lnTo>
                      <a:pt x="1155" y="718"/>
                    </a:lnTo>
                    <a:lnTo>
                      <a:pt x="1157" y="717"/>
                    </a:lnTo>
                    <a:lnTo>
                      <a:pt x="1159" y="717"/>
                    </a:lnTo>
                    <a:lnTo>
                      <a:pt x="1166" y="717"/>
                    </a:lnTo>
                    <a:lnTo>
                      <a:pt x="1166" y="717"/>
                    </a:lnTo>
                    <a:lnTo>
                      <a:pt x="1178" y="720"/>
                    </a:lnTo>
                    <a:lnTo>
                      <a:pt x="1188" y="721"/>
                    </a:lnTo>
                    <a:lnTo>
                      <a:pt x="1188" y="721"/>
                    </a:lnTo>
                    <a:lnTo>
                      <a:pt x="1189" y="721"/>
                    </a:lnTo>
                    <a:lnTo>
                      <a:pt x="1191" y="725"/>
                    </a:lnTo>
                    <a:lnTo>
                      <a:pt x="1192" y="728"/>
                    </a:lnTo>
                    <a:lnTo>
                      <a:pt x="1194" y="730"/>
                    </a:lnTo>
                    <a:lnTo>
                      <a:pt x="1194" y="730"/>
                    </a:lnTo>
                    <a:lnTo>
                      <a:pt x="1201" y="732"/>
                    </a:lnTo>
                    <a:lnTo>
                      <a:pt x="1203" y="735"/>
                    </a:lnTo>
                    <a:lnTo>
                      <a:pt x="1206" y="735"/>
                    </a:lnTo>
                    <a:lnTo>
                      <a:pt x="1206" y="735"/>
                    </a:lnTo>
                    <a:lnTo>
                      <a:pt x="1212" y="732"/>
                    </a:lnTo>
                    <a:lnTo>
                      <a:pt x="1216" y="732"/>
                    </a:lnTo>
                    <a:lnTo>
                      <a:pt x="1219" y="734"/>
                    </a:lnTo>
                    <a:lnTo>
                      <a:pt x="1219" y="734"/>
                    </a:lnTo>
                    <a:lnTo>
                      <a:pt x="1226" y="738"/>
                    </a:lnTo>
                    <a:lnTo>
                      <a:pt x="1229" y="738"/>
                    </a:lnTo>
                    <a:lnTo>
                      <a:pt x="1230" y="737"/>
                    </a:lnTo>
                    <a:lnTo>
                      <a:pt x="1230" y="737"/>
                    </a:lnTo>
                    <a:lnTo>
                      <a:pt x="1233" y="735"/>
                    </a:lnTo>
                    <a:lnTo>
                      <a:pt x="1238" y="734"/>
                    </a:lnTo>
                    <a:lnTo>
                      <a:pt x="1242" y="732"/>
                    </a:lnTo>
                    <a:lnTo>
                      <a:pt x="1245" y="731"/>
                    </a:lnTo>
                    <a:lnTo>
                      <a:pt x="1245" y="731"/>
                    </a:lnTo>
                    <a:lnTo>
                      <a:pt x="1246" y="725"/>
                    </a:lnTo>
                    <a:lnTo>
                      <a:pt x="1246" y="722"/>
                    </a:lnTo>
                    <a:lnTo>
                      <a:pt x="1245" y="721"/>
                    </a:lnTo>
                    <a:lnTo>
                      <a:pt x="1245" y="721"/>
                    </a:lnTo>
                    <a:lnTo>
                      <a:pt x="1240" y="715"/>
                    </a:lnTo>
                    <a:lnTo>
                      <a:pt x="1239" y="708"/>
                    </a:lnTo>
                    <a:lnTo>
                      <a:pt x="1239" y="708"/>
                    </a:lnTo>
                    <a:lnTo>
                      <a:pt x="1239" y="705"/>
                    </a:lnTo>
                    <a:lnTo>
                      <a:pt x="1242" y="704"/>
                    </a:lnTo>
                    <a:lnTo>
                      <a:pt x="1243" y="701"/>
                    </a:lnTo>
                    <a:lnTo>
                      <a:pt x="1246" y="700"/>
                    </a:lnTo>
                    <a:lnTo>
                      <a:pt x="1246" y="700"/>
                    </a:lnTo>
                    <a:lnTo>
                      <a:pt x="1248" y="697"/>
                    </a:lnTo>
                    <a:lnTo>
                      <a:pt x="1249" y="697"/>
                    </a:lnTo>
                    <a:lnTo>
                      <a:pt x="1255" y="694"/>
                    </a:lnTo>
                    <a:lnTo>
                      <a:pt x="1255" y="694"/>
                    </a:lnTo>
                    <a:lnTo>
                      <a:pt x="1256" y="690"/>
                    </a:lnTo>
                    <a:lnTo>
                      <a:pt x="1258" y="688"/>
                    </a:lnTo>
                    <a:lnTo>
                      <a:pt x="1260" y="688"/>
                    </a:lnTo>
                    <a:lnTo>
                      <a:pt x="1260" y="688"/>
                    </a:lnTo>
                    <a:lnTo>
                      <a:pt x="1266" y="691"/>
                    </a:lnTo>
                    <a:lnTo>
                      <a:pt x="1272" y="694"/>
                    </a:lnTo>
                    <a:lnTo>
                      <a:pt x="1272" y="694"/>
                    </a:lnTo>
                    <a:lnTo>
                      <a:pt x="1276" y="695"/>
                    </a:lnTo>
                    <a:lnTo>
                      <a:pt x="1282" y="695"/>
                    </a:lnTo>
                    <a:lnTo>
                      <a:pt x="1282" y="695"/>
                    </a:lnTo>
                    <a:lnTo>
                      <a:pt x="1287" y="697"/>
                    </a:lnTo>
                    <a:lnTo>
                      <a:pt x="1293" y="701"/>
                    </a:lnTo>
                    <a:lnTo>
                      <a:pt x="1293" y="701"/>
                    </a:lnTo>
                    <a:lnTo>
                      <a:pt x="1302" y="703"/>
                    </a:lnTo>
                    <a:lnTo>
                      <a:pt x="1306" y="704"/>
                    </a:lnTo>
                    <a:lnTo>
                      <a:pt x="1309" y="705"/>
                    </a:lnTo>
                    <a:lnTo>
                      <a:pt x="1309" y="705"/>
                    </a:lnTo>
                    <a:lnTo>
                      <a:pt x="1310" y="708"/>
                    </a:lnTo>
                    <a:lnTo>
                      <a:pt x="1310" y="712"/>
                    </a:lnTo>
                    <a:lnTo>
                      <a:pt x="1310" y="717"/>
                    </a:lnTo>
                    <a:lnTo>
                      <a:pt x="1312" y="720"/>
                    </a:lnTo>
                    <a:lnTo>
                      <a:pt x="1312" y="720"/>
                    </a:lnTo>
                    <a:lnTo>
                      <a:pt x="1316" y="724"/>
                    </a:lnTo>
                    <a:lnTo>
                      <a:pt x="1319" y="727"/>
                    </a:lnTo>
                    <a:lnTo>
                      <a:pt x="1322" y="727"/>
                    </a:lnTo>
                    <a:lnTo>
                      <a:pt x="1322" y="727"/>
                    </a:lnTo>
                    <a:lnTo>
                      <a:pt x="1323" y="727"/>
                    </a:lnTo>
                    <a:lnTo>
                      <a:pt x="1327" y="728"/>
                    </a:lnTo>
                    <a:lnTo>
                      <a:pt x="1331" y="730"/>
                    </a:lnTo>
                    <a:lnTo>
                      <a:pt x="1336" y="731"/>
                    </a:lnTo>
                    <a:lnTo>
                      <a:pt x="1336" y="731"/>
                    </a:lnTo>
                    <a:lnTo>
                      <a:pt x="1341" y="728"/>
                    </a:lnTo>
                    <a:lnTo>
                      <a:pt x="1344" y="725"/>
                    </a:lnTo>
                    <a:lnTo>
                      <a:pt x="1347" y="725"/>
                    </a:lnTo>
                    <a:lnTo>
                      <a:pt x="1347" y="725"/>
                    </a:lnTo>
                    <a:lnTo>
                      <a:pt x="1354" y="724"/>
                    </a:lnTo>
                    <a:lnTo>
                      <a:pt x="1361" y="724"/>
                    </a:lnTo>
                    <a:lnTo>
                      <a:pt x="1361" y="724"/>
                    </a:lnTo>
                    <a:lnTo>
                      <a:pt x="1368" y="725"/>
                    </a:lnTo>
                    <a:lnTo>
                      <a:pt x="1373" y="727"/>
                    </a:lnTo>
                    <a:lnTo>
                      <a:pt x="1376" y="727"/>
                    </a:lnTo>
                    <a:lnTo>
                      <a:pt x="1376" y="727"/>
                    </a:lnTo>
                    <a:lnTo>
                      <a:pt x="1383" y="727"/>
                    </a:lnTo>
                    <a:lnTo>
                      <a:pt x="1386" y="728"/>
                    </a:lnTo>
                    <a:lnTo>
                      <a:pt x="1388" y="730"/>
                    </a:lnTo>
                    <a:lnTo>
                      <a:pt x="1388" y="730"/>
                    </a:lnTo>
                    <a:lnTo>
                      <a:pt x="1391" y="731"/>
                    </a:lnTo>
                    <a:lnTo>
                      <a:pt x="1396" y="732"/>
                    </a:lnTo>
                    <a:lnTo>
                      <a:pt x="1400" y="734"/>
                    </a:lnTo>
                    <a:lnTo>
                      <a:pt x="1401" y="735"/>
                    </a:lnTo>
                    <a:lnTo>
                      <a:pt x="1401" y="737"/>
                    </a:lnTo>
                    <a:lnTo>
                      <a:pt x="1401" y="737"/>
                    </a:lnTo>
                    <a:lnTo>
                      <a:pt x="1403" y="738"/>
                    </a:lnTo>
                    <a:lnTo>
                      <a:pt x="1405" y="741"/>
                    </a:lnTo>
                    <a:lnTo>
                      <a:pt x="1408" y="742"/>
                    </a:lnTo>
                    <a:lnTo>
                      <a:pt x="1410" y="745"/>
                    </a:lnTo>
                    <a:lnTo>
                      <a:pt x="1410" y="745"/>
                    </a:lnTo>
                    <a:lnTo>
                      <a:pt x="1411" y="747"/>
                    </a:lnTo>
                    <a:lnTo>
                      <a:pt x="1414" y="747"/>
                    </a:lnTo>
                    <a:lnTo>
                      <a:pt x="1420" y="748"/>
                    </a:lnTo>
                    <a:lnTo>
                      <a:pt x="1427" y="748"/>
                    </a:lnTo>
                    <a:lnTo>
                      <a:pt x="1431" y="749"/>
                    </a:lnTo>
                    <a:lnTo>
                      <a:pt x="1431" y="749"/>
                    </a:lnTo>
                    <a:lnTo>
                      <a:pt x="1435" y="749"/>
                    </a:lnTo>
                    <a:lnTo>
                      <a:pt x="1442" y="751"/>
                    </a:lnTo>
                    <a:lnTo>
                      <a:pt x="1448" y="749"/>
                    </a:lnTo>
                    <a:lnTo>
                      <a:pt x="1452" y="749"/>
                    </a:lnTo>
                    <a:lnTo>
                      <a:pt x="1452" y="749"/>
                    </a:lnTo>
                    <a:lnTo>
                      <a:pt x="1455" y="748"/>
                    </a:lnTo>
                    <a:lnTo>
                      <a:pt x="1461" y="747"/>
                    </a:lnTo>
                    <a:lnTo>
                      <a:pt x="1468" y="745"/>
                    </a:lnTo>
                    <a:lnTo>
                      <a:pt x="1472" y="744"/>
                    </a:lnTo>
                    <a:lnTo>
                      <a:pt x="1472" y="744"/>
                    </a:lnTo>
                    <a:lnTo>
                      <a:pt x="1477" y="742"/>
                    </a:lnTo>
                    <a:lnTo>
                      <a:pt x="1479" y="742"/>
                    </a:lnTo>
                    <a:lnTo>
                      <a:pt x="1484" y="741"/>
                    </a:lnTo>
                    <a:lnTo>
                      <a:pt x="1485" y="740"/>
                    </a:lnTo>
                    <a:lnTo>
                      <a:pt x="1485" y="740"/>
                    </a:lnTo>
                    <a:lnTo>
                      <a:pt x="1487" y="737"/>
                    </a:lnTo>
                    <a:lnTo>
                      <a:pt x="1491" y="734"/>
                    </a:lnTo>
                    <a:lnTo>
                      <a:pt x="1498" y="731"/>
                    </a:lnTo>
                    <a:lnTo>
                      <a:pt x="1498" y="731"/>
                    </a:lnTo>
                    <a:lnTo>
                      <a:pt x="1502" y="730"/>
                    </a:lnTo>
                    <a:lnTo>
                      <a:pt x="1509" y="728"/>
                    </a:lnTo>
                    <a:lnTo>
                      <a:pt x="1515" y="730"/>
                    </a:lnTo>
                    <a:lnTo>
                      <a:pt x="1518" y="731"/>
                    </a:lnTo>
                    <a:lnTo>
                      <a:pt x="1518" y="731"/>
                    </a:lnTo>
                    <a:lnTo>
                      <a:pt x="1521" y="734"/>
                    </a:lnTo>
                    <a:lnTo>
                      <a:pt x="1524" y="735"/>
                    </a:lnTo>
                    <a:lnTo>
                      <a:pt x="1528" y="735"/>
                    </a:lnTo>
                    <a:lnTo>
                      <a:pt x="1532" y="734"/>
                    </a:lnTo>
                    <a:lnTo>
                      <a:pt x="1532" y="734"/>
                    </a:lnTo>
                    <a:lnTo>
                      <a:pt x="1535" y="734"/>
                    </a:lnTo>
                    <a:lnTo>
                      <a:pt x="1541" y="734"/>
                    </a:lnTo>
                    <a:lnTo>
                      <a:pt x="1545" y="735"/>
                    </a:lnTo>
                    <a:lnTo>
                      <a:pt x="1548" y="738"/>
                    </a:lnTo>
                    <a:lnTo>
                      <a:pt x="1548" y="738"/>
                    </a:lnTo>
                    <a:lnTo>
                      <a:pt x="1549" y="740"/>
                    </a:lnTo>
                    <a:lnTo>
                      <a:pt x="1555" y="742"/>
                    </a:lnTo>
                    <a:lnTo>
                      <a:pt x="1563" y="742"/>
                    </a:lnTo>
                    <a:lnTo>
                      <a:pt x="1563" y="742"/>
                    </a:lnTo>
                    <a:lnTo>
                      <a:pt x="1570" y="738"/>
                    </a:lnTo>
                    <a:lnTo>
                      <a:pt x="1578" y="734"/>
                    </a:lnTo>
                    <a:lnTo>
                      <a:pt x="1578" y="734"/>
                    </a:lnTo>
                    <a:lnTo>
                      <a:pt x="1583" y="731"/>
                    </a:lnTo>
                    <a:lnTo>
                      <a:pt x="1585" y="730"/>
                    </a:lnTo>
                    <a:lnTo>
                      <a:pt x="1585" y="727"/>
                    </a:lnTo>
                    <a:lnTo>
                      <a:pt x="1585" y="727"/>
                    </a:lnTo>
                    <a:lnTo>
                      <a:pt x="1586" y="724"/>
                    </a:lnTo>
                    <a:lnTo>
                      <a:pt x="1588" y="720"/>
                    </a:lnTo>
                    <a:lnTo>
                      <a:pt x="1593" y="711"/>
                    </a:lnTo>
                    <a:lnTo>
                      <a:pt x="1593" y="711"/>
                    </a:lnTo>
                    <a:lnTo>
                      <a:pt x="1598" y="701"/>
                    </a:lnTo>
                    <a:lnTo>
                      <a:pt x="1600" y="697"/>
                    </a:lnTo>
                    <a:lnTo>
                      <a:pt x="1603" y="695"/>
                    </a:lnTo>
                    <a:lnTo>
                      <a:pt x="1603" y="695"/>
                    </a:lnTo>
                    <a:lnTo>
                      <a:pt x="1607" y="693"/>
                    </a:lnTo>
                    <a:lnTo>
                      <a:pt x="1609" y="690"/>
                    </a:lnTo>
                    <a:lnTo>
                      <a:pt x="1610" y="687"/>
                    </a:lnTo>
                    <a:lnTo>
                      <a:pt x="1610" y="687"/>
                    </a:lnTo>
                    <a:lnTo>
                      <a:pt x="1607" y="680"/>
                    </a:lnTo>
                    <a:lnTo>
                      <a:pt x="1606" y="677"/>
                    </a:lnTo>
                    <a:lnTo>
                      <a:pt x="1605" y="675"/>
                    </a:lnTo>
                    <a:lnTo>
                      <a:pt x="1605" y="675"/>
                    </a:lnTo>
                    <a:lnTo>
                      <a:pt x="1603" y="675"/>
                    </a:lnTo>
                    <a:lnTo>
                      <a:pt x="1600" y="675"/>
                    </a:lnTo>
                    <a:lnTo>
                      <a:pt x="1600" y="673"/>
                    </a:lnTo>
                    <a:lnTo>
                      <a:pt x="1603" y="667"/>
                    </a:lnTo>
                    <a:lnTo>
                      <a:pt x="1603" y="667"/>
                    </a:lnTo>
                    <a:lnTo>
                      <a:pt x="1606" y="664"/>
                    </a:lnTo>
                    <a:lnTo>
                      <a:pt x="1609" y="663"/>
                    </a:lnTo>
                    <a:lnTo>
                      <a:pt x="1616" y="661"/>
                    </a:lnTo>
                    <a:lnTo>
                      <a:pt x="1625" y="661"/>
                    </a:lnTo>
                    <a:lnTo>
                      <a:pt x="1625" y="661"/>
                    </a:lnTo>
                    <a:lnTo>
                      <a:pt x="1635" y="658"/>
                    </a:lnTo>
                    <a:lnTo>
                      <a:pt x="1642" y="658"/>
                    </a:lnTo>
                    <a:lnTo>
                      <a:pt x="1647" y="658"/>
                    </a:lnTo>
                    <a:lnTo>
                      <a:pt x="1647" y="658"/>
                    </a:lnTo>
                    <a:lnTo>
                      <a:pt x="1652" y="660"/>
                    </a:lnTo>
                    <a:lnTo>
                      <a:pt x="1656" y="660"/>
                    </a:lnTo>
                    <a:lnTo>
                      <a:pt x="1660" y="660"/>
                    </a:lnTo>
                    <a:lnTo>
                      <a:pt x="1666" y="661"/>
                    </a:lnTo>
                    <a:lnTo>
                      <a:pt x="1666" y="661"/>
                    </a:lnTo>
                    <a:lnTo>
                      <a:pt x="1671" y="664"/>
                    </a:lnTo>
                    <a:lnTo>
                      <a:pt x="1677" y="664"/>
                    </a:lnTo>
                    <a:lnTo>
                      <a:pt x="1681" y="666"/>
                    </a:lnTo>
                    <a:lnTo>
                      <a:pt x="1686" y="667"/>
                    </a:lnTo>
                    <a:lnTo>
                      <a:pt x="1686" y="667"/>
                    </a:lnTo>
                    <a:lnTo>
                      <a:pt x="1689" y="670"/>
                    </a:lnTo>
                    <a:lnTo>
                      <a:pt x="1691" y="673"/>
                    </a:lnTo>
                    <a:lnTo>
                      <a:pt x="1694" y="675"/>
                    </a:lnTo>
                    <a:lnTo>
                      <a:pt x="1696" y="677"/>
                    </a:lnTo>
                    <a:lnTo>
                      <a:pt x="1696" y="680"/>
                    </a:lnTo>
                    <a:lnTo>
                      <a:pt x="1696" y="680"/>
                    </a:lnTo>
                    <a:lnTo>
                      <a:pt x="1696" y="683"/>
                    </a:lnTo>
                    <a:lnTo>
                      <a:pt x="1699" y="684"/>
                    </a:lnTo>
                    <a:lnTo>
                      <a:pt x="1701" y="687"/>
                    </a:lnTo>
                    <a:lnTo>
                      <a:pt x="1703" y="694"/>
                    </a:lnTo>
                    <a:lnTo>
                      <a:pt x="1703" y="694"/>
                    </a:lnTo>
                    <a:lnTo>
                      <a:pt x="1706" y="701"/>
                    </a:lnTo>
                    <a:lnTo>
                      <a:pt x="1708" y="705"/>
                    </a:lnTo>
                    <a:lnTo>
                      <a:pt x="1711" y="710"/>
                    </a:lnTo>
                    <a:lnTo>
                      <a:pt x="1713" y="712"/>
                    </a:lnTo>
                    <a:lnTo>
                      <a:pt x="1713" y="712"/>
                    </a:lnTo>
                    <a:lnTo>
                      <a:pt x="1717" y="724"/>
                    </a:lnTo>
                    <a:lnTo>
                      <a:pt x="1720" y="728"/>
                    </a:lnTo>
                    <a:lnTo>
                      <a:pt x="1721" y="732"/>
                    </a:lnTo>
                    <a:lnTo>
                      <a:pt x="1721" y="732"/>
                    </a:lnTo>
                    <a:lnTo>
                      <a:pt x="1720" y="735"/>
                    </a:lnTo>
                    <a:lnTo>
                      <a:pt x="1720" y="738"/>
                    </a:lnTo>
                    <a:lnTo>
                      <a:pt x="1723" y="740"/>
                    </a:lnTo>
                    <a:lnTo>
                      <a:pt x="1727" y="741"/>
                    </a:lnTo>
                    <a:lnTo>
                      <a:pt x="1727" y="741"/>
                    </a:lnTo>
                    <a:lnTo>
                      <a:pt x="1733" y="742"/>
                    </a:lnTo>
                    <a:lnTo>
                      <a:pt x="1737" y="745"/>
                    </a:lnTo>
                    <a:lnTo>
                      <a:pt x="1740" y="747"/>
                    </a:lnTo>
                    <a:lnTo>
                      <a:pt x="1743" y="747"/>
                    </a:lnTo>
                    <a:lnTo>
                      <a:pt x="1743" y="747"/>
                    </a:lnTo>
                    <a:lnTo>
                      <a:pt x="1745" y="747"/>
                    </a:lnTo>
                    <a:lnTo>
                      <a:pt x="1750" y="748"/>
                    </a:lnTo>
                    <a:lnTo>
                      <a:pt x="1754" y="751"/>
                    </a:lnTo>
                    <a:lnTo>
                      <a:pt x="1758" y="754"/>
                    </a:lnTo>
                    <a:lnTo>
                      <a:pt x="1758" y="754"/>
                    </a:lnTo>
                    <a:lnTo>
                      <a:pt x="1763" y="757"/>
                    </a:lnTo>
                    <a:lnTo>
                      <a:pt x="1767" y="758"/>
                    </a:lnTo>
                    <a:lnTo>
                      <a:pt x="1770" y="759"/>
                    </a:lnTo>
                    <a:lnTo>
                      <a:pt x="1770" y="762"/>
                    </a:lnTo>
                    <a:lnTo>
                      <a:pt x="1770" y="762"/>
                    </a:lnTo>
                    <a:lnTo>
                      <a:pt x="1770" y="765"/>
                    </a:lnTo>
                    <a:lnTo>
                      <a:pt x="1771" y="769"/>
                    </a:lnTo>
                    <a:lnTo>
                      <a:pt x="1772" y="772"/>
                    </a:lnTo>
                    <a:lnTo>
                      <a:pt x="1774" y="775"/>
                    </a:lnTo>
                    <a:lnTo>
                      <a:pt x="1774" y="775"/>
                    </a:lnTo>
                    <a:lnTo>
                      <a:pt x="1774" y="778"/>
                    </a:lnTo>
                    <a:lnTo>
                      <a:pt x="1778" y="781"/>
                    </a:lnTo>
                    <a:lnTo>
                      <a:pt x="1784" y="782"/>
                    </a:lnTo>
                    <a:lnTo>
                      <a:pt x="1790" y="782"/>
                    </a:lnTo>
                    <a:lnTo>
                      <a:pt x="1790" y="782"/>
                    </a:lnTo>
                    <a:lnTo>
                      <a:pt x="1798" y="782"/>
                    </a:lnTo>
                    <a:lnTo>
                      <a:pt x="1801" y="781"/>
                    </a:lnTo>
                    <a:lnTo>
                      <a:pt x="1804" y="778"/>
                    </a:lnTo>
                    <a:lnTo>
                      <a:pt x="1804" y="778"/>
                    </a:lnTo>
                    <a:lnTo>
                      <a:pt x="1807" y="775"/>
                    </a:lnTo>
                    <a:lnTo>
                      <a:pt x="1811" y="774"/>
                    </a:lnTo>
                    <a:lnTo>
                      <a:pt x="1815" y="774"/>
                    </a:lnTo>
                    <a:lnTo>
                      <a:pt x="1819" y="772"/>
                    </a:lnTo>
                    <a:lnTo>
                      <a:pt x="1819" y="772"/>
                    </a:lnTo>
                    <a:lnTo>
                      <a:pt x="1822" y="771"/>
                    </a:lnTo>
                    <a:lnTo>
                      <a:pt x="1827" y="771"/>
                    </a:lnTo>
                    <a:lnTo>
                      <a:pt x="1831" y="771"/>
                    </a:lnTo>
                    <a:lnTo>
                      <a:pt x="1831" y="774"/>
                    </a:lnTo>
                    <a:lnTo>
                      <a:pt x="1832" y="776"/>
                    </a:lnTo>
                    <a:lnTo>
                      <a:pt x="1832" y="776"/>
                    </a:lnTo>
                    <a:lnTo>
                      <a:pt x="1832" y="781"/>
                    </a:lnTo>
                    <a:lnTo>
                      <a:pt x="1834" y="785"/>
                    </a:lnTo>
                    <a:lnTo>
                      <a:pt x="1834" y="786"/>
                    </a:lnTo>
                    <a:lnTo>
                      <a:pt x="1832" y="789"/>
                    </a:lnTo>
                    <a:lnTo>
                      <a:pt x="1832" y="789"/>
                    </a:lnTo>
                    <a:lnTo>
                      <a:pt x="1829" y="792"/>
                    </a:lnTo>
                    <a:lnTo>
                      <a:pt x="1827" y="798"/>
                    </a:lnTo>
                    <a:lnTo>
                      <a:pt x="1824" y="809"/>
                    </a:lnTo>
                    <a:lnTo>
                      <a:pt x="1824" y="809"/>
                    </a:lnTo>
                    <a:lnTo>
                      <a:pt x="1821" y="813"/>
                    </a:lnTo>
                    <a:lnTo>
                      <a:pt x="1818" y="815"/>
                    </a:lnTo>
                    <a:lnTo>
                      <a:pt x="1815" y="818"/>
                    </a:lnTo>
                    <a:lnTo>
                      <a:pt x="1814" y="822"/>
                    </a:lnTo>
                    <a:lnTo>
                      <a:pt x="1814" y="822"/>
                    </a:lnTo>
                    <a:lnTo>
                      <a:pt x="1812" y="825"/>
                    </a:lnTo>
                    <a:lnTo>
                      <a:pt x="1809" y="828"/>
                    </a:lnTo>
                    <a:lnTo>
                      <a:pt x="1808" y="829"/>
                    </a:lnTo>
                    <a:lnTo>
                      <a:pt x="1807" y="832"/>
                    </a:lnTo>
                    <a:lnTo>
                      <a:pt x="1807" y="832"/>
                    </a:lnTo>
                    <a:lnTo>
                      <a:pt x="1807" y="833"/>
                    </a:lnTo>
                    <a:lnTo>
                      <a:pt x="1805" y="835"/>
                    </a:lnTo>
                    <a:lnTo>
                      <a:pt x="1801" y="835"/>
                    </a:lnTo>
                    <a:lnTo>
                      <a:pt x="1797" y="835"/>
                    </a:lnTo>
                    <a:lnTo>
                      <a:pt x="1792" y="832"/>
                    </a:lnTo>
                    <a:lnTo>
                      <a:pt x="1792" y="832"/>
                    </a:lnTo>
                    <a:lnTo>
                      <a:pt x="1791" y="832"/>
                    </a:lnTo>
                    <a:lnTo>
                      <a:pt x="1788" y="832"/>
                    </a:lnTo>
                    <a:lnTo>
                      <a:pt x="1785" y="835"/>
                    </a:lnTo>
                    <a:lnTo>
                      <a:pt x="1782" y="838"/>
                    </a:lnTo>
                    <a:lnTo>
                      <a:pt x="1780" y="839"/>
                    </a:lnTo>
                    <a:lnTo>
                      <a:pt x="1780" y="839"/>
                    </a:lnTo>
                    <a:lnTo>
                      <a:pt x="1777" y="841"/>
                    </a:lnTo>
                    <a:lnTo>
                      <a:pt x="1775" y="843"/>
                    </a:lnTo>
                    <a:lnTo>
                      <a:pt x="1777" y="850"/>
                    </a:lnTo>
                    <a:lnTo>
                      <a:pt x="1777" y="850"/>
                    </a:lnTo>
                    <a:lnTo>
                      <a:pt x="1777" y="856"/>
                    </a:lnTo>
                    <a:lnTo>
                      <a:pt x="1777" y="859"/>
                    </a:lnTo>
                    <a:lnTo>
                      <a:pt x="1778" y="863"/>
                    </a:lnTo>
                    <a:lnTo>
                      <a:pt x="1778" y="863"/>
                    </a:lnTo>
                    <a:lnTo>
                      <a:pt x="1778" y="869"/>
                    </a:lnTo>
                    <a:lnTo>
                      <a:pt x="1778" y="879"/>
                    </a:lnTo>
                    <a:lnTo>
                      <a:pt x="1778" y="879"/>
                    </a:lnTo>
                    <a:lnTo>
                      <a:pt x="1787" y="873"/>
                    </a:lnTo>
                    <a:lnTo>
                      <a:pt x="1792" y="872"/>
                    </a:lnTo>
                    <a:lnTo>
                      <a:pt x="1792" y="872"/>
                    </a:lnTo>
                    <a:lnTo>
                      <a:pt x="1797" y="873"/>
                    </a:lnTo>
                    <a:lnTo>
                      <a:pt x="1801" y="876"/>
                    </a:lnTo>
                    <a:lnTo>
                      <a:pt x="1805" y="880"/>
                    </a:lnTo>
                    <a:lnTo>
                      <a:pt x="1811" y="882"/>
                    </a:lnTo>
                    <a:lnTo>
                      <a:pt x="1811" y="882"/>
                    </a:lnTo>
                    <a:lnTo>
                      <a:pt x="1814" y="880"/>
                    </a:lnTo>
                    <a:lnTo>
                      <a:pt x="1819" y="879"/>
                    </a:lnTo>
                    <a:lnTo>
                      <a:pt x="1831" y="872"/>
                    </a:lnTo>
                    <a:lnTo>
                      <a:pt x="1842" y="863"/>
                    </a:lnTo>
                    <a:lnTo>
                      <a:pt x="1848" y="859"/>
                    </a:lnTo>
                    <a:lnTo>
                      <a:pt x="1848" y="859"/>
                    </a:lnTo>
                    <a:lnTo>
                      <a:pt x="1851" y="853"/>
                    </a:lnTo>
                    <a:lnTo>
                      <a:pt x="1858" y="846"/>
                    </a:lnTo>
                    <a:lnTo>
                      <a:pt x="1873" y="829"/>
                    </a:lnTo>
                    <a:lnTo>
                      <a:pt x="1873" y="829"/>
                    </a:lnTo>
                    <a:lnTo>
                      <a:pt x="1886" y="813"/>
                    </a:lnTo>
                    <a:lnTo>
                      <a:pt x="1892" y="806"/>
                    </a:lnTo>
                    <a:lnTo>
                      <a:pt x="1898" y="798"/>
                    </a:lnTo>
                    <a:lnTo>
                      <a:pt x="1898" y="798"/>
                    </a:lnTo>
                    <a:lnTo>
                      <a:pt x="1901" y="792"/>
                    </a:lnTo>
                    <a:lnTo>
                      <a:pt x="1905" y="786"/>
                    </a:lnTo>
                    <a:lnTo>
                      <a:pt x="1915" y="775"/>
                    </a:lnTo>
                    <a:lnTo>
                      <a:pt x="1915" y="775"/>
                    </a:lnTo>
                    <a:lnTo>
                      <a:pt x="1918" y="769"/>
                    </a:lnTo>
                    <a:lnTo>
                      <a:pt x="1925" y="759"/>
                    </a:lnTo>
                    <a:lnTo>
                      <a:pt x="1925" y="759"/>
                    </a:lnTo>
                    <a:lnTo>
                      <a:pt x="1928" y="748"/>
                    </a:lnTo>
                    <a:lnTo>
                      <a:pt x="1929" y="734"/>
                    </a:lnTo>
                    <a:lnTo>
                      <a:pt x="1930" y="722"/>
                    </a:lnTo>
                    <a:lnTo>
                      <a:pt x="1930" y="717"/>
                    </a:lnTo>
                    <a:lnTo>
                      <a:pt x="1930" y="717"/>
                    </a:lnTo>
                    <a:lnTo>
                      <a:pt x="1932" y="712"/>
                    </a:lnTo>
                    <a:lnTo>
                      <a:pt x="1933" y="710"/>
                    </a:lnTo>
                    <a:lnTo>
                      <a:pt x="1935" y="707"/>
                    </a:lnTo>
                    <a:lnTo>
                      <a:pt x="1935" y="707"/>
                    </a:lnTo>
                    <a:lnTo>
                      <a:pt x="1936" y="701"/>
                    </a:lnTo>
                    <a:lnTo>
                      <a:pt x="1938" y="698"/>
                    </a:lnTo>
                    <a:lnTo>
                      <a:pt x="1940" y="695"/>
                    </a:lnTo>
                    <a:lnTo>
                      <a:pt x="1940" y="695"/>
                    </a:lnTo>
                    <a:lnTo>
                      <a:pt x="1942" y="693"/>
                    </a:lnTo>
                    <a:lnTo>
                      <a:pt x="1943" y="690"/>
                    </a:lnTo>
                    <a:lnTo>
                      <a:pt x="1943" y="684"/>
                    </a:lnTo>
                    <a:lnTo>
                      <a:pt x="1943" y="684"/>
                    </a:lnTo>
                    <a:lnTo>
                      <a:pt x="1942" y="678"/>
                    </a:lnTo>
                    <a:lnTo>
                      <a:pt x="1942" y="673"/>
                    </a:lnTo>
                    <a:lnTo>
                      <a:pt x="1942" y="673"/>
                    </a:lnTo>
                    <a:lnTo>
                      <a:pt x="1940" y="670"/>
                    </a:lnTo>
                    <a:lnTo>
                      <a:pt x="1943" y="668"/>
                    </a:lnTo>
                    <a:lnTo>
                      <a:pt x="1943" y="668"/>
                    </a:lnTo>
                    <a:lnTo>
                      <a:pt x="1945" y="666"/>
                    </a:lnTo>
                    <a:lnTo>
                      <a:pt x="1943" y="664"/>
                    </a:lnTo>
                    <a:lnTo>
                      <a:pt x="1938" y="660"/>
                    </a:lnTo>
                    <a:lnTo>
                      <a:pt x="1938" y="660"/>
                    </a:lnTo>
                    <a:lnTo>
                      <a:pt x="1932" y="657"/>
                    </a:lnTo>
                    <a:lnTo>
                      <a:pt x="1929" y="654"/>
                    </a:lnTo>
                    <a:lnTo>
                      <a:pt x="1928" y="651"/>
                    </a:lnTo>
                    <a:lnTo>
                      <a:pt x="1928" y="651"/>
                    </a:lnTo>
                    <a:lnTo>
                      <a:pt x="1926" y="648"/>
                    </a:lnTo>
                    <a:lnTo>
                      <a:pt x="1923" y="646"/>
                    </a:lnTo>
                    <a:lnTo>
                      <a:pt x="1919" y="643"/>
                    </a:lnTo>
                    <a:lnTo>
                      <a:pt x="1915" y="643"/>
                    </a:lnTo>
                    <a:lnTo>
                      <a:pt x="1915" y="643"/>
                    </a:lnTo>
                    <a:lnTo>
                      <a:pt x="1906" y="641"/>
                    </a:lnTo>
                    <a:lnTo>
                      <a:pt x="1902" y="641"/>
                    </a:lnTo>
                    <a:lnTo>
                      <a:pt x="1902" y="641"/>
                    </a:lnTo>
                    <a:lnTo>
                      <a:pt x="1902" y="643"/>
                    </a:lnTo>
                    <a:lnTo>
                      <a:pt x="1902" y="643"/>
                    </a:lnTo>
                    <a:lnTo>
                      <a:pt x="1902" y="646"/>
                    </a:lnTo>
                    <a:lnTo>
                      <a:pt x="1902" y="647"/>
                    </a:lnTo>
                    <a:lnTo>
                      <a:pt x="1901" y="648"/>
                    </a:lnTo>
                    <a:lnTo>
                      <a:pt x="1899" y="648"/>
                    </a:lnTo>
                    <a:lnTo>
                      <a:pt x="1899" y="648"/>
                    </a:lnTo>
                    <a:lnTo>
                      <a:pt x="1896" y="648"/>
                    </a:lnTo>
                    <a:lnTo>
                      <a:pt x="1895" y="650"/>
                    </a:lnTo>
                    <a:lnTo>
                      <a:pt x="1892" y="654"/>
                    </a:lnTo>
                    <a:lnTo>
                      <a:pt x="1892" y="654"/>
                    </a:lnTo>
                    <a:lnTo>
                      <a:pt x="1888" y="657"/>
                    </a:lnTo>
                    <a:lnTo>
                      <a:pt x="1883" y="658"/>
                    </a:lnTo>
                    <a:lnTo>
                      <a:pt x="1882" y="657"/>
                    </a:lnTo>
                    <a:lnTo>
                      <a:pt x="1882" y="657"/>
                    </a:lnTo>
                    <a:lnTo>
                      <a:pt x="1882" y="656"/>
                    </a:lnTo>
                    <a:lnTo>
                      <a:pt x="1882" y="656"/>
                    </a:lnTo>
                    <a:lnTo>
                      <a:pt x="1885" y="653"/>
                    </a:lnTo>
                    <a:lnTo>
                      <a:pt x="1883" y="650"/>
                    </a:lnTo>
                    <a:lnTo>
                      <a:pt x="1882" y="648"/>
                    </a:lnTo>
                    <a:lnTo>
                      <a:pt x="1882" y="646"/>
                    </a:lnTo>
                    <a:lnTo>
                      <a:pt x="1882" y="646"/>
                    </a:lnTo>
                    <a:lnTo>
                      <a:pt x="1883" y="640"/>
                    </a:lnTo>
                    <a:lnTo>
                      <a:pt x="1883" y="639"/>
                    </a:lnTo>
                    <a:lnTo>
                      <a:pt x="1882" y="640"/>
                    </a:lnTo>
                    <a:lnTo>
                      <a:pt x="1882" y="640"/>
                    </a:lnTo>
                    <a:lnTo>
                      <a:pt x="1878" y="643"/>
                    </a:lnTo>
                    <a:lnTo>
                      <a:pt x="1876" y="646"/>
                    </a:lnTo>
                    <a:lnTo>
                      <a:pt x="1873" y="648"/>
                    </a:lnTo>
                    <a:lnTo>
                      <a:pt x="1872" y="651"/>
                    </a:lnTo>
                    <a:lnTo>
                      <a:pt x="1872" y="651"/>
                    </a:lnTo>
                    <a:lnTo>
                      <a:pt x="1871" y="650"/>
                    </a:lnTo>
                    <a:lnTo>
                      <a:pt x="1869" y="648"/>
                    </a:lnTo>
                    <a:lnTo>
                      <a:pt x="1868" y="644"/>
                    </a:lnTo>
                    <a:lnTo>
                      <a:pt x="1869" y="634"/>
                    </a:lnTo>
                    <a:lnTo>
                      <a:pt x="1869" y="634"/>
                    </a:lnTo>
                    <a:lnTo>
                      <a:pt x="1869" y="633"/>
                    </a:lnTo>
                    <a:lnTo>
                      <a:pt x="1869" y="633"/>
                    </a:lnTo>
                    <a:lnTo>
                      <a:pt x="1865" y="633"/>
                    </a:lnTo>
                    <a:lnTo>
                      <a:pt x="1858" y="634"/>
                    </a:lnTo>
                    <a:lnTo>
                      <a:pt x="1851" y="634"/>
                    </a:lnTo>
                    <a:lnTo>
                      <a:pt x="1851" y="634"/>
                    </a:lnTo>
                    <a:lnTo>
                      <a:pt x="1846" y="633"/>
                    </a:lnTo>
                    <a:lnTo>
                      <a:pt x="1845" y="631"/>
                    </a:lnTo>
                    <a:lnTo>
                      <a:pt x="1845" y="630"/>
                    </a:lnTo>
                    <a:lnTo>
                      <a:pt x="1846" y="626"/>
                    </a:lnTo>
                    <a:lnTo>
                      <a:pt x="1852" y="621"/>
                    </a:lnTo>
                    <a:lnTo>
                      <a:pt x="1852" y="621"/>
                    </a:lnTo>
                    <a:lnTo>
                      <a:pt x="1856" y="619"/>
                    </a:lnTo>
                    <a:lnTo>
                      <a:pt x="1859" y="616"/>
                    </a:lnTo>
                    <a:lnTo>
                      <a:pt x="1861" y="614"/>
                    </a:lnTo>
                    <a:lnTo>
                      <a:pt x="1862" y="611"/>
                    </a:lnTo>
                    <a:lnTo>
                      <a:pt x="1862" y="611"/>
                    </a:lnTo>
                    <a:lnTo>
                      <a:pt x="1872" y="607"/>
                    </a:lnTo>
                    <a:lnTo>
                      <a:pt x="1883" y="600"/>
                    </a:lnTo>
                    <a:lnTo>
                      <a:pt x="1883" y="600"/>
                    </a:lnTo>
                    <a:lnTo>
                      <a:pt x="1886" y="597"/>
                    </a:lnTo>
                    <a:lnTo>
                      <a:pt x="1889" y="594"/>
                    </a:lnTo>
                    <a:lnTo>
                      <a:pt x="1892" y="589"/>
                    </a:lnTo>
                    <a:lnTo>
                      <a:pt x="1892" y="589"/>
                    </a:lnTo>
                    <a:lnTo>
                      <a:pt x="1895" y="584"/>
                    </a:lnTo>
                    <a:lnTo>
                      <a:pt x="1901" y="582"/>
                    </a:lnTo>
                    <a:lnTo>
                      <a:pt x="1915" y="572"/>
                    </a:lnTo>
                    <a:lnTo>
                      <a:pt x="1915" y="572"/>
                    </a:lnTo>
                    <a:lnTo>
                      <a:pt x="1926" y="560"/>
                    </a:lnTo>
                    <a:lnTo>
                      <a:pt x="1933" y="553"/>
                    </a:lnTo>
                    <a:lnTo>
                      <a:pt x="1933" y="553"/>
                    </a:lnTo>
                    <a:lnTo>
                      <a:pt x="1936" y="549"/>
                    </a:lnTo>
                    <a:lnTo>
                      <a:pt x="1942" y="545"/>
                    </a:lnTo>
                    <a:lnTo>
                      <a:pt x="1947" y="542"/>
                    </a:lnTo>
                    <a:lnTo>
                      <a:pt x="1950" y="538"/>
                    </a:lnTo>
                    <a:lnTo>
                      <a:pt x="1950" y="538"/>
                    </a:lnTo>
                    <a:lnTo>
                      <a:pt x="1953" y="535"/>
                    </a:lnTo>
                    <a:lnTo>
                      <a:pt x="1960" y="530"/>
                    </a:lnTo>
                    <a:lnTo>
                      <a:pt x="1970" y="525"/>
                    </a:lnTo>
                    <a:lnTo>
                      <a:pt x="1980" y="522"/>
                    </a:lnTo>
                    <a:lnTo>
                      <a:pt x="1980" y="522"/>
                    </a:lnTo>
                    <a:lnTo>
                      <a:pt x="1990" y="522"/>
                    </a:lnTo>
                    <a:lnTo>
                      <a:pt x="2002" y="522"/>
                    </a:lnTo>
                    <a:lnTo>
                      <a:pt x="2010" y="525"/>
                    </a:lnTo>
                    <a:lnTo>
                      <a:pt x="2016" y="526"/>
                    </a:lnTo>
                    <a:lnTo>
                      <a:pt x="2016" y="526"/>
                    </a:lnTo>
                    <a:lnTo>
                      <a:pt x="2017" y="529"/>
                    </a:lnTo>
                    <a:lnTo>
                      <a:pt x="2020" y="529"/>
                    </a:lnTo>
                    <a:lnTo>
                      <a:pt x="2024" y="526"/>
                    </a:lnTo>
                    <a:lnTo>
                      <a:pt x="2024" y="526"/>
                    </a:lnTo>
                    <a:lnTo>
                      <a:pt x="2026" y="525"/>
                    </a:lnTo>
                    <a:lnTo>
                      <a:pt x="2029" y="525"/>
                    </a:lnTo>
                    <a:lnTo>
                      <a:pt x="2039" y="526"/>
                    </a:lnTo>
                    <a:lnTo>
                      <a:pt x="2039" y="526"/>
                    </a:lnTo>
                    <a:lnTo>
                      <a:pt x="2044" y="526"/>
                    </a:lnTo>
                    <a:lnTo>
                      <a:pt x="2047" y="525"/>
                    </a:lnTo>
                    <a:lnTo>
                      <a:pt x="2050" y="523"/>
                    </a:lnTo>
                    <a:lnTo>
                      <a:pt x="2054" y="525"/>
                    </a:lnTo>
                    <a:lnTo>
                      <a:pt x="2054" y="525"/>
                    </a:lnTo>
                    <a:lnTo>
                      <a:pt x="2058" y="525"/>
                    </a:lnTo>
                    <a:lnTo>
                      <a:pt x="2061" y="525"/>
                    </a:lnTo>
                    <a:lnTo>
                      <a:pt x="2064" y="523"/>
                    </a:lnTo>
                    <a:lnTo>
                      <a:pt x="2067" y="520"/>
                    </a:lnTo>
                    <a:lnTo>
                      <a:pt x="2067" y="520"/>
                    </a:lnTo>
                    <a:lnTo>
                      <a:pt x="2068" y="518"/>
                    </a:lnTo>
                    <a:lnTo>
                      <a:pt x="2071" y="516"/>
                    </a:lnTo>
                    <a:lnTo>
                      <a:pt x="2078" y="516"/>
                    </a:lnTo>
                    <a:lnTo>
                      <a:pt x="2085" y="516"/>
                    </a:lnTo>
                    <a:lnTo>
                      <a:pt x="2090" y="518"/>
                    </a:lnTo>
                    <a:lnTo>
                      <a:pt x="2090" y="518"/>
                    </a:lnTo>
                    <a:lnTo>
                      <a:pt x="2095" y="522"/>
                    </a:lnTo>
                    <a:lnTo>
                      <a:pt x="2098" y="522"/>
                    </a:lnTo>
                    <a:lnTo>
                      <a:pt x="2103" y="520"/>
                    </a:lnTo>
                    <a:lnTo>
                      <a:pt x="2103" y="520"/>
                    </a:lnTo>
                    <a:lnTo>
                      <a:pt x="2104" y="519"/>
                    </a:lnTo>
                    <a:lnTo>
                      <a:pt x="2105" y="519"/>
                    </a:lnTo>
                    <a:lnTo>
                      <a:pt x="2107" y="522"/>
                    </a:lnTo>
                    <a:lnTo>
                      <a:pt x="2110" y="525"/>
                    </a:lnTo>
                    <a:lnTo>
                      <a:pt x="2112" y="526"/>
                    </a:lnTo>
                    <a:lnTo>
                      <a:pt x="2112" y="526"/>
                    </a:lnTo>
                    <a:lnTo>
                      <a:pt x="2115" y="528"/>
                    </a:lnTo>
                    <a:lnTo>
                      <a:pt x="2115" y="529"/>
                    </a:lnTo>
                    <a:lnTo>
                      <a:pt x="2114" y="530"/>
                    </a:lnTo>
                    <a:lnTo>
                      <a:pt x="2110" y="530"/>
                    </a:lnTo>
                    <a:lnTo>
                      <a:pt x="2110" y="530"/>
                    </a:lnTo>
                    <a:lnTo>
                      <a:pt x="2107" y="530"/>
                    </a:lnTo>
                    <a:lnTo>
                      <a:pt x="2104" y="532"/>
                    </a:lnTo>
                    <a:lnTo>
                      <a:pt x="2103" y="535"/>
                    </a:lnTo>
                    <a:lnTo>
                      <a:pt x="2105" y="536"/>
                    </a:lnTo>
                    <a:lnTo>
                      <a:pt x="2105" y="536"/>
                    </a:lnTo>
                    <a:lnTo>
                      <a:pt x="2110" y="538"/>
                    </a:lnTo>
                    <a:lnTo>
                      <a:pt x="2114" y="536"/>
                    </a:lnTo>
                    <a:lnTo>
                      <a:pt x="2118" y="535"/>
                    </a:lnTo>
                    <a:lnTo>
                      <a:pt x="2121" y="533"/>
                    </a:lnTo>
                    <a:lnTo>
                      <a:pt x="2121" y="533"/>
                    </a:lnTo>
                    <a:lnTo>
                      <a:pt x="2128" y="535"/>
                    </a:lnTo>
                    <a:lnTo>
                      <a:pt x="2134" y="533"/>
                    </a:lnTo>
                    <a:lnTo>
                      <a:pt x="2138" y="530"/>
                    </a:lnTo>
                    <a:lnTo>
                      <a:pt x="2138" y="530"/>
                    </a:lnTo>
                    <a:lnTo>
                      <a:pt x="2141" y="530"/>
                    </a:lnTo>
                    <a:lnTo>
                      <a:pt x="2144" y="530"/>
                    </a:lnTo>
                    <a:lnTo>
                      <a:pt x="2147" y="532"/>
                    </a:lnTo>
                    <a:lnTo>
                      <a:pt x="2149" y="530"/>
                    </a:lnTo>
                    <a:lnTo>
                      <a:pt x="2149" y="530"/>
                    </a:lnTo>
                    <a:lnTo>
                      <a:pt x="2152" y="529"/>
                    </a:lnTo>
                    <a:lnTo>
                      <a:pt x="2158" y="528"/>
                    </a:lnTo>
                    <a:lnTo>
                      <a:pt x="2167" y="526"/>
                    </a:lnTo>
                    <a:lnTo>
                      <a:pt x="2167" y="526"/>
                    </a:lnTo>
                    <a:lnTo>
                      <a:pt x="2168" y="526"/>
                    </a:lnTo>
                    <a:lnTo>
                      <a:pt x="2167" y="525"/>
                    </a:lnTo>
                    <a:lnTo>
                      <a:pt x="2164" y="522"/>
                    </a:lnTo>
                    <a:lnTo>
                      <a:pt x="2159" y="522"/>
                    </a:lnTo>
                    <a:lnTo>
                      <a:pt x="2159" y="522"/>
                    </a:lnTo>
                    <a:lnTo>
                      <a:pt x="2155" y="520"/>
                    </a:lnTo>
                    <a:lnTo>
                      <a:pt x="2154" y="519"/>
                    </a:lnTo>
                    <a:lnTo>
                      <a:pt x="2155" y="515"/>
                    </a:lnTo>
                    <a:lnTo>
                      <a:pt x="2158" y="508"/>
                    </a:lnTo>
                    <a:lnTo>
                      <a:pt x="2158" y="508"/>
                    </a:lnTo>
                    <a:lnTo>
                      <a:pt x="2164" y="502"/>
                    </a:lnTo>
                    <a:lnTo>
                      <a:pt x="2169" y="496"/>
                    </a:lnTo>
                    <a:lnTo>
                      <a:pt x="2182" y="488"/>
                    </a:lnTo>
                    <a:lnTo>
                      <a:pt x="2182" y="488"/>
                    </a:lnTo>
                    <a:lnTo>
                      <a:pt x="2186" y="485"/>
                    </a:lnTo>
                    <a:lnTo>
                      <a:pt x="2191" y="483"/>
                    </a:lnTo>
                    <a:lnTo>
                      <a:pt x="2192" y="482"/>
                    </a:lnTo>
                    <a:lnTo>
                      <a:pt x="2194" y="481"/>
                    </a:lnTo>
                    <a:lnTo>
                      <a:pt x="2194" y="481"/>
                    </a:lnTo>
                    <a:lnTo>
                      <a:pt x="2194" y="476"/>
                    </a:lnTo>
                    <a:lnTo>
                      <a:pt x="2196" y="472"/>
                    </a:lnTo>
                    <a:lnTo>
                      <a:pt x="2199" y="468"/>
                    </a:lnTo>
                    <a:lnTo>
                      <a:pt x="2202" y="466"/>
                    </a:lnTo>
                    <a:lnTo>
                      <a:pt x="2202" y="466"/>
                    </a:lnTo>
                    <a:lnTo>
                      <a:pt x="2215" y="466"/>
                    </a:lnTo>
                    <a:lnTo>
                      <a:pt x="2222" y="465"/>
                    </a:lnTo>
                    <a:lnTo>
                      <a:pt x="2229" y="464"/>
                    </a:lnTo>
                    <a:lnTo>
                      <a:pt x="2229" y="464"/>
                    </a:lnTo>
                    <a:lnTo>
                      <a:pt x="2233" y="462"/>
                    </a:lnTo>
                    <a:lnTo>
                      <a:pt x="2236" y="464"/>
                    </a:lnTo>
                    <a:lnTo>
                      <a:pt x="2238" y="466"/>
                    </a:lnTo>
                    <a:lnTo>
                      <a:pt x="2239" y="468"/>
                    </a:lnTo>
                    <a:lnTo>
                      <a:pt x="2239" y="468"/>
                    </a:lnTo>
                    <a:lnTo>
                      <a:pt x="2242" y="468"/>
                    </a:lnTo>
                    <a:lnTo>
                      <a:pt x="2245" y="465"/>
                    </a:lnTo>
                    <a:lnTo>
                      <a:pt x="2248" y="464"/>
                    </a:lnTo>
                    <a:lnTo>
                      <a:pt x="2250" y="464"/>
                    </a:lnTo>
                    <a:lnTo>
                      <a:pt x="2250" y="464"/>
                    </a:lnTo>
                    <a:lnTo>
                      <a:pt x="2252" y="465"/>
                    </a:lnTo>
                    <a:lnTo>
                      <a:pt x="2252" y="466"/>
                    </a:lnTo>
                    <a:lnTo>
                      <a:pt x="2249" y="469"/>
                    </a:lnTo>
                    <a:lnTo>
                      <a:pt x="2246" y="473"/>
                    </a:lnTo>
                    <a:lnTo>
                      <a:pt x="2243" y="478"/>
                    </a:lnTo>
                    <a:lnTo>
                      <a:pt x="2243" y="478"/>
                    </a:lnTo>
                    <a:lnTo>
                      <a:pt x="2243" y="482"/>
                    </a:lnTo>
                    <a:lnTo>
                      <a:pt x="2245" y="483"/>
                    </a:lnTo>
                    <a:lnTo>
                      <a:pt x="2249" y="483"/>
                    </a:lnTo>
                    <a:lnTo>
                      <a:pt x="2252" y="485"/>
                    </a:lnTo>
                    <a:lnTo>
                      <a:pt x="2252" y="485"/>
                    </a:lnTo>
                    <a:lnTo>
                      <a:pt x="2253" y="485"/>
                    </a:lnTo>
                    <a:lnTo>
                      <a:pt x="2253" y="486"/>
                    </a:lnTo>
                    <a:lnTo>
                      <a:pt x="2250" y="488"/>
                    </a:lnTo>
                    <a:lnTo>
                      <a:pt x="2249" y="489"/>
                    </a:lnTo>
                    <a:lnTo>
                      <a:pt x="2248" y="491"/>
                    </a:lnTo>
                    <a:lnTo>
                      <a:pt x="2248" y="491"/>
                    </a:lnTo>
                    <a:lnTo>
                      <a:pt x="2249" y="492"/>
                    </a:lnTo>
                    <a:lnTo>
                      <a:pt x="2253" y="492"/>
                    </a:lnTo>
                    <a:lnTo>
                      <a:pt x="2260" y="489"/>
                    </a:lnTo>
                    <a:lnTo>
                      <a:pt x="2268" y="482"/>
                    </a:lnTo>
                    <a:lnTo>
                      <a:pt x="2268" y="482"/>
                    </a:lnTo>
                    <a:lnTo>
                      <a:pt x="2275" y="476"/>
                    </a:lnTo>
                    <a:lnTo>
                      <a:pt x="2282" y="472"/>
                    </a:lnTo>
                    <a:lnTo>
                      <a:pt x="2287" y="471"/>
                    </a:lnTo>
                    <a:lnTo>
                      <a:pt x="2293" y="471"/>
                    </a:lnTo>
                    <a:lnTo>
                      <a:pt x="2293" y="471"/>
                    </a:lnTo>
                    <a:lnTo>
                      <a:pt x="2297" y="469"/>
                    </a:lnTo>
                    <a:lnTo>
                      <a:pt x="2297" y="466"/>
                    </a:lnTo>
                    <a:lnTo>
                      <a:pt x="2297" y="455"/>
                    </a:lnTo>
                    <a:lnTo>
                      <a:pt x="2297" y="455"/>
                    </a:lnTo>
                    <a:lnTo>
                      <a:pt x="2297" y="451"/>
                    </a:lnTo>
                    <a:lnTo>
                      <a:pt x="2300" y="448"/>
                    </a:lnTo>
                    <a:lnTo>
                      <a:pt x="2305" y="446"/>
                    </a:lnTo>
                    <a:lnTo>
                      <a:pt x="2309" y="445"/>
                    </a:lnTo>
                    <a:lnTo>
                      <a:pt x="2317" y="444"/>
                    </a:lnTo>
                    <a:lnTo>
                      <a:pt x="2324" y="445"/>
                    </a:lnTo>
                    <a:lnTo>
                      <a:pt x="2324" y="445"/>
                    </a:lnTo>
                    <a:lnTo>
                      <a:pt x="2329" y="446"/>
                    </a:lnTo>
                    <a:lnTo>
                      <a:pt x="2329" y="448"/>
                    </a:lnTo>
                    <a:lnTo>
                      <a:pt x="2327" y="449"/>
                    </a:lnTo>
                    <a:lnTo>
                      <a:pt x="2324" y="448"/>
                    </a:lnTo>
                    <a:lnTo>
                      <a:pt x="2324" y="448"/>
                    </a:lnTo>
                    <a:lnTo>
                      <a:pt x="2320" y="448"/>
                    </a:lnTo>
                    <a:lnTo>
                      <a:pt x="2316" y="451"/>
                    </a:lnTo>
                    <a:lnTo>
                      <a:pt x="2313" y="455"/>
                    </a:lnTo>
                    <a:lnTo>
                      <a:pt x="2312" y="461"/>
                    </a:lnTo>
                    <a:lnTo>
                      <a:pt x="2312" y="461"/>
                    </a:lnTo>
                    <a:lnTo>
                      <a:pt x="2312" y="466"/>
                    </a:lnTo>
                    <a:lnTo>
                      <a:pt x="2310" y="469"/>
                    </a:lnTo>
                    <a:lnTo>
                      <a:pt x="2309" y="472"/>
                    </a:lnTo>
                    <a:lnTo>
                      <a:pt x="2310" y="475"/>
                    </a:lnTo>
                    <a:lnTo>
                      <a:pt x="2310" y="475"/>
                    </a:lnTo>
                    <a:lnTo>
                      <a:pt x="2310" y="476"/>
                    </a:lnTo>
                    <a:lnTo>
                      <a:pt x="2309" y="478"/>
                    </a:lnTo>
                    <a:lnTo>
                      <a:pt x="2306" y="479"/>
                    </a:lnTo>
                    <a:lnTo>
                      <a:pt x="2305" y="482"/>
                    </a:lnTo>
                    <a:lnTo>
                      <a:pt x="2305" y="482"/>
                    </a:lnTo>
                    <a:lnTo>
                      <a:pt x="2305" y="486"/>
                    </a:lnTo>
                    <a:lnTo>
                      <a:pt x="2303" y="488"/>
                    </a:lnTo>
                    <a:lnTo>
                      <a:pt x="2300" y="489"/>
                    </a:lnTo>
                    <a:lnTo>
                      <a:pt x="2300" y="489"/>
                    </a:lnTo>
                    <a:lnTo>
                      <a:pt x="2287" y="492"/>
                    </a:lnTo>
                    <a:lnTo>
                      <a:pt x="2282" y="495"/>
                    </a:lnTo>
                    <a:lnTo>
                      <a:pt x="2280" y="496"/>
                    </a:lnTo>
                    <a:lnTo>
                      <a:pt x="2279" y="498"/>
                    </a:lnTo>
                    <a:lnTo>
                      <a:pt x="2279" y="498"/>
                    </a:lnTo>
                    <a:lnTo>
                      <a:pt x="2278" y="502"/>
                    </a:lnTo>
                    <a:lnTo>
                      <a:pt x="2273" y="505"/>
                    </a:lnTo>
                    <a:lnTo>
                      <a:pt x="2269" y="508"/>
                    </a:lnTo>
                    <a:lnTo>
                      <a:pt x="2266" y="512"/>
                    </a:lnTo>
                    <a:lnTo>
                      <a:pt x="2266" y="512"/>
                    </a:lnTo>
                    <a:lnTo>
                      <a:pt x="2260" y="518"/>
                    </a:lnTo>
                    <a:lnTo>
                      <a:pt x="2253" y="523"/>
                    </a:lnTo>
                    <a:lnTo>
                      <a:pt x="2245" y="530"/>
                    </a:lnTo>
                    <a:lnTo>
                      <a:pt x="2241" y="535"/>
                    </a:lnTo>
                    <a:lnTo>
                      <a:pt x="2236" y="540"/>
                    </a:lnTo>
                    <a:lnTo>
                      <a:pt x="2236" y="540"/>
                    </a:lnTo>
                    <a:lnTo>
                      <a:pt x="2232" y="545"/>
                    </a:lnTo>
                    <a:lnTo>
                      <a:pt x="2228" y="549"/>
                    </a:lnTo>
                    <a:lnTo>
                      <a:pt x="2219" y="553"/>
                    </a:lnTo>
                    <a:lnTo>
                      <a:pt x="2212" y="556"/>
                    </a:lnTo>
                    <a:lnTo>
                      <a:pt x="2211" y="557"/>
                    </a:lnTo>
                    <a:lnTo>
                      <a:pt x="2211" y="557"/>
                    </a:lnTo>
                    <a:lnTo>
                      <a:pt x="2211" y="557"/>
                    </a:lnTo>
                    <a:lnTo>
                      <a:pt x="2208" y="559"/>
                    </a:lnTo>
                    <a:lnTo>
                      <a:pt x="2204" y="560"/>
                    </a:lnTo>
                    <a:lnTo>
                      <a:pt x="2195" y="560"/>
                    </a:lnTo>
                    <a:lnTo>
                      <a:pt x="2195" y="560"/>
                    </a:lnTo>
                    <a:lnTo>
                      <a:pt x="2194" y="562"/>
                    </a:lnTo>
                    <a:lnTo>
                      <a:pt x="2194" y="563"/>
                    </a:lnTo>
                    <a:lnTo>
                      <a:pt x="2194" y="567"/>
                    </a:lnTo>
                    <a:lnTo>
                      <a:pt x="2194" y="573"/>
                    </a:lnTo>
                    <a:lnTo>
                      <a:pt x="2192" y="577"/>
                    </a:lnTo>
                    <a:lnTo>
                      <a:pt x="2189" y="580"/>
                    </a:lnTo>
                    <a:lnTo>
                      <a:pt x="2189" y="580"/>
                    </a:lnTo>
                    <a:lnTo>
                      <a:pt x="2184" y="589"/>
                    </a:lnTo>
                    <a:lnTo>
                      <a:pt x="2179" y="597"/>
                    </a:lnTo>
                    <a:lnTo>
                      <a:pt x="2175" y="607"/>
                    </a:lnTo>
                    <a:lnTo>
                      <a:pt x="2175" y="617"/>
                    </a:lnTo>
                    <a:lnTo>
                      <a:pt x="2175" y="617"/>
                    </a:lnTo>
                    <a:lnTo>
                      <a:pt x="2178" y="648"/>
                    </a:lnTo>
                    <a:lnTo>
                      <a:pt x="2181" y="666"/>
                    </a:lnTo>
                    <a:lnTo>
                      <a:pt x="2184" y="677"/>
                    </a:lnTo>
                    <a:lnTo>
                      <a:pt x="2184" y="677"/>
                    </a:lnTo>
                    <a:lnTo>
                      <a:pt x="2185" y="683"/>
                    </a:lnTo>
                    <a:lnTo>
                      <a:pt x="2186" y="691"/>
                    </a:lnTo>
                    <a:lnTo>
                      <a:pt x="2186" y="698"/>
                    </a:lnTo>
                    <a:lnTo>
                      <a:pt x="2189" y="704"/>
                    </a:lnTo>
                    <a:lnTo>
                      <a:pt x="2189" y="704"/>
                    </a:lnTo>
                    <a:lnTo>
                      <a:pt x="2191" y="707"/>
                    </a:lnTo>
                    <a:lnTo>
                      <a:pt x="2191" y="710"/>
                    </a:lnTo>
                    <a:lnTo>
                      <a:pt x="2192" y="712"/>
                    </a:lnTo>
                    <a:lnTo>
                      <a:pt x="2194" y="715"/>
                    </a:lnTo>
                    <a:lnTo>
                      <a:pt x="2194" y="715"/>
                    </a:lnTo>
                    <a:lnTo>
                      <a:pt x="2194" y="715"/>
                    </a:lnTo>
                    <a:lnTo>
                      <a:pt x="2195" y="714"/>
                    </a:lnTo>
                    <a:lnTo>
                      <a:pt x="2199" y="711"/>
                    </a:lnTo>
                    <a:lnTo>
                      <a:pt x="2209" y="701"/>
                    </a:lnTo>
                    <a:lnTo>
                      <a:pt x="2209" y="701"/>
                    </a:lnTo>
                    <a:lnTo>
                      <a:pt x="2213" y="698"/>
                    </a:lnTo>
                    <a:lnTo>
                      <a:pt x="2215" y="695"/>
                    </a:lnTo>
                    <a:lnTo>
                      <a:pt x="2216" y="694"/>
                    </a:lnTo>
                    <a:lnTo>
                      <a:pt x="2218" y="691"/>
                    </a:lnTo>
                    <a:lnTo>
                      <a:pt x="2218" y="691"/>
                    </a:lnTo>
                    <a:lnTo>
                      <a:pt x="2219" y="688"/>
                    </a:lnTo>
                    <a:lnTo>
                      <a:pt x="2221" y="684"/>
                    </a:lnTo>
                    <a:lnTo>
                      <a:pt x="2222" y="675"/>
                    </a:lnTo>
                    <a:lnTo>
                      <a:pt x="2222" y="675"/>
                    </a:lnTo>
                    <a:lnTo>
                      <a:pt x="2223" y="673"/>
                    </a:lnTo>
                    <a:lnTo>
                      <a:pt x="2226" y="671"/>
                    </a:lnTo>
                    <a:lnTo>
                      <a:pt x="2229" y="670"/>
                    </a:lnTo>
                    <a:lnTo>
                      <a:pt x="2232" y="668"/>
                    </a:lnTo>
                    <a:lnTo>
                      <a:pt x="2232" y="668"/>
                    </a:lnTo>
                    <a:lnTo>
                      <a:pt x="2235" y="667"/>
                    </a:lnTo>
                    <a:lnTo>
                      <a:pt x="2238" y="666"/>
                    </a:lnTo>
                    <a:lnTo>
                      <a:pt x="2245" y="666"/>
                    </a:lnTo>
                    <a:lnTo>
                      <a:pt x="2245" y="666"/>
                    </a:lnTo>
                    <a:lnTo>
                      <a:pt x="2245" y="664"/>
                    </a:lnTo>
                    <a:lnTo>
                      <a:pt x="2245" y="660"/>
                    </a:lnTo>
                    <a:lnTo>
                      <a:pt x="2243" y="651"/>
                    </a:lnTo>
                    <a:lnTo>
                      <a:pt x="2243" y="651"/>
                    </a:lnTo>
                    <a:lnTo>
                      <a:pt x="2243" y="650"/>
                    </a:lnTo>
                    <a:lnTo>
                      <a:pt x="2243" y="648"/>
                    </a:lnTo>
                    <a:lnTo>
                      <a:pt x="2248" y="644"/>
                    </a:lnTo>
                    <a:lnTo>
                      <a:pt x="2258" y="637"/>
                    </a:lnTo>
                    <a:lnTo>
                      <a:pt x="2258" y="637"/>
                    </a:lnTo>
                    <a:lnTo>
                      <a:pt x="2263" y="636"/>
                    </a:lnTo>
                    <a:lnTo>
                      <a:pt x="2268" y="636"/>
                    </a:lnTo>
                    <a:lnTo>
                      <a:pt x="2272" y="636"/>
                    </a:lnTo>
                    <a:lnTo>
                      <a:pt x="2275" y="636"/>
                    </a:lnTo>
                    <a:lnTo>
                      <a:pt x="2278" y="634"/>
                    </a:lnTo>
                    <a:lnTo>
                      <a:pt x="2278" y="634"/>
                    </a:lnTo>
                    <a:lnTo>
                      <a:pt x="2279" y="631"/>
                    </a:lnTo>
                    <a:lnTo>
                      <a:pt x="2280" y="630"/>
                    </a:lnTo>
                    <a:lnTo>
                      <a:pt x="2279" y="624"/>
                    </a:lnTo>
                    <a:lnTo>
                      <a:pt x="2276" y="621"/>
                    </a:lnTo>
                    <a:lnTo>
                      <a:pt x="2275" y="619"/>
                    </a:lnTo>
                    <a:lnTo>
                      <a:pt x="2275" y="619"/>
                    </a:lnTo>
                    <a:lnTo>
                      <a:pt x="2275" y="616"/>
                    </a:lnTo>
                    <a:lnTo>
                      <a:pt x="2275" y="614"/>
                    </a:lnTo>
                    <a:lnTo>
                      <a:pt x="2278" y="607"/>
                    </a:lnTo>
                    <a:lnTo>
                      <a:pt x="2282" y="602"/>
                    </a:lnTo>
                    <a:lnTo>
                      <a:pt x="2286" y="599"/>
                    </a:lnTo>
                    <a:lnTo>
                      <a:pt x="2286" y="599"/>
                    </a:lnTo>
                    <a:lnTo>
                      <a:pt x="2289" y="599"/>
                    </a:lnTo>
                    <a:lnTo>
                      <a:pt x="2292" y="599"/>
                    </a:lnTo>
                    <a:lnTo>
                      <a:pt x="2295" y="600"/>
                    </a:lnTo>
                    <a:lnTo>
                      <a:pt x="2299" y="597"/>
                    </a:lnTo>
                    <a:lnTo>
                      <a:pt x="2299" y="597"/>
                    </a:lnTo>
                    <a:lnTo>
                      <a:pt x="2299" y="596"/>
                    </a:lnTo>
                    <a:lnTo>
                      <a:pt x="2299" y="594"/>
                    </a:lnTo>
                    <a:lnTo>
                      <a:pt x="2297" y="590"/>
                    </a:lnTo>
                    <a:lnTo>
                      <a:pt x="2293" y="589"/>
                    </a:lnTo>
                    <a:lnTo>
                      <a:pt x="2290" y="587"/>
                    </a:lnTo>
                    <a:lnTo>
                      <a:pt x="2290" y="587"/>
                    </a:lnTo>
                    <a:lnTo>
                      <a:pt x="2289" y="587"/>
                    </a:lnTo>
                    <a:lnTo>
                      <a:pt x="2289" y="586"/>
                    </a:lnTo>
                    <a:lnTo>
                      <a:pt x="2287" y="580"/>
                    </a:lnTo>
                    <a:lnTo>
                      <a:pt x="2290" y="574"/>
                    </a:lnTo>
                    <a:lnTo>
                      <a:pt x="2292" y="572"/>
                    </a:lnTo>
                    <a:lnTo>
                      <a:pt x="2295" y="569"/>
                    </a:lnTo>
                    <a:lnTo>
                      <a:pt x="2295" y="569"/>
                    </a:lnTo>
                    <a:lnTo>
                      <a:pt x="2297" y="566"/>
                    </a:lnTo>
                    <a:lnTo>
                      <a:pt x="2299" y="563"/>
                    </a:lnTo>
                    <a:lnTo>
                      <a:pt x="2297" y="562"/>
                    </a:lnTo>
                    <a:lnTo>
                      <a:pt x="2293" y="560"/>
                    </a:lnTo>
                    <a:lnTo>
                      <a:pt x="2293" y="560"/>
                    </a:lnTo>
                    <a:lnTo>
                      <a:pt x="2290" y="560"/>
                    </a:lnTo>
                    <a:lnTo>
                      <a:pt x="2287" y="560"/>
                    </a:lnTo>
                    <a:lnTo>
                      <a:pt x="2283" y="562"/>
                    </a:lnTo>
                    <a:lnTo>
                      <a:pt x="2283" y="562"/>
                    </a:lnTo>
                    <a:lnTo>
                      <a:pt x="2280" y="560"/>
                    </a:lnTo>
                    <a:lnTo>
                      <a:pt x="2279" y="556"/>
                    </a:lnTo>
                    <a:lnTo>
                      <a:pt x="2279" y="550"/>
                    </a:lnTo>
                    <a:lnTo>
                      <a:pt x="2282" y="545"/>
                    </a:lnTo>
                    <a:lnTo>
                      <a:pt x="2282" y="545"/>
                    </a:lnTo>
                    <a:lnTo>
                      <a:pt x="2286" y="540"/>
                    </a:lnTo>
                    <a:lnTo>
                      <a:pt x="2290" y="538"/>
                    </a:lnTo>
                    <a:lnTo>
                      <a:pt x="2293" y="535"/>
                    </a:lnTo>
                    <a:lnTo>
                      <a:pt x="2295" y="530"/>
                    </a:lnTo>
                    <a:lnTo>
                      <a:pt x="2295" y="530"/>
                    </a:lnTo>
                    <a:lnTo>
                      <a:pt x="2297" y="525"/>
                    </a:lnTo>
                    <a:lnTo>
                      <a:pt x="2300" y="519"/>
                    </a:lnTo>
                    <a:lnTo>
                      <a:pt x="2307" y="510"/>
                    </a:lnTo>
                    <a:lnTo>
                      <a:pt x="2307" y="510"/>
                    </a:lnTo>
                    <a:lnTo>
                      <a:pt x="2310" y="509"/>
                    </a:lnTo>
                    <a:lnTo>
                      <a:pt x="2313" y="509"/>
                    </a:lnTo>
                    <a:lnTo>
                      <a:pt x="2322" y="509"/>
                    </a:lnTo>
                    <a:lnTo>
                      <a:pt x="2322" y="509"/>
                    </a:lnTo>
                    <a:lnTo>
                      <a:pt x="2323" y="510"/>
                    </a:lnTo>
                    <a:lnTo>
                      <a:pt x="2323" y="512"/>
                    </a:lnTo>
                    <a:lnTo>
                      <a:pt x="2324" y="513"/>
                    </a:lnTo>
                    <a:lnTo>
                      <a:pt x="2327" y="512"/>
                    </a:lnTo>
                    <a:lnTo>
                      <a:pt x="2327" y="512"/>
                    </a:lnTo>
                    <a:lnTo>
                      <a:pt x="2334" y="503"/>
                    </a:lnTo>
                    <a:lnTo>
                      <a:pt x="2339" y="499"/>
                    </a:lnTo>
                    <a:lnTo>
                      <a:pt x="2343" y="498"/>
                    </a:lnTo>
                    <a:lnTo>
                      <a:pt x="2343" y="498"/>
                    </a:lnTo>
                    <a:lnTo>
                      <a:pt x="2344" y="498"/>
                    </a:lnTo>
                    <a:lnTo>
                      <a:pt x="2346" y="499"/>
                    </a:lnTo>
                    <a:lnTo>
                      <a:pt x="2346" y="502"/>
                    </a:lnTo>
                    <a:lnTo>
                      <a:pt x="2346" y="506"/>
                    </a:lnTo>
                    <a:lnTo>
                      <a:pt x="2347" y="510"/>
                    </a:lnTo>
                    <a:lnTo>
                      <a:pt x="2347" y="510"/>
                    </a:lnTo>
                    <a:lnTo>
                      <a:pt x="2349" y="513"/>
                    </a:lnTo>
                    <a:lnTo>
                      <a:pt x="2350" y="512"/>
                    </a:lnTo>
                    <a:lnTo>
                      <a:pt x="2361" y="502"/>
                    </a:lnTo>
                    <a:lnTo>
                      <a:pt x="2361" y="502"/>
                    </a:lnTo>
                    <a:lnTo>
                      <a:pt x="2366" y="501"/>
                    </a:lnTo>
                    <a:lnTo>
                      <a:pt x="2371" y="499"/>
                    </a:lnTo>
                    <a:lnTo>
                      <a:pt x="2383" y="498"/>
                    </a:lnTo>
                    <a:lnTo>
                      <a:pt x="2394" y="498"/>
                    </a:lnTo>
                    <a:lnTo>
                      <a:pt x="2401" y="499"/>
                    </a:lnTo>
                    <a:lnTo>
                      <a:pt x="2401" y="499"/>
                    </a:lnTo>
                    <a:lnTo>
                      <a:pt x="2406" y="502"/>
                    </a:lnTo>
                    <a:lnTo>
                      <a:pt x="2408" y="506"/>
                    </a:lnTo>
                    <a:lnTo>
                      <a:pt x="2411" y="509"/>
                    </a:lnTo>
                    <a:lnTo>
                      <a:pt x="2414" y="509"/>
                    </a:lnTo>
                    <a:lnTo>
                      <a:pt x="2414" y="509"/>
                    </a:lnTo>
                    <a:lnTo>
                      <a:pt x="2415" y="508"/>
                    </a:lnTo>
                    <a:lnTo>
                      <a:pt x="2417" y="505"/>
                    </a:lnTo>
                    <a:lnTo>
                      <a:pt x="2417" y="502"/>
                    </a:lnTo>
                    <a:lnTo>
                      <a:pt x="2420" y="501"/>
                    </a:lnTo>
                    <a:lnTo>
                      <a:pt x="2420" y="501"/>
                    </a:lnTo>
                    <a:lnTo>
                      <a:pt x="2431" y="495"/>
                    </a:lnTo>
                    <a:lnTo>
                      <a:pt x="2444" y="488"/>
                    </a:lnTo>
                    <a:lnTo>
                      <a:pt x="2444" y="488"/>
                    </a:lnTo>
                    <a:lnTo>
                      <a:pt x="2450" y="483"/>
                    </a:lnTo>
                    <a:lnTo>
                      <a:pt x="2452" y="481"/>
                    </a:lnTo>
                    <a:lnTo>
                      <a:pt x="2452" y="481"/>
                    </a:lnTo>
                    <a:lnTo>
                      <a:pt x="2455" y="478"/>
                    </a:lnTo>
                    <a:lnTo>
                      <a:pt x="2458" y="476"/>
                    </a:lnTo>
                    <a:lnTo>
                      <a:pt x="2461" y="476"/>
                    </a:lnTo>
                    <a:lnTo>
                      <a:pt x="2462" y="475"/>
                    </a:lnTo>
                    <a:lnTo>
                      <a:pt x="2462" y="475"/>
                    </a:lnTo>
                    <a:lnTo>
                      <a:pt x="2465" y="472"/>
                    </a:lnTo>
                    <a:lnTo>
                      <a:pt x="2471" y="468"/>
                    </a:lnTo>
                    <a:lnTo>
                      <a:pt x="2478" y="465"/>
                    </a:lnTo>
                    <a:lnTo>
                      <a:pt x="2489" y="462"/>
                    </a:lnTo>
                    <a:lnTo>
                      <a:pt x="2489" y="462"/>
                    </a:lnTo>
                    <a:lnTo>
                      <a:pt x="2501" y="459"/>
                    </a:lnTo>
                    <a:lnTo>
                      <a:pt x="2512" y="454"/>
                    </a:lnTo>
                    <a:lnTo>
                      <a:pt x="2519" y="449"/>
                    </a:lnTo>
                    <a:lnTo>
                      <a:pt x="2522" y="448"/>
                    </a:lnTo>
                    <a:lnTo>
                      <a:pt x="2522" y="446"/>
                    </a:lnTo>
                    <a:lnTo>
                      <a:pt x="2522" y="446"/>
                    </a:lnTo>
                    <a:lnTo>
                      <a:pt x="2524" y="444"/>
                    </a:lnTo>
                    <a:lnTo>
                      <a:pt x="2525" y="444"/>
                    </a:lnTo>
                    <a:lnTo>
                      <a:pt x="2528" y="444"/>
                    </a:lnTo>
                    <a:lnTo>
                      <a:pt x="2529" y="445"/>
                    </a:lnTo>
                    <a:lnTo>
                      <a:pt x="2529" y="445"/>
                    </a:lnTo>
                    <a:lnTo>
                      <a:pt x="2531" y="446"/>
                    </a:lnTo>
                    <a:lnTo>
                      <a:pt x="2534" y="446"/>
                    </a:lnTo>
                    <a:lnTo>
                      <a:pt x="2544" y="448"/>
                    </a:lnTo>
                    <a:lnTo>
                      <a:pt x="2544" y="448"/>
                    </a:lnTo>
                    <a:lnTo>
                      <a:pt x="2552" y="451"/>
                    </a:lnTo>
                    <a:lnTo>
                      <a:pt x="2556" y="449"/>
                    </a:lnTo>
                    <a:lnTo>
                      <a:pt x="2561" y="446"/>
                    </a:lnTo>
                    <a:lnTo>
                      <a:pt x="2561" y="446"/>
                    </a:lnTo>
                    <a:lnTo>
                      <a:pt x="2563" y="442"/>
                    </a:lnTo>
                    <a:lnTo>
                      <a:pt x="2562" y="439"/>
                    </a:lnTo>
                    <a:lnTo>
                      <a:pt x="2561" y="436"/>
                    </a:lnTo>
                    <a:lnTo>
                      <a:pt x="2561" y="434"/>
                    </a:lnTo>
                    <a:lnTo>
                      <a:pt x="2561" y="434"/>
                    </a:lnTo>
                    <a:lnTo>
                      <a:pt x="2559" y="431"/>
                    </a:lnTo>
                    <a:lnTo>
                      <a:pt x="2555" y="427"/>
                    </a:lnTo>
                    <a:lnTo>
                      <a:pt x="2552" y="422"/>
                    </a:lnTo>
                    <a:lnTo>
                      <a:pt x="2551" y="421"/>
                    </a:lnTo>
                    <a:lnTo>
                      <a:pt x="2551" y="419"/>
                    </a:lnTo>
                    <a:lnTo>
                      <a:pt x="2551" y="419"/>
                    </a:lnTo>
                    <a:lnTo>
                      <a:pt x="2551" y="414"/>
                    </a:lnTo>
                    <a:lnTo>
                      <a:pt x="2546" y="408"/>
                    </a:lnTo>
                    <a:lnTo>
                      <a:pt x="2544" y="404"/>
                    </a:lnTo>
                    <a:lnTo>
                      <a:pt x="2541" y="404"/>
                    </a:lnTo>
                    <a:lnTo>
                      <a:pt x="2541" y="404"/>
                    </a:lnTo>
                    <a:lnTo>
                      <a:pt x="2541" y="404"/>
                    </a:lnTo>
                    <a:lnTo>
                      <a:pt x="2538" y="404"/>
                    </a:lnTo>
                    <a:lnTo>
                      <a:pt x="2534" y="402"/>
                    </a:lnTo>
                    <a:lnTo>
                      <a:pt x="2532" y="401"/>
                    </a:lnTo>
                    <a:lnTo>
                      <a:pt x="2531" y="398"/>
                    </a:lnTo>
                    <a:lnTo>
                      <a:pt x="2531" y="398"/>
                    </a:lnTo>
                    <a:lnTo>
                      <a:pt x="2529" y="392"/>
                    </a:lnTo>
                    <a:lnTo>
                      <a:pt x="2528" y="391"/>
                    </a:lnTo>
                    <a:lnTo>
                      <a:pt x="2525" y="392"/>
                    </a:lnTo>
                    <a:lnTo>
                      <a:pt x="2525" y="392"/>
                    </a:lnTo>
                    <a:lnTo>
                      <a:pt x="2522" y="394"/>
                    </a:lnTo>
                    <a:lnTo>
                      <a:pt x="2518" y="394"/>
                    </a:lnTo>
                    <a:lnTo>
                      <a:pt x="2514" y="392"/>
                    </a:lnTo>
                    <a:lnTo>
                      <a:pt x="2512" y="390"/>
                    </a:lnTo>
                    <a:lnTo>
                      <a:pt x="2512" y="390"/>
                    </a:lnTo>
                    <a:lnTo>
                      <a:pt x="2512" y="388"/>
                    </a:lnTo>
                    <a:lnTo>
                      <a:pt x="2512" y="387"/>
                    </a:lnTo>
                    <a:lnTo>
                      <a:pt x="2517" y="384"/>
                    </a:lnTo>
                    <a:lnTo>
                      <a:pt x="2522" y="384"/>
                    </a:lnTo>
                    <a:lnTo>
                      <a:pt x="2528" y="385"/>
                    </a:lnTo>
                    <a:lnTo>
                      <a:pt x="2528" y="385"/>
                    </a:lnTo>
                    <a:lnTo>
                      <a:pt x="2532" y="387"/>
                    </a:lnTo>
                    <a:lnTo>
                      <a:pt x="2534" y="390"/>
                    </a:lnTo>
                    <a:lnTo>
                      <a:pt x="2535" y="391"/>
                    </a:lnTo>
                    <a:lnTo>
                      <a:pt x="2536" y="392"/>
                    </a:lnTo>
                    <a:lnTo>
                      <a:pt x="2536" y="392"/>
                    </a:lnTo>
                    <a:lnTo>
                      <a:pt x="2541" y="394"/>
                    </a:lnTo>
                    <a:lnTo>
                      <a:pt x="2545" y="394"/>
                    </a:lnTo>
                    <a:lnTo>
                      <a:pt x="2551" y="392"/>
                    </a:lnTo>
                    <a:lnTo>
                      <a:pt x="2555" y="391"/>
                    </a:lnTo>
                    <a:lnTo>
                      <a:pt x="2555" y="391"/>
                    </a:lnTo>
                    <a:lnTo>
                      <a:pt x="2566" y="387"/>
                    </a:lnTo>
                    <a:lnTo>
                      <a:pt x="2572" y="384"/>
                    </a:lnTo>
                    <a:lnTo>
                      <a:pt x="2576" y="381"/>
                    </a:lnTo>
                    <a:lnTo>
                      <a:pt x="2576" y="381"/>
                    </a:lnTo>
                    <a:lnTo>
                      <a:pt x="2578" y="378"/>
                    </a:lnTo>
                    <a:lnTo>
                      <a:pt x="2578" y="375"/>
                    </a:lnTo>
                    <a:lnTo>
                      <a:pt x="2578" y="374"/>
                    </a:lnTo>
                    <a:lnTo>
                      <a:pt x="2581" y="372"/>
                    </a:lnTo>
                    <a:lnTo>
                      <a:pt x="2581" y="372"/>
                    </a:lnTo>
                    <a:lnTo>
                      <a:pt x="2583" y="370"/>
                    </a:lnTo>
                    <a:lnTo>
                      <a:pt x="2582" y="367"/>
                    </a:lnTo>
                    <a:lnTo>
                      <a:pt x="2581" y="365"/>
                    </a:lnTo>
                    <a:lnTo>
                      <a:pt x="2578" y="363"/>
                    </a:lnTo>
                    <a:lnTo>
                      <a:pt x="2578" y="363"/>
                    </a:lnTo>
                    <a:lnTo>
                      <a:pt x="2576" y="361"/>
                    </a:lnTo>
                    <a:lnTo>
                      <a:pt x="2575" y="358"/>
                    </a:lnTo>
                    <a:lnTo>
                      <a:pt x="2576" y="355"/>
                    </a:lnTo>
                    <a:lnTo>
                      <a:pt x="2579" y="355"/>
                    </a:lnTo>
                    <a:lnTo>
                      <a:pt x="2579" y="355"/>
                    </a:lnTo>
                    <a:lnTo>
                      <a:pt x="2581" y="354"/>
                    </a:lnTo>
                    <a:lnTo>
                      <a:pt x="2582" y="353"/>
                    </a:lnTo>
                    <a:lnTo>
                      <a:pt x="2583" y="351"/>
                    </a:lnTo>
                    <a:lnTo>
                      <a:pt x="2585" y="350"/>
                    </a:lnTo>
                    <a:lnTo>
                      <a:pt x="2585" y="350"/>
                    </a:lnTo>
                    <a:lnTo>
                      <a:pt x="2588" y="350"/>
                    </a:lnTo>
                    <a:lnTo>
                      <a:pt x="2590" y="350"/>
                    </a:lnTo>
                    <a:lnTo>
                      <a:pt x="2593" y="350"/>
                    </a:lnTo>
                    <a:lnTo>
                      <a:pt x="2593" y="350"/>
                    </a:lnTo>
                    <a:lnTo>
                      <a:pt x="2596" y="348"/>
                    </a:lnTo>
                    <a:lnTo>
                      <a:pt x="2595" y="351"/>
                    </a:lnTo>
                    <a:lnTo>
                      <a:pt x="2592" y="358"/>
                    </a:lnTo>
                    <a:lnTo>
                      <a:pt x="2592" y="358"/>
                    </a:lnTo>
                    <a:lnTo>
                      <a:pt x="2590" y="361"/>
                    </a:lnTo>
                    <a:lnTo>
                      <a:pt x="2593" y="364"/>
                    </a:lnTo>
                    <a:lnTo>
                      <a:pt x="2595" y="367"/>
                    </a:lnTo>
                    <a:lnTo>
                      <a:pt x="2598" y="368"/>
                    </a:lnTo>
                    <a:lnTo>
                      <a:pt x="2598" y="368"/>
                    </a:lnTo>
                    <a:lnTo>
                      <a:pt x="2599" y="370"/>
                    </a:lnTo>
                    <a:lnTo>
                      <a:pt x="2603" y="371"/>
                    </a:lnTo>
                    <a:lnTo>
                      <a:pt x="2609" y="371"/>
                    </a:lnTo>
                    <a:lnTo>
                      <a:pt x="2613" y="370"/>
                    </a:lnTo>
                    <a:lnTo>
                      <a:pt x="2613" y="370"/>
                    </a:lnTo>
                    <a:lnTo>
                      <a:pt x="2616" y="368"/>
                    </a:lnTo>
                    <a:lnTo>
                      <a:pt x="2620" y="368"/>
                    </a:lnTo>
                    <a:lnTo>
                      <a:pt x="2627" y="371"/>
                    </a:lnTo>
                    <a:lnTo>
                      <a:pt x="2635" y="374"/>
                    </a:lnTo>
                    <a:lnTo>
                      <a:pt x="2637" y="375"/>
                    </a:lnTo>
                    <a:lnTo>
                      <a:pt x="2639" y="377"/>
                    </a:lnTo>
                    <a:lnTo>
                      <a:pt x="2639" y="377"/>
                    </a:lnTo>
                    <a:lnTo>
                      <a:pt x="2640" y="381"/>
                    </a:lnTo>
                    <a:lnTo>
                      <a:pt x="2642" y="384"/>
                    </a:lnTo>
                    <a:lnTo>
                      <a:pt x="2645" y="388"/>
                    </a:lnTo>
                    <a:lnTo>
                      <a:pt x="2650" y="391"/>
                    </a:lnTo>
                    <a:lnTo>
                      <a:pt x="2650" y="391"/>
                    </a:lnTo>
                    <a:lnTo>
                      <a:pt x="2656" y="392"/>
                    </a:lnTo>
                    <a:lnTo>
                      <a:pt x="2660" y="394"/>
                    </a:lnTo>
                    <a:lnTo>
                      <a:pt x="2664" y="395"/>
                    </a:lnTo>
                    <a:lnTo>
                      <a:pt x="2666" y="397"/>
                    </a:lnTo>
                    <a:lnTo>
                      <a:pt x="2666" y="397"/>
                    </a:lnTo>
                    <a:lnTo>
                      <a:pt x="2667" y="400"/>
                    </a:lnTo>
                    <a:lnTo>
                      <a:pt x="2669" y="401"/>
                    </a:lnTo>
                    <a:lnTo>
                      <a:pt x="2672" y="401"/>
                    </a:lnTo>
                    <a:lnTo>
                      <a:pt x="2674" y="401"/>
                    </a:lnTo>
                    <a:lnTo>
                      <a:pt x="2674" y="401"/>
                    </a:lnTo>
                    <a:lnTo>
                      <a:pt x="2677" y="401"/>
                    </a:lnTo>
                    <a:lnTo>
                      <a:pt x="2680" y="402"/>
                    </a:lnTo>
                    <a:lnTo>
                      <a:pt x="2682" y="404"/>
                    </a:lnTo>
                    <a:lnTo>
                      <a:pt x="2684" y="402"/>
                    </a:lnTo>
                    <a:lnTo>
                      <a:pt x="2684" y="402"/>
                    </a:lnTo>
                    <a:lnTo>
                      <a:pt x="2686" y="401"/>
                    </a:lnTo>
                    <a:lnTo>
                      <a:pt x="2689" y="401"/>
                    </a:lnTo>
                    <a:lnTo>
                      <a:pt x="2690" y="402"/>
                    </a:lnTo>
                    <a:lnTo>
                      <a:pt x="2693" y="401"/>
                    </a:lnTo>
                    <a:lnTo>
                      <a:pt x="2693" y="401"/>
                    </a:lnTo>
                    <a:lnTo>
                      <a:pt x="2694" y="400"/>
                    </a:lnTo>
                    <a:lnTo>
                      <a:pt x="2693" y="398"/>
                    </a:lnTo>
                    <a:lnTo>
                      <a:pt x="2690" y="395"/>
                    </a:lnTo>
                    <a:lnTo>
                      <a:pt x="2687" y="394"/>
                    </a:lnTo>
                    <a:lnTo>
                      <a:pt x="2686" y="392"/>
                    </a:lnTo>
                    <a:lnTo>
                      <a:pt x="2686" y="391"/>
                    </a:lnTo>
                    <a:lnTo>
                      <a:pt x="2686" y="391"/>
                    </a:lnTo>
                    <a:lnTo>
                      <a:pt x="2687" y="391"/>
                    </a:lnTo>
                    <a:lnTo>
                      <a:pt x="2689" y="391"/>
                    </a:lnTo>
                    <a:lnTo>
                      <a:pt x="2691" y="392"/>
                    </a:lnTo>
                    <a:lnTo>
                      <a:pt x="2694" y="394"/>
                    </a:lnTo>
                    <a:lnTo>
                      <a:pt x="2694" y="394"/>
                    </a:lnTo>
                    <a:lnTo>
                      <a:pt x="2694" y="392"/>
                    </a:lnTo>
                    <a:lnTo>
                      <a:pt x="2694" y="390"/>
                    </a:lnTo>
                    <a:lnTo>
                      <a:pt x="2694" y="387"/>
                    </a:lnTo>
                    <a:lnTo>
                      <a:pt x="2696" y="385"/>
                    </a:lnTo>
                    <a:lnTo>
                      <a:pt x="2696" y="385"/>
                    </a:lnTo>
                    <a:lnTo>
                      <a:pt x="2696" y="382"/>
                    </a:lnTo>
                    <a:lnTo>
                      <a:pt x="2696" y="378"/>
                    </a:lnTo>
                    <a:lnTo>
                      <a:pt x="2694" y="372"/>
                    </a:lnTo>
                    <a:lnTo>
                      <a:pt x="2693" y="370"/>
                    </a:lnTo>
                    <a:lnTo>
                      <a:pt x="2693" y="370"/>
                    </a:lnTo>
                    <a:lnTo>
                      <a:pt x="2691" y="368"/>
                    </a:lnTo>
                    <a:lnTo>
                      <a:pt x="2693" y="367"/>
                    </a:lnTo>
                    <a:lnTo>
                      <a:pt x="2694" y="367"/>
                    </a:lnTo>
                    <a:lnTo>
                      <a:pt x="2699" y="368"/>
                    </a:lnTo>
                    <a:lnTo>
                      <a:pt x="2699" y="368"/>
                    </a:lnTo>
                    <a:lnTo>
                      <a:pt x="2703" y="370"/>
                    </a:lnTo>
                    <a:lnTo>
                      <a:pt x="2707" y="371"/>
                    </a:lnTo>
                    <a:lnTo>
                      <a:pt x="2716" y="371"/>
                    </a:lnTo>
                    <a:lnTo>
                      <a:pt x="2716" y="371"/>
                    </a:lnTo>
                    <a:lnTo>
                      <a:pt x="2717" y="371"/>
                    </a:lnTo>
                    <a:lnTo>
                      <a:pt x="2717" y="370"/>
                    </a:lnTo>
                    <a:lnTo>
                      <a:pt x="2716" y="368"/>
                    </a:lnTo>
                    <a:lnTo>
                      <a:pt x="2713" y="367"/>
                    </a:lnTo>
                    <a:lnTo>
                      <a:pt x="2713" y="367"/>
                    </a:lnTo>
                    <a:lnTo>
                      <a:pt x="2710" y="367"/>
                    </a:lnTo>
                    <a:lnTo>
                      <a:pt x="2711" y="365"/>
                    </a:lnTo>
                    <a:lnTo>
                      <a:pt x="2713" y="365"/>
                    </a:lnTo>
                    <a:lnTo>
                      <a:pt x="2716" y="365"/>
                    </a:lnTo>
                    <a:lnTo>
                      <a:pt x="2716" y="365"/>
                    </a:lnTo>
                    <a:lnTo>
                      <a:pt x="2721" y="368"/>
                    </a:lnTo>
                    <a:lnTo>
                      <a:pt x="2723" y="368"/>
                    </a:lnTo>
                    <a:lnTo>
                      <a:pt x="2724" y="367"/>
                    </a:lnTo>
                    <a:lnTo>
                      <a:pt x="2724" y="367"/>
                    </a:lnTo>
                    <a:lnTo>
                      <a:pt x="2727" y="361"/>
                    </a:lnTo>
                    <a:lnTo>
                      <a:pt x="2730" y="358"/>
                    </a:lnTo>
                    <a:lnTo>
                      <a:pt x="2733" y="358"/>
                    </a:lnTo>
                    <a:lnTo>
                      <a:pt x="2733" y="358"/>
                    </a:lnTo>
                    <a:lnTo>
                      <a:pt x="2736" y="358"/>
                    </a:lnTo>
                    <a:lnTo>
                      <a:pt x="2737" y="357"/>
                    </a:lnTo>
                    <a:lnTo>
                      <a:pt x="2737" y="355"/>
                    </a:lnTo>
                    <a:lnTo>
                      <a:pt x="2734" y="354"/>
                    </a:lnTo>
                    <a:lnTo>
                      <a:pt x="2734" y="354"/>
                    </a:lnTo>
                    <a:close/>
                    <a:moveTo>
                      <a:pt x="1413" y="664"/>
                    </a:moveTo>
                    <a:lnTo>
                      <a:pt x="1413" y="664"/>
                    </a:lnTo>
                    <a:lnTo>
                      <a:pt x="1407" y="668"/>
                    </a:lnTo>
                    <a:lnTo>
                      <a:pt x="1400" y="673"/>
                    </a:lnTo>
                    <a:lnTo>
                      <a:pt x="1387" y="678"/>
                    </a:lnTo>
                    <a:lnTo>
                      <a:pt x="1376" y="683"/>
                    </a:lnTo>
                    <a:lnTo>
                      <a:pt x="1373" y="687"/>
                    </a:lnTo>
                    <a:lnTo>
                      <a:pt x="1371" y="690"/>
                    </a:lnTo>
                    <a:lnTo>
                      <a:pt x="1371" y="690"/>
                    </a:lnTo>
                    <a:lnTo>
                      <a:pt x="1370" y="693"/>
                    </a:lnTo>
                    <a:lnTo>
                      <a:pt x="1367" y="695"/>
                    </a:lnTo>
                    <a:lnTo>
                      <a:pt x="1361" y="698"/>
                    </a:lnTo>
                    <a:lnTo>
                      <a:pt x="1356" y="700"/>
                    </a:lnTo>
                    <a:lnTo>
                      <a:pt x="1343" y="701"/>
                    </a:lnTo>
                    <a:lnTo>
                      <a:pt x="1339" y="701"/>
                    </a:lnTo>
                    <a:lnTo>
                      <a:pt x="1336" y="700"/>
                    </a:lnTo>
                    <a:lnTo>
                      <a:pt x="1336" y="700"/>
                    </a:lnTo>
                    <a:lnTo>
                      <a:pt x="1337" y="698"/>
                    </a:lnTo>
                    <a:lnTo>
                      <a:pt x="1339" y="698"/>
                    </a:lnTo>
                    <a:lnTo>
                      <a:pt x="1349" y="694"/>
                    </a:lnTo>
                    <a:lnTo>
                      <a:pt x="1359" y="690"/>
                    </a:lnTo>
                    <a:lnTo>
                      <a:pt x="1364" y="685"/>
                    </a:lnTo>
                    <a:lnTo>
                      <a:pt x="1367" y="681"/>
                    </a:lnTo>
                    <a:lnTo>
                      <a:pt x="1367" y="681"/>
                    </a:lnTo>
                    <a:lnTo>
                      <a:pt x="1370" y="675"/>
                    </a:lnTo>
                    <a:lnTo>
                      <a:pt x="1374" y="671"/>
                    </a:lnTo>
                    <a:lnTo>
                      <a:pt x="1386" y="663"/>
                    </a:lnTo>
                    <a:lnTo>
                      <a:pt x="1398" y="653"/>
                    </a:lnTo>
                    <a:lnTo>
                      <a:pt x="1404" y="647"/>
                    </a:lnTo>
                    <a:lnTo>
                      <a:pt x="1410" y="640"/>
                    </a:lnTo>
                    <a:lnTo>
                      <a:pt x="1410" y="640"/>
                    </a:lnTo>
                    <a:lnTo>
                      <a:pt x="1415" y="630"/>
                    </a:lnTo>
                    <a:lnTo>
                      <a:pt x="1421" y="619"/>
                    </a:lnTo>
                    <a:lnTo>
                      <a:pt x="1425" y="610"/>
                    </a:lnTo>
                    <a:lnTo>
                      <a:pt x="1428" y="609"/>
                    </a:lnTo>
                    <a:lnTo>
                      <a:pt x="1430" y="607"/>
                    </a:lnTo>
                    <a:lnTo>
                      <a:pt x="1430" y="607"/>
                    </a:lnTo>
                    <a:lnTo>
                      <a:pt x="1431" y="610"/>
                    </a:lnTo>
                    <a:lnTo>
                      <a:pt x="1431" y="616"/>
                    </a:lnTo>
                    <a:lnTo>
                      <a:pt x="1428" y="633"/>
                    </a:lnTo>
                    <a:lnTo>
                      <a:pt x="1425" y="641"/>
                    </a:lnTo>
                    <a:lnTo>
                      <a:pt x="1421" y="651"/>
                    </a:lnTo>
                    <a:lnTo>
                      <a:pt x="1417" y="658"/>
                    </a:lnTo>
                    <a:lnTo>
                      <a:pt x="1413" y="664"/>
                    </a:lnTo>
                    <a:lnTo>
                      <a:pt x="1413" y="664"/>
                    </a:lnTo>
                    <a:close/>
                    <a:moveTo>
                      <a:pt x="1472" y="108"/>
                    </a:moveTo>
                    <a:lnTo>
                      <a:pt x="1472" y="108"/>
                    </a:lnTo>
                    <a:lnTo>
                      <a:pt x="1469" y="111"/>
                    </a:lnTo>
                    <a:lnTo>
                      <a:pt x="1467" y="112"/>
                    </a:lnTo>
                    <a:lnTo>
                      <a:pt x="1464" y="114"/>
                    </a:lnTo>
                    <a:lnTo>
                      <a:pt x="1462" y="114"/>
                    </a:lnTo>
                    <a:lnTo>
                      <a:pt x="1464" y="115"/>
                    </a:lnTo>
                    <a:lnTo>
                      <a:pt x="1464" y="115"/>
                    </a:lnTo>
                    <a:lnTo>
                      <a:pt x="1465" y="118"/>
                    </a:lnTo>
                    <a:lnTo>
                      <a:pt x="1469" y="118"/>
                    </a:lnTo>
                    <a:lnTo>
                      <a:pt x="1479" y="118"/>
                    </a:lnTo>
                    <a:lnTo>
                      <a:pt x="1488" y="115"/>
                    </a:lnTo>
                    <a:lnTo>
                      <a:pt x="1491" y="114"/>
                    </a:lnTo>
                    <a:lnTo>
                      <a:pt x="1492" y="111"/>
                    </a:lnTo>
                    <a:lnTo>
                      <a:pt x="1492" y="111"/>
                    </a:lnTo>
                    <a:lnTo>
                      <a:pt x="1491" y="108"/>
                    </a:lnTo>
                    <a:lnTo>
                      <a:pt x="1489" y="106"/>
                    </a:lnTo>
                    <a:lnTo>
                      <a:pt x="1484" y="105"/>
                    </a:lnTo>
                    <a:lnTo>
                      <a:pt x="1477" y="105"/>
                    </a:lnTo>
                    <a:lnTo>
                      <a:pt x="1474" y="106"/>
                    </a:lnTo>
                    <a:lnTo>
                      <a:pt x="1472" y="108"/>
                    </a:lnTo>
                    <a:lnTo>
                      <a:pt x="1472" y="108"/>
                    </a:lnTo>
                    <a:close/>
                    <a:moveTo>
                      <a:pt x="546" y="146"/>
                    </a:moveTo>
                    <a:lnTo>
                      <a:pt x="546" y="146"/>
                    </a:lnTo>
                    <a:lnTo>
                      <a:pt x="546" y="149"/>
                    </a:lnTo>
                    <a:lnTo>
                      <a:pt x="545" y="152"/>
                    </a:lnTo>
                    <a:lnTo>
                      <a:pt x="541" y="153"/>
                    </a:lnTo>
                    <a:lnTo>
                      <a:pt x="535" y="153"/>
                    </a:lnTo>
                    <a:lnTo>
                      <a:pt x="535" y="153"/>
                    </a:lnTo>
                    <a:lnTo>
                      <a:pt x="532" y="153"/>
                    </a:lnTo>
                    <a:lnTo>
                      <a:pt x="532" y="155"/>
                    </a:lnTo>
                    <a:lnTo>
                      <a:pt x="533" y="158"/>
                    </a:lnTo>
                    <a:lnTo>
                      <a:pt x="538" y="161"/>
                    </a:lnTo>
                    <a:lnTo>
                      <a:pt x="541" y="165"/>
                    </a:lnTo>
                    <a:lnTo>
                      <a:pt x="541" y="165"/>
                    </a:lnTo>
                    <a:lnTo>
                      <a:pt x="541" y="166"/>
                    </a:lnTo>
                    <a:lnTo>
                      <a:pt x="539" y="168"/>
                    </a:lnTo>
                    <a:lnTo>
                      <a:pt x="536" y="168"/>
                    </a:lnTo>
                    <a:lnTo>
                      <a:pt x="532" y="170"/>
                    </a:lnTo>
                    <a:lnTo>
                      <a:pt x="532" y="172"/>
                    </a:lnTo>
                    <a:lnTo>
                      <a:pt x="531" y="175"/>
                    </a:lnTo>
                    <a:lnTo>
                      <a:pt x="531" y="175"/>
                    </a:lnTo>
                    <a:lnTo>
                      <a:pt x="531" y="176"/>
                    </a:lnTo>
                    <a:lnTo>
                      <a:pt x="528" y="178"/>
                    </a:lnTo>
                    <a:lnTo>
                      <a:pt x="522" y="179"/>
                    </a:lnTo>
                    <a:lnTo>
                      <a:pt x="515" y="179"/>
                    </a:lnTo>
                    <a:lnTo>
                      <a:pt x="512" y="182"/>
                    </a:lnTo>
                    <a:lnTo>
                      <a:pt x="511" y="185"/>
                    </a:lnTo>
                    <a:lnTo>
                      <a:pt x="511" y="185"/>
                    </a:lnTo>
                    <a:lnTo>
                      <a:pt x="511" y="188"/>
                    </a:lnTo>
                    <a:lnTo>
                      <a:pt x="511" y="190"/>
                    </a:lnTo>
                    <a:lnTo>
                      <a:pt x="514" y="192"/>
                    </a:lnTo>
                    <a:lnTo>
                      <a:pt x="515" y="193"/>
                    </a:lnTo>
                    <a:lnTo>
                      <a:pt x="521" y="193"/>
                    </a:lnTo>
                    <a:lnTo>
                      <a:pt x="528" y="195"/>
                    </a:lnTo>
                    <a:lnTo>
                      <a:pt x="528" y="195"/>
                    </a:lnTo>
                    <a:lnTo>
                      <a:pt x="529" y="195"/>
                    </a:lnTo>
                    <a:lnTo>
                      <a:pt x="531" y="196"/>
                    </a:lnTo>
                    <a:lnTo>
                      <a:pt x="529" y="199"/>
                    </a:lnTo>
                    <a:lnTo>
                      <a:pt x="528" y="202"/>
                    </a:lnTo>
                    <a:lnTo>
                      <a:pt x="528" y="205"/>
                    </a:lnTo>
                    <a:lnTo>
                      <a:pt x="531" y="206"/>
                    </a:lnTo>
                    <a:lnTo>
                      <a:pt x="531" y="206"/>
                    </a:lnTo>
                    <a:lnTo>
                      <a:pt x="533" y="207"/>
                    </a:lnTo>
                    <a:lnTo>
                      <a:pt x="536" y="207"/>
                    </a:lnTo>
                    <a:lnTo>
                      <a:pt x="538" y="206"/>
                    </a:lnTo>
                    <a:lnTo>
                      <a:pt x="536" y="200"/>
                    </a:lnTo>
                    <a:lnTo>
                      <a:pt x="536" y="200"/>
                    </a:lnTo>
                    <a:lnTo>
                      <a:pt x="536" y="199"/>
                    </a:lnTo>
                    <a:lnTo>
                      <a:pt x="538" y="198"/>
                    </a:lnTo>
                    <a:lnTo>
                      <a:pt x="543" y="200"/>
                    </a:lnTo>
                    <a:lnTo>
                      <a:pt x="546" y="202"/>
                    </a:lnTo>
                    <a:lnTo>
                      <a:pt x="549" y="205"/>
                    </a:lnTo>
                    <a:lnTo>
                      <a:pt x="551" y="207"/>
                    </a:lnTo>
                    <a:lnTo>
                      <a:pt x="549" y="210"/>
                    </a:lnTo>
                    <a:lnTo>
                      <a:pt x="549" y="210"/>
                    </a:lnTo>
                    <a:lnTo>
                      <a:pt x="548" y="212"/>
                    </a:lnTo>
                    <a:lnTo>
                      <a:pt x="548" y="215"/>
                    </a:lnTo>
                    <a:lnTo>
                      <a:pt x="551" y="216"/>
                    </a:lnTo>
                    <a:lnTo>
                      <a:pt x="553" y="217"/>
                    </a:lnTo>
                    <a:lnTo>
                      <a:pt x="562" y="220"/>
                    </a:lnTo>
                    <a:lnTo>
                      <a:pt x="569" y="222"/>
                    </a:lnTo>
                    <a:lnTo>
                      <a:pt x="569" y="222"/>
                    </a:lnTo>
                    <a:lnTo>
                      <a:pt x="593" y="225"/>
                    </a:lnTo>
                    <a:lnTo>
                      <a:pt x="606" y="225"/>
                    </a:lnTo>
                    <a:lnTo>
                      <a:pt x="609" y="223"/>
                    </a:lnTo>
                    <a:lnTo>
                      <a:pt x="612" y="222"/>
                    </a:lnTo>
                    <a:lnTo>
                      <a:pt x="612" y="222"/>
                    </a:lnTo>
                    <a:lnTo>
                      <a:pt x="610" y="219"/>
                    </a:lnTo>
                    <a:lnTo>
                      <a:pt x="609" y="217"/>
                    </a:lnTo>
                    <a:lnTo>
                      <a:pt x="605" y="213"/>
                    </a:lnTo>
                    <a:lnTo>
                      <a:pt x="597" y="209"/>
                    </a:lnTo>
                    <a:lnTo>
                      <a:pt x="589" y="202"/>
                    </a:lnTo>
                    <a:lnTo>
                      <a:pt x="589" y="202"/>
                    </a:lnTo>
                    <a:lnTo>
                      <a:pt x="582" y="193"/>
                    </a:lnTo>
                    <a:lnTo>
                      <a:pt x="579" y="183"/>
                    </a:lnTo>
                    <a:lnTo>
                      <a:pt x="578" y="179"/>
                    </a:lnTo>
                    <a:lnTo>
                      <a:pt x="578" y="173"/>
                    </a:lnTo>
                    <a:lnTo>
                      <a:pt x="580" y="170"/>
                    </a:lnTo>
                    <a:lnTo>
                      <a:pt x="583" y="168"/>
                    </a:lnTo>
                    <a:lnTo>
                      <a:pt x="583" y="168"/>
                    </a:lnTo>
                    <a:lnTo>
                      <a:pt x="587" y="165"/>
                    </a:lnTo>
                    <a:lnTo>
                      <a:pt x="589" y="162"/>
                    </a:lnTo>
                    <a:lnTo>
                      <a:pt x="590" y="158"/>
                    </a:lnTo>
                    <a:lnTo>
                      <a:pt x="592" y="153"/>
                    </a:lnTo>
                    <a:lnTo>
                      <a:pt x="593" y="152"/>
                    </a:lnTo>
                    <a:lnTo>
                      <a:pt x="596" y="149"/>
                    </a:lnTo>
                    <a:lnTo>
                      <a:pt x="596" y="149"/>
                    </a:lnTo>
                    <a:lnTo>
                      <a:pt x="600" y="145"/>
                    </a:lnTo>
                    <a:lnTo>
                      <a:pt x="602" y="142"/>
                    </a:lnTo>
                    <a:lnTo>
                      <a:pt x="605" y="138"/>
                    </a:lnTo>
                    <a:lnTo>
                      <a:pt x="606" y="133"/>
                    </a:lnTo>
                    <a:lnTo>
                      <a:pt x="607" y="132"/>
                    </a:lnTo>
                    <a:lnTo>
                      <a:pt x="610" y="132"/>
                    </a:lnTo>
                    <a:lnTo>
                      <a:pt x="610" y="132"/>
                    </a:lnTo>
                    <a:lnTo>
                      <a:pt x="613" y="131"/>
                    </a:lnTo>
                    <a:lnTo>
                      <a:pt x="615" y="131"/>
                    </a:lnTo>
                    <a:lnTo>
                      <a:pt x="615" y="126"/>
                    </a:lnTo>
                    <a:lnTo>
                      <a:pt x="615" y="124"/>
                    </a:lnTo>
                    <a:lnTo>
                      <a:pt x="616" y="122"/>
                    </a:lnTo>
                    <a:lnTo>
                      <a:pt x="619" y="121"/>
                    </a:lnTo>
                    <a:lnTo>
                      <a:pt x="619" y="121"/>
                    </a:lnTo>
                    <a:lnTo>
                      <a:pt x="622" y="121"/>
                    </a:lnTo>
                    <a:lnTo>
                      <a:pt x="624" y="118"/>
                    </a:lnTo>
                    <a:lnTo>
                      <a:pt x="629" y="114"/>
                    </a:lnTo>
                    <a:lnTo>
                      <a:pt x="629" y="109"/>
                    </a:lnTo>
                    <a:lnTo>
                      <a:pt x="629" y="105"/>
                    </a:lnTo>
                    <a:lnTo>
                      <a:pt x="629" y="105"/>
                    </a:lnTo>
                    <a:lnTo>
                      <a:pt x="629" y="104"/>
                    </a:lnTo>
                    <a:lnTo>
                      <a:pt x="630" y="104"/>
                    </a:lnTo>
                    <a:lnTo>
                      <a:pt x="634" y="104"/>
                    </a:lnTo>
                    <a:lnTo>
                      <a:pt x="639" y="102"/>
                    </a:lnTo>
                    <a:lnTo>
                      <a:pt x="642" y="102"/>
                    </a:lnTo>
                    <a:lnTo>
                      <a:pt x="644" y="101"/>
                    </a:lnTo>
                    <a:lnTo>
                      <a:pt x="644" y="101"/>
                    </a:lnTo>
                    <a:lnTo>
                      <a:pt x="646" y="98"/>
                    </a:lnTo>
                    <a:lnTo>
                      <a:pt x="649" y="98"/>
                    </a:lnTo>
                    <a:lnTo>
                      <a:pt x="656" y="97"/>
                    </a:lnTo>
                    <a:lnTo>
                      <a:pt x="661" y="95"/>
                    </a:lnTo>
                    <a:lnTo>
                      <a:pt x="664" y="92"/>
                    </a:lnTo>
                    <a:lnTo>
                      <a:pt x="666" y="91"/>
                    </a:lnTo>
                    <a:lnTo>
                      <a:pt x="666" y="91"/>
                    </a:lnTo>
                    <a:lnTo>
                      <a:pt x="669" y="87"/>
                    </a:lnTo>
                    <a:lnTo>
                      <a:pt x="677" y="82"/>
                    </a:lnTo>
                    <a:lnTo>
                      <a:pt x="700" y="72"/>
                    </a:lnTo>
                    <a:lnTo>
                      <a:pt x="728" y="64"/>
                    </a:lnTo>
                    <a:lnTo>
                      <a:pt x="755" y="57"/>
                    </a:lnTo>
                    <a:lnTo>
                      <a:pt x="755" y="57"/>
                    </a:lnTo>
                    <a:lnTo>
                      <a:pt x="775" y="51"/>
                    </a:lnTo>
                    <a:lnTo>
                      <a:pt x="784" y="47"/>
                    </a:lnTo>
                    <a:lnTo>
                      <a:pt x="791" y="42"/>
                    </a:lnTo>
                    <a:lnTo>
                      <a:pt x="795" y="40"/>
                    </a:lnTo>
                    <a:lnTo>
                      <a:pt x="798" y="35"/>
                    </a:lnTo>
                    <a:lnTo>
                      <a:pt x="798" y="31"/>
                    </a:lnTo>
                    <a:lnTo>
                      <a:pt x="797" y="28"/>
                    </a:lnTo>
                    <a:lnTo>
                      <a:pt x="797" y="28"/>
                    </a:lnTo>
                    <a:lnTo>
                      <a:pt x="791" y="25"/>
                    </a:lnTo>
                    <a:lnTo>
                      <a:pt x="785" y="25"/>
                    </a:lnTo>
                    <a:lnTo>
                      <a:pt x="778" y="25"/>
                    </a:lnTo>
                    <a:lnTo>
                      <a:pt x="770" y="27"/>
                    </a:lnTo>
                    <a:lnTo>
                      <a:pt x="755" y="32"/>
                    </a:lnTo>
                    <a:lnTo>
                      <a:pt x="747" y="38"/>
                    </a:lnTo>
                    <a:lnTo>
                      <a:pt x="747" y="38"/>
                    </a:lnTo>
                    <a:lnTo>
                      <a:pt x="744" y="40"/>
                    </a:lnTo>
                    <a:lnTo>
                      <a:pt x="740" y="41"/>
                    </a:lnTo>
                    <a:lnTo>
                      <a:pt x="734" y="41"/>
                    </a:lnTo>
                    <a:lnTo>
                      <a:pt x="727" y="42"/>
                    </a:lnTo>
                    <a:lnTo>
                      <a:pt x="721" y="44"/>
                    </a:lnTo>
                    <a:lnTo>
                      <a:pt x="721" y="44"/>
                    </a:lnTo>
                    <a:lnTo>
                      <a:pt x="714" y="47"/>
                    </a:lnTo>
                    <a:lnTo>
                      <a:pt x="704" y="48"/>
                    </a:lnTo>
                    <a:lnTo>
                      <a:pt x="696" y="50"/>
                    </a:lnTo>
                    <a:lnTo>
                      <a:pt x="693" y="48"/>
                    </a:lnTo>
                    <a:lnTo>
                      <a:pt x="688" y="47"/>
                    </a:lnTo>
                    <a:lnTo>
                      <a:pt x="688" y="47"/>
                    </a:lnTo>
                    <a:lnTo>
                      <a:pt x="686" y="45"/>
                    </a:lnTo>
                    <a:lnTo>
                      <a:pt x="683" y="45"/>
                    </a:lnTo>
                    <a:lnTo>
                      <a:pt x="676" y="48"/>
                    </a:lnTo>
                    <a:lnTo>
                      <a:pt x="670" y="51"/>
                    </a:lnTo>
                    <a:lnTo>
                      <a:pt x="666" y="52"/>
                    </a:lnTo>
                    <a:lnTo>
                      <a:pt x="666" y="52"/>
                    </a:lnTo>
                    <a:lnTo>
                      <a:pt x="660" y="52"/>
                    </a:lnTo>
                    <a:lnTo>
                      <a:pt x="656" y="55"/>
                    </a:lnTo>
                    <a:lnTo>
                      <a:pt x="650" y="57"/>
                    </a:lnTo>
                    <a:lnTo>
                      <a:pt x="646" y="58"/>
                    </a:lnTo>
                    <a:lnTo>
                      <a:pt x="646" y="58"/>
                    </a:lnTo>
                    <a:lnTo>
                      <a:pt x="639" y="58"/>
                    </a:lnTo>
                    <a:lnTo>
                      <a:pt x="633" y="61"/>
                    </a:lnTo>
                    <a:lnTo>
                      <a:pt x="627" y="64"/>
                    </a:lnTo>
                    <a:lnTo>
                      <a:pt x="624" y="67"/>
                    </a:lnTo>
                    <a:lnTo>
                      <a:pt x="624" y="67"/>
                    </a:lnTo>
                    <a:lnTo>
                      <a:pt x="622" y="69"/>
                    </a:lnTo>
                    <a:lnTo>
                      <a:pt x="617" y="71"/>
                    </a:lnTo>
                    <a:lnTo>
                      <a:pt x="613" y="72"/>
                    </a:lnTo>
                    <a:lnTo>
                      <a:pt x="613" y="74"/>
                    </a:lnTo>
                    <a:lnTo>
                      <a:pt x="612" y="75"/>
                    </a:lnTo>
                    <a:lnTo>
                      <a:pt x="612" y="75"/>
                    </a:lnTo>
                    <a:lnTo>
                      <a:pt x="610" y="78"/>
                    </a:lnTo>
                    <a:lnTo>
                      <a:pt x="607" y="81"/>
                    </a:lnTo>
                    <a:lnTo>
                      <a:pt x="602" y="81"/>
                    </a:lnTo>
                    <a:lnTo>
                      <a:pt x="599" y="79"/>
                    </a:lnTo>
                    <a:lnTo>
                      <a:pt x="599" y="79"/>
                    </a:lnTo>
                    <a:lnTo>
                      <a:pt x="596" y="78"/>
                    </a:lnTo>
                    <a:lnTo>
                      <a:pt x="595" y="78"/>
                    </a:lnTo>
                    <a:lnTo>
                      <a:pt x="592" y="81"/>
                    </a:lnTo>
                    <a:lnTo>
                      <a:pt x="592" y="85"/>
                    </a:lnTo>
                    <a:lnTo>
                      <a:pt x="592" y="88"/>
                    </a:lnTo>
                    <a:lnTo>
                      <a:pt x="595" y="91"/>
                    </a:lnTo>
                    <a:lnTo>
                      <a:pt x="595" y="91"/>
                    </a:lnTo>
                    <a:lnTo>
                      <a:pt x="596" y="92"/>
                    </a:lnTo>
                    <a:lnTo>
                      <a:pt x="595" y="94"/>
                    </a:lnTo>
                    <a:lnTo>
                      <a:pt x="592" y="97"/>
                    </a:lnTo>
                    <a:lnTo>
                      <a:pt x="586" y="98"/>
                    </a:lnTo>
                    <a:lnTo>
                      <a:pt x="585" y="99"/>
                    </a:lnTo>
                    <a:lnTo>
                      <a:pt x="586" y="101"/>
                    </a:lnTo>
                    <a:lnTo>
                      <a:pt x="586" y="101"/>
                    </a:lnTo>
                    <a:lnTo>
                      <a:pt x="586" y="102"/>
                    </a:lnTo>
                    <a:lnTo>
                      <a:pt x="586" y="104"/>
                    </a:lnTo>
                    <a:lnTo>
                      <a:pt x="583" y="105"/>
                    </a:lnTo>
                    <a:lnTo>
                      <a:pt x="580" y="108"/>
                    </a:lnTo>
                    <a:lnTo>
                      <a:pt x="580" y="109"/>
                    </a:lnTo>
                    <a:lnTo>
                      <a:pt x="580" y="111"/>
                    </a:lnTo>
                    <a:lnTo>
                      <a:pt x="580" y="111"/>
                    </a:lnTo>
                    <a:lnTo>
                      <a:pt x="580" y="112"/>
                    </a:lnTo>
                    <a:lnTo>
                      <a:pt x="580" y="114"/>
                    </a:lnTo>
                    <a:lnTo>
                      <a:pt x="578" y="115"/>
                    </a:lnTo>
                    <a:lnTo>
                      <a:pt x="568" y="118"/>
                    </a:lnTo>
                    <a:lnTo>
                      <a:pt x="568" y="118"/>
                    </a:lnTo>
                    <a:lnTo>
                      <a:pt x="562" y="121"/>
                    </a:lnTo>
                    <a:lnTo>
                      <a:pt x="560" y="124"/>
                    </a:lnTo>
                    <a:lnTo>
                      <a:pt x="559" y="126"/>
                    </a:lnTo>
                    <a:lnTo>
                      <a:pt x="560" y="128"/>
                    </a:lnTo>
                    <a:lnTo>
                      <a:pt x="562" y="129"/>
                    </a:lnTo>
                    <a:lnTo>
                      <a:pt x="565" y="129"/>
                    </a:lnTo>
                    <a:lnTo>
                      <a:pt x="565" y="129"/>
                    </a:lnTo>
                    <a:lnTo>
                      <a:pt x="568" y="131"/>
                    </a:lnTo>
                    <a:lnTo>
                      <a:pt x="566" y="132"/>
                    </a:lnTo>
                    <a:lnTo>
                      <a:pt x="562" y="135"/>
                    </a:lnTo>
                    <a:lnTo>
                      <a:pt x="560" y="136"/>
                    </a:lnTo>
                    <a:lnTo>
                      <a:pt x="560" y="139"/>
                    </a:lnTo>
                    <a:lnTo>
                      <a:pt x="560" y="139"/>
                    </a:lnTo>
                    <a:lnTo>
                      <a:pt x="560" y="141"/>
                    </a:lnTo>
                    <a:lnTo>
                      <a:pt x="559" y="142"/>
                    </a:lnTo>
                    <a:lnTo>
                      <a:pt x="553" y="143"/>
                    </a:lnTo>
                    <a:lnTo>
                      <a:pt x="549" y="143"/>
                    </a:lnTo>
                    <a:lnTo>
                      <a:pt x="548" y="145"/>
                    </a:lnTo>
                    <a:lnTo>
                      <a:pt x="546" y="146"/>
                    </a:lnTo>
                    <a:lnTo>
                      <a:pt x="546" y="146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  <p:sp>
            <p:nvSpPr>
              <p:cNvPr id="246" name="France">
                <a:extLst>
                  <a:ext uri="{FF2B5EF4-FFF2-40B4-BE49-F238E27FC236}">
                    <a16:creationId xmlns:a16="http://schemas.microsoft.com/office/drawing/2014/main" id="{7CB33708-83C0-9A58-1E67-778094247F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10933" y="2969055"/>
                <a:ext cx="340351" cy="288558"/>
              </a:xfrm>
              <a:custGeom>
                <a:avLst/>
                <a:gdLst/>
                <a:ahLst/>
                <a:cxnLst>
                  <a:cxn ang="0">
                    <a:pos x="195" y="41"/>
                  </a:cxn>
                  <a:cxn ang="0">
                    <a:pos x="181" y="35"/>
                  </a:cxn>
                  <a:cxn ang="0">
                    <a:pos x="164" y="31"/>
                  </a:cxn>
                  <a:cxn ang="0">
                    <a:pos x="157" y="25"/>
                  </a:cxn>
                  <a:cxn ang="0">
                    <a:pos x="148" y="24"/>
                  </a:cxn>
                  <a:cxn ang="0">
                    <a:pos x="144" y="20"/>
                  </a:cxn>
                  <a:cxn ang="0">
                    <a:pos x="128" y="10"/>
                  </a:cxn>
                  <a:cxn ang="0">
                    <a:pos x="122" y="7"/>
                  </a:cxn>
                  <a:cxn ang="0">
                    <a:pos x="117" y="0"/>
                  </a:cxn>
                  <a:cxn ang="0">
                    <a:pos x="104" y="8"/>
                  </a:cxn>
                  <a:cxn ang="0">
                    <a:pos x="100" y="23"/>
                  </a:cxn>
                  <a:cxn ang="0">
                    <a:pos x="80" y="30"/>
                  </a:cxn>
                  <a:cxn ang="0">
                    <a:pos x="65" y="37"/>
                  </a:cxn>
                  <a:cxn ang="0">
                    <a:pos x="54" y="28"/>
                  </a:cxn>
                  <a:cxn ang="0">
                    <a:pos x="47" y="35"/>
                  </a:cxn>
                  <a:cxn ang="0">
                    <a:pos x="50" y="52"/>
                  </a:cxn>
                  <a:cxn ang="0">
                    <a:pos x="36" y="52"/>
                  </a:cxn>
                  <a:cxn ang="0">
                    <a:pos x="26" y="48"/>
                  </a:cxn>
                  <a:cxn ang="0">
                    <a:pos x="10" y="50"/>
                  </a:cxn>
                  <a:cxn ang="0">
                    <a:pos x="0" y="57"/>
                  </a:cxn>
                  <a:cxn ang="0">
                    <a:pos x="3" y="67"/>
                  </a:cxn>
                  <a:cxn ang="0">
                    <a:pos x="24" y="74"/>
                  </a:cxn>
                  <a:cxn ang="0">
                    <a:pos x="37" y="78"/>
                  </a:cxn>
                  <a:cxn ang="0">
                    <a:pos x="44" y="89"/>
                  </a:cxn>
                  <a:cxn ang="0">
                    <a:pos x="58" y="101"/>
                  </a:cxn>
                  <a:cxn ang="0">
                    <a:pos x="60" y="115"/>
                  </a:cxn>
                  <a:cxn ang="0">
                    <a:pos x="57" y="136"/>
                  </a:cxn>
                  <a:cxn ang="0">
                    <a:pos x="48" y="159"/>
                  </a:cxn>
                  <a:cxn ang="0">
                    <a:pos x="74" y="170"/>
                  </a:cxn>
                  <a:cxn ang="0">
                    <a:pos x="85" y="170"/>
                  </a:cxn>
                  <a:cxn ang="0">
                    <a:pos x="94" y="172"/>
                  </a:cxn>
                  <a:cxn ang="0">
                    <a:pos x="121" y="178"/>
                  </a:cxn>
                  <a:cxn ang="0">
                    <a:pos x="128" y="169"/>
                  </a:cxn>
                  <a:cxn ang="0">
                    <a:pos x="141" y="156"/>
                  </a:cxn>
                  <a:cxn ang="0">
                    <a:pos x="171" y="163"/>
                  </a:cxn>
                  <a:cxn ang="0">
                    <a:pos x="189" y="158"/>
                  </a:cxn>
                  <a:cxn ang="0">
                    <a:pos x="201" y="145"/>
                  </a:cxn>
                  <a:cxn ang="0">
                    <a:pos x="191" y="142"/>
                  </a:cxn>
                  <a:cxn ang="0">
                    <a:pos x="191" y="132"/>
                  </a:cxn>
                  <a:cxn ang="0">
                    <a:pos x="185" y="124"/>
                  </a:cxn>
                  <a:cxn ang="0">
                    <a:pos x="192" y="116"/>
                  </a:cxn>
                  <a:cxn ang="0">
                    <a:pos x="191" y="108"/>
                  </a:cxn>
                  <a:cxn ang="0">
                    <a:pos x="188" y="101"/>
                  </a:cxn>
                  <a:cxn ang="0">
                    <a:pos x="181" y="99"/>
                  </a:cxn>
                  <a:cxn ang="0">
                    <a:pos x="178" y="95"/>
                  </a:cxn>
                  <a:cxn ang="0">
                    <a:pos x="188" y="82"/>
                  </a:cxn>
                  <a:cxn ang="0">
                    <a:pos x="196" y="75"/>
                  </a:cxn>
                  <a:cxn ang="0">
                    <a:pos x="202" y="57"/>
                  </a:cxn>
                  <a:cxn ang="0">
                    <a:pos x="208" y="45"/>
                  </a:cxn>
                  <a:cxn ang="0">
                    <a:pos x="229" y="165"/>
                  </a:cxn>
                  <a:cxn ang="0">
                    <a:pos x="219" y="173"/>
                  </a:cxn>
                  <a:cxn ang="0">
                    <a:pos x="223" y="195"/>
                  </a:cxn>
                  <a:cxn ang="0">
                    <a:pos x="230" y="180"/>
                  </a:cxn>
                </a:cxnLst>
                <a:rect l="0" t="0" r="r" b="b"/>
                <a:pathLst>
                  <a:path w="230" h="195">
                    <a:moveTo>
                      <a:pt x="203" y="44"/>
                    </a:moveTo>
                    <a:lnTo>
                      <a:pt x="203" y="44"/>
                    </a:lnTo>
                    <a:lnTo>
                      <a:pt x="201" y="44"/>
                    </a:lnTo>
                    <a:lnTo>
                      <a:pt x="198" y="42"/>
                    </a:lnTo>
                    <a:lnTo>
                      <a:pt x="195" y="41"/>
                    </a:lnTo>
                    <a:lnTo>
                      <a:pt x="195" y="41"/>
                    </a:lnTo>
                    <a:lnTo>
                      <a:pt x="189" y="40"/>
                    </a:lnTo>
                    <a:lnTo>
                      <a:pt x="185" y="37"/>
                    </a:lnTo>
                    <a:lnTo>
                      <a:pt x="185" y="37"/>
                    </a:lnTo>
                    <a:lnTo>
                      <a:pt x="181" y="35"/>
                    </a:lnTo>
                    <a:lnTo>
                      <a:pt x="176" y="34"/>
                    </a:lnTo>
                    <a:lnTo>
                      <a:pt x="168" y="34"/>
                    </a:lnTo>
                    <a:lnTo>
                      <a:pt x="168" y="34"/>
                    </a:lnTo>
                    <a:lnTo>
                      <a:pt x="165" y="33"/>
                    </a:lnTo>
                    <a:lnTo>
                      <a:pt x="164" y="31"/>
                    </a:lnTo>
                    <a:lnTo>
                      <a:pt x="162" y="30"/>
                    </a:lnTo>
                    <a:lnTo>
                      <a:pt x="159" y="28"/>
                    </a:lnTo>
                    <a:lnTo>
                      <a:pt x="159" y="28"/>
                    </a:lnTo>
                    <a:lnTo>
                      <a:pt x="158" y="28"/>
                    </a:lnTo>
                    <a:lnTo>
                      <a:pt x="157" y="25"/>
                    </a:lnTo>
                    <a:lnTo>
                      <a:pt x="155" y="21"/>
                    </a:lnTo>
                    <a:lnTo>
                      <a:pt x="155" y="21"/>
                    </a:lnTo>
                    <a:lnTo>
                      <a:pt x="154" y="20"/>
                    </a:lnTo>
                    <a:lnTo>
                      <a:pt x="152" y="21"/>
                    </a:lnTo>
                    <a:lnTo>
                      <a:pt x="148" y="24"/>
                    </a:lnTo>
                    <a:lnTo>
                      <a:pt x="148" y="24"/>
                    </a:lnTo>
                    <a:lnTo>
                      <a:pt x="145" y="24"/>
                    </a:lnTo>
                    <a:lnTo>
                      <a:pt x="144" y="23"/>
                    </a:lnTo>
                    <a:lnTo>
                      <a:pt x="144" y="20"/>
                    </a:lnTo>
                    <a:lnTo>
                      <a:pt x="144" y="20"/>
                    </a:lnTo>
                    <a:lnTo>
                      <a:pt x="142" y="18"/>
                    </a:lnTo>
                    <a:lnTo>
                      <a:pt x="139" y="15"/>
                    </a:lnTo>
                    <a:lnTo>
                      <a:pt x="134" y="13"/>
                    </a:lnTo>
                    <a:lnTo>
                      <a:pt x="134" y="13"/>
                    </a:lnTo>
                    <a:lnTo>
                      <a:pt x="128" y="10"/>
                    </a:lnTo>
                    <a:lnTo>
                      <a:pt x="127" y="8"/>
                    </a:lnTo>
                    <a:lnTo>
                      <a:pt x="125" y="8"/>
                    </a:lnTo>
                    <a:lnTo>
                      <a:pt x="125" y="8"/>
                    </a:lnTo>
                    <a:lnTo>
                      <a:pt x="124" y="8"/>
                    </a:lnTo>
                    <a:lnTo>
                      <a:pt x="122" y="7"/>
                    </a:lnTo>
                    <a:lnTo>
                      <a:pt x="120" y="3"/>
                    </a:lnTo>
                    <a:lnTo>
                      <a:pt x="120" y="3"/>
                    </a:lnTo>
                    <a:lnTo>
                      <a:pt x="118" y="1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10" y="1"/>
                    </a:lnTo>
                    <a:lnTo>
                      <a:pt x="107" y="4"/>
                    </a:lnTo>
                    <a:lnTo>
                      <a:pt x="104" y="8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7"/>
                    </a:lnTo>
                    <a:lnTo>
                      <a:pt x="102" y="20"/>
                    </a:lnTo>
                    <a:lnTo>
                      <a:pt x="100" y="23"/>
                    </a:lnTo>
                    <a:lnTo>
                      <a:pt x="94" y="24"/>
                    </a:lnTo>
                    <a:lnTo>
                      <a:pt x="87" y="25"/>
                    </a:lnTo>
                    <a:lnTo>
                      <a:pt x="87" y="25"/>
                    </a:lnTo>
                    <a:lnTo>
                      <a:pt x="83" y="27"/>
                    </a:lnTo>
                    <a:lnTo>
                      <a:pt x="80" y="30"/>
                    </a:lnTo>
                    <a:lnTo>
                      <a:pt x="78" y="34"/>
                    </a:lnTo>
                    <a:lnTo>
                      <a:pt x="77" y="37"/>
                    </a:lnTo>
                    <a:lnTo>
                      <a:pt x="77" y="37"/>
                    </a:lnTo>
                    <a:lnTo>
                      <a:pt x="73" y="38"/>
                    </a:lnTo>
                    <a:lnTo>
                      <a:pt x="65" y="37"/>
                    </a:lnTo>
                    <a:lnTo>
                      <a:pt x="60" y="34"/>
                    </a:lnTo>
                    <a:lnTo>
                      <a:pt x="57" y="30"/>
                    </a:lnTo>
                    <a:lnTo>
                      <a:pt x="57" y="30"/>
                    </a:lnTo>
                    <a:lnTo>
                      <a:pt x="56" y="28"/>
                    </a:lnTo>
                    <a:lnTo>
                      <a:pt x="54" y="28"/>
                    </a:lnTo>
                    <a:lnTo>
                      <a:pt x="50" y="28"/>
                    </a:lnTo>
                    <a:lnTo>
                      <a:pt x="47" y="31"/>
                    </a:lnTo>
                    <a:lnTo>
                      <a:pt x="46" y="34"/>
                    </a:lnTo>
                    <a:lnTo>
                      <a:pt x="47" y="35"/>
                    </a:lnTo>
                    <a:lnTo>
                      <a:pt x="47" y="35"/>
                    </a:lnTo>
                    <a:lnTo>
                      <a:pt x="51" y="41"/>
                    </a:lnTo>
                    <a:lnTo>
                      <a:pt x="51" y="45"/>
                    </a:lnTo>
                    <a:lnTo>
                      <a:pt x="51" y="50"/>
                    </a:lnTo>
                    <a:lnTo>
                      <a:pt x="50" y="52"/>
                    </a:lnTo>
                    <a:lnTo>
                      <a:pt x="50" y="52"/>
                    </a:lnTo>
                    <a:lnTo>
                      <a:pt x="47" y="54"/>
                    </a:lnTo>
                    <a:lnTo>
                      <a:pt x="43" y="52"/>
                    </a:lnTo>
                    <a:lnTo>
                      <a:pt x="40" y="51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3" y="52"/>
                    </a:lnTo>
                    <a:lnTo>
                      <a:pt x="31" y="52"/>
                    </a:lnTo>
                    <a:lnTo>
                      <a:pt x="28" y="50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3" y="47"/>
                    </a:lnTo>
                    <a:lnTo>
                      <a:pt x="19" y="48"/>
                    </a:lnTo>
                    <a:lnTo>
                      <a:pt x="16" y="50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4" y="50"/>
                    </a:lnTo>
                    <a:lnTo>
                      <a:pt x="1" y="51"/>
                    </a:lnTo>
                    <a:lnTo>
                      <a:pt x="0" y="54"/>
                    </a:lnTo>
                    <a:lnTo>
                      <a:pt x="0" y="57"/>
                    </a:lnTo>
                    <a:lnTo>
                      <a:pt x="0" y="57"/>
                    </a:lnTo>
                    <a:lnTo>
                      <a:pt x="1" y="60"/>
                    </a:lnTo>
                    <a:lnTo>
                      <a:pt x="1" y="62"/>
                    </a:lnTo>
                    <a:lnTo>
                      <a:pt x="1" y="64"/>
                    </a:lnTo>
                    <a:lnTo>
                      <a:pt x="3" y="67"/>
                    </a:lnTo>
                    <a:lnTo>
                      <a:pt x="3" y="67"/>
                    </a:lnTo>
                    <a:lnTo>
                      <a:pt x="6" y="68"/>
                    </a:lnTo>
                    <a:lnTo>
                      <a:pt x="11" y="69"/>
                    </a:lnTo>
                    <a:lnTo>
                      <a:pt x="17" y="71"/>
                    </a:lnTo>
                    <a:lnTo>
                      <a:pt x="24" y="74"/>
                    </a:lnTo>
                    <a:lnTo>
                      <a:pt x="24" y="74"/>
                    </a:lnTo>
                    <a:lnTo>
                      <a:pt x="28" y="75"/>
                    </a:lnTo>
                    <a:lnTo>
                      <a:pt x="31" y="77"/>
                    </a:lnTo>
                    <a:lnTo>
                      <a:pt x="34" y="77"/>
                    </a:lnTo>
                    <a:lnTo>
                      <a:pt x="37" y="78"/>
                    </a:lnTo>
                    <a:lnTo>
                      <a:pt x="37" y="78"/>
                    </a:lnTo>
                    <a:lnTo>
                      <a:pt x="41" y="79"/>
                    </a:lnTo>
                    <a:lnTo>
                      <a:pt x="43" y="81"/>
                    </a:lnTo>
                    <a:lnTo>
                      <a:pt x="43" y="85"/>
                    </a:lnTo>
                    <a:lnTo>
                      <a:pt x="43" y="85"/>
                    </a:lnTo>
                    <a:lnTo>
                      <a:pt x="44" y="89"/>
                    </a:lnTo>
                    <a:lnTo>
                      <a:pt x="46" y="92"/>
                    </a:lnTo>
                    <a:lnTo>
                      <a:pt x="50" y="97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8" y="101"/>
                    </a:lnTo>
                    <a:lnTo>
                      <a:pt x="60" y="104"/>
                    </a:lnTo>
                    <a:lnTo>
                      <a:pt x="58" y="106"/>
                    </a:lnTo>
                    <a:lnTo>
                      <a:pt x="60" y="111"/>
                    </a:lnTo>
                    <a:lnTo>
                      <a:pt x="60" y="111"/>
                    </a:lnTo>
                    <a:lnTo>
                      <a:pt x="60" y="115"/>
                    </a:lnTo>
                    <a:lnTo>
                      <a:pt x="58" y="121"/>
                    </a:lnTo>
                    <a:lnTo>
                      <a:pt x="57" y="125"/>
                    </a:lnTo>
                    <a:lnTo>
                      <a:pt x="57" y="131"/>
                    </a:lnTo>
                    <a:lnTo>
                      <a:pt x="57" y="131"/>
                    </a:lnTo>
                    <a:lnTo>
                      <a:pt x="57" y="136"/>
                    </a:lnTo>
                    <a:lnTo>
                      <a:pt x="56" y="146"/>
                    </a:lnTo>
                    <a:lnTo>
                      <a:pt x="53" y="155"/>
                    </a:lnTo>
                    <a:lnTo>
                      <a:pt x="50" y="159"/>
                    </a:lnTo>
                    <a:lnTo>
                      <a:pt x="50" y="159"/>
                    </a:lnTo>
                    <a:lnTo>
                      <a:pt x="48" y="159"/>
                    </a:lnTo>
                    <a:lnTo>
                      <a:pt x="48" y="159"/>
                    </a:lnTo>
                    <a:lnTo>
                      <a:pt x="58" y="163"/>
                    </a:lnTo>
                    <a:lnTo>
                      <a:pt x="58" y="163"/>
                    </a:lnTo>
                    <a:lnTo>
                      <a:pt x="65" y="168"/>
                    </a:lnTo>
                    <a:lnTo>
                      <a:pt x="74" y="170"/>
                    </a:lnTo>
                    <a:lnTo>
                      <a:pt x="74" y="170"/>
                    </a:lnTo>
                    <a:lnTo>
                      <a:pt x="77" y="173"/>
                    </a:lnTo>
                    <a:lnTo>
                      <a:pt x="81" y="173"/>
                    </a:lnTo>
                    <a:lnTo>
                      <a:pt x="85" y="172"/>
                    </a:lnTo>
                    <a:lnTo>
                      <a:pt x="85" y="170"/>
                    </a:lnTo>
                    <a:lnTo>
                      <a:pt x="85" y="170"/>
                    </a:lnTo>
                    <a:lnTo>
                      <a:pt x="87" y="169"/>
                    </a:lnTo>
                    <a:lnTo>
                      <a:pt x="88" y="169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7" y="173"/>
                    </a:lnTo>
                    <a:lnTo>
                      <a:pt x="102" y="175"/>
                    </a:lnTo>
                    <a:lnTo>
                      <a:pt x="112" y="176"/>
                    </a:lnTo>
                    <a:lnTo>
                      <a:pt x="112" y="176"/>
                    </a:lnTo>
                    <a:lnTo>
                      <a:pt x="121" y="178"/>
                    </a:lnTo>
                    <a:lnTo>
                      <a:pt x="129" y="176"/>
                    </a:lnTo>
                    <a:lnTo>
                      <a:pt x="129" y="176"/>
                    </a:lnTo>
                    <a:lnTo>
                      <a:pt x="128" y="173"/>
                    </a:lnTo>
                    <a:lnTo>
                      <a:pt x="128" y="173"/>
                    </a:lnTo>
                    <a:lnTo>
                      <a:pt x="128" y="169"/>
                    </a:lnTo>
                    <a:lnTo>
                      <a:pt x="128" y="166"/>
                    </a:lnTo>
                    <a:lnTo>
                      <a:pt x="131" y="162"/>
                    </a:lnTo>
                    <a:lnTo>
                      <a:pt x="135" y="159"/>
                    </a:lnTo>
                    <a:lnTo>
                      <a:pt x="141" y="156"/>
                    </a:lnTo>
                    <a:lnTo>
                      <a:pt x="141" y="156"/>
                    </a:lnTo>
                    <a:lnTo>
                      <a:pt x="148" y="156"/>
                    </a:lnTo>
                    <a:lnTo>
                      <a:pt x="158" y="159"/>
                    </a:lnTo>
                    <a:lnTo>
                      <a:pt x="165" y="161"/>
                    </a:lnTo>
                    <a:lnTo>
                      <a:pt x="171" y="163"/>
                    </a:lnTo>
                    <a:lnTo>
                      <a:pt x="171" y="163"/>
                    </a:lnTo>
                    <a:lnTo>
                      <a:pt x="175" y="165"/>
                    </a:lnTo>
                    <a:lnTo>
                      <a:pt x="179" y="165"/>
                    </a:lnTo>
                    <a:lnTo>
                      <a:pt x="184" y="162"/>
                    </a:lnTo>
                    <a:lnTo>
                      <a:pt x="189" y="158"/>
                    </a:lnTo>
                    <a:lnTo>
                      <a:pt x="189" y="158"/>
                    </a:lnTo>
                    <a:lnTo>
                      <a:pt x="195" y="152"/>
                    </a:lnTo>
                    <a:lnTo>
                      <a:pt x="199" y="151"/>
                    </a:lnTo>
                    <a:lnTo>
                      <a:pt x="199" y="151"/>
                    </a:lnTo>
                    <a:lnTo>
                      <a:pt x="201" y="145"/>
                    </a:lnTo>
                    <a:lnTo>
                      <a:pt x="201" y="145"/>
                    </a:lnTo>
                    <a:lnTo>
                      <a:pt x="201" y="143"/>
                    </a:lnTo>
                    <a:lnTo>
                      <a:pt x="199" y="143"/>
                    </a:lnTo>
                    <a:lnTo>
                      <a:pt x="193" y="142"/>
                    </a:lnTo>
                    <a:lnTo>
                      <a:pt x="193" y="142"/>
                    </a:lnTo>
                    <a:lnTo>
                      <a:pt x="191" y="142"/>
                    </a:lnTo>
                    <a:lnTo>
                      <a:pt x="189" y="141"/>
                    </a:lnTo>
                    <a:lnTo>
                      <a:pt x="189" y="138"/>
                    </a:lnTo>
                    <a:lnTo>
                      <a:pt x="191" y="135"/>
                    </a:lnTo>
                    <a:lnTo>
                      <a:pt x="191" y="135"/>
                    </a:lnTo>
                    <a:lnTo>
                      <a:pt x="191" y="132"/>
                    </a:lnTo>
                    <a:lnTo>
                      <a:pt x="189" y="131"/>
                    </a:lnTo>
                    <a:lnTo>
                      <a:pt x="185" y="126"/>
                    </a:lnTo>
                    <a:lnTo>
                      <a:pt x="185" y="126"/>
                    </a:lnTo>
                    <a:lnTo>
                      <a:pt x="185" y="125"/>
                    </a:lnTo>
                    <a:lnTo>
                      <a:pt x="185" y="124"/>
                    </a:lnTo>
                    <a:lnTo>
                      <a:pt x="189" y="122"/>
                    </a:lnTo>
                    <a:lnTo>
                      <a:pt x="189" y="122"/>
                    </a:lnTo>
                    <a:lnTo>
                      <a:pt x="192" y="119"/>
                    </a:lnTo>
                    <a:lnTo>
                      <a:pt x="192" y="118"/>
                    </a:lnTo>
                    <a:lnTo>
                      <a:pt x="192" y="116"/>
                    </a:lnTo>
                    <a:lnTo>
                      <a:pt x="192" y="116"/>
                    </a:lnTo>
                    <a:lnTo>
                      <a:pt x="189" y="114"/>
                    </a:lnTo>
                    <a:lnTo>
                      <a:pt x="189" y="111"/>
                    </a:lnTo>
                    <a:lnTo>
                      <a:pt x="191" y="108"/>
                    </a:lnTo>
                    <a:lnTo>
                      <a:pt x="191" y="108"/>
                    </a:lnTo>
                    <a:lnTo>
                      <a:pt x="191" y="106"/>
                    </a:lnTo>
                    <a:lnTo>
                      <a:pt x="189" y="104"/>
                    </a:lnTo>
                    <a:lnTo>
                      <a:pt x="188" y="102"/>
                    </a:lnTo>
                    <a:lnTo>
                      <a:pt x="188" y="101"/>
                    </a:lnTo>
                    <a:lnTo>
                      <a:pt x="188" y="101"/>
                    </a:lnTo>
                    <a:lnTo>
                      <a:pt x="186" y="98"/>
                    </a:lnTo>
                    <a:lnTo>
                      <a:pt x="185" y="98"/>
                    </a:lnTo>
                    <a:lnTo>
                      <a:pt x="182" y="98"/>
                    </a:lnTo>
                    <a:lnTo>
                      <a:pt x="181" y="99"/>
                    </a:lnTo>
                    <a:lnTo>
                      <a:pt x="181" y="99"/>
                    </a:lnTo>
                    <a:lnTo>
                      <a:pt x="178" y="102"/>
                    </a:lnTo>
                    <a:lnTo>
                      <a:pt x="176" y="101"/>
                    </a:lnTo>
                    <a:lnTo>
                      <a:pt x="176" y="99"/>
                    </a:lnTo>
                    <a:lnTo>
                      <a:pt x="178" y="95"/>
                    </a:lnTo>
                    <a:lnTo>
                      <a:pt x="178" y="95"/>
                    </a:lnTo>
                    <a:lnTo>
                      <a:pt x="181" y="91"/>
                    </a:lnTo>
                    <a:lnTo>
                      <a:pt x="184" y="87"/>
                    </a:lnTo>
                    <a:lnTo>
                      <a:pt x="186" y="84"/>
                    </a:lnTo>
                    <a:lnTo>
                      <a:pt x="188" y="82"/>
                    </a:lnTo>
                    <a:lnTo>
                      <a:pt x="188" y="82"/>
                    </a:lnTo>
                    <a:lnTo>
                      <a:pt x="189" y="79"/>
                    </a:lnTo>
                    <a:lnTo>
                      <a:pt x="192" y="77"/>
                    </a:lnTo>
                    <a:lnTo>
                      <a:pt x="193" y="75"/>
                    </a:lnTo>
                    <a:lnTo>
                      <a:pt x="196" y="75"/>
                    </a:lnTo>
                    <a:lnTo>
                      <a:pt x="196" y="75"/>
                    </a:lnTo>
                    <a:lnTo>
                      <a:pt x="198" y="74"/>
                    </a:lnTo>
                    <a:lnTo>
                      <a:pt x="199" y="71"/>
                    </a:lnTo>
                    <a:lnTo>
                      <a:pt x="201" y="62"/>
                    </a:lnTo>
                    <a:lnTo>
                      <a:pt x="201" y="62"/>
                    </a:lnTo>
                    <a:lnTo>
                      <a:pt x="202" y="57"/>
                    </a:lnTo>
                    <a:lnTo>
                      <a:pt x="203" y="52"/>
                    </a:lnTo>
                    <a:lnTo>
                      <a:pt x="206" y="50"/>
                    </a:lnTo>
                    <a:lnTo>
                      <a:pt x="206" y="50"/>
                    </a:lnTo>
                    <a:lnTo>
                      <a:pt x="208" y="47"/>
                    </a:lnTo>
                    <a:lnTo>
                      <a:pt x="208" y="45"/>
                    </a:lnTo>
                    <a:lnTo>
                      <a:pt x="205" y="45"/>
                    </a:lnTo>
                    <a:lnTo>
                      <a:pt x="203" y="44"/>
                    </a:lnTo>
                    <a:lnTo>
                      <a:pt x="203" y="44"/>
                    </a:lnTo>
                    <a:close/>
                    <a:moveTo>
                      <a:pt x="229" y="165"/>
                    </a:moveTo>
                    <a:lnTo>
                      <a:pt x="229" y="165"/>
                    </a:lnTo>
                    <a:lnTo>
                      <a:pt x="226" y="166"/>
                    </a:lnTo>
                    <a:lnTo>
                      <a:pt x="225" y="168"/>
                    </a:lnTo>
                    <a:lnTo>
                      <a:pt x="222" y="170"/>
                    </a:lnTo>
                    <a:lnTo>
                      <a:pt x="219" y="173"/>
                    </a:lnTo>
                    <a:lnTo>
                      <a:pt x="219" y="173"/>
                    </a:lnTo>
                    <a:lnTo>
                      <a:pt x="216" y="176"/>
                    </a:lnTo>
                    <a:lnTo>
                      <a:pt x="216" y="179"/>
                    </a:lnTo>
                    <a:lnTo>
                      <a:pt x="218" y="186"/>
                    </a:lnTo>
                    <a:lnTo>
                      <a:pt x="221" y="193"/>
                    </a:lnTo>
                    <a:lnTo>
                      <a:pt x="223" y="195"/>
                    </a:lnTo>
                    <a:lnTo>
                      <a:pt x="225" y="195"/>
                    </a:lnTo>
                    <a:lnTo>
                      <a:pt x="225" y="195"/>
                    </a:lnTo>
                    <a:lnTo>
                      <a:pt x="228" y="193"/>
                    </a:lnTo>
                    <a:lnTo>
                      <a:pt x="229" y="190"/>
                    </a:lnTo>
                    <a:lnTo>
                      <a:pt x="230" y="180"/>
                    </a:lnTo>
                    <a:lnTo>
                      <a:pt x="230" y="170"/>
                    </a:lnTo>
                    <a:lnTo>
                      <a:pt x="229" y="166"/>
                    </a:lnTo>
                    <a:lnTo>
                      <a:pt x="229" y="165"/>
                    </a:lnTo>
                    <a:lnTo>
                      <a:pt x="229" y="165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dirty="0">
                  <a:solidFill>
                    <a:srgbClr val="3F3F3F"/>
                  </a:solidFill>
                  <a:latin typeface="+mn-lt"/>
                </a:endParaRPr>
              </a:p>
            </p:txBody>
          </p:sp>
        </p:grpSp>
      </p:grpSp>
      <p:sp>
        <p:nvSpPr>
          <p:cNvPr id="366" name="Rectangle 365">
            <a:extLst>
              <a:ext uri="{FF2B5EF4-FFF2-40B4-BE49-F238E27FC236}">
                <a16:creationId xmlns:a16="http://schemas.microsoft.com/office/drawing/2014/main" id="{DA5E2045-7C7E-7701-54A7-B5340CCF1752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World map</a:t>
            </a:r>
            <a:endParaRPr lang="en-CA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79321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Canada"/>
          <p:cNvGrpSpPr>
            <a:grpSpLocks/>
          </p:cNvGrpSpPr>
          <p:nvPr/>
        </p:nvGrpSpPr>
        <p:grpSpPr>
          <a:xfrm>
            <a:off x="1932461" y="1055365"/>
            <a:ext cx="6383068" cy="4991231"/>
            <a:chOff x="-896373" y="-1314714"/>
            <a:chExt cx="4953000" cy="4230687"/>
          </a:xfrm>
          <a:solidFill>
            <a:schemeClr val="bg1">
              <a:lumMod val="75000"/>
            </a:schemeClr>
          </a:solidFill>
        </p:grpSpPr>
        <p:sp>
          <p:nvSpPr>
            <p:cNvPr id="81" name="AutoShape 7"/>
            <p:cNvSpPr>
              <a:spLocks/>
            </p:cNvSpPr>
            <p:nvPr/>
          </p:nvSpPr>
          <p:spPr bwMode="auto">
            <a:xfrm>
              <a:off x="2037327" y="782373"/>
              <a:ext cx="1519238" cy="1654175"/>
            </a:xfrm>
            <a:custGeom>
              <a:avLst/>
              <a:gdLst/>
              <a:ahLst/>
              <a:cxnLst/>
              <a:rect l="0" t="0" r="r" b="b"/>
              <a:pathLst>
                <a:path w="21600" h="21590">
                  <a:moveTo>
                    <a:pt x="20959" y="6066"/>
                  </a:moveTo>
                  <a:cubicBezTo>
                    <a:pt x="20959" y="6066"/>
                    <a:pt x="16332" y="9007"/>
                    <a:pt x="16211" y="9117"/>
                  </a:cubicBezTo>
                  <a:cubicBezTo>
                    <a:pt x="16091" y="9228"/>
                    <a:pt x="16091" y="9166"/>
                    <a:pt x="16091" y="8958"/>
                  </a:cubicBezTo>
                  <a:cubicBezTo>
                    <a:pt x="16091" y="8751"/>
                    <a:pt x="15828" y="8806"/>
                    <a:pt x="15670" y="8765"/>
                  </a:cubicBezTo>
                  <a:cubicBezTo>
                    <a:pt x="15512" y="8723"/>
                    <a:pt x="15775" y="9062"/>
                    <a:pt x="15775" y="9193"/>
                  </a:cubicBezTo>
                  <a:cubicBezTo>
                    <a:pt x="15775" y="9324"/>
                    <a:pt x="15896" y="9414"/>
                    <a:pt x="16031" y="9538"/>
                  </a:cubicBezTo>
                  <a:cubicBezTo>
                    <a:pt x="16166" y="9663"/>
                    <a:pt x="16114" y="9746"/>
                    <a:pt x="16001" y="9746"/>
                  </a:cubicBezTo>
                  <a:cubicBezTo>
                    <a:pt x="15888" y="9746"/>
                    <a:pt x="15941" y="9746"/>
                    <a:pt x="15941" y="9977"/>
                  </a:cubicBezTo>
                  <a:cubicBezTo>
                    <a:pt x="15941" y="10208"/>
                    <a:pt x="15802" y="9977"/>
                    <a:pt x="15632" y="9821"/>
                  </a:cubicBezTo>
                  <a:cubicBezTo>
                    <a:pt x="15463" y="9666"/>
                    <a:pt x="15444" y="9953"/>
                    <a:pt x="15159" y="9891"/>
                  </a:cubicBezTo>
                  <a:cubicBezTo>
                    <a:pt x="14873" y="9828"/>
                    <a:pt x="14944" y="9770"/>
                    <a:pt x="14858" y="9690"/>
                  </a:cubicBezTo>
                  <a:cubicBezTo>
                    <a:pt x="14771" y="9611"/>
                    <a:pt x="14760" y="9870"/>
                    <a:pt x="14489" y="9870"/>
                  </a:cubicBezTo>
                  <a:cubicBezTo>
                    <a:pt x="14218" y="9870"/>
                    <a:pt x="14343" y="9866"/>
                    <a:pt x="14271" y="9801"/>
                  </a:cubicBezTo>
                  <a:cubicBezTo>
                    <a:pt x="14200" y="9735"/>
                    <a:pt x="14143" y="9683"/>
                    <a:pt x="14143" y="9835"/>
                  </a:cubicBezTo>
                  <a:cubicBezTo>
                    <a:pt x="14143" y="9987"/>
                    <a:pt x="13895" y="9801"/>
                    <a:pt x="13895" y="9801"/>
                  </a:cubicBezTo>
                  <a:cubicBezTo>
                    <a:pt x="13895" y="9801"/>
                    <a:pt x="13895" y="9725"/>
                    <a:pt x="13925" y="9531"/>
                  </a:cubicBezTo>
                  <a:cubicBezTo>
                    <a:pt x="13955" y="9338"/>
                    <a:pt x="13790" y="9303"/>
                    <a:pt x="13669" y="9090"/>
                  </a:cubicBezTo>
                  <a:cubicBezTo>
                    <a:pt x="13549" y="8875"/>
                    <a:pt x="13384" y="9034"/>
                    <a:pt x="13384" y="9034"/>
                  </a:cubicBezTo>
                  <a:cubicBezTo>
                    <a:pt x="13384" y="9034"/>
                    <a:pt x="13425" y="9148"/>
                    <a:pt x="13511" y="9228"/>
                  </a:cubicBezTo>
                  <a:cubicBezTo>
                    <a:pt x="13598" y="9307"/>
                    <a:pt x="13463" y="9380"/>
                    <a:pt x="13463" y="9500"/>
                  </a:cubicBezTo>
                  <a:cubicBezTo>
                    <a:pt x="13463" y="9621"/>
                    <a:pt x="13338" y="9614"/>
                    <a:pt x="13150" y="9442"/>
                  </a:cubicBezTo>
                  <a:cubicBezTo>
                    <a:pt x="12962" y="9269"/>
                    <a:pt x="13038" y="9442"/>
                    <a:pt x="12767" y="9297"/>
                  </a:cubicBezTo>
                  <a:cubicBezTo>
                    <a:pt x="12496" y="9152"/>
                    <a:pt x="12767" y="9069"/>
                    <a:pt x="12981" y="9041"/>
                  </a:cubicBezTo>
                  <a:cubicBezTo>
                    <a:pt x="13196" y="9013"/>
                    <a:pt x="12981" y="8872"/>
                    <a:pt x="12797" y="8703"/>
                  </a:cubicBezTo>
                  <a:cubicBezTo>
                    <a:pt x="12613" y="8534"/>
                    <a:pt x="12658" y="8665"/>
                    <a:pt x="12586" y="8731"/>
                  </a:cubicBezTo>
                  <a:cubicBezTo>
                    <a:pt x="12515" y="8796"/>
                    <a:pt x="12481" y="8731"/>
                    <a:pt x="12338" y="8599"/>
                  </a:cubicBezTo>
                  <a:cubicBezTo>
                    <a:pt x="12195" y="8468"/>
                    <a:pt x="11864" y="8316"/>
                    <a:pt x="11864" y="8316"/>
                  </a:cubicBezTo>
                  <a:cubicBezTo>
                    <a:pt x="11864" y="8316"/>
                    <a:pt x="11759" y="8220"/>
                    <a:pt x="11804" y="8054"/>
                  </a:cubicBezTo>
                  <a:cubicBezTo>
                    <a:pt x="11849" y="7888"/>
                    <a:pt x="11624" y="7847"/>
                    <a:pt x="11624" y="7847"/>
                  </a:cubicBezTo>
                  <a:cubicBezTo>
                    <a:pt x="11624" y="7847"/>
                    <a:pt x="11624" y="7791"/>
                    <a:pt x="11729" y="7695"/>
                  </a:cubicBezTo>
                  <a:cubicBezTo>
                    <a:pt x="11834" y="7598"/>
                    <a:pt x="11913" y="7636"/>
                    <a:pt x="11793" y="7526"/>
                  </a:cubicBezTo>
                  <a:cubicBezTo>
                    <a:pt x="11673" y="7415"/>
                    <a:pt x="11676" y="7418"/>
                    <a:pt x="11909" y="7350"/>
                  </a:cubicBezTo>
                  <a:cubicBezTo>
                    <a:pt x="12143" y="7280"/>
                    <a:pt x="12082" y="7115"/>
                    <a:pt x="12007" y="7115"/>
                  </a:cubicBezTo>
                  <a:cubicBezTo>
                    <a:pt x="11932" y="7115"/>
                    <a:pt x="11759" y="7122"/>
                    <a:pt x="11684" y="7191"/>
                  </a:cubicBezTo>
                  <a:cubicBezTo>
                    <a:pt x="11608" y="7260"/>
                    <a:pt x="11481" y="7191"/>
                    <a:pt x="11390" y="6935"/>
                  </a:cubicBezTo>
                  <a:cubicBezTo>
                    <a:pt x="11300" y="6680"/>
                    <a:pt x="11345" y="6749"/>
                    <a:pt x="11345" y="6749"/>
                  </a:cubicBezTo>
                  <a:cubicBezTo>
                    <a:pt x="11345" y="6749"/>
                    <a:pt x="11563" y="6535"/>
                    <a:pt x="11661" y="6445"/>
                  </a:cubicBezTo>
                  <a:cubicBezTo>
                    <a:pt x="11759" y="6355"/>
                    <a:pt x="12045" y="6818"/>
                    <a:pt x="12045" y="6818"/>
                  </a:cubicBezTo>
                  <a:lnTo>
                    <a:pt x="12330" y="6493"/>
                  </a:lnTo>
                  <a:cubicBezTo>
                    <a:pt x="12330" y="6493"/>
                    <a:pt x="12451" y="6714"/>
                    <a:pt x="12556" y="6811"/>
                  </a:cubicBezTo>
                  <a:cubicBezTo>
                    <a:pt x="12661" y="6907"/>
                    <a:pt x="12827" y="6687"/>
                    <a:pt x="12827" y="6687"/>
                  </a:cubicBezTo>
                  <a:cubicBezTo>
                    <a:pt x="12827" y="6687"/>
                    <a:pt x="12932" y="6687"/>
                    <a:pt x="12970" y="6783"/>
                  </a:cubicBezTo>
                  <a:cubicBezTo>
                    <a:pt x="13007" y="6880"/>
                    <a:pt x="13068" y="6652"/>
                    <a:pt x="13143" y="6583"/>
                  </a:cubicBezTo>
                  <a:cubicBezTo>
                    <a:pt x="13218" y="6514"/>
                    <a:pt x="13180" y="6431"/>
                    <a:pt x="13180" y="6293"/>
                  </a:cubicBezTo>
                  <a:cubicBezTo>
                    <a:pt x="13180" y="6155"/>
                    <a:pt x="13511" y="6376"/>
                    <a:pt x="13511" y="6376"/>
                  </a:cubicBezTo>
                  <a:lnTo>
                    <a:pt x="13714" y="6141"/>
                  </a:lnTo>
                  <a:cubicBezTo>
                    <a:pt x="13714" y="6141"/>
                    <a:pt x="13850" y="6107"/>
                    <a:pt x="14023" y="6266"/>
                  </a:cubicBezTo>
                  <a:cubicBezTo>
                    <a:pt x="14196" y="6424"/>
                    <a:pt x="14226" y="6190"/>
                    <a:pt x="14309" y="6113"/>
                  </a:cubicBezTo>
                  <a:cubicBezTo>
                    <a:pt x="14392" y="6037"/>
                    <a:pt x="14154" y="5972"/>
                    <a:pt x="14023" y="5851"/>
                  </a:cubicBezTo>
                  <a:cubicBezTo>
                    <a:pt x="13891" y="5730"/>
                    <a:pt x="14222" y="5792"/>
                    <a:pt x="14128" y="5706"/>
                  </a:cubicBezTo>
                  <a:cubicBezTo>
                    <a:pt x="14034" y="5620"/>
                    <a:pt x="14064" y="5516"/>
                    <a:pt x="13993" y="5451"/>
                  </a:cubicBezTo>
                  <a:cubicBezTo>
                    <a:pt x="13921" y="5385"/>
                    <a:pt x="13895" y="5458"/>
                    <a:pt x="13895" y="5368"/>
                  </a:cubicBezTo>
                  <a:cubicBezTo>
                    <a:pt x="13895" y="5278"/>
                    <a:pt x="13888" y="5188"/>
                    <a:pt x="13684" y="5188"/>
                  </a:cubicBezTo>
                  <a:cubicBezTo>
                    <a:pt x="13481" y="5188"/>
                    <a:pt x="13624" y="4961"/>
                    <a:pt x="13624" y="4961"/>
                  </a:cubicBezTo>
                  <a:cubicBezTo>
                    <a:pt x="13624" y="4961"/>
                    <a:pt x="13572" y="4843"/>
                    <a:pt x="13414" y="4808"/>
                  </a:cubicBezTo>
                  <a:cubicBezTo>
                    <a:pt x="13256" y="4774"/>
                    <a:pt x="13331" y="4712"/>
                    <a:pt x="13331" y="4712"/>
                  </a:cubicBezTo>
                  <a:cubicBezTo>
                    <a:pt x="13331" y="4712"/>
                    <a:pt x="13248" y="4636"/>
                    <a:pt x="13075" y="4636"/>
                  </a:cubicBezTo>
                  <a:cubicBezTo>
                    <a:pt x="12902" y="4636"/>
                    <a:pt x="13030" y="4505"/>
                    <a:pt x="13030" y="4505"/>
                  </a:cubicBezTo>
                  <a:cubicBezTo>
                    <a:pt x="13030" y="4505"/>
                    <a:pt x="12947" y="4408"/>
                    <a:pt x="12819" y="4373"/>
                  </a:cubicBezTo>
                  <a:cubicBezTo>
                    <a:pt x="12691" y="4339"/>
                    <a:pt x="12819" y="4291"/>
                    <a:pt x="12895" y="4222"/>
                  </a:cubicBezTo>
                  <a:cubicBezTo>
                    <a:pt x="12970" y="4152"/>
                    <a:pt x="12707" y="4090"/>
                    <a:pt x="12624" y="4014"/>
                  </a:cubicBezTo>
                  <a:cubicBezTo>
                    <a:pt x="12541" y="3938"/>
                    <a:pt x="12466" y="3807"/>
                    <a:pt x="12549" y="3731"/>
                  </a:cubicBezTo>
                  <a:cubicBezTo>
                    <a:pt x="12631" y="3656"/>
                    <a:pt x="12443" y="3614"/>
                    <a:pt x="12443" y="3614"/>
                  </a:cubicBezTo>
                  <a:cubicBezTo>
                    <a:pt x="12443" y="3614"/>
                    <a:pt x="12383" y="3531"/>
                    <a:pt x="12443" y="3414"/>
                  </a:cubicBezTo>
                  <a:cubicBezTo>
                    <a:pt x="12504" y="3296"/>
                    <a:pt x="12353" y="3276"/>
                    <a:pt x="12233" y="3241"/>
                  </a:cubicBezTo>
                  <a:cubicBezTo>
                    <a:pt x="12112" y="3207"/>
                    <a:pt x="12267" y="3113"/>
                    <a:pt x="12338" y="3048"/>
                  </a:cubicBezTo>
                  <a:cubicBezTo>
                    <a:pt x="12409" y="2982"/>
                    <a:pt x="12393" y="2881"/>
                    <a:pt x="12393" y="2881"/>
                  </a:cubicBezTo>
                  <a:cubicBezTo>
                    <a:pt x="12393" y="2881"/>
                    <a:pt x="12290" y="2746"/>
                    <a:pt x="12090" y="2779"/>
                  </a:cubicBezTo>
                  <a:cubicBezTo>
                    <a:pt x="11891" y="2811"/>
                    <a:pt x="12017" y="2846"/>
                    <a:pt x="11978" y="2726"/>
                  </a:cubicBezTo>
                  <a:cubicBezTo>
                    <a:pt x="11940" y="2606"/>
                    <a:pt x="11826" y="2726"/>
                    <a:pt x="11700" y="2726"/>
                  </a:cubicBezTo>
                  <a:cubicBezTo>
                    <a:pt x="11575" y="2726"/>
                    <a:pt x="11586" y="2596"/>
                    <a:pt x="11383" y="2596"/>
                  </a:cubicBezTo>
                  <a:cubicBezTo>
                    <a:pt x="11181" y="2596"/>
                    <a:pt x="11285" y="2626"/>
                    <a:pt x="11340" y="2496"/>
                  </a:cubicBezTo>
                  <a:cubicBezTo>
                    <a:pt x="11395" y="2365"/>
                    <a:pt x="11294" y="2275"/>
                    <a:pt x="11294" y="2275"/>
                  </a:cubicBezTo>
                  <a:cubicBezTo>
                    <a:pt x="11294" y="2275"/>
                    <a:pt x="11294" y="2127"/>
                    <a:pt x="11433" y="1999"/>
                  </a:cubicBezTo>
                  <a:cubicBezTo>
                    <a:pt x="11572" y="1872"/>
                    <a:pt x="11274" y="1964"/>
                    <a:pt x="11171" y="1964"/>
                  </a:cubicBezTo>
                  <a:cubicBezTo>
                    <a:pt x="11067" y="1964"/>
                    <a:pt x="11141" y="1802"/>
                    <a:pt x="11220" y="1729"/>
                  </a:cubicBezTo>
                  <a:cubicBezTo>
                    <a:pt x="11299" y="1656"/>
                    <a:pt x="11296" y="1659"/>
                    <a:pt x="11154" y="1659"/>
                  </a:cubicBezTo>
                  <a:cubicBezTo>
                    <a:pt x="11012" y="1659"/>
                    <a:pt x="11269" y="1473"/>
                    <a:pt x="11225" y="1433"/>
                  </a:cubicBezTo>
                  <a:cubicBezTo>
                    <a:pt x="11181" y="1393"/>
                    <a:pt x="11023" y="1639"/>
                    <a:pt x="10958" y="1774"/>
                  </a:cubicBezTo>
                  <a:cubicBezTo>
                    <a:pt x="10892" y="1909"/>
                    <a:pt x="10701" y="1824"/>
                    <a:pt x="10483" y="1824"/>
                  </a:cubicBezTo>
                  <a:cubicBezTo>
                    <a:pt x="10264" y="1824"/>
                    <a:pt x="10805" y="1694"/>
                    <a:pt x="10805" y="1694"/>
                  </a:cubicBezTo>
                  <a:cubicBezTo>
                    <a:pt x="10805" y="1694"/>
                    <a:pt x="10778" y="1589"/>
                    <a:pt x="10636" y="1528"/>
                  </a:cubicBezTo>
                  <a:cubicBezTo>
                    <a:pt x="10494" y="1468"/>
                    <a:pt x="10582" y="1404"/>
                    <a:pt x="10751" y="1404"/>
                  </a:cubicBezTo>
                  <a:cubicBezTo>
                    <a:pt x="10919" y="1404"/>
                    <a:pt x="10607" y="1289"/>
                    <a:pt x="10491" y="1258"/>
                  </a:cubicBezTo>
                  <a:cubicBezTo>
                    <a:pt x="10376" y="1227"/>
                    <a:pt x="10304" y="1046"/>
                    <a:pt x="10304" y="1046"/>
                  </a:cubicBezTo>
                  <a:cubicBezTo>
                    <a:pt x="10304" y="1046"/>
                    <a:pt x="10222" y="1037"/>
                    <a:pt x="10044" y="1037"/>
                  </a:cubicBezTo>
                  <a:cubicBezTo>
                    <a:pt x="9866" y="1037"/>
                    <a:pt x="10001" y="997"/>
                    <a:pt x="9948" y="838"/>
                  </a:cubicBezTo>
                  <a:cubicBezTo>
                    <a:pt x="9895" y="679"/>
                    <a:pt x="9813" y="648"/>
                    <a:pt x="9705" y="648"/>
                  </a:cubicBezTo>
                  <a:cubicBezTo>
                    <a:pt x="9597" y="648"/>
                    <a:pt x="9705" y="412"/>
                    <a:pt x="9760" y="362"/>
                  </a:cubicBezTo>
                  <a:cubicBezTo>
                    <a:pt x="9782" y="342"/>
                    <a:pt x="9812" y="290"/>
                    <a:pt x="9841" y="235"/>
                  </a:cubicBezTo>
                  <a:cubicBezTo>
                    <a:pt x="9834" y="231"/>
                    <a:pt x="9823" y="229"/>
                    <a:pt x="9804" y="232"/>
                  </a:cubicBezTo>
                  <a:cubicBezTo>
                    <a:pt x="9774" y="237"/>
                    <a:pt x="9790" y="286"/>
                    <a:pt x="9741" y="300"/>
                  </a:cubicBezTo>
                  <a:cubicBezTo>
                    <a:pt x="9747" y="242"/>
                    <a:pt x="9750" y="180"/>
                    <a:pt x="9666" y="203"/>
                  </a:cubicBezTo>
                  <a:cubicBezTo>
                    <a:pt x="9620" y="215"/>
                    <a:pt x="9634" y="238"/>
                    <a:pt x="9605" y="262"/>
                  </a:cubicBezTo>
                  <a:cubicBezTo>
                    <a:pt x="9580" y="283"/>
                    <a:pt x="9555" y="322"/>
                    <a:pt x="9582" y="253"/>
                  </a:cubicBezTo>
                  <a:cubicBezTo>
                    <a:pt x="9616" y="166"/>
                    <a:pt x="9707" y="178"/>
                    <a:pt x="9799" y="166"/>
                  </a:cubicBezTo>
                  <a:lnTo>
                    <a:pt x="9663" y="148"/>
                  </a:lnTo>
                  <a:cubicBezTo>
                    <a:pt x="9622" y="138"/>
                    <a:pt x="9577" y="127"/>
                    <a:pt x="9537" y="148"/>
                  </a:cubicBezTo>
                  <a:cubicBezTo>
                    <a:pt x="9541" y="152"/>
                    <a:pt x="9551" y="151"/>
                    <a:pt x="9554" y="155"/>
                  </a:cubicBezTo>
                  <a:cubicBezTo>
                    <a:pt x="9495" y="165"/>
                    <a:pt x="9448" y="166"/>
                    <a:pt x="9442" y="201"/>
                  </a:cubicBezTo>
                  <a:cubicBezTo>
                    <a:pt x="9443" y="196"/>
                    <a:pt x="9458" y="294"/>
                    <a:pt x="9459" y="299"/>
                  </a:cubicBezTo>
                  <a:cubicBezTo>
                    <a:pt x="9464" y="321"/>
                    <a:pt x="9462" y="329"/>
                    <a:pt x="9467" y="346"/>
                  </a:cubicBezTo>
                  <a:cubicBezTo>
                    <a:pt x="9471" y="356"/>
                    <a:pt x="9511" y="352"/>
                    <a:pt x="9513" y="359"/>
                  </a:cubicBezTo>
                  <a:cubicBezTo>
                    <a:pt x="9518" y="373"/>
                    <a:pt x="9508" y="428"/>
                    <a:pt x="9504" y="451"/>
                  </a:cubicBezTo>
                  <a:cubicBezTo>
                    <a:pt x="9497" y="489"/>
                    <a:pt x="9514" y="541"/>
                    <a:pt x="9511" y="562"/>
                  </a:cubicBezTo>
                  <a:cubicBezTo>
                    <a:pt x="9505" y="613"/>
                    <a:pt x="9475" y="673"/>
                    <a:pt x="9567" y="690"/>
                  </a:cubicBezTo>
                  <a:cubicBezTo>
                    <a:pt x="9559" y="695"/>
                    <a:pt x="9549" y="701"/>
                    <a:pt x="9541" y="707"/>
                  </a:cubicBezTo>
                  <a:cubicBezTo>
                    <a:pt x="9556" y="712"/>
                    <a:pt x="9582" y="734"/>
                    <a:pt x="9595" y="739"/>
                  </a:cubicBezTo>
                  <a:cubicBezTo>
                    <a:pt x="9580" y="735"/>
                    <a:pt x="9546" y="734"/>
                    <a:pt x="9540" y="752"/>
                  </a:cubicBezTo>
                  <a:cubicBezTo>
                    <a:pt x="9521" y="810"/>
                    <a:pt x="9557" y="786"/>
                    <a:pt x="9561" y="802"/>
                  </a:cubicBezTo>
                  <a:cubicBezTo>
                    <a:pt x="9562" y="805"/>
                    <a:pt x="9594" y="808"/>
                    <a:pt x="9596" y="819"/>
                  </a:cubicBezTo>
                  <a:cubicBezTo>
                    <a:pt x="9597" y="825"/>
                    <a:pt x="9585" y="843"/>
                    <a:pt x="9583" y="837"/>
                  </a:cubicBezTo>
                  <a:cubicBezTo>
                    <a:pt x="9583" y="836"/>
                    <a:pt x="9512" y="831"/>
                    <a:pt x="9543" y="854"/>
                  </a:cubicBezTo>
                  <a:cubicBezTo>
                    <a:pt x="9612" y="906"/>
                    <a:pt x="9670" y="928"/>
                    <a:pt x="9768" y="905"/>
                  </a:cubicBezTo>
                  <a:cubicBezTo>
                    <a:pt x="9713" y="954"/>
                    <a:pt x="9430" y="882"/>
                    <a:pt x="9499" y="991"/>
                  </a:cubicBezTo>
                  <a:cubicBezTo>
                    <a:pt x="9467" y="990"/>
                    <a:pt x="9448" y="1010"/>
                    <a:pt x="9439" y="1037"/>
                  </a:cubicBezTo>
                  <a:cubicBezTo>
                    <a:pt x="9481" y="1054"/>
                    <a:pt x="9458" y="1107"/>
                    <a:pt x="9475" y="1144"/>
                  </a:cubicBezTo>
                  <a:cubicBezTo>
                    <a:pt x="9487" y="1169"/>
                    <a:pt x="9521" y="1200"/>
                    <a:pt x="9541" y="1220"/>
                  </a:cubicBezTo>
                  <a:cubicBezTo>
                    <a:pt x="9570" y="1248"/>
                    <a:pt x="9646" y="1328"/>
                    <a:pt x="9688" y="1332"/>
                  </a:cubicBezTo>
                  <a:cubicBezTo>
                    <a:pt x="9738" y="1337"/>
                    <a:pt x="9790" y="1286"/>
                    <a:pt x="9848" y="1298"/>
                  </a:cubicBezTo>
                  <a:cubicBezTo>
                    <a:pt x="9909" y="1311"/>
                    <a:pt x="9969" y="1334"/>
                    <a:pt x="10038" y="1344"/>
                  </a:cubicBezTo>
                  <a:cubicBezTo>
                    <a:pt x="9970" y="1386"/>
                    <a:pt x="9883" y="1326"/>
                    <a:pt x="9818" y="1330"/>
                  </a:cubicBezTo>
                  <a:cubicBezTo>
                    <a:pt x="9738" y="1335"/>
                    <a:pt x="9682" y="1393"/>
                    <a:pt x="9610" y="1407"/>
                  </a:cubicBezTo>
                  <a:cubicBezTo>
                    <a:pt x="9668" y="1424"/>
                    <a:pt x="9710" y="1447"/>
                    <a:pt x="9773" y="1448"/>
                  </a:cubicBezTo>
                  <a:cubicBezTo>
                    <a:pt x="9687" y="1491"/>
                    <a:pt x="9849" y="1554"/>
                    <a:pt x="9877" y="1578"/>
                  </a:cubicBezTo>
                  <a:cubicBezTo>
                    <a:pt x="9804" y="1582"/>
                    <a:pt x="9748" y="1533"/>
                    <a:pt x="9673" y="1536"/>
                  </a:cubicBezTo>
                  <a:cubicBezTo>
                    <a:pt x="9685" y="1559"/>
                    <a:pt x="9705" y="1599"/>
                    <a:pt x="9729" y="1616"/>
                  </a:cubicBezTo>
                  <a:cubicBezTo>
                    <a:pt x="9738" y="1623"/>
                    <a:pt x="9805" y="1636"/>
                    <a:pt x="9806" y="1642"/>
                  </a:cubicBezTo>
                  <a:cubicBezTo>
                    <a:pt x="9811" y="1664"/>
                    <a:pt x="9748" y="1662"/>
                    <a:pt x="9745" y="1687"/>
                  </a:cubicBezTo>
                  <a:cubicBezTo>
                    <a:pt x="9743" y="1707"/>
                    <a:pt x="9780" y="1739"/>
                    <a:pt x="9792" y="1754"/>
                  </a:cubicBezTo>
                  <a:cubicBezTo>
                    <a:pt x="9764" y="1742"/>
                    <a:pt x="9704" y="1684"/>
                    <a:pt x="9667" y="1705"/>
                  </a:cubicBezTo>
                  <a:cubicBezTo>
                    <a:pt x="9615" y="1734"/>
                    <a:pt x="9709" y="1772"/>
                    <a:pt x="9714" y="1778"/>
                  </a:cubicBezTo>
                  <a:cubicBezTo>
                    <a:pt x="9736" y="1807"/>
                    <a:pt x="9792" y="1913"/>
                    <a:pt x="9864" y="1902"/>
                  </a:cubicBezTo>
                  <a:cubicBezTo>
                    <a:pt x="9893" y="1898"/>
                    <a:pt x="9898" y="1857"/>
                    <a:pt x="9922" y="1846"/>
                  </a:cubicBezTo>
                  <a:cubicBezTo>
                    <a:pt x="9936" y="1839"/>
                    <a:pt x="9985" y="1838"/>
                    <a:pt x="10001" y="1837"/>
                  </a:cubicBezTo>
                  <a:cubicBezTo>
                    <a:pt x="10045" y="1835"/>
                    <a:pt x="10104" y="1823"/>
                    <a:pt x="10012" y="1863"/>
                  </a:cubicBezTo>
                  <a:cubicBezTo>
                    <a:pt x="9972" y="1880"/>
                    <a:pt x="9930" y="1854"/>
                    <a:pt x="9912" y="1896"/>
                  </a:cubicBezTo>
                  <a:cubicBezTo>
                    <a:pt x="9893" y="1939"/>
                    <a:pt x="9970" y="1938"/>
                    <a:pt x="9994" y="1953"/>
                  </a:cubicBezTo>
                  <a:cubicBezTo>
                    <a:pt x="9918" y="1991"/>
                    <a:pt x="9845" y="1904"/>
                    <a:pt x="9797" y="1998"/>
                  </a:cubicBezTo>
                  <a:cubicBezTo>
                    <a:pt x="9803" y="2010"/>
                    <a:pt x="9943" y="2060"/>
                    <a:pt x="9916" y="2080"/>
                  </a:cubicBezTo>
                  <a:cubicBezTo>
                    <a:pt x="9909" y="2085"/>
                    <a:pt x="9758" y="2059"/>
                    <a:pt x="9742" y="2052"/>
                  </a:cubicBezTo>
                  <a:cubicBezTo>
                    <a:pt x="9748" y="2077"/>
                    <a:pt x="9789" y="2092"/>
                    <a:pt x="9793" y="2109"/>
                  </a:cubicBezTo>
                  <a:cubicBezTo>
                    <a:pt x="9802" y="2149"/>
                    <a:pt x="9771" y="2189"/>
                    <a:pt x="9780" y="2230"/>
                  </a:cubicBezTo>
                  <a:cubicBezTo>
                    <a:pt x="9811" y="2224"/>
                    <a:pt x="9909" y="2174"/>
                    <a:pt x="9898" y="2219"/>
                  </a:cubicBezTo>
                  <a:cubicBezTo>
                    <a:pt x="9888" y="2259"/>
                    <a:pt x="9849" y="2257"/>
                    <a:pt x="9817" y="2272"/>
                  </a:cubicBezTo>
                  <a:cubicBezTo>
                    <a:pt x="9808" y="2276"/>
                    <a:pt x="9760" y="2281"/>
                    <a:pt x="9766" y="2276"/>
                  </a:cubicBezTo>
                  <a:cubicBezTo>
                    <a:pt x="9679" y="2351"/>
                    <a:pt x="9829" y="2439"/>
                    <a:pt x="9884" y="2469"/>
                  </a:cubicBezTo>
                  <a:cubicBezTo>
                    <a:pt x="9874" y="2464"/>
                    <a:pt x="9934" y="2470"/>
                    <a:pt x="9932" y="2470"/>
                  </a:cubicBezTo>
                  <a:cubicBezTo>
                    <a:pt x="9934" y="2470"/>
                    <a:pt x="10003" y="2492"/>
                    <a:pt x="10006" y="2494"/>
                  </a:cubicBezTo>
                  <a:cubicBezTo>
                    <a:pt x="10081" y="2540"/>
                    <a:pt x="10045" y="2562"/>
                    <a:pt x="10043" y="2634"/>
                  </a:cubicBezTo>
                  <a:cubicBezTo>
                    <a:pt x="10040" y="2719"/>
                    <a:pt x="10072" y="2667"/>
                    <a:pt x="10101" y="2718"/>
                  </a:cubicBezTo>
                  <a:cubicBezTo>
                    <a:pt x="10133" y="2777"/>
                    <a:pt x="10060" y="2838"/>
                    <a:pt x="10095" y="2895"/>
                  </a:cubicBezTo>
                  <a:cubicBezTo>
                    <a:pt x="10009" y="2875"/>
                    <a:pt x="10075" y="2836"/>
                    <a:pt x="10072" y="2803"/>
                  </a:cubicBezTo>
                  <a:cubicBezTo>
                    <a:pt x="10069" y="2766"/>
                    <a:pt x="10064" y="2762"/>
                    <a:pt x="10042" y="2726"/>
                  </a:cubicBezTo>
                  <a:cubicBezTo>
                    <a:pt x="10015" y="2681"/>
                    <a:pt x="10002" y="2679"/>
                    <a:pt x="9993" y="2621"/>
                  </a:cubicBezTo>
                  <a:cubicBezTo>
                    <a:pt x="9980" y="2543"/>
                    <a:pt x="9993" y="2555"/>
                    <a:pt x="9924" y="2531"/>
                  </a:cubicBezTo>
                  <a:cubicBezTo>
                    <a:pt x="9903" y="2524"/>
                    <a:pt x="9923" y="2493"/>
                    <a:pt x="9888" y="2503"/>
                  </a:cubicBezTo>
                  <a:cubicBezTo>
                    <a:pt x="9835" y="2519"/>
                    <a:pt x="9846" y="2502"/>
                    <a:pt x="9804" y="2488"/>
                  </a:cubicBezTo>
                  <a:cubicBezTo>
                    <a:pt x="9769" y="2478"/>
                    <a:pt x="9717" y="2445"/>
                    <a:pt x="9669" y="2434"/>
                  </a:cubicBezTo>
                  <a:cubicBezTo>
                    <a:pt x="9635" y="2426"/>
                    <a:pt x="9526" y="2392"/>
                    <a:pt x="9520" y="2421"/>
                  </a:cubicBezTo>
                  <a:cubicBezTo>
                    <a:pt x="9511" y="2466"/>
                    <a:pt x="9520" y="2506"/>
                    <a:pt x="9526" y="2549"/>
                  </a:cubicBezTo>
                  <a:cubicBezTo>
                    <a:pt x="9527" y="2555"/>
                    <a:pt x="9558" y="2546"/>
                    <a:pt x="9558" y="2563"/>
                  </a:cubicBezTo>
                  <a:cubicBezTo>
                    <a:pt x="9558" y="2578"/>
                    <a:pt x="9537" y="2593"/>
                    <a:pt x="9537" y="2597"/>
                  </a:cubicBezTo>
                  <a:cubicBezTo>
                    <a:pt x="9537" y="2617"/>
                    <a:pt x="9504" y="2600"/>
                    <a:pt x="9517" y="2631"/>
                  </a:cubicBezTo>
                  <a:cubicBezTo>
                    <a:pt x="9526" y="2651"/>
                    <a:pt x="9526" y="2666"/>
                    <a:pt x="9523" y="2686"/>
                  </a:cubicBezTo>
                  <a:cubicBezTo>
                    <a:pt x="9522" y="2694"/>
                    <a:pt x="9536" y="2756"/>
                    <a:pt x="9540" y="2767"/>
                  </a:cubicBezTo>
                  <a:cubicBezTo>
                    <a:pt x="9554" y="2808"/>
                    <a:pt x="9569" y="2880"/>
                    <a:pt x="9613" y="2887"/>
                  </a:cubicBezTo>
                  <a:cubicBezTo>
                    <a:pt x="9533" y="2956"/>
                    <a:pt x="9505" y="2909"/>
                    <a:pt x="9512" y="3032"/>
                  </a:cubicBezTo>
                  <a:cubicBezTo>
                    <a:pt x="9439" y="3051"/>
                    <a:pt x="9480" y="2969"/>
                    <a:pt x="9416" y="2981"/>
                  </a:cubicBezTo>
                  <a:cubicBezTo>
                    <a:pt x="9375" y="2989"/>
                    <a:pt x="9403" y="3054"/>
                    <a:pt x="9404" y="3088"/>
                  </a:cubicBezTo>
                  <a:cubicBezTo>
                    <a:pt x="9404" y="3101"/>
                    <a:pt x="9406" y="3160"/>
                    <a:pt x="9401" y="3169"/>
                  </a:cubicBezTo>
                  <a:cubicBezTo>
                    <a:pt x="9385" y="3200"/>
                    <a:pt x="9364" y="3183"/>
                    <a:pt x="9355" y="3195"/>
                  </a:cubicBezTo>
                  <a:cubicBezTo>
                    <a:pt x="9300" y="3270"/>
                    <a:pt x="9276" y="3375"/>
                    <a:pt x="9191" y="3440"/>
                  </a:cubicBezTo>
                  <a:cubicBezTo>
                    <a:pt x="9199" y="3482"/>
                    <a:pt x="9177" y="3526"/>
                    <a:pt x="9177" y="3571"/>
                  </a:cubicBezTo>
                  <a:cubicBezTo>
                    <a:pt x="9177" y="3625"/>
                    <a:pt x="9193" y="3652"/>
                    <a:pt x="9212" y="3697"/>
                  </a:cubicBezTo>
                  <a:cubicBezTo>
                    <a:pt x="9239" y="3759"/>
                    <a:pt x="9243" y="3828"/>
                    <a:pt x="9274" y="3897"/>
                  </a:cubicBezTo>
                  <a:cubicBezTo>
                    <a:pt x="9270" y="3894"/>
                    <a:pt x="9263" y="3891"/>
                    <a:pt x="9260" y="3886"/>
                  </a:cubicBezTo>
                  <a:cubicBezTo>
                    <a:pt x="9228" y="3835"/>
                    <a:pt x="9238" y="3791"/>
                    <a:pt x="9215" y="3741"/>
                  </a:cubicBezTo>
                  <a:cubicBezTo>
                    <a:pt x="9192" y="3690"/>
                    <a:pt x="9137" y="3663"/>
                    <a:pt x="9119" y="3607"/>
                  </a:cubicBezTo>
                  <a:cubicBezTo>
                    <a:pt x="9109" y="3577"/>
                    <a:pt x="9126" y="3553"/>
                    <a:pt x="9111" y="3523"/>
                  </a:cubicBezTo>
                  <a:cubicBezTo>
                    <a:pt x="9088" y="3478"/>
                    <a:pt x="9033" y="3481"/>
                    <a:pt x="9001" y="3444"/>
                  </a:cubicBezTo>
                  <a:cubicBezTo>
                    <a:pt x="8981" y="3422"/>
                    <a:pt x="8991" y="3309"/>
                    <a:pt x="8951" y="3302"/>
                  </a:cubicBezTo>
                  <a:cubicBezTo>
                    <a:pt x="8788" y="3273"/>
                    <a:pt x="8983" y="3512"/>
                    <a:pt x="8962" y="3579"/>
                  </a:cubicBezTo>
                  <a:cubicBezTo>
                    <a:pt x="8959" y="3590"/>
                    <a:pt x="8934" y="3611"/>
                    <a:pt x="8932" y="3628"/>
                  </a:cubicBezTo>
                  <a:cubicBezTo>
                    <a:pt x="8929" y="3655"/>
                    <a:pt x="8939" y="3679"/>
                    <a:pt x="8938" y="3707"/>
                  </a:cubicBezTo>
                  <a:cubicBezTo>
                    <a:pt x="8935" y="3756"/>
                    <a:pt x="8926" y="3812"/>
                    <a:pt x="8903" y="3855"/>
                  </a:cubicBezTo>
                  <a:cubicBezTo>
                    <a:pt x="8853" y="3736"/>
                    <a:pt x="8949" y="3655"/>
                    <a:pt x="8931" y="3542"/>
                  </a:cubicBezTo>
                  <a:cubicBezTo>
                    <a:pt x="8919" y="3468"/>
                    <a:pt x="8848" y="3460"/>
                    <a:pt x="8811" y="3400"/>
                  </a:cubicBezTo>
                  <a:cubicBezTo>
                    <a:pt x="8797" y="3377"/>
                    <a:pt x="8801" y="3343"/>
                    <a:pt x="8788" y="3323"/>
                  </a:cubicBezTo>
                  <a:cubicBezTo>
                    <a:pt x="8766" y="3290"/>
                    <a:pt x="8751" y="3306"/>
                    <a:pt x="8729" y="3283"/>
                  </a:cubicBezTo>
                  <a:cubicBezTo>
                    <a:pt x="8653" y="3203"/>
                    <a:pt x="8669" y="3296"/>
                    <a:pt x="8654" y="3326"/>
                  </a:cubicBezTo>
                  <a:cubicBezTo>
                    <a:pt x="8636" y="3360"/>
                    <a:pt x="8584" y="3326"/>
                    <a:pt x="8600" y="3404"/>
                  </a:cubicBezTo>
                  <a:cubicBezTo>
                    <a:pt x="8609" y="3449"/>
                    <a:pt x="8661" y="3496"/>
                    <a:pt x="8671" y="3545"/>
                  </a:cubicBezTo>
                  <a:cubicBezTo>
                    <a:pt x="8681" y="3590"/>
                    <a:pt x="8704" y="3642"/>
                    <a:pt x="8711" y="3684"/>
                  </a:cubicBezTo>
                  <a:cubicBezTo>
                    <a:pt x="8719" y="3736"/>
                    <a:pt x="8706" y="3766"/>
                    <a:pt x="8727" y="3821"/>
                  </a:cubicBezTo>
                  <a:cubicBezTo>
                    <a:pt x="8748" y="3878"/>
                    <a:pt x="8752" y="3897"/>
                    <a:pt x="8731" y="3956"/>
                  </a:cubicBezTo>
                  <a:cubicBezTo>
                    <a:pt x="8695" y="4057"/>
                    <a:pt x="8625" y="4081"/>
                    <a:pt x="8546" y="4158"/>
                  </a:cubicBezTo>
                  <a:cubicBezTo>
                    <a:pt x="8479" y="4222"/>
                    <a:pt x="8419" y="4289"/>
                    <a:pt x="8374" y="4368"/>
                  </a:cubicBezTo>
                  <a:cubicBezTo>
                    <a:pt x="8333" y="4442"/>
                    <a:pt x="8317" y="4532"/>
                    <a:pt x="8263" y="4602"/>
                  </a:cubicBezTo>
                  <a:cubicBezTo>
                    <a:pt x="8265" y="4583"/>
                    <a:pt x="8271" y="4564"/>
                    <a:pt x="8275" y="4545"/>
                  </a:cubicBezTo>
                  <a:cubicBezTo>
                    <a:pt x="8304" y="4371"/>
                    <a:pt x="8448" y="4208"/>
                    <a:pt x="8580" y="4092"/>
                  </a:cubicBezTo>
                  <a:cubicBezTo>
                    <a:pt x="8662" y="4022"/>
                    <a:pt x="8726" y="3963"/>
                    <a:pt x="8712" y="3851"/>
                  </a:cubicBezTo>
                  <a:cubicBezTo>
                    <a:pt x="8706" y="3802"/>
                    <a:pt x="8671" y="3741"/>
                    <a:pt x="8662" y="3689"/>
                  </a:cubicBezTo>
                  <a:cubicBezTo>
                    <a:pt x="8652" y="3634"/>
                    <a:pt x="8644" y="3578"/>
                    <a:pt x="8627" y="3523"/>
                  </a:cubicBezTo>
                  <a:cubicBezTo>
                    <a:pt x="8612" y="3477"/>
                    <a:pt x="8596" y="3431"/>
                    <a:pt x="8564" y="3392"/>
                  </a:cubicBezTo>
                  <a:cubicBezTo>
                    <a:pt x="8556" y="3382"/>
                    <a:pt x="8565" y="3353"/>
                    <a:pt x="8552" y="3345"/>
                  </a:cubicBezTo>
                  <a:cubicBezTo>
                    <a:pt x="8539" y="3338"/>
                    <a:pt x="8524" y="3360"/>
                    <a:pt x="8526" y="3361"/>
                  </a:cubicBezTo>
                  <a:cubicBezTo>
                    <a:pt x="8528" y="3362"/>
                    <a:pt x="8510" y="3384"/>
                    <a:pt x="8506" y="3382"/>
                  </a:cubicBezTo>
                  <a:cubicBezTo>
                    <a:pt x="8495" y="3377"/>
                    <a:pt x="8486" y="3346"/>
                    <a:pt x="8484" y="3345"/>
                  </a:cubicBezTo>
                  <a:cubicBezTo>
                    <a:pt x="8496" y="3349"/>
                    <a:pt x="8455" y="3308"/>
                    <a:pt x="8458" y="3312"/>
                  </a:cubicBezTo>
                  <a:cubicBezTo>
                    <a:pt x="8457" y="3310"/>
                    <a:pt x="8426" y="3323"/>
                    <a:pt x="8412" y="3308"/>
                  </a:cubicBezTo>
                  <a:cubicBezTo>
                    <a:pt x="8388" y="3284"/>
                    <a:pt x="8391" y="3253"/>
                    <a:pt x="8371" y="3229"/>
                  </a:cubicBezTo>
                  <a:cubicBezTo>
                    <a:pt x="8348" y="3202"/>
                    <a:pt x="8319" y="3176"/>
                    <a:pt x="8298" y="3151"/>
                  </a:cubicBezTo>
                  <a:cubicBezTo>
                    <a:pt x="8277" y="3126"/>
                    <a:pt x="8282" y="3100"/>
                    <a:pt x="8238" y="3086"/>
                  </a:cubicBezTo>
                  <a:cubicBezTo>
                    <a:pt x="8211" y="3078"/>
                    <a:pt x="8150" y="3091"/>
                    <a:pt x="8117" y="3087"/>
                  </a:cubicBezTo>
                  <a:cubicBezTo>
                    <a:pt x="8057" y="3078"/>
                    <a:pt x="8040" y="3068"/>
                    <a:pt x="7986" y="3078"/>
                  </a:cubicBezTo>
                  <a:cubicBezTo>
                    <a:pt x="7904" y="3093"/>
                    <a:pt x="7928" y="3121"/>
                    <a:pt x="7872" y="3163"/>
                  </a:cubicBezTo>
                  <a:cubicBezTo>
                    <a:pt x="7816" y="3204"/>
                    <a:pt x="7776" y="3172"/>
                    <a:pt x="7707" y="3204"/>
                  </a:cubicBezTo>
                  <a:cubicBezTo>
                    <a:pt x="7663" y="3225"/>
                    <a:pt x="7634" y="3256"/>
                    <a:pt x="7608" y="3279"/>
                  </a:cubicBezTo>
                  <a:cubicBezTo>
                    <a:pt x="7561" y="3323"/>
                    <a:pt x="7568" y="3336"/>
                    <a:pt x="7554" y="3388"/>
                  </a:cubicBezTo>
                  <a:cubicBezTo>
                    <a:pt x="7541" y="3438"/>
                    <a:pt x="7502" y="3463"/>
                    <a:pt x="7487" y="3502"/>
                  </a:cubicBezTo>
                  <a:cubicBezTo>
                    <a:pt x="7481" y="3521"/>
                    <a:pt x="7480" y="3545"/>
                    <a:pt x="7475" y="3560"/>
                  </a:cubicBezTo>
                  <a:cubicBezTo>
                    <a:pt x="7471" y="3571"/>
                    <a:pt x="7492" y="3589"/>
                    <a:pt x="7490" y="3601"/>
                  </a:cubicBezTo>
                  <a:cubicBezTo>
                    <a:pt x="7488" y="3614"/>
                    <a:pt x="7461" y="3613"/>
                    <a:pt x="7462" y="3612"/>
                  </a:cubicBezTo>
                  <a:cubicBezTo>
                    <a:pt x="7459" y="3627"/>
                    <a:pt x="7460" y="3760"/>
                    <a:pt x="7445" y="3769"/>
                  </a:cubicBezTo>
                  <a:cubicBezTo>
                    <a:pt x="7373" y="3815"/>
                    <a:pt x="7397" y="3644"/>
                    <a:pt x="7364" y="3639"/>
                  </a:cubicBezTo>
                  <a:cubicBezTo>
                    <a:pt x="7322" y="3633"/>
                    <a:pt x="7348" y="3682"/>
                    <a:pt x="7326" y="3682"/>
                  </a:cubicBezTo>
                  <a:cubicBezTo>
                    <a:pt x="7282" y="3680"/>
                    <a:pt x="7315" y="3657"/>
                    <a:pt x="7275" y="3632"/>
                  </a:cubicBezTo>
                  <a:cubicBezTo>
                    <a:pt x="7232" y="3605"/>
                    <a:pt x="7285" y="3607"/>
                    <a:pt x="7238" y="3619"/>
                  </a:cubicBezTo>
                  <a:cubicBezTo>
                    <a:pt x="7230" y="3621"/>
                    <a:pt x="7222" y="3664"/>
                    <a:pt x="7210" y="3671"/>
                  </a:cubicBezTo>
                  <a:cubicBezTo>
                    <a:pt x="7216" y="3668"/>
                    <a:pt x="7135" y="3676"/>
                    <a:pt x="7129" y="3676"/>
                  </a:cubicBezTo>
                  <a:cubicBezTo>
                    <a:pt x="7094" y="3681"/>
                    <a:pt x="7076" y="3671"/>
                    <a:pt x="7044" y="3691"/>
                  </a:cubicBezTo>
                  <a:cubicBezTo>
                    <a:pt x="7054" y="3640"/>
                    <a:pt x="7087" y="3679"/>
                    <a:pt x="7116" y="3652"/>
                  </a:cubicBezTo>
                  <a:cubicBezTo>
                    <a:pt x="7137" y="3633"/>
                    <a:pt x="7142" y="3604"/>
                    <a:pt x="7158" y="3588"/>
                  </a:cubicBezTo>
                  <a:cubicBezTo>
                    <a:pt x="7193" y="3551"/>
                    <a:pt x="7266" y="3537"/>
                    <a:pt x="7219" y="3468"/>
                  </a:cubicBezTo>
                  <a:cubicBezTo>
                    <a:pt x="7387" y="3558"/>
                    <a:pt x="7240" y="3347"/>
                    <a:pt x="7165" y="3367"/>
                  </a:cubicBezTo>
                  <a:cubicBezTo>
                    <a:pt x="7174" y="3321"/>
                    <a:pt x="7133" y="3293"/>
                    <a:pt x="7120" y="3252"/>
                  </a:cubicBezTo>
                  <a:cubicBezTo>
                    <a:pt x="7151" y="3261"/>
                    <a:pt x="7201" y="3297"/>
                    <a:pt x="7224" y="3310"/>
                  </a:cubicBezTo>
                  <a:cubicBezTo>
                    <a:pt x="7219" y="3302"/>
                    <a:pt x="7269" y="3300"/>
                    <a:pt x="7274" y="3302"/>
                  </a:cubicBezTo>
                  <a:cubicBezTo>
                    <a:pt x="7310" y="3308"/>
                    <a:pt x="7273" y="3379"/>
                    <a:pt x="7322" y="3336"/>
                  </a:cubicBezTo>
                  <a:cubicBezTo>
                    <a:pt x="7370" y="3380"/>
                    <a:pt x="7311" y="3437"/>
                    <a:pt x="7384" y="3474"/>
                  </a:cubicBezTo>
                  <a:cubicBezTo>
                    <a:pt x="7469" y="3517"/>
                    <a:pt x="7463" y="3448"/>
                    <a:pt x="7468" y="3405"/>
                  </a:cubicBezTo>
                  <a:cubicBezTo>
                    <a:pt x="7470" y="3386"/>
                    <a:pt x="7457" y="3358"/>
                    <a:pt x="7458" y="3339"/>
                  </a:cubicBezTo>
                  <a:cubicBezTo>
                    <a:pt x="7458" y="3340"/>
                    <a:pt x="7495" y="3349"/>
                    <a:pt x="7489" y="3309"/>
                  </a:cubicBezTo>
                  <a:cubicBezTo>
                    <a:pt x="7479" y="3250"/>
                    <a:pt x="7383" y="3177"/>
                    <a:pt x="7355" y="3121"/>
                  </a:cubicBezTo>
                  <a:cubicBezTo>
                    <a:pt x="7401" y="3162"/>
                    <a:pt x="7402" y="3156"/>
                    <a:pt x="7422" y="3122"/>
                  </a:cubicBezTo>
                  <a:cubicBezTo>
                    <a:pt x="7449" y="3075"/>
                    <a:pt x="7440" y="3052"/>
                    <a:pt x="7382" y="3054"/>
                  </a:cubicBezTo>
                  <a:cubicBezTo>
                    <a:pt x="7337" y="3055"/>
                    <a:pt x="7327" y="3089"/>
                    <a:pt x="7302" y="3075"/>
                  </a:cubicBezTo>
                  <a:cubicBezTo>
                    <a:pt x="7262" y="3053"/>
                    <a:pt x="7249" y="2984"/>
                    <a:pt x="7277" y="2951"/>
                  </a:cubicBezTo>
                  <a:cubicBezTo>
                    <a:pt x="7299" y="2924"/>
                    <a:pt x="7381" y="2955"/>
                    <a:pt x="7345" y="2911"/>
                  </a:cubicBezTo>
                  <a:cubicBezTo>
                    <a:pt x="7295" y="2850"/>
                    <a:pt x="7386" y="2905"/>
                    <a:pt x="7403" y="2889"/>
                  </a:cubicBezTo>
                  <a:cubicBezTo>
                    <a:pt x="7449" y="2847"/>
                    <a:pt x="7347" y="2690"/>
                    <a:pt x="7291" y="2800"/>
                  </a:cubicBezTo>
                  <a:cubicBezTo>
                    <a:pt x="7249" y="2674"/>
                    <a:pt x="7142" y="2877"/>
                    <a:pt x="7119" y="2892"/>
                  </a:cubicBezTo>
                  <a:cubicBezTo>
                    <a:pt x="7071" y="2922"/>
                    <a:pt x="7031" y="2910"/>
                    <a:pt x="7029" y="2865"/>
                  </a:cubicBezTo>
                  <a:cubicBezTo>
                    <a:pt x="7027" y="2805"/>
                    <a:pt x="7090" y="2845"/>
                    <a:pt x="7038" y="2768"/>
                  </a:cubicBezTo>
                  <a:cubicBezTo>
                    <a:pt x="7005" y="2720"/>
                    <a:pt x="6933" y="2720"/>
                    <a:pt x="6913" y="2687"/>
                  </a:cubicBezTo>
                  <a:cubicBezTo>
                    <a:pt x="6897" y="2659"/>
                    <a:pt x="6922" y="2599"/>
                    <a:pt x="6934" y="2574"/>
                  </a:cubicBezTo>
                  <a:cubicBezTo>
                    <a:pt x="6951" y="2536"/>
                    <a:pt x="6979" y="2536"/>
                    <a:pt x="6979" y="2490"/>
                  </a:cubicBezTo>
                  <a:cubicBezTo>
                    <a:pt x="6978" y="2416"/>
                    <a:pt x="6914" y="2425"/>
                    <a:pt x="6865" y="2383"/>
                  </a:cubicBezTo>
                  <a:cubicBezTo>
                    <a:pt x="6910" y="2333"/>
                    <a:pt x="6843" y="2318"/>
                    <a:pt x="6815" y="2278"/>
                  </a:cubicBezTo>
                  <a:cubicBezTo>
                    <a:pt x="6804" y="2263"/>
                    <a:pt x="6819" y="2222"/>
                    <a:pt x="6811" y="2215"/>
                  </a:cubicBezTo>
                  <a:cubicBezTo>
                    <a:pt x="6784" y="2191"/>
                    <a:pt x="6698" y="2209"/>
                    <a:pt x="6660" y="2204"/>
                  </a:cubicBezTo>
                  <a:cubicBezTo>
                    <a:pt x="6725" y="2080"/>
                    <a:pt x="6459" y="2252"/>
                    <a:pt x="6422" y="2256"/>
                  </a:cubicBezTo>
                  <a:cubicBezTo>
                    <a:pt x="6260" y="2277"/>
                    <a:pt x="6153" y="2361"/>
                    <a:pt x="5987" y="2377"/>
                  </a:cubicBezTo>
                  <a:cubicBezTo>
                    <a:pt x="5910" y="2380"/>
                    <a:pt x="5826" y="2375"/>
                    <a:pt x="5751" y="2391"/>
                  </a:cubicBezTo>
                  <a:cubicBezTo>
                    <a:pt x="5779" y="2353"/>
                    <a:pt x="5988" y="2340"/>
                    <a:pt x="6046" y="2342"/>
                  </a:cubicBezTo>
                  <a:cubicBezTo>
                    <a:pt x="6096" y="2344"/>
                    <a:pt x="6260" y="2266"/>
                    <a:pt x="6212" y="2241"/>
                  </a:cubicBezTo>
                  <a:cubicBezTo>
                    <a:pt x="6279" y="2222"/>
                    <a:pt x="6335" y="2213"/>
                    <a:pt x="6401" y="2185"/>
                  </a:cubicBezTo>
                  <a:cubicBezTo>
                    <a:pt x="6434" y="2170"/>
                    <a:pt x="6570" y="2149"/>
                    <a:pt x="6582" y="2130"/>
                  </a:cubicBezTo>
                  <a:cubicBezTo>
                    <a:pt x="6612" y="2082"/>
                    <a:pt x="6478" y="2107"/>
                    <a:pt x="6520" y="2043"/>
                  </a:cubicBezTo>
                  <a:cubicBezTo>
                    <a:pt x="6524" y="2037"/>
                    <a:pt x="6590" y="2020"/>
                    <a:pt x="6599" y="2012"/>
                  </a:cubicBezTo>
                  <a:cubicBezTo>
                    <a:pt x="6623" y="1992"/>
                    <a:pt x="6633" y="2001"/>
                    <a:pt x="6634" y="1975"/>
                  </a:cubicBezTo>
                  <a:cubicBezTo>
                    <a:pt x="6637" y="1935"/>
                    <a:pt x="6593" y="1873"/>
                    <a:pt x="6569" y="1841"/>
                  </a:cubicBezTo>
                  <a:cubicBezTo>
                    <a:pt x="6528" y="1786"/>
                    <a:pt x="6474" y="1790"/>
                    <a:pt x="6426" y="1746"/>
                  </a:cubicBezTo>
                  <a:cubicBezTo>
                    <a:pt x="6391" y="1714"/>
                    <a:pt x="6399" y="1635"/>
                    <a:pt x="6337" y="1613"/>
                  </a:cubicBezTo>
                  <a:cubicBezTo>
                    <a:pt x="6343" y="1615"/>
                    <a:pt x="6228" y="1507"/>
                    <a:pt x="6228" y="1504"/>
                  </a:cubicBezTo>
                  <a:cubicBezTo>
                    <a:pt x="6227" y="1452"/>
                    <a:pt x="6316" y="1461"/>
                    <a:pt x="6290" y="1384"/>
                  </a:cubicBezTo>
                  <a:cubicBezTo>
                    <a:pt x="6283" y="1366"/>
                    <a:pt x="6230" y="1338"/>
                    <a:pt x="6220" y="1310"/>
                  </a:cubicBezTo>
                  <a:cubicBezTo>
                    <a:pt x="6207" y="1272"/>
                    <a:pt x="6218" y="1296"/>
                    <a:pt x="6224" y="1256"/>
                  </a:cubicBezTo>
                  <a:cubicBezTo>
                    <a:pt x="6232" y="1190"/>
                    <a:pt x="6269" y="1169"/>
                    <a:pt x="6302" y="1115"/>
                  </a:cubicBezTo>
                  <a:cubicBezTo>
                    <a:pt x="6343" y="1049"/>
                    <a:pt x="6328" y="1062"/>
                    <a:pt x="6291" y="997"/>
                  </a:cubicBezTo>
                  <a:cubicBezTo>
                    <a:pt x="6258" y="938"/>
                    <a:pt x="6251" y="928"/>
                    <a:pt x="6190" y="884"/>
                  </a:cubicBezTo>
                  <a:cubicBezTo>
                    <a:pt x="6165" y="866"/>
                    <a:pt x="6109" y="790"/>
                    <a:pt x="6083" y="786"/>
                  </a:cubicBezTo>
                  <a:cubicBezTo>
                    <a:pt x="5999" y="771"/>
                    <a:pt x="6001" y="860"/>
                    <a:pt x="6016" y="904"/>
                  </a:cubicBezTo>
                  <a:cubicBezTo>
                    <a:pt x="6032" y="951"/>
                    <a:pt x="6090" y="977"/>
                    <a:pt x="6102" y="1014"/>
                  </a:cubicBezTo>
                  <a:cubicBezTo>
                    <a:pt x="6118" y="1063"/>
                    <a:pt x="6101" y="1043"/>
                    <a:pt x="6071" y="1059"/>
                  </a:cubicBezTo>
                  <a:cubicBezTo>
                    <a:pt x="6038" y="1079"/>
                    <a:pt x="6059" y="1006"/>
                    <a:pt x="6002" y="1065"/>
                  </a:cubicBezTo>
                  <a:cubicBezTo>
                    <a:pt x="5976" y="1092"/>
                    <a:pt x="5922" y="1202"/>
                    <a:pt x="5996" y="1142"/>
                  </a:cubicBezTo>
                  <a:cubicBezTo>
                    <a:pt x="6048" y="1240"/>
                    <a:pt x="5859" y="1170"/>
                    <a:pt x="5814" y="1159"/>
                  </a:cubicBezTo>
                  <a:cubicBezTo>
                    <a:pt x="5827" y="1130"/>
                    <a:pt x="5799" y="1088"/>
                    <a:pt x="5775" y="1059"/>
                  </a:cubicBezTo>
                  <a:cubicBezTo>
                    <a:pt x="5763" y="1044"/>
                    <a:pt x="5758" y="1031"/>
                    <a:pt x="5748" y="1015"/>
                  </a:cubicBezTo>
                  <a:cubicBezTo>
                    <a:pt x="5758" y="1030"/>
                    <a:pt x="5689" y="958"/>
                    <a:pt x="5713" y="972"/>
                  </a:cubicBezTo>
                  <a:cubicBezTo>
                    <a:pt x="5674" y="949"/>
                    <a:pt x="5623" y="968"/>
                    <a:pt x="5565" y="1006"/>
                  </a:cubicBezTo>
                  <a:cubicBezTo>
                    <a:pt x="5537" y="1024"/>
                    <a:pt x="5497" y="1052"/>
                    <a:pt x="5537" y="1084"/>
                  </a:cubicBezTo>
                  <a:cubicBezTo>
                    <a:pt x="5488" y="1060"/>
                    <a:pt x="5408" y="1106"/>
                    <a:pt x="5479" y="1134"/>
                  </a:cubicBezTo>
                  <a:cubicBezTo>
                    <a:pt x="5392" y="1176"/>
                    <a:pt x="5388" y="1103"/>
                    <a:pt x="5309" y="1112"/>
                  </a:cubicBezTo>
                  <a:cubicBezTo>
                    <a:pt x="5302" y="1113"/>
                    <a:pt x="5312" y="1155"/>
                    <a:pt x="5259" y="1157"/>
                  </a:cubicBezTo>
                  <a:cubicBezTo>
                    <a:pt x="5218" y="1159"/>
                    <a:pt x="5196" y="1130"/>
                    <a:pt x="5162" y="1130"/>
                  </a:cubicBezTo>
                  <a:cubicBezTo>
                    <a:pt x="5115" y="1129"/>
                    <a:pt x="5051" y="1152"/>
                    <a:pt x="5014" y="1176"/>
                  </a:cubicBezTo>
                  <a:cubicBezTo>
                    <a:pt x="4982" y="1197"/>
                    <a:pt x="4975" y="1136"/>
                    <a:pt x="4963" y="1136"/>
                  </a:cubicBezTo>
                  <a:cubicBezTo>
                    <a:pt x="4929" y="1140"/>
                    <a:pt x="4878" y="1201"/>
                    <a:pt x="4888" y="1224"/>
                  </a:cubicBezTo>
                  <a:cubicBezTo>
                    <a:pt x="4863" y="1200"/>
                    <a:pt x="4832" y="1188"/>
                    <a:pt x="4800" y="1174"/>
                  </a:cubicBezTo>
                  <a:cubicBezTo>
                    <a:pt x="4745" y="1149"/>
                    <a:pt x="4777" y="1130"/>
                    <a:pt x="4746" y="1189"/>
                  </a:cubicBezTo>
                  <a:cubicBezTo>
                    <a:pt x="4747" y="1187"/>
                    <a:pt x="4810" y="1239"/>
                    <a:pt x="4752" y="1236"/>
                  </a:cubicBezTo>
                  <a:cubicBezTo>
                    <a:pt x="4717" y="1235"/>
                    <a:pt x="4735" y="1129"/>
                    <a:pt x="4682" y="1198"/>
                  </a:cubicBezTo>
                  <a:cubicBezTo>
                    <a:pt x="4665" y="1098"/>
                    <a:pt x="4635" y="1167"/>
                    <a:pt x="4569" y="1121"/>
                  </a:cubicBezTo>
                  <a:cubicBezTo>
                    <a:pt x="4563" y="1117"/>
                    <a:pt x="4585" y="1077"/>
                    <a:pt x="4556" y="1058"/>
                  </a:cubicBezTo>
                  <a:cubicBezTo>
                    <a:pt x="4536" y="1044"/>
                    <a:pt x="4484" y="1053"/>
                    <a:pt x="4458" y="1048"/>
                  </a:cubicBezTo>
                  <a:cubicBezTo>
                    <a:pt x="4541" y="1021"/>
                    <a:pt x="4530" y="997"/>
                    <a:pt x="4582" y="946"/>
                  </a:cubicBezTo>
                  <a:cubicBezTo>
                    <a:pt x="4555" y="952"/>
                    <a:pt x="4427" y="1012"/>
                    <a:pt x="4409" y="998"/>
                  </a:cubicBezTo>
                  <a:cubicBezTo>
                    <a:pt x="4377" y="973"/>
                    <a:pt x="4435" y="963"/>
                    <a:pt x="4432" y="935"/>
                  </a:cubicBezTo>
                  <a:cubicBezTo>
                    <a:pt x="4430" y="909"/>
                    <a:pt x="4410" y="869"/>
                    <a:pt x="4359" y="856"/>
                  </a:cubicBezTo>
                  <a:cubicBezTo>
                    <a:pt x="4413" y="823"/>
                    <a:pt x="4572" y="751"/>
                    <a:pt x="4467" y="715"/>
                  </a:cubicBezTo>
                  <a:cubicBezTo>
                    <a:pt x="4470" y="699"/>
                    <a:pt x="4431" y="685"/>
                    <a:pt x="4397" y="677"/>
                  </a:cubicBezTo>
                  <a:cubicBezTo>
                    <a:pt x="4303" y="656"/>
                    <a:pt x="4242" y="677"/>
                    <a:pt x="4218" y="751"/>
                  </a:cubicBezTo>
                  <a:cubicBezTo>
                    <a:pt x="4202" y="803"/>
                    <a:pt x="4236" y="803"/>
                    <a:pt x="4188" y="846"/>
                  </a:cubicBezTo>
                  <a:cubicBezTo>
                    <a:pt x="4145" y="887"/>
                    <a:pt x="4075" y="876"/>
                    <a:pt x="4047" y="932"/>
                  </a:cubicBezTo>
                  <a:cubicBezTo>
                    <a:pt x="3994" y="819"/>
                    <a:pt x="4239" y="860"/>
                    <a:pt x="4172" y="729"/>
                  </a:cubicBezTo>
                  <a:cubicBezTo>
                    <a:pt x="4165" y="714"/>
                    <a:pt x="4093" y="675"/>
                    <a:pt x="4075" y="672"/>
                  </a:cubicBezTo>
                  <a:cubicBezTo>
                    <a:pt x="4034" y="666"/>
                    <a:pt x="4031" y="719"/>
                    <a:pt x="3995" y="698"/>
                  </a:cubicBezTo>
                  <a:cubicBezTo>
                    <a:pt x="3963" y="678"/>
                    <a:pt x="3992" y="670"/>
                    <a:pt x="3986" y="653"/>
                  </a:cubicBezTo>
                  <a:cubicBezTo>
                    <a:pt x="3979" y="634"/>
                    <a:pt x="4017" y="634"/>
                    <a:pt x="4012" y="618"/>
                  </a:cubicBezTo>
                  <a:cubicBezTo>
                    <a:pt x="4009" y="607"/>
                    <a:pt x="3970" y="604"/>
                    <a:pt x="3961" y="596"/>
                  </a:cubicBezTo>
                  <a:cubicBezTo>
                    <a:pt x="3892" y="541"/>
                    <a:pt x="3849" y="566"/>
                    <a:pt x="3751" y="568"/>
                  </a:cubicBezTo>
                  <a:cubicBezTo>
                    <a:pt x="3686" y="570"/>
                    <a:pt x="3625" y="546"/>
                    <a:pt x="3646" y="626"/>
                  </a:cubicBezTo>
                  <a:cubicBezTo>
                    <a:pt x="3656" y="664"/>
                    <a:pt x="3705" y="690"/>
                    <a:pt x="3722" y="723"/>
                  </a:cubicBezTo>
                  <a:cubicBezTo>
                    <a:pt x="3686" y="714"/>
                    <a:pt x="3653" y="697"/>
                    <a:pt x="3637" y="665"/>
                  </a:cubicBezTo>
                  <a:cubicBezTo>
                    <a:pt x="3631" y="689"/>
                    <a:pt x="3614" y="715"/>
                    <a:pt x="3602" y="733"/>
                  </a:cubicBezTo>
                  <a:cubicBezTo>
                    <a:pt x="3587" y="681"/>
                    <a:pt x="3607" y="602"/>
                    <a:pt x="3603" y="560"/>
                  </a:cubicBezTo>
                  <a:cubicBezTo>
                    <a:pt x="3599" y="508"/>
                    <a:pt x="3598" y="477"/>
                    <a:pt x="3567" y="427"/>
                  </a:cubicBezTo>
                  <a:cubicBezTo>
                    <a:pt x="3547" y="397"/>
                    <a:pt x="3532" y="350"/>
                    <a:pt x="3472" y="357"/>
                  </a:cubicBezTo>
                  <a:cubicBezTo>
                    <a:pt x="3400" y="366"/>
                    <a:pt x="3449" y="420"/>
                    <a:pt x="3375" y="423"/>
                  </a:cubicBezTo>
                  <a:cubicBezTo>
                    <a:pt x="3369" y="423"/>
                    <a:pt x="3282" y="391"/>
                    <a:pt x="3269" y="386"/>
                  </a:cubicBezTo>
                  <a:cubicBezTo>
                    <a:pt x="3243" y="378"/>
                    <a:pt x="3214" y="365"/>
                    <a:pt x="3193" y="359"/>
                  </a:cubicBezTo>
                  <a:cubicBezTo>
                    <a:pt x="3165" y="350"/>
                    <a:pt x="3132" y="354"/>
                    <a:pt x="3106" y="337"/>
                  </a:cubicBezTo>
                  <a:cubicBezTo>
                    <a:pt x="3081" y="321"/>
                    <a:pt x="3079" y="283"/>
                    <a:pt x="3058" y="272"/>
                  </a:cubicBezTo>
                  <a:cubicBezTo>
                    <a:pt x="2982" y="229"/>
                    <a:pt x="2875" y="274"/>
                    <a:pt x="2799" y="255"/>
                  </a:cubicBezTo>
                  <a:cubicBezTo>
                    <a:pt x="2733" y="239"/>
                    <a:pt x="2720" y="158"/>
                    <a:pt x="2649" y="211"/>
                  </a:cubicBezTo>
                  <a:cubicBezTo>
                    <a:pt x="2552" y="283"/>
                    <a:pt x="2590" y="307"/>
                    <a:pt x="2549" y="387"/>
                  </a:cubicBezTo>
                  <a:cubicBezTo>
                    <a:pt x="2523" y="439"/>
                    <a:pt x="2450" y="477"/>
                    <a:pt x="2409" y="521"/>
                  </a:cubicBezTo>
                  <a:cubicBezTo>
                    <a:pt x="2376" y="556"/>
                    <a:pt x="2370" y="608"/>
                    <a:pt x="2329" y="644"/>
                  </a:cubicBezTo>
                  <a:cubicBezTo>
                    <a:pt x="2271" y="694"/>
                    <a:pt x="2108" y="707"/>
                    <a:pt x="2189" y="787"/>
                  </a:cubicBezTo>
                  <a:cubicBezTo>
                    <a:pt x="2221" y="819"/>
                    <a:pt x="2299" y="821"/>
                    <a:pt x="2340" y="837"/>
                  </a:cubicBezTo>
                  <a:cubicBezTo>
                    <a:pt x="2237" y="862"/>
                    <a:pt x="2169" y="806"/>
                    <a:pt x="2086" y="776"/>
                  </a:cubicBezTo>
                  <a:cubicBezTo>
                    <a:pt x="2019" y="751"/>
                    <a:pt x="1936" y="721"/>
                    <a:pt x="1913" y="820"/>
                  </a:cubicBezTo>
                  <a:cubicBezTo>
                    <a:pt x="1865" y="672"/>
                    <a:pt x="1691" y="807"/>
                    <a:pt x="1639" y="881"/>
                  </a:cubicBezTo>
                  <a:cubicBezTo>
                    <a:pt x="1600" y="938"/>
                    <a:pt x="1555" y="1040"/>
                    <a:pt x="1493" y="1066"/>
                  </a:cubicBezTo>
                  <a:cubicBezTo>
                    <a:pt x="1490" y="1006"/>
                    <a:pt x="1605" y="935"/>
                    <a:pt x="1602" y="891"/>
                  </a:cubicBezTo>
                  <a:cubicBezTo>
                    <a:pt x="1600" y="852"/>
                    <a:pt x="1275" y="865"/>
                    <a:pt x="1217" y="864"/>
                  </a:cubicBezTo>
                  <a:cubicBezTo>
                    <a:pt x="1080" y="861"/>
                    <a:pt x="943" y="850"/>
                    <a:pt x="814" y="842"/>
                  </a:cubicBezTo>
                  <a:cubicBezTo>
                    <a:pt x="660" y="833"/>
                    <a:pt x="523" y="878"/>
                    <a:pt x="375" y="895"/>
                  </a:cubicBezTo>
                  <a:cubicBezTo>
                    <a:pt x="311" y="903"/>
                    <a:pt x="323" y="846"/>
                    <a:pt x="272" y="916"/>
                  </a:cubicBezTo>
                  <a:cubicBezTo>
                    <a:pt x="221" y="986"/>
                    <a:pt x="175" y="1060"/>
                    <a:pt x="126" y="1132"/>
                  </a:cubicBezTo>
                  <a:cubicBezTo>
                    <a:pt x="54" y="1237"/>
                    <a:pt x="25" y="1273"/>
                    <a:pt x="0" y="1402"/>
                  </a:cubicBezTo>
                  <a:cubicBezTo>
                    <a:pt x="36" y="1486"/>
                    <a:pt x="64" y="1567"/>
                    <a:pt x="103" y="1649"/>
                  </a:cubicBezTo>
                  <a:cubicBezTo>
                    <a:pt x="132" y="1713"/>
                    <a:pt x="173" y="1757"/>
                    <a:pt x="207" y="1817"/>
                  </a:cubicBezTo>
                  <a:cubicBezTo>
                    <a:pt x="241" y="1876"/>
                    <a:pt x="421" y="2211"/>
                    <a:pt x="507" y="2052"/>
                  </a:cubicBezTo>
                  <a:cubicBezTo>
                    <a:pt x="530" y="2075"/>
                    <a:pt x="570" y="2138"/>
                    <a:pt x="604" y="2148"/>
                  </a:cubicBezTo>
                  <a:cubicBezTo>
                    <a:pt x="631" y="2156"/>
                    <a:pt x="723" y="2096"/>
                    <a:pt x="666" y="2160"/>
                  </a:cubicBezTo>
                  <a:cubicBezTo>
                    <a:pt x="691" y="2162"/>
                    <a:pt x="743" y="2152"/>
                    <a:pt x="766" y="2167"/>
                  </a:cubicBezTo>
                  <a:cubicBezTo>
                    <a:pt x="816" y="2199"/>
                    <a:pt x="714" y="2183"/>
                    <a:pt x="707" y="2189"/>
                  </a:cubicBezTo>
                  <a:cubicBezTo>
                    <a:pt x="696" y="2197"/>
                    <a:pt x="656" y="2200"/>
                    <a:pt x="664" y="2230"/>
                  </a:cubicBezTo>
                  <a:cubicBezTo>
                    <a:pt x="675" y="2267"/>
                    <a:pt x="738" y="2243"/>
                    <a:pt x="751" y="2263"/>
                  </a:cubicBezTo>
                  <a:cubicBezTo>
                    <a:pt x="780" y="2304"/>
                    <a:pt x="735" y="2289"/>
                    <a:pt x="708" y="2316"/>
                  </a:cubicBezTo>
                  <a:cubicBezTo>
                    <a:pt x="701" y="2323"/>
                    <a:pt x="702" y="2362"/>
                    <a:pt x="703" y="2362"/>
                  </a:cubicBezTo>
                  <a:cubicBezTo>
                    <a:pt x="705" y="2361"/>
                    <a:pt x="665" y="2368"/>
                    <a:pt x="674" y="2357"/>
                  </a:cubicBezTo>
                  <a:cubicBezTo>
                    <a:pt x="659" y="2374"/>
                    <a:pt x="616" y="2318"/>
                    <a:pt x="661" y="2421"/>
                  </a:cubicBezTo>
                  <a:cubicBezTo>
                    <a:pt x="690" y="2486"/>
                    <a:pt x="725" y="2555"/>
                    <a:pt x="760" y="2618"/>
                  </a:cubicBezTo>
                  <a:cubicBezTo>
                    <a:pt x="771" y="2637"/>
                    <a:pt x="800" y="2617"/>
                    <a:pt x="805" y="2644"/>
                  </a:cubicBezTo>
                  <a:cubicBezTo>
                    <a:pt x="808" y="2661"/>
                    <a:pt x="787" y="2674"/>
                    <a:pt x="788" y="2680"/>
                  </a:cubicBezTo>
                  <a:cubicBezTo>
                    <a:pt x="790" y="2709"/>
                    <a:pt x="766" y="2726"/>
                    <a:pt x="781" y="2764"/>
                  </a:cubicBezTo>
                  <a:cubicBezTo>
                    <a:pt x="811" y="2837"/>
                    <a:pt x="783" y="2853"/>
                    <a:pt x="752" y="2911"/>
                  </a:cubicBezTo>
                  <a:cubicBezTo>
                    <a:pt x="720" y="2975"/>
                    <a:pt x="674" y="3090"/>
                    <a:pt x="668" y="3153"/>
                  </a:cubicBezTo>
                  <a:cubicBezTo>
                    <a:pt x="652" y="3343"/>
                    <a:pt x="774" y="3164"/>
                    <a:pt x="865" y="3153"/>
                  </a:cubicBezTo>
                  <a:cubicBezTo>
                    <a:pt x="854" y="3167"/>
                    <a:pt x="847" y="3191"/>
                    <a:pt x="833" y="3205"/>
                  </a:cubicBezTo>
                  <a:cubicBezTo>
                    <a:pt x="877" y="3182"/>
                    <a:pt x="906" y="3189"/>
                    <a:pt x="898" y="3239"/>
                  </a:cubicBezTo>
                  <a:cubicBezTo>
                    <a:pt x="945" y="3182"/>
                    <a:pt x="1030" y="3094"/>
                    <a:pt x="1100" y="3064"/>
                  </a:cubicBezTo>
                  <a:cubicBezTo>
                    <a:pt x="1073" y="3114"/>
                    <a:pt x="1015" y="3145"/>
                    <a:pt x="989" y="3196"/>
                  </a:cubicBezTo>
                  <a:cubicBezTo>
                    <a:pt x="1158" y="3080"/>
                    <a:pt x="983" y="3329"/>
                    <a:pt x="988" y="3357"/>
                  </a:cubicBezTo>
                  <a:cubicBezTo>
                    <a:pt x="998" y="3410"/>
                    <a:pt x="1121" y="3442"/>
                    <a:pt x="1162" y="3434"/>
                  </a:cubicBezTo>
                  <a:cubicBezTo>
                    <a:pt x="1212" y="3423"/>
                    <a:pt x="1233" y="3356"/>
                    <a:pt x="1303" y="3398"/>
                  </a:cubicBezTo>
                  <a:cubicBezTo>
                    <a:pt x="1294" y="3402"/>
                    <a:pt x="1237" y="3417"/>
                    <a:pt x="1233" y="3423"/>
                  </a:cubicBezTo>
                  <a:cubicBezTo>
                    <a:pt x="1221" y="3440"/>
                    <a:pt x="1233" y="3463"/>
                    <a:pt x="1225" y="3475"/>
                  </a:cubicBezTo>
                  <a:cubicBezTo>
                    <a:pt x="1202" y="3508"/>
                    <a:pt x="1164" y="3534"/>
                    <a:pt x="1157" y="3577"/>
                  </a:cubicBezTo>
                  <a:cubicBezTo>
                    <a:pt x="1143" y="3661"/>
                    <a:pt x="1187" y="3633"/>
                    <a:pt x="1246" y="3675"/>
                  </a:cubicBezTo>
                  <a:cubicBezTo>
                    <a:pt x="1290" y="3706"/>
                    <a:pt x="1295" y="3804"/>
                    <a:pt x="1342" y="3749"/>
                  </a:cubicBezTo>
                  <a:cubicBezTo>
                    <a:pt x="1350" y="3788"/>
                    <a:pt x="1477" y="3816"/>
                    <a:pt x="1383" y="3847"/>
                  </a:cubicBezTo>
                  <a:cubicBezTo>
                    <a:pt x="1408" y="3862"/>
                    <a:pt x="1490" y="3881"/>
                    <a:pt x="1493" y="3906"/>
                  </a:cubicBezTo>
                  <a:cubicBezTo>
                    <a:pt x="1495" y="3924"/>
                    <a:pt x="1450" y="3927"/>
                    <a:pt x="1444" y="3938"/>
                  </a:cubicBezTo>
                  <a:cubicBezTo>
                    <a:pt x="1439" y="3947"/>
                    <a:pt x="1410" y="3950"/>
                    <a:pt x="1401" y="3974"/>
                  </a:cubicBezTo>
                  <a:cubicBezTo>
                    <a:pt x="1398" y="3981"/>
                    <a:pt x="1411" y="4004"/>
                    <a:pt x="1404" y="4023"/>
                  </a:cubicBezTo>
                  <a:cubicBezTo>
                    <a:pt x="1463" y="4026"/>
                    <a:pt x="1636" y="3992"/>
                    <a:pt x="1681" y="3956"/>
                  </a:cubicBezTo>
                  <a:cubicBezTo>
                    <a:pt x="1663" y="3994"/>
                    <a:pt x="1612" y="4031"/>
                    <a:pt x="1692" y="4026"/>
                  </a:cubicBezTo>
                  <a:cubicBezTo>
                    <a:pt x="1617" y="4065"/>
                    <a:pt x="1672" y="4135"/>
                    <a:pt x="1611" y="4172"/>
                  </a:cubicBezTo>
                  <a:cubicBezTo>
                    <a:pt x="1654" y="4175"/>
                    <a:pt x="1681" y="4206"/>
                    <a:pt x="1706" y="4236"/>
                  </a:cubicBezTo>
                  <a:cubicBezTo>
                    <a:pt x="1752" y="4292"/>
                    <a:pt x="1747" y="4269"/>
                    <a:pt x="1716" y="4315"/>
                  </a:cubicBezTo>
                  <a:cubicBezTo>
                    <a:pt x="1698" y="4342"/>
                    <a:pt x="1643" y="4364"/>
                    <a:pt x="1638" y="4394"/>
                  </a:cubicBezTo>
                  <a:cubicBezTo>
                    <a:pt x="1637" y="4399"/>
                    <a:pt x="1602" y="4416"/>
                    <a:pt x="1661" y="4437"/>
                  </a:cubicBezTo>
                  <a:cubicBezTo>
                    <a:pt x="1621" y="4482"/>
                    <a:pt x="1660" y="4460"/>
                    <a:pt x="1676" y="4480"/>
                  </a:cubicBezTo>
                  <a:cubicBezTo>
                    <a:pt x="1675" y="4479"/>
                    <a:pt x="1729" y="4523"/>
                    <a:pt x="1733" y="4526"/>
                  </a:cubicBezTo>
                  <a:cubicBezTo>
                    <a:pt x="1781" y="4559"/>
                    <a:pt x="1777" y="4566"/>
                    <a:pt x="1850" y="4573"/>
                  </a:cubicBezTo>
                  <a:cubicBezTo>
                    <a:pt x="1809" y="4602"/>
                    <a:pt x="1772" y="4594"/>
                    <a:pt x="1735" y="4571"/>
                  </a:cubicBezTo>
                  <a:cubicBezTo>
                    <a:pt x="1719" y="4561"/>
                    <a:pt x="1703" y="4524"/>
                    <a:pt x="1683" y="4509"/>
                  </a:cubicBezTo>
                  <a:cubicBezTo>
                    <a:pt x="1660" y="4492"/>
                    <a:pt x="1638" y="4504"/>
                    <a:pt x="1617" y="4476"/>
                  </a:cubicBezTo>
                  <a:cubicBezTo>
                    <a:pt x="1580" y="4560"/>
                    <a:pt x="1534" y="4478"/>
                    <a:pt x="1479" y="4504"/>
                  </a:cubicBezTo>
                  <a:cubicBezTo>
                    <a:pt x="1496" y="4539"/>
                    <a:pt x="1480" y="4544"/>
                    <a:pt x="1512" y="4593"/>
                  </a:cubicBezTo>
                  <a:cubicBezTo>
                    <a:pt x="1521" y="4605"/>
                    <a:pt x="1545" y="4594"/>
                    <a:pt x="1559" y="4615"/>
                  </a:cubicBezTo>
                  <a:cubicBezTo>
                    <a:pt x="1565" y="4622"/>
                    <a:pt x="1577" y="4670"/>
                    <a:pt x="1576" y="4680"/>
                  </a:cubicBezTo>
                  <a:cubicBezTo>
                    <a:pt x="1571" y="4723"/>
                    <a:pt x="1524" y="4728"/>
                    <a:pt x="1514" y="4770"/>
                  </a:cubicBezTo>
                  <a:cubicBezTo>
                    <a:pt x="1508" y="4794"/>
                    <a:pt x="1529" y="4803"/>
                    <a:pt x="1528" y="4824"/>
                  </a:cubicBezTo>
                  <a:cubicBezTo>
                    <a:pt x="1528" y="4820"/>
                    <a:pt x="1525" y="4883"/>
                    <a:pt x="1517" y="4870"/>
                  </a:cubicBezTo>
                  <a:cubicBezTo>
                    <a:pt x="1564" y="4942"/>
                    <a:pt x="1543" y="4873"/>
                    <a:pt x="1598" y="4855"/>
                  </a:cubicBezTo>
                  <a:cubicBezTo>
                    <a:pt x="1586" y="4859"/>
                    <a:pt x="1657" y="4877"/>
                    <a:pt x="1666" y="4867"/>
                  </a:cubicBezTo>
                  <a:cubicBezTo>
                    <a:pt x="1670" y="4887"/>
                    <a:pt x="1640" y="4920"/>
                    <a:pt x="1633" y="4935"/>
                  </a:cubicBezTo>
                  <a:cubicBezTo>
                    <a:pt x="1624" y="4952"/>
                    <a:pt x="1634" y="4993"/>
                    <a:pt x="1589" y="5018"/>
                  </a:cubicBezTo>
                  <a:cubicBezTo>
                    <a:pt x="1703" y="5017"/>
                    <a:pt x="1514" y="5133"/>
                    <a:pt x="1502" y="5168"/>
                  </a:cubicBezTo>
                  <a:cubicBezTo>
                    <a:pt x="1490" y="5202"/>
                    <a:pt x="1522" y="5392"/>
                    <a:pt x="1460" y="5340"/>
                  </a:cubicBezTo>
                  <a:cubicBezTo>
                    <a:pt x="1507" y="5417"/>
                    <a:pt x="1448" y="5382"/>
                    <a:pt x="1436" y="5427"/>
                  </a:cubicBezTo>
                  <a:cubicBezTo>
                    <a:pt x="1425" y="5468"/>
                    <a:pt x="1443" y="5518"/>
                    <a:pt x="1486" y="5490"/>
                  </a:cubicBezTo>
                  <a:cubicBezTo>
                    <a:pt x="1476" y="5511"/>
                    <a:pt x="1454" y="5643"/>
                    <a:pt x="1438" y="5601"/>
                  </a:cubicBezTo>
                  <a:cubicBezTo>
                    <a:pt x="1411" y="5528"/>
                    <a:pt x="1361" y="5571"/>
                    <a:pt x="1371" y="5630"/>
                  </a:cubicBezTo>
                  <a:cubicBezTo>
                    <a:pt x="1364" y="5623"/>
                    <a:pt x="1324" y="5589"/>
                    <a:pt x="1309" y="5593"/>
                  </a:cubicBezTo>
                  <a:cubicBezTo>
                    <a:pt x="1258" y="5608"/>
                    <a:pt x="1306" y="5596"/>
                    <a:pt x="1310" y="5617"/>
                  </a:cubicBezTo>
                  <a:cubicBezTo>
                    <a:pt x="1321" y="5674"/>
                    <a:pt x="1381" y="5707"/>
                    <a:pt x="1396" y="5750"/>
                  </a:cubicBezTo>
                  <a:cubicBezTo>
                    <a:pt x="1404" y="5772"/>
                    <a:pt x="1391" y="5820"/>
                    <a:pt x="1385" y="5804"/>
                  </a:cubicBezTo>
                  <a:cubicBezTo>
                    <a:pt x="1391" y="5823"/>
                    <a:pt x="1417" y="5839"/>
                    <a:pt x="1425" y="5857"/>
                  </a:cubicBezTo>
                  <a:cubicBezTo>
                    <a:pt x="1441" y="5889"/>
                    <a:pt x="1447" y="5879"/>
                    <a:pt x="1450" y="5911"/>
                  </a:cubicBezTo>
                  <a:cubicBezTo>
                    <a:pt x="1452" y="5938"/>
                    <a:pt x="1424" y="5944"/>
                    <a:pt x="1427" y="5970"/>
                  </a:cubicBezTo>
                  <a:cubicBezTo>
                    <a:pt x="1436" y="6053"/>
                    <a:pt x="1469" y="6005"/>
                    <a:pt x="1491" y="6017"/>
                  </a:cubicBezTo>
                  <a:cubicBezTo>
                    <a:pt x="1499" y="6021"/>
                    <a:pt x="1537" y="6045"/>
                    <a:pt x="1550" y="6050"/>
                  </a:cubicBezTo>
                  <a:cubicBezTo>
                    <a:pt x="1569" y="6057"/>
                    <a:pt x="1611" y="6088"/>
                    <a:pt x="1630" y="6074"/>
                  </a:cubicBezTo>
                  <a:cubicBezTo>
                    <a:pt x="1659" y="6054"/>
                    <a:pt x="1594" y="6045"/>
                    <a:pt x="1583" y="6031"/>
                  </a:cubicBezTo>
                  <a:cubicBezTo>
                    <a:pt x="1573" y="6017"/>
                    <a:pt x="1499" y="5986"/>
                    <a:pt x="1562" y="5985"/>
                  </a:cubicBezTo>
                  <a:cubicBezTo>
                    <a:pt x="1586" y="5984"/>
                    <a:pt x="1615" y="6010"/>
                    <a:pt x="1632" y="6022"/>
                  </a:cubicBezTo>
                  <a:cubicBezTo>
                    <a:pt x="1683" y="6056"/>
                    <a:pt x="1705" y="6072"/>
                    <a:pt x="1760" y="6094"/>
                  </a:cubicBezTo>
                  <a:cubicBezTo>
                    <a:pt x="1784" y="6103"/>
                    <a:pt x="1811" y="6125"/>
                    <a:pt x="1831" y="6132"/>
                  </a:cubicBezTo>
                  <a:cubicBezTo>
                    <a:pt x="1843" y="6136"/>
                    <a:pt x="1853" y="6111"/>
                    <a:pt x="1868" y="6118"/>
                  </a:cubicBezTo>
                  <a:cubicBezTo>
                    <a:pt x="1910" y="6138"/>
                    <a:pt x="1929" y="6180"/>
                    <a:pt x="1975" y="6201"/>
                  </a:cubicBezTo>
                  <a:cubicBezTo>
                    <a:pt x="2068" y="6242"/>
                    <a:pt x="2218" y="6230"/>
                    <a:pt x="2317" y="6257"/>
                  </a:cubicBezTo>
                  <a:cubicBezTo>
                    <a:pt x="2336" y="6262"/>
                    <a:pt x="2384" y="6270"/>
                    <a:pt x="2400" y="6281"/>
                  </a:cubicBezTo>
                  <a:cubicBezTo>
                    <a:pt x="2438" y="6306"/>
                    <a:pt x="2406" y="6318"/>
                    <a:pt x="2433" y="6338"/>
                  </a:cubicBezTo>
                  <a:cubicBezTo>
                    <a:pt x="2454" y="6352"/>
                    <a:pt x="2541" y="6374"/>
                    <a:pt x="2567" y="6383"/>
                  </a:cubicBezTo>
                  <a:cubicBezTo>
                    <a:pt x="2677" y="6424"/>
                    <a:pt x="2747" y="6453"/>
                    <a:pt x="2832" y="6524"/>
                  </a:cubicBezTo>
                  <a:cubicBezTo>
                    <a:pt x="2907" y="6587"/>
                    <a:pt x="2978" y="6654"/>
                    <a:pt x="3056" y="6717"/>
                  </a:cubicBezTo>
                  <a:cubicBezTo>
                    <a:pt x="3147" y="6791"/>
                    <a:pt x="3196" y="6885"/>
                    <a:pt x="3274" y="6974"/>
                  </a:cubicBezTo>
                  <a:cubicBezTo>
                    <a:pt x="3339" y="7050"/>
                    <a:pt x="3418" y="7112"/>
                    <a:pt x="3478" y="7196"/>
                  </a:cubicBezTo>
                  <a:cubicBezTo>
                    <a:pt x="3552" y="7298"/>
                    <a:pt x="3596" y="7388"/>
                    <a:pt x="3636" y="7501"/>
                  </a:cubicBezTo>
                  <a:cubicBezTo>
                    <a:pt x="3668" y="7592"/>
                    <a:pt x="3739" y="7674"/>
                    <a:pt x="3783" y="7760"/>
                  </a:cubicBezTo>
                  <a:cubicBezTo>
                    <a:pt x="3833" y="7860"/>
                    <a:pt x="3870" y="7978"/>
                    <a:pt x="3901" y="8083"/>
                  </a:cubicBezTo>
                  <a:cubicBezTo>
                    <a:pt x="3936" y="8207"/>
                    <a:pt x="4026" y="8316"/>
                    <a:pt x="4004" y="8450"/>
                  </a:cubicBezTo>
                  <a:cubicBezTo>
                    <a:pt x="3989" y="8541"/>
                    <a:pt x="4054" y="8633"/>
                    <a:pt x="4038" y="8729"/>
                  </a:cubicBezTo>
                  <a:cubicBezTo>
                    <a:pt x="4017" y="8845"/>
                    <a:pt x="3941" y="8956"/>
                    <a:pt x="3909" y="9072"/>
                  </a:cubicBezTo>
                  <a:cubicBezTo>
                    <a:pt x="3895" y="9124"/>
                    <a:pt x="3885" y="9172"/>
                    <a:pt x="3865" y="9222"/>
                  </a:cubicBezTo>
                  <a:cubicBezTo>
                    <a:pt x="3829" y="9309"/>
                    <a:pt x="3833" y="9327"/>
                    <a:pt x="3893" y="9240"/>
                  </a:cubicBezTo>
                  <a:cubicBezTo>
                    <a:pt x="3905" y="9346"/>
                    <a:pt x="3817" y="9472"/>
                    <a:pt x="3770" y="9565"/>
                  </a:cubicBezTo>
                  <a:cubicBezTo>
                    <a:pt x="3740" y="9624"/>
                    <a:pt x="3714" y="9684"/>
                    <a:pt x="3681" y="9741"/>
                  </a:cubicBezTo>
                  <a:cubicBezTo>
                    <a:pt x="3637" y="9818"/>
                    <a:pt x="3603" y="9919"/>
                    <a:pt x="3549" y="9986"/>
                  </a:cubicBezTo>
                  <a:cubicBezTo>
                    <a:pt x="3413" y="10153"/>
                    <a:pt x="3298" y="10338"/>
                    <a:pt x="3144" y="10489"/>
                  </a:cubicBezTo>
                  <a:cubicBezTo>
                    <a:pt x="3018" y="10611"/>
                    <a:pt x="2904" y="10744"/>
                    <a:pt x="2746" y="10831"/>
                  </a:cubicBezTo>
                  <a:cubicBezTo>
                    <a:pt x="2628" y="10896"/>
                    <a:pt x="2526" y="11011"/>
                    <a:pt x="2402" y="11061"/>
                  </a:cubicBezTo>
                  <a:cubicBezTo>
                    <a:pt x="2424" y="11111"/>
                    <a:pt x="2368" y="11145"/>
                    <a:pt x="2334" y="11180"/>
                  </a:cubicBezTo>
                  <a:cubicBezTo>
                    <a:pt x="2369" y="11186"/>
                    <a:pt x="2398" y="11178"/>
                    <a:pt x="2409" y="11152"/>
                  </a:cubicBezTo>
                  <a:cubicBezTo>
                    <a:pt x="2402" y="11193"/>
                    <a:pt x="2435" y="11214"/>
                    <a:pt x="2471" y="11169"/>
                  </a:cubicBezTo>
                  <a:cubicBezTo>
                    <a:pt x="2472" y="11171"/>
                    <a:pt x="2482" y="11242"/>
                    <a:pt x="2470" y="11237"/>
                  </a:cubicBezTo>
                  <a:cubicBezTo>
                    <a:pt x="2484" y="11243"/>
                    <a:pt x="2506" y="11248"/>
                    <a:pt x="2501" y="11213"/>
                  </a:cubicBezTo>
                  <a:cubicBezTo>
                    <a:pt x="2497" y="11185"/>
                    <a:pt x="2595" y="11224"/>
                    <a:pt x="2507" y="11263"/>
                  </a:cubicBezTo>
                  <a:cubicBezTo>
                    <a:pt x="2562" y="11269"/>
                    <a:pt x="2593" y="11315"/>
                    <a:pt x="2625" y="11354"/>
                  </a:cubicBezTo>
                  <a:cubicBezTo>
                    <a:pt x="2677" y="11417"/>
                    <a:pt x="2654" y="11436"/>
                    <a:pt x="2695" y="11489"/>
                  </a:cubicBezTo>
                  <a:cubicBezTo>
                    <a:pt x="2736" y="11541"/>
                    <a:pt x="2761" y="11560"/>
                    <a:pt x="2818" y="11581"/>
                  </a:cubicBezTo>
                  <a:cubicBezTo>
                    <a:pt x="2812" y="11579"/>
                    <a:pt x="2908" y="11550"/>
                    <a:pt x="2876" y="11580"/>
                  </a:cubicBezTo>
                  <a:cubicBezTo>
                    <a:pt x="2854" y="11600"/>
                    <a:pt x="2846" y="11627"/>
                    <a:pt x="2840" y="11654"/>
                  </a:cubicBezTo>
                  <a:cubicBezTo>
                    <a:pt x="2887" y="11644"/>
                    <a:pt x="2941" y="11673"/>
                    <a:pt x="2974" y="11666"/>
                  </a:cubicBezTo>
                  <a:cubicBezTo>
                    <a:pt x="3006" y="11659"/>
                    <a:pt x="3053" y="11613"/>
                    <a:pt x="3100" y="11601"/>
                  </a:cubicBezTo>
                  <a:cubicBezTo>
                    <a:pt x="3093" y="11628"/>
                    <a:pt x="3083" y="11646"/>
                    <a:pt x="3055" y="11659"/>
                  </a:cubicBezTo>
                  <a:cubicBezTo>
                    <a:pt x="3118" y="11691"/>
                    <a:pt x="3028" y="11756"/>
                    <a:pt x="2961" y="11768"/>
                  </a:cubicBezTo>
                  <a:cubicBezTo>
                    <a:pt x="3008" y="11776"/>
                    <a:pt x="3048" y="11744"/>
                    <a:pt x="3094" y="11743"/>
                  </a:cubicBezTo>
                  <a:cubicBezTo>
                    <a:pt x="3121" y="11742"/>
                    <a:pt x="3125" y="11775"/>
                    <a:pt x="3146" y="11780"/>
                  </a:cubicBezTo>
                  <a:cubicBezTo>
                    <a:pt x="3163" y="11784"/>
                    <a:pt x="3158" y="11760"/>
                    <a:pt x="3185" y="11772"/>
                  </a:cubicBezTo>
                  <a:cubicBezTo>
                    <a:pt x="3307" y="11828"/>
                    <a:pt x="3162" y="11775"/>
                    <a:pt x="3163" y="11857"/>
                  </a:cubicBezTo>
                  <a:cubicBezTo>
                    <a:pt x="3176" y="11856"/>
                    <a:pt x="3193" y="11857"/>
                    <a:pt x="3203" y="11856"/>
                  </a:cubicBezTo>
                  <a:cubicBezTo>
                    <a:pt x="3196" y="11859"/>
                    <a:pt x="3180" y="11872"/>
                    <a:pt x="3173" y="11875"/>
                  </a:cubicBezTo>
                  <a:cubicBezTo>
                    <a:pt x="3189" y="11873"/>
                    <a:pt x="3207" y="11876"/>
                    <a:pt x="3220" y="11875"/>
                  </a:cubicBezTo>
                  <a:cubicBezTo>
                    <a:pt x="3199" y="11890"/>
                    <a:pt x="3175" y="11898"/>
                    <a:pt x="3144" y="11893"/>
                  </a:cubicBezTo>
                  <a:cubicBezTo>
                    <a:pt x="3210" y="11914"/>
                    <a:pt x="3326" y="11899"/>
                    <a:pt x="3189" y="11946"/>
                  </a:cubicBezTo>
                  <a:cubicBezTo>
                    <a:pt x="3216" y="11956"/>
                    <a:pt x="3226" y="11965"/>
                    <a:pt x="3244" y="11988"/>
                  </a:cubicBezTo>
                  <a:cubicBezTo>
                    <a:pt x="3259" y="12009"/>
                    <a:pt x="3292" y="11979"/>
                    <a:pt x="3315" y="11986"/>
                  </a:cubicBezTo>
                  <a:cubicBezTo>
                    <a:pt x="3419" y="12021"/>
                    <a:pt x="3344" y="11988"/>
                    <a:pt x="3313" y="12007"/>
                  </a:cubicBezTo>
                  <a:cubicBezTo>
                    <a:pt x="3272" y="12033"/>
                    <a:pt x="3258" y="12031"/>
                    <a:pt x="3275" y="12085"/>
                  </a:cubicBezTo>
                  <a:cubicBezTo>
                    <a:pt x="3298" y="12154"/>
                    <a:pt x="3327" y="12168"/>
                    <a:pt x="3240" y="12198"/>
                  </a:cubicBezTo>
                  <a:cubicBezTo>
                    <a:pt x="3271" y="12214"/>
                    <a:pt x="3329" y="12188"/>
                    <a:pt x="3351" y="12201"/>
                  </a:cubicBezTo>
                  <a:cubicBezTo>
                    <a:pt x="3369" y="12212"/>
                    <a:pt x="3358" y="12269"/>
                    <a:pt x="3360" y="12272"/>
                  </a:cubicBezTo>
                  <a:cubicBezTo>
                    <a:pt x="3388" y="12332"/>
                    <a:pt x="3354" y="12275"/>
                    <a:pt x="3399" y="12290"/>
                  </a:cubicBezTo>
                  <a:cubicBezTo>
                    <a:pt x="3416" y="12295"/>
                    <a:pt x="3447" y="12287"/>
                    <a:pt x="3467" y="12314"/>
                  </a:cubicBezTo>
                  <a:cubicBezTo>
                    <a:pt x="3512" y="12376"/>
                    <a:pt x="3423" y="12340"/>
                    <a:pt x="3421" y="12348"/>
                  </a:cubicBezTo>
                  <a:cubicBezTo>
                    <a:pt x="3412" y="12374"/>
                    <a:pt x="3438" y="12362"/>
                    <a:pt x="3441" y="12393"/>
                  </a:cubicBezTo>
                  <a:cubicBezTo>
                    <a:pt x="3440" y="12383"/>
                    <a:pt x="3489" y="12417"/>
                    <a:pt x="3453" y="12434"/>
                  </a:cubicBezTo>
                  <a:cubicBezTo>
                    <a:pt x="3419" y="12448"/>
                    <a:pt x="3414" y="12421"/>
                    <a:pt x="3415" y="12397"/>
                  </a:cubicBezTo>
                  <a:cubicBezTo>
                    <a:pt x="3361" y="12404"/>
                    <a:pt x="3353" y="12448"/>
                    <a:pt x="3391" y="12481"/>
                  </a:cubicBezTo>
                  <a:cubicBezTo>
                    <a:pt x="3431" y="12515"/>
                    <a:pt x="3455" y="12480"/>
                    <a:pt x="3490" y="12497"/>
                  </a:cubicBezTo>
                  <a:cubicBezTo>
                    <a:pt x="3524" y="12514"/>
                    <a:pt x="3641" y="12688"/>
                    <a:pt x="3639" y="12704"/>
                  </a:cubicBezTo>
                  <a:cubicBezTo>
                    <a:pt x="3636" y="12718"/>
                    <a:pt x="3644" y="12775"/>
                    <a:pt x="3645" y="12796"/>
                  </a:cubicBezTo>
                  <a:cubicBezTo>
                    <a:pt x="3647" y="12843"/>
                    <a:pt x="3714" y="12943"/>
                    <a:pt x="3706" y="12964"/>
                  </a:cubicBezTo>
                  <a:cubicBezTo>
                    <a:pt x="3685" y="13020"/>
                    <a:pt x="3698" y="13006"/>
                    <a:pt x="3754" y="13017"/>
                  </a:cubicBezTo>
                  <a:cubicBezTo>
                    <a:pt x="3781" y="13023"/>
                    <a:pt x="3781" y="12990"/>
                    <a:pt x="3800" y="12994"/>
                  </a:cubicBezTo>
                  <a:cubicBezTo>
                    <a:pt x="3811" y="12996"/>
                    <a:pt x="3833" y="13013"/>
                    <a:pt x="3851" y="13017"/>
                  </a:cubicBezTo>
                  <a:cubicBezTo>
                    <a:pt x="3807" y="13056"/>
                    <a:pt x="3766" y="13123"/>
                    <a:pt x="3849" y="13153"/>
                  </a:cubicBezTo>
                  <a:cubicBezTo>
                    <a:pt x="3901" y="13172"/>
                    <a:pt x="3936" y="13133"/>
                    <a:pt x="3975" y="13111"/>
                  </a:cubicBezTo>
                  <a:cubicBezTo>
                    <a:pt x="3968" y="13133"/>
                    <a:pt x="3939" y="13177"/>
                    <a:pt x="3943" y="13201"/>
                  </a:cubicBezTo>
                  <a:cubicBezTo>
                    <a:pt x="3944" y="13210"/>
                    <a:pt x="4007" y="13184"/>
                    <a:pt x="3976" y="13247"/>
                  </a:cubicBezTo>
                  <a:cubicBezTo>
                    <a:pt x="3950" y="13302"/>
                    <a:pt x="3907" y="13242"/>
                    <a:pt x="3930" y="13310"/>
                  </a:cubicBezTo>
                  <a:cubicBezTo>
                    <a:pt x="3937" y="13331"/>
                    <a:pt x="4026" y="13305"/>
                    <a:pt x="3964" y="13360"/>
                  </a:cubicBezTo>
                  <a:cubicBezTo>
                    <a:pt x="4013" y="13343"/>
                    <a:pt x="3998" y="13369"/>
                    <a:pt x="4021" y="13384"/>
                  </a:cubicBezTo>
                  <a:cubicBezTo>
                    <a:pt x="4003" y="13373"/>
                    <a:pt x="4080" y="13440"/>
                    <a:pt x="4058" y="13409"/>
                  </a:cubicBezTo>
                  <a:cubicBezTo>
                    <a:pt x="4085" y="13447"/>
                    <a:pt x="4120" y="13468"/>
                    <a:pt x="4074" y="13508"/>
                  </a:cubicBezTo>
                  <a:cubicBezTo>
                    <a:pt x="4082" y="13514"/>
                    <a:pt x="4116" y="13530"/>
                    <a:pt x="4123" y="13532"/>
                  </a:cubicBezTo>
                  <a:cubicBezTo>
                    <a:pt x="4135" y="13518"/>
                    <a:pt x="4203" y="13509"/>
                    <a:pt x="4210" y="13510"/>
                  </a:cubicBezTo>
                  <a:cubicBezTo>
                    <a:pt x="4252" y="13519"/>
                    <a:pt x="4276" y="13523"/>
                    <a:pt x="4307" y="13565"/>
                  </a:cubicBezTo>
                  <a:cubicBezTo>
                    <a:pt x="4373" y="13654"/>
                    <a:pt x="4354" y="13724"/>
                    <a:pt x="4375" y="13824"/>
                  </a:cubicBezTo>
                  <a:cubicBezTo>
                    <a:pt x="4417" y="13802"/>
                    <a:pt x="4466" y="13786"/>
                    <a:pt x="4503" y="13821"/>
                  </a:cubicBezTo>
                  <a:cubicBezTo>
                    <a:pt x="4504" y="13821"/>
                    <a:pt x="4483" y="13826"/>
                    <a:pt x="4484" y="13825"/>
                  </a:cubicBezTo>
                  <a:cubicBezTo>
                    <a:pt x="4471" y="13840"/>
                    <a:pt x="4421" y="13815"/>
                    <a:pt x="4402" y="13847"/>
                  </a:cubicBezTo>
                  <a:cubicBezTo>
                    <a:pt x="4386" y="13873"/>
                    <a:pt x="4421" y="13909"/>
                    <a:pt x="4426" y="13937"/>
                  </a:cubicBezTo>
                  <a:cubicBezTo>
                    <a:pt x="4430" y="13964"/>
                    <a:pt x="4426" y="14018"/>
                    <a:pt x="4418" y="14044"/>
                  </a:cubicBezTo>
                  <a:cubicBezTo>
                    <a:pt x="4406" y="14084"/>
                    <a:pt x="4379" y="14136"/>
                    <a:pt x="4367" y="14161"/>
                  </a:cubicBezTo>
                  <a:cubicBezTo>
                    <a:pt x="4333" y="14233"/>
                    <a:pt x="4245" y="14289"/>
                    <a:pt x="4274" y="14356"/>
                  </a:cubicBezTo>
                  <a:cubicBezTo>
                    <a:pt x="4304" y="14426"/>
                    <a:pt x="4382" y="14448"/>
                    <a:pt x="4245" y="14510"/>
                  </a:cubicBezTo>
                  <a:cubicBezTo>
                    <a:pt x="4171" y="14543"/>
                    <a:pt x="4256" y="14589"/>
                    <a:pt x="4286" y="14619"/>
                  </a:cubicBezTo>
                  <a:cubicBezTo>
                    <a:pt x="4334" y="14667"/>
                    <a:pt x="4359" y="14668"/>
                    <a:pt x="4426" y="14699"/>
                  </a:cubicBezTo>
                  <a:cubicBezTo>
                    <a:pt x="4485" y="14726"/>
                    <a:pt x="4450" y="14699"/>
                    <a:pt x="4480" y="14751"/>
                  </a:cubicBezTo>
                  <a:cubicBezTo>
                    <a:pt x="4496" y="14780"/>
                    <a:pt x="4471" y="14810"/>
                    <a:pt x="4512" y="14828"/>
                  </a:cubicBezTo>
                  <a:cubicBezTo>
                    <a:pt x="4547" y="14845"/>
                    <a:pt x="4578" y="14805"/>
                    <a:pt x="4617" y="14818"/>
                  </a:cubicBezTo>
                  <a:cubicBezTo>
                    <a:pt x="4574" y="14872"/>
                    <a:pt x="4529" y="14886"/>
                    <a:pt x="4518" y="14955"/>
                  </a:cubicBezTo>
                  <a:cubicBezTo>
                    <a:pt x="4505" y="15032"/>
                    <a:pt x="4548" y="14981"/>
                    <a:pt x="4560" y="15036"/>
                  </a:cubicBezTo>
                  <a:cubicBezTo>
                    <a:pt x="4570" y="15079"/>
                    <a:pt x="4505" y="15114"/>
                    <a:pt x="4534" y="15174"/>
                  </a:cubicBezTo>
                  <a:cubicBezTo>
                    <a:pt x="4555" y="15215"/>
                    <a:pt x="4594" y="15222"/>
                    <a:pt x="4624" y="15256"/>
                  </a:cubicBezTo>
                  <a:cubicBezTo>
                    <a:pt x="4531" y="15213"/>
                    <a:pt x="4517" y="15197"/>
                    <a:pt x="4487" y="15126"/>
                  </a:cubicBezTo>
                  <a:cubicBezTo>
                    <a:pt x="4468" y="15083"/>
                    <a:pt x="4438" y="15049"/>
                    <a:pt x="4411" y="15011"/>
                  </a:cubicBezTo>
                  <a:cubicBezTo>
                    <a:pt x="4363" y="14943"/>
                    <a:pt x="4291" y="14861"/>
                    <a:pt x="4189" y="14892"/>
                  </a:cubicBezTo>
                  <a:cubicBezTo>
                    <a:pt x="4056" y="14933"/>
                    <a:pt x="4126" y="14883"/>
                    <a:pt x="4096" y="14821"/>
                  </a:cubicBezTo>
                  <a:cubicBezTo>
                    <a:pt x="4078" y="14785"/>
                    <a:pt x="4037" y="14762"/>
                    <a:pt x="3989" y="14791"/>
                  </a:cubicBezTo>
                  <a:cubicBezTo>
                    <a:pt x="3969" y="14803"/>
                    <a:pt x="3910" y="14909"/>
                    <a:pt x="3901" y="14938"/>
                  </a:cubicBezTo>
                  <a:cubicBezTo>
                    <a:pt x="3886" y="14984"/>
                    <a:pt x="3952" y="15047"/>
                    <a:pt x="3913" y="15077"/>
                  </a:cubicBezTo>
                  <a:cubicBezTo>
                    <a:pt x="3910" y="15078"/>
                    <a:pt x="3905" y="15083"/>
                    <a:pt x="3901" y="15086"/>
                  </a:cubicBezTo>
                  <a:cubicBezTo>
                    <a:pt x="3955" y="15217"/>
                    <a:pt x="4015" y="15373"/>
                    <a:pt x="4069" y="15542"/>
                  </a:cubicBezTo>
                  <a:cubicBezTo>
                    <a:pt x="4078" y="15569"/>
                    <a:pt x="4090" y="15607"/>
                    <a:pt x="4106" y="15653"/>
                  </a:cubicBezTo>
                  <a:cubicBezTo>
                    <a:pt x="4114" y="15656"/>
                    <a:pt x="4122" y="15659"/>
                    <a:pt x="4131" y="15662"/>
                  </a:cubicBezTo>
                  <a:cubicBezTo>
                    <a:pt x="4209" y="15752"/>
                    <a:pt x="4406" y="15799"/>
                    <a:pt x="4418" y="15929"/>
                  </a:cubicBezTo>
                  <a:cubicBezTo>
                    <a:pt x="4341" y="15840"/>
                    <a:pt x="4242" y="15769"/>
                    <a:pt x="4143" y="15694"/>
                  </a:cubicBezTo>
                  <a:cubicBezTo>
                    <a:pt x="4134" y="15690"/>
                    <a:pt x="4124" y="15686"/>
                    <a:pt x="4115" y="15682"/>
                  </a:cubicBezTo>
                  <a:cubicBezTo>
                    <a:pt x="4385" y="16481"/>
                    <a:pt x="5466" y="19541"/>
                    <a:pt x="5466" y="19541"/>
                  </a:cubicBezTo>
                  <a:cubicBezTo>
                    <a:pt x="5466" y="19541"/>
                    <a:pt x="5754" y="20147"/>
                    <a:pt x="5868" y="20346"/>
                  </a:cubicBezTo>
                  <a:cubicBezTo>
                    <a:pt x="5982" y="20544"/>
                    <a:pt x="6370" y="20858"/>
                    <a:pt x="6689" y="20983"/>
                  </a:cubicBezTo>
                  <a:cubicBezTo>
                    <a:pt x="7008" y="21109"/>
                    <a:pt x="7076" y="21078"/>
                    <a:pt x="7486" y="21078"/>
                  </a:cubicBezTo>
                  <a:cubicBezTo>
                    <a:pt x="7896" y="21078"/>
                    <a:pt x="8067" y="20973"/>
                    <a:pt x="8192" y="21088"/>
                  </a:cubicBezTo>
                  <a:cubicBezTo>
                    <a:pt x="8318" y="21203"/>
                    <a:pt x="8386" y="21287"/>
                    <a:pt x="8568" y="21287"/>
                  </a:cubicBezTo>
                  <a:cubicBezTo>
                    <a:pt x="8751" y="21287"/>
                    <a:pt x="8825" y="21072"/>
                    <a:pt x="8967" y="21203"/>
                  </a:cubicBezTo>
                  <a:cubicBezTo>
                    <a:pt x="9109" y="21334"/>
                    <a:pt x="9332" y="21590"/>
                    <a:pt x="9605" y="21590"/>
                  </a:cubicBezTo>
                  <a:cubicBezTo>
                    <a:pt x="9878" y="21590"/>
                    <a:pt x="10266" y="21412"/>
                    <a:pt x="10414" y="21182"/>
                  </a:cubicBezTo>
                  <a:cubicBezTo>
                    <a:pt x="10562" y="20952"/>
                    <a:pt x="10847" y="20712"/>
                    <a:pt x="11086" y="20712"/>
                  </a:cubicBezTo>
                  <a:cubicBezTo>
                    <a:pt x="11325" y="20712"/>
                    <a:pt x="11348" y="20754"/>
                    <a:pt x="11394" y="20900"/>
                  </a:cubicBezTo>
                  <a:cubicBezTo>
                    <a:pt x="11439" y="21046"/>
                    <a:pt x="11496" y="21255"/>
                    <a:pt x="11439" y="21423"/>
                  </a:cubicBezTo>
                  <a:cubicBezTo>
                    <a:pt x="11431" y="21445"/>
                    <a:pt x="11428" y="21474"/>
                    <a:pt x="11427" y="21507"/>
                  </a:cubicBezTo>
                  <a:lnTo>
                    <a:pt x="12647" y="21036"/>
                  </a:lnTo>
                  <a:lnTo>
                    <a:pt x="14362" y="20320"/>
                  </a:lnTo>
                  <a:cubicBezTo>
                    <a:pt x="14333" y="20229"/>
                    <a:pt x="14347" y="20145"/>
                    <a:pt x="14333" y="20052"/>
                  </a:cubicBezTo>
                  <a:cubicBezTo>
                    <a:pt x="14331" y="20039"/>
                    <a:pt x="14272" y="20037"/>
                    <a:pt x="14300" y="20013"/>
                  </a:cubicBezTo>
                  <a:cubicBezTo>
                    <a:pt x="14319" y="19997"/>
                    <a:pt x="14328" y="19972"/>
                    <a:pt x="14339" y="19951"/>
                  </a:cubicBezTo>
                  <a:cubicBezTo>
                    <a:pt x="14364" y="19901"/>
                    <a:pt x="14376" y="19920"/>
                    <a:pt x="14418" y="19910"/>
                  </a:cubicBezTo>
                  <a:cubicBezTo>
                    <a:pt x="14505" y="19891"/>
                    <a:pt x="14496" y="19907"/>
                    <a:pt x="14565" y="19819"/>
                  </a:cubicBezTo>
                  <a:cubicBezTo>
                    <a:pt x="14676" y="19695"/>
                    <a:pt x="14636" y="19732"/>
                    <a:pt x="14743" y="19784"/>
                  </a:cubicBezTo>
                  <a:cubicBezTo>
                    <a:pt x="14821" y="19822"/>
                    <a:pt x="14799" y="19750"/>
                    <a:pt x="14788" y="19685"/>
                  </a:cubicBezTo>
                  <a:cubicBezTo>
                    <a:pt x="14785" y="19662"/>
                    <a:pt x="14762" y="19637"/>
                    <a:pt x="14762" y="19608"/>
                  </a:cubicBezTo>
                  <a:cubicBezTo>
                    <a:pt x="14760" y="19525"/>
                    <a:pt x="14784" y="19562"/>
                    <a:pt x="14820" y="19548"/>
                  </a:cubicBezTo>
                  <a:cubicBezTo>
                    <a:pt x="14943" y="19503"/>
                    <a:pt x="14901" y="19529"/>
                    <a:pt x="14820" y="19480"/>
                  </a:cubicBezTo>
                  <a:cubicBezTo>
                    <a:pt x="14639" y="19368"/>
                    <a:pt x="14903" y="19140"/>
                    <a:pt x="14924" y="19018"/>
                  </a:cubicBezTo>
                  <a:cubicBezTo>
                    <a:pt x="14932" y="18971"/>
                    <a:pt x="14920" y="18901"/>
                    <a:pt x="14932" y="18844"/>
                  </a:cubicBezTo>
                  <a:cubicBezTo>
                    <a:pt x="14939" y="18808"/>
                    <a:pt x="14955" y="18746"/>
                    <a:pt x="14926" y="18715"/>
                  </a:cubicBezTo>
                  <a:cubicBezTo>
                    <a:pt x="14905" y="18692"/>
                    <a:pt x="14872" y="18724"/>
                    <a:pt x="14848" y="18698"/>
                  </a:cubicBezTo>
                  <a:cubicBezTo>
                    <a:pt x="14827" y="18676"/>
                    <a:pt x="14831" y="18620"/>
                    <a:pt x="14828" y="18593"/>
                  </a:cubicBezTo>
                  <a:cubicBezTo>
                    <a:pt x="14824" y="18560"/>
                    <a:pt x="14832" y="18510"/>
                    <a:pt x="14813" y="18482"/>
                  </a:cubicBezTo>
                  <a:cubicBezTo>
                    <a:pt x="14788" y="18447"/>
                    <a:pt x="14743" y="18477"/>
                    <a:pt x="14743" y="18423"/>
                  </a:cubicBezTo>
                  <a:cubicBezTo>
                    <a:pt x="14743" y="18319"/>
                    <a:pt x="14739" y="18251"/>
                    <a:pt x="14768" y="18163"/>
                  </a:cubicBezTo>
                  <a:cubicBezTo>
                    <a:pt x="14822" y="17995"/>
                    <a:pt x="14680" y="17873"/>
                    <a:pt x="14685" y="17708"/>
                  </a:cubicBezTo>
                  <a:cubicBezTo>
                    <a:pt x="14693" y="17397"/>
                    <a:pt x="14786" y="17067"/>
                    <a:pt x="14835" y="16759"/>
                  </a:cubicBezTo>
                  <a:cubicBezTo>
                    <a:pt x="14854" y="16635"/>
                    <a:pt x="14842" y="16505"/>
                    <a:pt x="15007" y="16520"/>
                  </a:cubicBezTo>
                  <a:cubicBezTo>
                    <a:pt x="15071" y="16527"/>
                    <a:pt x="15039" y="16509"/>
                    <a:pt x="15077" y="16560"/>
                  </a:cubicBezTo>
                  <a:cubicBezTo>
                    <a:pt x="15082" y="16566"/>
                    <a:pt x="15085" y="16575"/>
                    <a:pt x="15089" y="16582"/>
                  </a:cubicBezTo>
                  <a:cubicBezTo>
                    <a:pt x="15326" y="16456"/>
                    <a:pt x="15647" y="16247"/>
                    <a:pt x="15534" y="16023"/>
                  </a:cubicBezTo>
                  <a:cubicBezTo>
                    <a:pt x="15407" y="15772"/>
                    <a:pt x="15300" y="15583"/>
                    <a:pt x="15407" y="15583"/>
                  </a:cubicBezTo>
                  <a:cubicBezTo>
                    <a:pt x="15514" y="15583"/>
                    <a:pt x="15426" y="15395"/>
                    <a:pt x="15622" y="15350"/>
                  </a:cubicBezTo>
                  <a:cubicBezTo>
                    <a:pt x="15817" y="15305"/>
                    <a:pt x="16047" y="15444"/>
                    <a:pt x="16179" y="15323"/>
                  </a:cubicBezTo>
                  <a:cubicBezTo>
                    <a:pt x="16311" y="15202"/>
                    <a:pt x="16447" y="15091"/>
                    <a:pt x="16496" y="15046"/>
                  </a:cubicBezTo>
                  <a:cubicBezTo>
                    <a:pt x="16545" y="15002"/>
                    <a:pt x="16556" y="14962"/>
                    <a:pt x="16556" y="14962"/>
                  </a:cubicBezTo>
                  <a:cubicBezTo>
                    <a:pt x="16556" y="14962"/>
                    <a:pt x="16557" y="14962"/>
                    <a:pt x="16557" y="14961"/>
                  </a:cubicBezTo>
                  <a:cubicBezTo>
                    <a:pt x="16556" y="14962"/>
                    <a:pt x="16556" y="14962"/>
                    <a:pt x="16556" y="14962"/>
                  </a:cubicBezTo>
                  <a:cubicBezTo>
                    <a:pt x="16619" y="14903"/>
                    <a:pt x="16728" y="14834"/>
                    <a:pt x="16767" y="14758"/>
                  </a:cubicBezTo>
                  <a:cubicBezTo>
                    <a:pt x="16785" y="14722"/>
                    <a:pt x="16754" y="14700"/>
                    <a:pt x="16795" y="14664"/>
                  </a:cubicBezTo>
                  <a:cubicBezTo>
                    <a:pt x="16840" y="14624"/>
                    <a:pt x="16888" y="14657"/>
                    <a:pt x="16927" y="14645"/>
                  </a:cubicBezTo>
                  <a:cubicBezTo>
                    <a:pt x="16957" y="14634"/>
                    <a:pt x="17006" y="14630"/>
                    <a:pt x="16944" y="14605"/>
                  </a:cubicBezTo>
                  <a:cubicBezTo>
                    <a:pt x="16989" y="14563"/>
                    <a:pt x="17078" y="14565"/>
                    <a:pt x="17110" y="14538"/>
                  </a:cubicBezTo>
                  <a:cubicBezTo>
                    <a:pt x="17154" y="14504"/>
                    <a:pt x="17140" y="14422"/>
                    <a:pt x="17164" y="14376"/>
                  </a:cubicBezTo>
                  <a:cubicBezTo>
                    <a:pt x="17209" y="14292"/>
                    <a:pt x="17205" y="14352"/>
                    <a:pt x="17289" y="14373"/>
                  </a:cubicBezTo>
                  <a:cubicBezTo>
                    <a:pt x="17357" y="14390"/>
                    <a:pt x="17423" y="14368"/>
                    <a:pt x="17494" y="14358"/>
                  </a:cubicBezTo>
                  <a:cubicBezTo>
                    <a:pt x="17528" y="14353"/>
                    <a:pt x="17575" y="14339"/>
                    <a:pt x="17610" y="14340"/>
                  </a:cubicBezTo>
                  <a:cubicBezTo>
                    <a:pt x="17634" y="14341"/>
                    <a:pt x="17674" y="14363"/>
                    <a:pt x="17689" y="14362"/>
                  </a:cubicBezTo>
                  <a:cubicBezTo>
                    <a:pt x="17731" y="14360"/>
                    <a:pt x="17791" y="14330"/>
                    <a:pt x="17826" y="14301"/>
                  </a:cubicBezTo>
                  <a:cubicBezTo>
                    <a:pt x="17895" y="14244"/>
                    <a:pt x="17927" y="14157"/>
                    <a:pt x="17968" y="14083"/>
                  </a:cubicBezTo>
                  <a:cubicBezTo>
                    <a:pt x="17979" y="14064"/>
                    <a:pt x="18004" y="14038"/>
                    <a:pt x="18008" y="14017"/>
                  </a:cubicBezTo>
                  <a:cubicBezTo>
                    <a:pt x="18010" y="14005"/>
                    <a:pt x="17996" y="13951"/>
                    <a:pt x="17992" y="13959"/>
                  </a:cubicBezTo>
                  <a:cubicBezTo>
                    <a:pt x="18005" y="13931"/>
                    <a:pt x="18142" y="13889"/>
                    <a:pt x="18129" y="13831"/>
                  </a:cubicBezTo>
                  <a:cubicBezTo>
                    <a:pt x="18120" y="13787"/>
                    <a:pt x="18134" y="13681"/>
                    <a:pt x="18085" y="13674"/>
                  </a:cubicBezTo>
                  <a:cubicBezTo>
                    <a:pt x="18133" y="13560"/>
                    <a:pt x="18271" y="13459"/>
                    <a:pt x="18323" y="13352"/>
                  </a:cubicBezTo>
                  <a:cubicBezTo>
                    <a:pt x="18332" y="13333"/>
                    <a:pt x="18377" y="13275"/>
                    <a:pt x="18375" y="13258"/>
                  </a:cubicBezTo>
                  <a:cubicBezTo>
                    <a:pt x="18369" y="13196"/>
                    <a:pt x="18332" y="13253"/>
                    <a:pt x="18289" y="13229"/>
                  </a:cubicBezTo>
                  <a:cubicBezTo>
                    <a:pt x="18240" y="13202"/>
                    <a:pt x="18248" y="13151"/>
                    <a:pt x="18290" y="13123"/>
                  </a:cubicBezTo>
                  <a:cubicBezTo>
                    <a:pt x="18352" y="13082"/>
                    <a:pt x="18257" y="13079"/>
                    <a:pt x="18225" y="13069"/>
                  </a:cubicBezTo>
                  <a:cubicBezTo>
                    <a:pt x="18155" y="13048"/>
                    <a:pt x="18071" y="13000"/>
                    <a:pt x="18001" y="13045"/>
                  </a:cubicBezTo>
                  <a:cubicBezTo>
                    <a:pt x="18081" y="12933"/>
                    <a:pt x="17894" y="13038"/>
                    <a:pt x="17875" y="13039"/>
                  </a:cubicBezTo>
                  <a:cubicBezTo>
                    <a:pt x="17906" y="13000"/>
                    <a:pt x="17879" y="12984"/>
                    <a:pt x="17835" y="12984"/>
                  </a:cubicBezTo>
                  <a:cubicBezTo>
                    <a:pt x="17953" y="12932"/>
                    <a:pt x="18096" y="12932"/>
                    <a:pt x="18222" y="12949"/>
                  </a:cubicBezTo>
                  <a:cubicBezTo>
                    <a:pt x="18204" y="12925"/>
                    <a:pt x="18156" y="12894"/>
                    <a:pt x="18131" y="12872"/>
                  </a:cubicBezTo>
                  <a:cubicBezTo>
                    <a:pt x="18092" y="12837"/>
                    <a:pt x="18087" y="12829"/>
                    <a:pt x="18036" y="12810"/>
                  </a:cubicBezTo>
                  <a:cubicBezTo>
                    <a:pt x="17934" y="12772"/>
                    <a:pt x="17808" y="12762"/>
                    <a:pt x="17696" y="12750"/>
                  </a:cubicBezTo>
                  <a:cubicBezTo>
                    <a:pt x="17621" y="12742"/>
                    <a:pt x="17568" y="12765"/>
                    <a:pt x="17494" y="12765"/>
                  </a:cubicBezTo>
                  <a:cubicBezTo>
                    <a:pt x="17421" y="12765"/>
                    <a:pt x="17365" y="12753"/>
                    <a:pt x="17291" y="12773"/>
                  </a:cubicBezTo>
                  <a:cubicBezTo>
                    <a:pt x="17012" y="12845"/>
                    <a:pt x="16778" y="12967"/>
                    <a:pt x="16551" y="13128"/>
                  </a:cubicBezTo>
                  <a:cubicBezTo>
                    <a:pt x="16451" y="13198"/>
                    <a:pt x="16341" y="13252"/>
                    <a:pt x="16245" y="13329"/>
                  </a:cubicBezTo>
                  <a:cubicBezTo>
                    <a:pt x="16096" y="13447"/>
                    <a:pt x="15974" y="13595"/>
                    <a:pt x="15859" y="13739"/>
                  </a:cubicBezTo>
                  <a:cubicBezTo>
                    <a:pt x="15716" y="13918"/>
                    <a:pt x="15572" y="14091"/>
                    <a:pt x="15411" y="14250"/>
                  </a:cubicBezTo>
                  <a:cubicBezTo>
                    <a:pt x="15323" y="14336"/>
                    <a:pt x="15258" y="14455"/>
                    <a:pt x="15188" y="14556"/>
                  </a:cubicBezTo>
                  <a:cubicBezTo>
                    <a:pt x="15158" y="14598"/>
                    <a:pt x="15096" y="14630"/>
                    <a:pt x="15074" y="14663"/>
                  </a:cubicBezTo>
                  <a:cubicBezTo>
                    <a:pt x="15021" y="14746"/>
                    <a:pt x="14965" y="14817"/>
                    <a:pt x="14917" y="14905"/>
                  </a:cubicBezTo>
                  <a:cubicBezTo>
                    <a:pt x="14843" y="15044"/>
                    <a:pt x="14793" y="15185"/>
                    <a:pt x="14694" y="15317"/>
                  </a:cubicBezTo>
                  <a:cubicBezTo>
                    <a:pt x="14656" y="15369"/>
                    <a:pt x="14621" y="15413"/>
                    <a:pt x="14591" y="15481"/>
                  </a:cubicBezTo>
                  <a:cubicBezTo>
                    <a:pt x="14554" y="15566"/>
                    <a:pt x="14519" y="15652"/>
                    <a:pt x="14483" y="15739"/>
                  </a:cubicBezTo>
                  <a:cubicBezTo>
                    <a:pt x="14430" y="15863"/>
                    <a:pt x="14368" y="15981"/>
                    <a:pt x="14349" y="16114"/>
                  </a:cubicBezTo>
                  <a:cubicBezTo>
                    <a:pt x="14336" y="16207"/>
                    <a:pt x="14363" y="16244"/>
                    <a:pt x="14338" y="16337"/>
                  </a:cubicBezTo>
                  <a:cubicBezTo>
                    <a:pt x="14322" y="16396"/>
                    <a:pt x="14305" y="16457"/>
                    <a:pt x="14294" y="16517"/>
                  </a:cubicBezTo>
                  <a:cubicBezTo>
                    <a:pt x="14279" y="16596"/>
                    <a:pt x="14264" y="16674"/>
                    <a:pt x="14239" y="16751"/>
                  </a:cubicBezTo>
                  <a:cubicBezTo>
                    <a:pt x="14202" y="16866"/>
                    <a:pt x="14223" y="16949"/>
                    <a:pt x="14182" y="17058"/>
                  </a:cubicBezTo>
                  <a:cubicBezTo>
                    <a:pt x="14128" y="17204"/>
                    <a:pt x="14124" y="17368"/>
                    <a:pt x="14060" y="17510"/>
                  </a:cubicBezTo>
                  <a:cubicBezTo>
                    <a:pt x="14002" y="17641"/>
                    <a:pt x="13845" y="17775"/>
                    <a:pt x="13743" y="17880"/>
                  </a:cubicBezTo>
                  <a:cubicBezTo>
                    <a:pt x="13699" y="17926"/>
                    <a:pt x="13628" y="17969"/>
                    <a:pt x="13591" y="18014"/>
                  </a:cubicBezTo>
                  <a:cubicBezTo>
                    <a:pt x="13550" y="18063"/>
                    <a:pt x="13535" y="18139"/>
                    <a:pt x="13512" y="18195"/>
                  </a:cubicBezTo>
                  <a:lnTo>
                    <a:pt x="13498" y="18185"/>
                  </a:lnTo>
                  <a:cubicBezTo>
                    <a:pt x="13558" y="18048"/>
                    <a:pt x="13576" y="17906"/>
                    <a:pt x="13641" y="17765"/>
                  </a:cubicBezTo>
                  <a:cubicBezTo>
                    <a:pt x="13681" y="17678"/>
                    <a:pt x="13777" y="17613"/>
                    <a:pt x="13806" y="17524"/>
                  </a:cubicBezTo>
                  <a:cubicBezTo>
                    <a:pt x="13822" y="17472"/>
                    <a:pt x="13822" y="17386"/>
                    <a:pt x="13823" y="17332"/>
                  </a:cubicBezTo>
                  <a:cubicBezTo>
                    <a:pt x="13823" y="17267"/>
                    <a:pt x="13817" y="17203"/>
                    <a:pt x="13818" y="17137"/>
                  </a:cubicBezTo>
                  <a:cubicBezTo>
                    <a:pt x="13820" y="17078"/>
                    <a:pt x="13789" y="17083"/>
                    <a:pt x="13855" y="17031"/>
                  </a:cubicBezTo>
                  <a:cubicBezTo>
                    <a:pt x="13893" y="17002"/>
                    <a:pt x="13931" y="16977"/>
                    <a:pt x="13957" y="16938"/>
                  </a:cubicBezTo>
                  <a:cubicBezTo>
                    <a:pt x="14004" y="16868"/>
                    <a:pt x="13962" y="16806"/>
                    <a:pt x="13971" y="16730"/>
                  </a:cubicBezTo>
                  <a:cubicBezTo>
                    <a:pt x="13979" y="16660"/>
                    <a:pt x="14022" y="16623"/>
                    <a:pt x="14054" y="16551"/>
                  </a:cubicBezTo>
                  <a:cubicBezTo>
                    <a:pt x="14097" y="16449"/>
                    <a:pt x="14072" y="16286"/>
                    <a:pt x="14053" y="16179"/>
                  </a:cubicBezTo>
                  <a:cubicBezTo>
                    <a:pt x="14046" y="16138"/>
                    <a:pt x="14054" y="16063"/>
                    <a:pt x="14034" y="16024"/>
                  </a:cubicBezTo>
                  <a:cubicBezTo>
                    <a:pt x="14011" y="15979"/>
                    <a:pt x="14042" y="15999"/>
                    <a:pt x="13984" y="15986"/>
                  </a:cubicBezTo>
                  <a:cubicBezTo>
                    <a:pt x="13954" y="15979"/>
                    <a:pt x="13923" y="15999"/>
                    <a:pt x="13889" y="15989"/>
                  </a:cubicBezTo>
                  <a:cubicBezTo>
                    <a:pt x="13825" y="15969"/>
                    <a:pt x="13805" y="15915"/>
                    <a:pt x="13721" y="15939"/>
                  </a:cubicBezTo>
                  <a:cubicBezTo>
                    <a:pt x="13650" y="15959"/>
                    <a:pt x="13627" y="15998"/>
                    <a:pt x="13550" y="15992"/>
                  </a:cubicBezTo>
                  <a:cubicBezTo>
                    <a:pt x="13422" y="15981"/>
                    <a:pt x="13303" y="15960"/>
                    <a:pt x="13174" y="16016"/>
                  </a:cubicBezTo>
                  <a:cubicBezTo>
                    <a:pt x="13124" y="16037"/>
                    <a:pt x="13054" y="16066"/>
                    <a:pt x="13010" y="16095"/>
                  </a:cubicBezTo>
                  <a:cubicBezTo>
                    <a:pt x="12897" y="16167"/>
                    <a:pt x="12913" y="16169"/>
                    <a:pt x="12944" y="16050"/>
                  </a:cubicBezTo>
                  <a:cubicBezTo>
                    <a:pt x="12861" y="16063"/>
                    <a:pt x="12770" y="16044"/>
                    <a:pt x="12701" y="16093"/>
                  </a:cubicBezTo>
                  <a:cubicBezTo>
                    <a:pt x="12746" y="16034"/>
                    <a:pt x="12810" y="16045"/>
                    <a:pt x="12873" y="16029"/>
                  </a:cubicBezTo>
                  <a:cubicBezTo>
                    <a:pt x="12896" y="16024"/>
                    <a:pt x="12937" y="15999"/>
                    <a:pt x="12959" y="16000"/>
                  </a:cubicBezTo>
                  <a:cubicBezTo>
                    <a:pt x="12981" y="16000"/>
                    <a:pt x="13011" y="16026"/>
                    <a:pt x="13026" y="16025"/>
                  </a:cubicBezTo>
                  <a:cubicBezTo>
                    <a:pt x="13111" y="16020"/>
                    <a:pt x="13245" y="15961"/>
                    <a:pt x="13333" y="15929"/>
                  </a:cubicBezTo>
                  <a:cubicBezTo>
                    <a:pt x="13424" y="15896"/>
                    <a:pt x="13540" y="15975"/>
                    <a:pt x="13639" y="15939"/>
                  </a:cubicBezTo>
                  <a:cubicBezTo>
                    <a:pt x="13701" y="15915"/>
                    <a:pt x="13707" y="15902"/>
                    <a:pt x="13765" y="15905"/>
                  </a:cubicBezTo>
                  <a:cubicBezTo>
                    <a:pt x="13820" y="15908"/>
                    <a:pt x="13845" y="15937"/>
                    <a:pt x="13894" y="15949"/>
                  </a:cubicBezTo>
                  <a:cubicBezTo>
                    <a:pt x="13941" y="15960"/>
                    <a:pt x="14050" y="15966"/>
                    <a:pt x="14066" y="15910"/>
                  </a:cubicBezTo>
                  <a:cubicBezTo>
                    <a:pt x="14087" y="15839"/>
                    <a:pt x="14095" y="15783"/>
                    <a:pt x="14129" y="15718"/>
                  </a:cubicBezTo>
                  <a:cubicBezTo>
                    <a:pt x="14183" y="15614"/>
                    <a:pt x="14192" y="15474"/>
                    <a:pt x="14173" y="15360"/>
                  </a:cubicBezTo>
                  <a:cubicBezTo>
                    <a:pt x="14169" y="15331"/>
                    <a:pt x="14157" y="15304"/>
                    <a:pt x="14162" y="15272"/>
                  </a:cubicBezTo>
                  <a:cubicBezTo>
                    <a:pt x="14169" y="15224"/>
                    <a:pt x="14215" y="15200"/>
                    <a:pt x="14226" y="15155"/>
                  </a:cubicBezTo>
                  <a:cubicBezTo>
                    <a:pt x="14242" y="15095"/>
                    <a:pt x="14184" y="15034"/>
                    <a:pt x="14195" y="14975"/>
                  </a:cubicBezTo>
                  <a:cubicBezTo>
                    <a:pt x="14205" y="14917"/>
                    <a:pt x="14264" y="14846"/>
                    <a:pt x="14293" y="14787"/>
                  </a:cubicBezTo>
                  <a:cubicBezTo>
                    <a:pt x="14333" y="14707"/>
                    <a:pt x="14345" y="14695"/>
                    <a:pt x="14427" y="14640"/>
                  </a:cubicBezTo>
                  <a:cubicBezTo>
                    <a:pt x="14389" y="14632"/>
                    <a:pt x="14378" y="14499"/>
                    <a:pt x="14399" y="14447"/>
                  </a:cubicBezTo>
                  <a:cubicBezTo>
                    <a:pt x="14451" y="14318"/>
                    <a:pt x="14549" y="14344"/>
                    <a:pt x="14444" y="14231"/>
                  </a:cubicBezTo>
                  <a:cubicBezTo>
                    <a:pt x="14525" y="14275"/>
                    <a:pt x="14563" y="14285"/>
                    <a:pt x="14519" y="14381"/>
                  </a:cubicBezTo>
                  <a:cubicBezTo>
                    <a:pt x="14537" y="14378"/>
                    <a:pt x="14672" y="14230"/>
                    <a:pt x="14675" y="14210"/>
                  </a:cubicBezTo>
                  <a:cubicBezTo>
                    <a:pt x="14685" y="14130"/>
                    <a:pt x="14608" y="14203"/>
                    <a:pt x="14559" y="14177"/>
                  </a:cubicBezTo>
                  <a:cubicBezTo>
                    <a:pt x="14583" y="14166"/>
                    <a:pt x="14616" y="14146"/>
                    <a:pt x="14635" y="14123"/>
                  </a:cubicBezTo>
                  <a:cubicBezTo>
                    <a:pt x="14663" y="14089"/>
                    <a:pt x="14631" y="14065"/>
                    <a:pt x="14643" y="14038"/>
                  </a:cubicBezTo>
                  <a:cubicBezTo>
                    <a:pt x="14664" y="13986"/>
                    <a:pt x="14739" y="13938"/>
                    <a:pt x="14801" y="13915"/>
                  </a:cubicBezTo>
                  <a:cubicBezTo>
                    <a:pt x="14928" y="13866"/>
                    <a:pt x="15048" y="13764"/>
                    <a:pt x="15164" y="13683"/>
                  </a:cubicBezTo>
                  <a:cubicBezTo>
                    <a:pt x="15246" y="13626"/>
                    <a:pt x="15261" y="13468"/>
                    <a:pt x="15213" y="13377"/>
                  </a:cubicBezTo>
                  <a:cubicBezTo>
                    <a:pt x="15179" y="13312"/>
                    <a:pt x="15159" y="13284"/>
                    <a:pt x="15148" y="13208"/>
                  </a:cubicBezTo>
                  <a:cubicBezTo>
                    <a:pt x="15143" y="13171"/>
                    <a:pt x="15143" y="13166"/>
                    <a:pt x="15130" y="13132"/>
                  </a:cubicBezTo>
                  <a:cubicBezTo>
                    <a:pt x="15119" y="13105"/>
                    <a:pt x="15096" y="13085"/>
                    <a:pt x="15089" y="13052"/>
                  </a:cubicBezTo>
                  <a:cubicBezTo>
                    <a:pt x="15067" y="12954"/>
                    <a:pt x="15136" y="12972"/>
                    <a:pt x="15160" y="12906"/>
                  </a:cubicBezTo>
                  <a:cubicBezTo>
                    <a:pt x="15179" y="12853"/>
                    <a:pt x="15129" y="12805"/>
                    <a:pt x="15127" y="12759"/>
                  </a:cubicBezTo>
                  <a:cubicBezTo>
                    <a:pt x="15123" y="12664"/>
                    <a:pt x="15345" y="12467"/>
                    <a:pt x="15252" y="12384"/>
                  </a:cubicBezTo>
                  <a:cubicBezTo>
                    <a:pt x="15297" y="12391"/>
                    <a:pt x="15473" y="12351"/>
                    <a:pt x="15397" y="12323"/>
                  </a:cubicBezTo>
                  <a:cubicBezTo>
                    <a:pt x="15360" y="12309"/>
                    <a:pt x="15346" y="12370"/>
                    <a:pt x="15307" y="12323"/>
                  </a:cubicBezTo>
                  <a:cubicBezTo>
                    <a:pt x="15291" y="12303"/>
                    <a:pt x="15297" y="12256"/>
                    <a:pt x="15313" y="12237"/>
                  </a:cubicBezTo>
                  <a:cubicBezTo>
                    <a:pt x="15359" y="12181"/>
                    <a:pt x="15418" y="12258"/>
                    <a:pt x="15490" y="12230"/>
                  </a:cubicBezTo>
                  <a:cubicBezTo>
                    <a:pt x="15507" y="12223"/>
                    <a:pt x="15615" y="12175"/>
                    <a:pt x="15630" y="12159"/>
                  </a:cubicBezTo>
                  <a:cubicBezTo>
                    <a:pt x="15653" y="12135"/>
                    <a:pt x="15665" y="12135"/>
                    <a:pt x="15634" y="12096"/>
                  </a:cubicBezTo>
                  <a:cubicBezTo>
                    <a:pt x="15698" y="12134"/>
                    <a:pt x="15672" y="12020"/>
                    <a:pt x="15705" y="11989"/>
                  </a:cubicBezTo>
                  <a:cubicBezTo>
                    <a:pt x="15745" y="11951"/>
                    <a:pt x="15844" y="11962"/>
                    <a:pt x="15898" y="11931"/>
                  </a:cubicBezTo>
                  <a:cubicBezTo>
                    <a:pt x="16025" y="11858"/>
                    <a:pt x="16121" y="11730"/>
                    <a:pt x="16257" y="11671"/>
                  </a:cubicBezTo>
                  <a:cubicBezTo>
                    <a:pt x="16313" y="11647"/>
                    <a:pt x="16387" y="11636"/>
                    <a:pt x="16447" y="11610"/>
                  </a:cubicBezTo>
                  <a:cubicBezTo>
                    <a:pt x="16522" y="11578"/>
                    <a:pt x="16588" y="11549"/>
                    <a:pt x="16657" y="11506"/>
                  </a:cubicBezTo>
                  <a:cubicBezTo>
                    <a:pt x="16750" y="11449"/>
                    <a:pt x="16844" y="11356"/>
                    <a:pt x="16945" y="11317"/>
                  </a:cubicBezTo>
                  <a:cubicBezTo>
                    <a:pt x="17022" y="11288"/>
                    <a:pt x="17092" y="11293"/>
                    <a:pt x="17165" y="11246"/>
                  </a:cubicBezTo>
                  <a:cubicBezTo>
                    <a:pt x="17268" y="11179"/>
                    <a:pt x="17358" y="11059"/>
                    <a:pt x="17484" y="11032"/>
                  </a:cubicBezTo>
                  <a:cubicBezTo>
                    <a:pt x="17503" y="11028"/>
                    <a:pt x="17534" y="11041"/>
                    <a:pt x="17568" y="11032"/>
                  </a:cubicBezTo>
                  <a:cubicBezTo>
                    <a:pt x="17609" y="11022"/>
                    <a:pt x="17643" y="10980"/>
                    <a:pt x="17685" y="10975"/>
                  </a:cubicBezTo>
                  <a:cubicBezTo>
                    <a:pt x="17724" y="10969"/>
                    <a:pt x="17721" y="11009"/>
                    <a:pt x="17765" y="10995"/>
                  </a:cubicBezTo>
                  <a:cubicBezTo>
                    <a:pt x="17766" y="10994"/>
                    <a:pt x="17870" y="10906"/>
                    <a:pt x="17874" y="10900"/>
                  </a:cubicBezTo>
                  <a:cubicBezTo>
                    <a:pt x="17901" y="10868"/>
                    <a:pt x="17885" y="10828"/>
                    <a:pt x="17901" y="10806"/>
                  </a:cubicBezTo>
                  <a:cubicBezTo>
                    <a:pt x="17926" y="10772"/>
                    <a:pt x="18010" y="10744"/>
                    <a:pt x="18049" y="10722"/>
                  </a:cubicBezTo>
                  <a:cubicBezTo>
                    <a:pt x="18115" y="10685"/>
                    <a:pt x="18173" y="10647"/>
                    <a:pt x="18233" y="10600"/>
                  </a:cubicBezTo>
                  <a:cubicBezTo>
                    <a:pt x="18230" y="10609"/>
                    <a:pt x="18228" y="10619"/>
                    <a:pt x="18227" y="10626"/>
                  </a:cubicBezTo>
                  <a:cubicBezTo>
                    <a:pt x="18270" y="10612"/>
                    <a:pt x="18471" y="10534"/>
                    <a:pt x="18477" y="10503"/>
                  </a:cubicBezTo>
                  <a:cubicBezTo>
                    <a:pt x="18492" y="10417"/>
                    <a:pt x="18640" y="10473"/>
                    <a:pt x="18698" y="10430"/>
                  </a:cubicBezTo>
                  <a:cubicBezTo>
                    <a:pt x="18750" y="10392"/>
                    <a:pt x="18915" y="10308"/>
                    <a:pt x="18970" y="10309"/>
                  </a:cubicBezTo>
                  <a:cubicBezTo>
                    <a:pt x="19004" y="10310"/>
                    <a:pt x="19050" y="10363"/>
                    <a:pt x="19062" y="10364"/>
                  </a:cubicBezTo>
                  <a:cubicBezTo>
                    <a:pt x="19110" y="10367"/>
                    <a:pt x="19150" y="10316"/>
                    <a:pt x="19185" y="10287"/>
                  </a:cubicBezTo>
                  <a:cubicBezTo>
                    <a:pt x="19153" y="10319"/>
                    <a:pt x="19128" y="10351"/>
                    <a:pt x="19114" y="10393"/>
                  </a:cubicBezTo>
                  <a:cubicBezTo>
                    <a:pt x="19221" y="10412"/>
                    <a:pt x="19376" y="10093"/>
                    <a:pt x="19463" y="10033"/>
                  </a:cubicBezTo>
                  <a:cubicBezTo>
                    <a:pt x="19497" y="10010"/>
                    <a:pt x="19523" y="10024"/>
                    <a:pt x="19564" y="9984"/>
                  </a:cubicBezTo>
                  <a:cubicBezTo>
                    <a:pt x="19596" y="9953"/>
                    <a:pt x="19624" y="9893"/>
                    <a:pt x="19670" y="9915"/>
                  </a:cubicBezTo>
                  <a:cubicBezTo>
                    <a:pt x="19694" y="9884"/>
                    <a:pt x="19699" y="9846"/>
                    <a:pt x="19716" y="9812"/>
                  </a:cubicBezTo>
                  <a:cubicBezTo>
                    <a:pt x="19764" y="9923"/>
                    <a:pt x="20026" y="9596"/>
                    <a:pt x="20086" y="9622"/>
                  </a:cubicBezTo>
                  <a:cubicBezTo>
                    <a:pt x="20088" y="9581"/>
                    <a:pt x="20142" y="9568"/>
                    <a:pt x="20108" y="9522"/>
                  </a:cubicBezTo>
                  <a:cubicBezTo>
                    <a:pt x="20146" y="9510"/>
                    <a:pt x="20166" y="9527"/>
                    <a:pt x="20163" y="9560"/>
                  </a:cubicBezTo>
                  <a:cubicBezTo>
                    <a:pt x="20179" y="9528"/>
                    <a:pt x="20228" y="9414"/>
                    <a:pt x="20233" y="9521"/>
                  </a:cubicBezTo>
                  <a:cubicBezTo>
                    <a:pt x="20242" y="9522"/>
                    <a:pt x="20267" y="9526"/>
                    <a:pt x="20271" y="9526"/>
                  </a:cubicBezTo>
                  <a:cubicBezTo>
                    <a:pt x="20338" y="9468"/>
                    <a:pt x="20408" y="9337"/>
                    <a:pt x="20413" y="9251"/>
                  </a:cubicBezTo>
                  <a:cubicBezTo>
                    <a:pt x="20415" y="9232"/>
                    <a:pt x="20357" y="9255"/>
                    <a:pt x="20338" y="9222"/>
                  </a:cubicBezTo>
                  <a:cubicBezTo>
                    <a:pt x="20280" y="9123"/>
                    <a:pt x="20475" y="9037"/>
                    <a:pt x="20467" y="8938"/>
                  </a:cubicBezTo>
                  <a:cubicBezTo>
                    <a:pt x="20463" y="8891"/>
                    <a:pt x="20468" y="8845"/>
                    <a:pt x="20465" y="8798"/>
                  </a:cubicBezTo>
                  <a:cubicBezTo>
                    <a:pt x="20461" y="8733"/>
                    <a:pt x="20479" y="8724"/>
                    <a:pt x="20494" y="8667"/>
                  </a:cubicBezTo>
                  <a:cubicBezTo>
                    <a:pt x="20506" y="8620"/>
                    <a:pt x="20510" y="8554"/>
                    <a:pt x="20519" y="8533"/>
                  </a:cubicBezTo>
                  <a:cubicBezTo>
                    <a:pt x="20520" y="8531"/>
                    <a:pt x="20548" y="8544"/>
                    <a:pt x="20554" y="8529"/>
                  </a:cubicBezTo>
                  <a:cubicBezTo>
                    <a:pt x="20558" y="8520"/>
                    <a:pt x="20542" y="8506"/>
                    <a:pt x="20546" y="8495"/>
                  </a:cubicBezTo>
                  <a:cubicBezTo>
                    <a:pt x="20554" y="8475"/>
                    <a:pt x="20560" y="8452"/>
                    <a:pt x="20558" y="8430"/>
                  </a:cubicBezTo>
                  <a:cubicBezTo>
                    <a:pt x="20552" y="8367"/>
                    <a:pt x="20487" y="8281"/>
                    <a:pt x="20562" y="8361"/>
                  </a:cubicBezTo>
                  <a:cubicBezTo>
                    <a:pt x="20584" y="8385"/>
                    <a:pt x="20573" y="8414"/>
                    <a:pt x="20614" y="8431"/>
                  </a:cubicBezTo>
                  <a:cubicBezTo>
                    <a:pt x="20677" y="8457"/>
                    <a:pt x="20648" y="8418"/>
                    <a:pt x="20654" y="8402"/>
                  </a:cubicBezTo>
                  <a:cubicBezTo>
                    <a:pt x="20688" y="8309"/>
                    <a:pt x="20587" y="8198"/>
                    <a:pt x="20521" y="8131"/>
                  </a:cubicBezTo>
                  <a:cubicBezTo>
                    <a:pt x="20521" y="8132"/>
                    <a:pt x="20416" y="8164"/>
                    <a:pt x="20498" y="8083"/>
                  </a:cubicBezTo>
                  <a:cubicBezTo>
                    <a:pt x="20542" y="8041"/>
                    <a:pt x="20581" y="8172"/>
                    <a:pt x="20579" y="8034"/>
                  </a:cubicBezTo>
                  <a:cubicBezTo>
                    <a:pt x="20579" y="8003"/>
                    <a:pt x="20547" y="8011"/>
                    <a:pt x="20562" y="7956"/>
                  </a:cubicBezTo>
                  <a:cubicBezTo>
                    <a:pt x="20571" y="7922"/>
                    <a:pt x="20609" y="7863"/>
                    <a:pt x="20630" y="7830"/>
                  </a:cubicBezTo>
                  <a:cubicBezTo>
                    <a:pt x="20679" y="7752"/>
                    <a:pt x="20554" y="7779"/>
                    <a:pt x="20524" y="7735"/>
                  </a:cubicBezTo>
                  <a:cubicBezTo>
                    <a:pt x="20565" y="7739"/>
                    <a:pt x="20567" y="7720"/>
                    <a:pt x="20544" y="7690"/>
                  </a:cubicBezTo>
                  <a:cubicBezTo>
                    <a:pt x="20601" y="7699"/>
                    <a:pt x="20591" y="7662"/>
                    <a:pt x="20614" y="7629"/>
                  </a:cubicBezTo>
                  <a:cubicBezTo>
                    <a:pt x="20645" y="7583"/>
                    <a:pt x="20608" y="7588"/>
                    <a:pt x="20676" y="7557"/>
                  </a:cubicBezTo>
                  <a:cubicBezTo>
                    <a:pt x="20729" y="7532"/>
                    <a:pt x="20825" y="7528"/>
                    <a:pt x="20742" y="7461"/>
                  </a:cubicBezTo>
                  <a:cubicBezTo>
                    <a:pt x="20768" y="7469"/>
                    <a:pt x="20793" y="7505"/>
                    <a:pt x="20821" y="7500"/>
                  </a:cubicBezTo>
                  <a:cubicBezTo>
                    <a:pt x="20861" y="7493"/>
                    <a:pt x="20910" y="7391"/>
                    <a:pt x="20928" y="7361"/>
                  </a:cubicBezTo>
                  <a:cubicBezTo>
                    <a:pt x="20960" y="7305"/>
                    <a:pt x="20963" y="7258"/>
                    <a:pt x="20982" y="7202"/>
                  </a:cubicBezTo>
                  <a:cubicBezTo>
                    <a:pt x="20989" y="7181"/>
                    <a:pt x="20994" y="7152"/>
                    <a:pt x="21003" y="7133"/>
                  </a:cubicBezTo>
                  <a:cubicBezTo>
                    <a:pt x="21006" y="7128"/>
                    <a:pt x="21040" y="7160"/>
                    <a:pt x="21042" y="7146"/>
                  </a:cubicBezTo>
                  <a:cubicBezTo>
                    <a:pt x="21043" y="7140"/>
                    <a:pt x="21030" y="7109"/>
                    <a:pt x="21030" y="7109"/>
                  </a:cubicBezTo>
                  <a:cubicBezTo>
                    <a:pt x="21037" y="7100"/>
                    <a:pt x="21015" y="7077"/>
                    <a:pt x="21019" y="7067"/>
                  </a:cubicBezTo>
                  <a:cubicBezTo>
                    <a:pt x="21027" y="7050"/>
                    <a:pt x="21066" y="7070"/>
                    <a:pt x="21073" y="7064"/>
                  </a:cubicBezTo>
                  <a:cubicBezTo>
                    <a:pt x="21095" y="7044"/>
                    <a:pt x="21118" y="7028"/>
                    <a:pt x="21131" y="6995"/>
                  </a:cubicBezTo>
                  <a:cubicBezTo>
                    <a:pt x="21161" y="7059"/>
                    <a:pt x="21207" y="6963"/>
                    <a:pt x="21229" y="6928"/>
                  </a:cubicBezTo>
                  <a:cubicBezTo>
                    <a:pt x="21245" y="6904"/>
                    <a:pt x="21254" y="6874"/>
                    <a:pt x="21287" y="6845"/>
                  </a:cubicBezTo>
                  <a:cubicBezTo>
                    <a:pt x="21343" y="6796"/>
                    <a:pt x="21310" y="6807"/>
                    <a:pt x="21375" y="6821"/>
                  </a:cubicBezTo>
                  <a:cubicBezTo>
                    <a:pt x="21444" y="6837"/>
                    <a:pt x="21437" y="6871"/>
                    <a:pt x="21520" y="6813"/>
                  </a:cubicBezTo>
                  <a:cubicBezTo>
                    <a:pt x="21536" y="6796"/>
                    <a:pt x="21590" y="6767"/>
                    <a:pt x="21600" y="6745"/>
                  </a:cubicBezTo>
                  <a:cubicBezTo>
                    <a:pt x="21600" y="6745"/>
                    <a:pt x="20959" y="6066"/>
                    <a:pt x="20959" y="6066"/>
                  </a:cubicBezTo>
                  <a:close/>
                  <a:moveTo>
                    <a:pt x="408" y="3377"/>
                  </a:moveTo>
                  <a:cubicBezTo>
                    <a:pt x="377" y="3426"/>
                    <a:pt x="372" y="3470"/>
                    <a:pt x="434" y="3455"/>
                  </a:cubicBezTo>
                  <a:cubicBezTo>
                    <a:pt x="482" y="3444"/>
                    <a:pt x="588" y="3344"/>
                    <a:pt x="619" y="3311"/>
                  </a:cubicBezTo>
                  <a:cubicBezTo>
                    <a:pt x="612" y="3311"/>
                    <a:pt x="602" y="3312"/>
                    <a:pt x="597" y="3311"/>
                  </a:cubicBezTo>
                  <a:cubicBezTo>
                    <a:pt x="619" y="3292"/>
                    <a:pt x="636" y="3270"/>
                    <a:pt x="648" y="3245"/>
                  </a:cubicBezTo>
                  <a:cubicBezTo>
                    <a:pt x="586" y="3232"/>
                    <a:pt x="443" y="3322"/>
                    <a:pt x="408" y="3377"/>
                  </a:cubicBezTo>
                  <a:close/>
                  <a:moveTo>
                    <a:pt x="9664" y="134"/>
                  </a:moveTo>
                  <a:cubicBezTo>
                    <a:pt x="9688" y="138"/>
                    <a:pt x="9716" y="135"/>
                    <a:pt x="9734" y="127"/>
                  </a:cubicBezTo>
                  <a:cubicBezTo>
                    <a:pt x="9693" y="110"/>
                    <a:pt x="9677" y="76"/>
                    <a:pt x="9677" y="34"/>
                  </a:cubicBezTo>
                  <a:cubicBezTo>
                    <a:pt x="9641" y="-8"/>
                    <a:pt x="9615" y="16"/>
                    <a:pt x="9611" y="60"/>
                  </a:cubicBezTo>
                  <a:cubicBezTo>
                    <a:pt x="9555" y="0"/>
                    <a:pt x="9496" y="-10"/>
                    <a:pt x="9434" y="9"/>
                  </a:cubicBezTo>
                  <a:cubicBezTo>
                    <a:pt x="9374" y="27"/>
                    <a:pt x="9328" y="50"/>
                    <a:pt x="9374" y="101"/>
                  </a:cubicBezTo>
                  <a:cubicBezTo>
                    <a:pt x="9448" y="180"/>
                    <a:pt x="9576" y="105"/>
                    <a:pt x="9664" y="134"/>
                  </a:cubicBezTo>
                  <a:close/>
                  <a:moveTo>
                    <a:pt x="19874" y="11383"/>
                  </a:moveTo>
                  <a:cubicBezTo>
                    <a:pt x="19829" y="11352"/>
                    <a:pt x="19771" y="11329"/>
                    <a:pt x="19720" y="11310"/>
                  </a:cubicBezTo>
                  <a:cubicBezTo>
                    <a:pt x="19597" y="11265"/>
                    <a:pt x="19504" y="11294"/>
                    <a:pt x="19378" y="11332"/>
                  </a:cubicBezTo>
                  <a:cubicBezTo>
                    <a:pt x="19305" y="11354"/>
                    <a:pt x="19261" y="11331"/>
                    <a:pt x="19192" y="11333"/>
                  </a:cubicBezTo>
                  <a:cubicBezTo>
                    <a:pt x="19137" y="11334"/>
                    <a:pt x="19097" y="11347"/>
                    <a:pt x="19041" y="11336"/>
                  </a:cubicBezTo>
                  <a:cubicBezTo>
                    <a:pt x="19008" y="11329"/>
                    <a:pt x="18976" y="11295"/>
                    <a:pt x="18933" y="11292"/>
                  </a:cubicBezTo>
                  <a:cubicBezTo>
                    <a:pt x="18885" y="11289"/>
                    <a:pt x="18826" y="11303"/>
                    <a:pt x="18777" y="11308"/>
                  </a:cubicBezTo>
                  <a:cubicBezTo>
                    <a:pt x="18692" y="11316"/>
                    <a:pt x="18599" y="11332"/>
                    <a:pt x="18513" y="11343"/>
                  </a:cubicBezTo>
                  <a:cubicBezTo>
                    <a:pt x="18345" y="11363"/>
                    <a:pt x="18146" y="11377"/>
                    <a:pt x="17973" y="11447"/>
                  </a:cubicBezTo>
                  <a:cubicBezTo>
                    <a:pt x="17793" y="11511"/>
                    <a:pt x="17620" y="11573"/>
                    <a:pt x="17432" y="11614"/>
                  </a:cubicBezTo>
                  <a:cubicBezTo>
                    <a:pt x="17331" y="11637"/>
                    <a:pt x="17304" y="11672"/>
                    <a:pt x="17232" y="11735"/>
                  </a:cubicBezTo>
                  <a:cubicBezTo>
                    <a:pt x="17182" y="11779"/>
                    <a:pt x="17130" y="11822"/>
                    <a:pt x="17183" y="11865"/>
                  </a:cubicBezTo>
                  <a:cubicBezTo>
                    <a:pt x="17182" y="11865"/>
                    <a:pt x="17262" y="11888"/>
                    <a:pt x="17265" y="11888"/>
                  </a:cubicBezTo>
                  <a:cubicBezTo>
                    <a:pt x="17330" y="11877"/>
                    <a:pt x="17266" y="11848"/>
                    <a:pt x="17308" y="11841"/>
                  </a:cubicBezTo>
                  <a:cubicBezTo>
                    <a:pt x="17332" y="11837"/>
                    <a:pt x="17364" y="11864"/>
                    <a:pt x="17387" y="11867"/>
                  </a:cubicBezTo>
                  <a:cubicBezTo>
                    <a:pt x="17421" y="11872"/>
                    <a:pt x="17461" y="11866"/>
                    <a:pt x="17495" y="11862"/>
                  </a:cubicBezTo>
                  <a:cubicBezTo>
                    <a:pt x="17559" y="11855"/>
                    <a:pt x="17623" y="11835"/>
                    <a:pt x="17688" y="11826"/>
                  </a:cubicBezTo>
                  <a:cubicBezTo>
                    <a:pt x="17803" y="11812"/>
                    <a:pt x="17962" y="11823"/>
                    <a:pt x="18070" y="11867"/>
                  </a:cubicBezTo>
                  <a:cubicBezTo>
                    <a:pt x="18127" y="11890"/>
                    <a:pt x="18150" y="11925"/>
                    <a:pt x="18198" y="11959"/>
                  </a:cubicBezTo>
                  <a:cubicBezTo>
                    <a:pt x="18265" y="12004"/>
                    <a:pt x="18342" y="11968"/>
                    <a:pt x="18421" y="11954"/>
                  </a:cubicBezTo>
                  <a:cubicBezTo>
                    <a:pt x="18553" y="11932"/>
                    <a:pt x="18682" y="11963"/>
                    <a:pt x="18820" y="11931"/>
                  </a:cubicBezTo>
                  <a:cubicBezTo>
                    <a:pt x="18955" y="11901"/>
                    <a:pt x="19089" y="11869"/>
                    <a:pt x="19218" y="11820"/>
                  </a:cubicBezTo>
                  <a:cubicBezTo>
                    <a:pt x="19286" y="11795"/>
                    <a:pt x="19351" y="11776"/>
                    <a:pt x="19424" y="11766"/>
                  </a:cubicBezTo>
                  <a:cubicBezTo>
                    <a:pt x="19532" y="11751"/>
                    <a:pt x="19529" y="11734"/>
                    <a:pt x="19608" y="11682"/>
                  </a:cubicBezTo>
                  <a:cubicBezTo>
                    <a:pt x="19708" y="11616"/>
                    <a:pt x="19833" y="11591"/>
                    <a:pt x="19896" y="11497"/>
                  </a:cubicBezTo>
                  <a:cubicBezTo>
                    <a:pt x="19924" y="11455"/>
                    <a:pt x="19925" y="11493"/>
                    <a:pt x="19923" y="11444"/>
                  </a:cubicBezTo>
                  <a:cubicBezTo>
                    <a:pt x="19920" y="11379"/>
                    <a:pt x="19920" y="11414"/>
                    <a:pt x="19874" y="11383"/>
                  </a:cubicBezTo>
                  <a:close/>
                  <a:moveTo>
                    <a:pt x="21592" y="6700"/>
                  </a:moveTo>
                  <a:cubicBezTo>
                    <a:pt x="21592" y="6700"/>
                    <a:pt x="21592" y="6700"/>
                    <a:pt x="21592" y="6700"/>
                  </a:cubicBezTo>
                  <a:cubicBezTo>
                    <a:pt x="21592" y="6700"/>
                    <a:pt x="21592" y="6700"/>
                    <a:pt x="21592" y="6700"/>
                  </a:cubicBezTo>
                  <a:cubicBezTo>
                    <a:pt x="21592" y="6700"/>
                    <a:pt x="21592" y="6700"/>
                    <a:pt x="21592" y="6700"/>
                  </a:cubicBezTo>
                  <a:close/>
                  <a:moveTo>
                    <a:pt x="21592" y="6700"/>
                  </a:moveTo>
                </a:path>
              </a:pathLst>
            </a:custGeom>
            <a:grpFill/>
            <a:ln w="12700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2" name="AutoShape 8"/>
            <p:cNvSpPr>
              <a:spLocks/>
            </p:cNvSpPr>
            <p:nvPr/>
          </p:nvSpPr>
          <p:spPr bwMode="auto">
            <a:xfrm>
              <a:off x="-896373" y="-55827"/>
              <a:ext cx="784225" cy="1212850"/>
            </a:xfrm>
            <a:custGeom>
              <a:avLst/>
              <a:gdLst/>
              <a:ahLst/>
              <a:cxnLst/>
              <a:rect l="0" t="0" r="r" b="b"/>
              <a:pathLst>
                <a:path w="21363" h="21600">
                  <a:moveTo>
                    <a:pt x="14915" y="808"/>
                  </a:moveTo>
                  <a:cubicBezTo>
                    <a:pt x="14982" y="780"/>
                    <a:pt x="15036" y="771"/>
                    <a:pt x="15104" y="763"/>
                  </a:cubicBezTo>
                  <a:cubicBezTo>
                    <a:pt x="15178" y="754"/>
                    <a:pt x="15241" y="835"/>
                    <a:pt x="15175" y="707"/>
                  </a:cubicBezTo>
                  <a:cubicBezTo>
                    <a:pt x="15110" y="582"/>
                    <a:pt x="14942" y="613"/>
                    <a:pt x="14804" y="673"/>
                  </a:cubicBezTo>
                  <a:cubicBezTo>
                    <a:pt x="14892" y="689"/>
                    <a:pt x="14900" y="752"/>
                    <a:pt x="14915" y="808"/>
                  </a:cubicBezTo>
                  <a:close/>
                  <a:moveTo>
                    <a:pt x="20963" y="20081"/>
                  </a:moveTo>
                  <a:cubicBezTo>
                    <a:pt x="21384" y="20081"/>
                    <a:pt x="21541" y="19617"/>
                    <a:pt x="21094" y="19617"/>
                  </a:cubicBezTo>
                  <a:cubicBezTo>
                    <a:pt x="20647" y="19617"/>
                    <a:pt x="20029" y="19763"/>
                    <a:pt x="19806" y="19617"/>
                  </a:cubicBezTo>
                  <a:cubicBezTo>
                    <a:pt x="19582" y="19470"/>
                    <a:pt x="19780" y="19290"/>
                    <a:pt x="19306" y="19358"/>
                  </a:cubicBezTo>
                  <a:cubicBezTo>
                    <a:pt x="18833" y="19427"/>
                    <a:pt x="18544" y="19565"/>
                    <a:pt x="18334" y="19427"/>
                  </a:cubicBezTo>
                  <a:cubicBezTo>
                    <a:pt x="18123" y="19290"/>
                    <a:pt x="17965" y="19083"/>
                    <a:pt x="18070" y="18688"/>
                  </a:cubicBezTo>
                  <a:cubicBezTo>
                    <a:pt x="18176" y="18292"/>
                    <a:pt x="18452" y="18146"/>
                    <a:pt x="18176" y="17965"/>
                  </a:cubicBezTo>
                  <a:cubicBezTo>
                    <a:pt x="17900" y="17784"/>
                    <a:pt x="17781" y="17741"/>
                    <a:pt x="17781" y="17500"/>
                  </a:cubicBezTo>
                  <a:cubicBezTo>
                    <a:pt x="17781" y="17259"/>
                    <a:pt x="17663" y="17182"/>
                    <a:pt x="17479" y="17062"/>
                  </a:cubicBezTo>
                  <a:cubicBezTo>
                    <a:pt x="17295" y="16941"/>
                    <a:pt x="17623" y="16571"/>
                    <a:pt x="17295" y="16503"/>
                  </a:cubicBezTo>
                  <a:cubicBezTo>
                    <a:pt x="16966" y="16434"/>
                    <a:pt x="16467" y="16451"/>
                    <a:pt x="16467" y="16262"/>
                  </a:cubicBezTo>
                  <a:cubicBezTo>
                    <a:pt x="16467" y="16072"/>
                    <a:pt x="16848" y="15771"/>
                    <a:pt x="16624" y="15625"/>
                  </a:cubicBezTo>
                  <a:cubicBezTo>
                    <a:pt x="16401" y="15479"/>
                    <a:pt x="16835" y="15401"/>
                    <a:pt x="16730" y="15143"/>
                  </a:cubicBezTo>
                  <a:cubicBezTo>
                    <a:pt x="16624" y="14885"/>
                    <a:pt x="16454" y="14790"/>
                    <a:pt x="16624" y="14679"/>
                  </a:cubicBezTo>
                  <a:cubicBezTo>
                    <a:pt x="16795" y="14567"/>
                    <a:pt x="17006" y="14361"/>
                    <a:pt x="16809" y="14231"/>
                  </a:cubicBezTo>
                  <a:cubicBezTo>
                    <a:pt x="16611" y="14102"/>
                    <a:pt x="16835" y="13870"/>
                    <a:pt x="16835" y="13870"/>
                  </a:cubicBezTo>
                  <a:cubicBezTo>
                    <a:pt x="16835" y="13870"/>
                    <a:pt x="17282" y="13543"/>
                    <a:pt x="17071" y="13406"/>
                  </a:cubicBezTo>
                  <a:cubicBezTo>
                    <a:pt x="16861" y="13268"/>
                    <a:pt x="17374" y="13191"/>
                    <a:pt x="17124" y="13027"/>
                  </a:cubicBezTo>
                  <a:cubicBezTo>
                    <a:pt x="16874" y="12864"/>
                    <a:pt x="16598" y="12821"/>
                    <a:pt x="16598" y="12511"/>
                  </a:cubicBezTo>
                  <a:cubicBezTo>
                    <a:pt x="16598" y="12201"/>
                    <a:pt x="17072" y="12046"/>
                    <a:pt x="16519" y="11857"/>
                  </a:cubicBezTo>
                  <a:cubicBezTo>
                    <a:pt x="15967" y="11668"/>
                    <a:pt x="15704" y="11823"/>
                    <a:pt x="15836" y="11582"/>
                  </a:cubicBezTo>
                  <a:cubicBezTo>
                    <a:pt x="15967" y="11341"/>
                    <a:pt x="15928" y="11075"/>
                    <a:pt x="15678" y="10911"/>
                  </a:cubicBezTo>
                  <a:cubicBezTo>
                    <a:pt x="15428" y="10747"/>
                    <a:pt x="15625" y="10876"/>
                    <a:pt x="15625" y="10618"/>
                  </a:cubicBezTo>
                  <a:cubicBezTo>
                    <a:pt x="15625" y="10360"/>
                    <a:pt x="16072" y="10378"/>
                    <a:pt x="15915" y="10274"/>
                  </a:cubicBezTo>
                  <a:cubicBezTo>
                    <a:pt x="15757" y="10171"/>
                    <a:pt x="15573" y="9965"/>
                    <a:pt x="15862" y="9965"/>
                  </a:cubicBezTo>
                  <a:cubicBezTo>
                    <a:pt x="16151" y="9965"/>
                    <a:pt x="16151" y="9689"/>
                    <a:pt x="16493" y="9689"/>
                  </a:cubicBezTo>
                  <a:cubicBezTo>
                    <a:pt x="16835" y="9689"/>
                    <a:pt x="16835" y="9552"/>
                    <a:pt x="16835" y="9380"/>
                  </a:cubicBezTo>
                  <a:cubicBezTo>
                    <a:pt x="16835" y="9208"/>
                    <a:pt x="16730" y="9001"/>
                    <a:pt x="16835" y="9001"/>
                  </a:cubicBezTo>
                  <a:cubicBezTo>
                    <a:pt x="16940" y="9001"/>
                    <a:pt x="17282" y="8709"/>
                    <a:pt x="16940" y="8709"/>
                  </a:cubicBezTo>
                  <a:cubicBezTo>
                    <a:pt x="16598" y="8709"/>
                    <a:pt x="16756" y="8545"/>
                    <a:pt x="16348" y="8545"/>
                  </a:cubicBezTo>
                  <a:cubicBezTo>
                    <a:pt x="15941" y="8545"/>
                    <a:pt x="15481" y="8700"/>
                    <a:pt x="15711" y="8395"/>
                  </a:cubicBezTo>
                  <a:cubicBezTo>
                    <a:pt x="15941" y="8089"/>
                    <a:pt x="16230" y="7866"/>
                    <a:pt x="16230" y="7677"/>
                  </a:cubicBezTo>
                  <a:cubicBezTo>
                    <a:pt x="16230" y="7487"/>
                    <a:pt x="16269" y="7307"/>
                    <a:pt x="16493" y="7160"/>
                  </a:cubicBezTo>
                  <a:cubicBezTo>
                    <a:pt x="16717" y="7014"/>
                    <a:pt x="17045" y="6799"/>
                    <a:pt x="16546" y="6661"/>
                  </a:cubicBezTo>
                  <a:cubicBezTo>
                    <a:pt x="16046" y="6524"/>
                    <a:pt x="15809" y="6386"/>
                    <a:pt x="15336" y="6266"/>
                  </a:cubicBezTo>
                  <a:cubicBezTo>
                    <a:pt x="14863" y="6145"/>
                    <a:pt x="14442" y="6524"/>
                    <a:pt x="14547" y="5973"/>
                  </a:cubicBezTo>
                  <a:cubicBezTo>
                    <a:pt x="14653" y="5423"/>
                    <a:pt x="14744" y="5362"/>
                    <a:pt x="14994" y="5199"/>
                  </a:cubicBezTo>
                  <a:cubicBezTo>
                    <a:pt x="15244" y="5036"/>
                    <a:pt x="14955" y="4924"/>
                    <a:pt x="15099" y="4649"/>
                  </a:cubicBezTo>
                  <a:cubicBezTo>
                    <a:pt x="15244" y="4373"/>
                    <a:pt x="15744" y="4382"/>
                    <a:pt x="15868" y="3965"/>
                  </a:cubicBezTo>
                  <a:cubicBezTo>
                    <a:pt x="15993" y="3547"/>
                    <a:pt x="15914" y="3444"/>
                    <a:pt x="16256" y="3220"/>
                  </a:cubicBezTo>
                  <a:cubicBezTo>
                    <a:pt x="16389" y="3133"/>
                    <a:pt x="16510" y="2978"/>
                    <a:pt x="16608" y="2790"/>
                  </a:cubicBezTo>
                  <a:cubicBezTo>
                    <a:pt x="16554" y="2755"/>
                    <a:pt x="16495" y="2720"/>
                    <a:pt x="16428" y="2683"/>
                  </a:cubicBezTo>
                  <a:cubicBezTo>
                    <a:pt x="16198" y="2657"/>
                    <a:pt x="16119" y="2644"/>
                    <a:pt x="16004" y="2495"/>
                  </a:cubicBezTo>
                  <a:cubicBezTo>
                    <a:pt x="15948" y="2422"/>
                    <a:pt x="15849" y="2417"/>
                    <a:pt x="15779" y="2365"/>
                  </a:cubicBezTo>
                  <a:cubicBezTo>
                    <a:pt x="15722" y="2323"/>
                    <a:pt x="15726" y="2259"/>
                    <a:pt x="15701" y="2221"/>
                  </a:cubicBezTo>
                  <a:cubicBezTo>
                    <a:pt x="15590" y="2049"/>
                    <a:pt x="15356" y="1913"/>
                    <a:pt x="15241" y="1741"/>
                  </a:cubicBezTo>
                  <a:cubicBezTo>
                    <a:pt x="15193" y="1669"/>
                    <a:pt x="15175" y="1598"/>
                    <a:pt x="15194" y="1519"/>
                  </a:cubicBezTo>
                  <a:cubicBezTo>
                    <a:pt x="15200" y="1495"/>
                    <a:pt x="15309" y="1407"/>
                    <a:pt x="15202" y="1416"/>
                  </a:cubicBezTo>
                  <a:cubicBezTo>
                    <a:pt x="15143" y="1420"/>
                    <a:pt x="15184" y="1481"/>
                    <a:pt x="15100" y="1490"/>
                  </a:cubicBezTo>
                  <a:cubicBezTo>
                    <a:pt x="14944" y="1505"/>
                    <a:pt x="14979" y="1374"/>
                    <a:pt x="14976" y="1301"/>
                  </a:cubicBezTo>
                  <a:cubicBezTo>
                    <a:pt x="14972" y="1217"/>
                    <a:pt x="14930" y="1163"/>
                    <a:pt x="14895" y="1082"/>
                  </a:cubicBezTo>
                  <a:cubicBezTo>
                    <a:pt x="14864" y="1011"/>
                    <a:pt x="14906" y="930"/>
                    <a:pt x="14882" y="865"/>
                  </a:cubicBezTo>
                  <a:cubicBezTo>
                    <a:pt x="14829" y="719"/>
                    <a:pt x="14540" y="638"/>
                    <a:pt x="14454" y="498"/>
                  </a:cubicBezTo>
                  <a:cubicBezTo>
                    <a:pt x="14481" y="515"/>
                    <a:pt x="14510" y="530"/>
                    <a:pt x="14536" y="551"/>
                  </a:cubicBezTo>
                  <a:cubicBezTo>
                    <a:pt x="14403" y="416"/>
                    <a:pt x="14265" y="400"/>
                    <a:pt x="14053" y="327"/>
                  </a:cubicBezTo>
                  <a:cubicBezTo>
                    <a:pt x="13833" y="250"/>
                    <a:pt x="13664" y="113"/>
                    <a:pt x="13487" y="0"/>
                  </a:cubicBezTo>
                  <a:cubicBezTo>
                    <a:pt x="12516" y="1031"/>
                    <a:pt x="11547" y="2063"/>
                    <a:pt x="10578" y="3095"/>
                  </a:cubicBezTo>
                  <a:cubicBezTo>
                    <a:pt x="9484" y="4260"/>
                    <a:pt x="8391" y="5426"/>
                    <a:pt x="7294" y="6590"/>
                  </a:cubicBezTo>
                  <a:cubicBezTo>
                    <a:pt x="5948" y="8019"/>
                    <a:pt x="4604" y="9449"/>
                    <a:pt x="3264" y="10880"/>
                  </a:cubicBezTo>
                  <a:cubicBezTo>
                    <a:pt x="2525" y="11669"/>
                    <a:pt x="1782" y="12455"/>
                    <a:pt x="1042" y="13243"/>
                  </a:cubicBezTo>
                  <a:cubicBezTo>
                    <a:pt x="698" y="13609"/>
                    <a:pt x="338" y="13971"/>
                    <a:pt x="10" y="14343"/>
                  </a:cubicBezTo>
                  <a:cubicBezTo>
                    <a:pt x="-59" y="14423"/>
                    <a:pt x="237" y="14738"/>
                    <a:pt x="376" y="14759"/>
                  </a:cubicBezTo>
                  <a:cubicBezTo>
                    <a:pt x="470" y="14774"/>
                    <a:pt x="523" y="14645"/>
                    <a:pt x="627" y="14750"/>
                  </a:cubicBezTo>
                  <a:cubicBezTo>
                    <a:pt x="728" y="14853"/>
                    <a:pt x="830" y="14956"/>
                    <a:pt x="932" y="15058"/>
                  </a:cubicBezTo>
                  <a:cubicBezTo>
                    <a:pt x="1128" y="15067"/>
                    <a:pt x="1319" y="14971"/>
                    <a:pt x="1507" y="14983"/>
                  </a:cubicBezTo>
                  <a:cubicBezTo>
                    <a:pt x="1646" y="14991"/>
                    <a:pt x="1817" y="15083"/>
                    <a:pt x="1938" y="15125"/>
                  </a:cubicBezTo>
                  <a:cubicBezTo>
                    <a:pt x="2199" y="15216"/>
                    <a:pt x="2237" y="15246"/>
                    <a:pt x="2008" y="15407"/>
                  </a:cubicBezTo>
                  <a:cubicBezTo>
                    <a:pt x="1809" y="15547"/>
                    <a:pt x="1750" y="15573"/>
                    <a:pt x="1780" y="15782"/>
                  </a:cubicBezTo>
                  <a:cubicBezTo>
                    <a:pt x="1780" y="15782"/>
                    <a:pt x="1781" y="15783"/>
                    <a:pt x="1782" y="15784"/>
                  </a:cubicBezTo>
                  <a:cubicBezTo>
                    <a:pt x="4946" y="17131"/>
                    <a:pt x="11684" y="19681"/>
                    <a:pt x="21210" y="21600"/>
                  </a:cubicBezTo>
                  <a:cubicBezTo>
                    <a:pt x="21213" y="21467"/>
                    <a:pt x="21198" y="21317"/>
                    <a:pt x="21147" y="21148"/>
                  </a:cubicBezTo>
                  <a:cubicBezTo>
                    <a:pt x="20963" y="20546"/>
                    <a:pt x="20542" y="20081"/>
                    <a:pt x="20963" y="20081"/>
                  </a:cubicBezTo>
                  <a:close/>
                  <a:moveTo>
                    <a:pt x="20963" y="20081"/>
                  </a:moveTo>
                </a:path>
              </a:pathLst>
            </a:custGeom>
            <a:grpFill/>
            <a:ln w="12700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83" name="AutoShape 9"/>
            <p:cNvSpPr>
              <a:spLocks/>
            </p:cNvSpPr>
            <p:nvPr/>
          </p:nvSpPr>
          <p:spPr bwMode="auto">
            <a:xfrm>
              <a:off x="-832873" y="833173"/>
              <a:ext cx="1041400" cy="15113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6910" y="17540"/>
                  </a:moveTo>
                  <a:cubicBezTo>
                    <a:pt x="6963" y="17479"/>
                    <a:pt x="6907" y="17391"/>
                    <a:pt x="6901" y="17327"/>
                  </a:cubicBezTo>
                  <a:cubicBezTo>
                    <a:pt x="6797" y="17379"/>
                    <a:pt x="6702" y="17465"/>
                    <a:pt x="6774" y="17541"/>
                  </a:cubicBezTo>
                  <a:cubicBezTo>
                    <a:pt x="6654" y="17648"/>
                    <a:pt x="6885" y="17569"/>
                    <a:pt x="6910" y="17540"/>
                  </a:cubicBezTo>
                  <a:close/>
                  <a:moveTo>
                    <a:pt x="7932" y="20038"/>
                  </a:moveTo>
                  <a:cubicBezTo>
                    <a:pt x="7934" y="20012"/>
                    <a:pt x="7952" y="19924"/>
                    <a:pt x="7941" y="19903"/>
                  </a:cubicBezTo>
                  <a:cubicBezTo>
                    <a:pt x="7898" y="19813"/>
                    <a:pt x="7893" y="19880"/>
                    <a:pt x="7863" y="19909"/>
                  </a:cubicBezTo>
                  <a:cubicBezTo>
                    <a:pt x="7817" y="19952"/>
                    <a:pt x="7752" y="20008"/>
                    <a:pt x="7683" y="20043"/>
                  </a:cubicBezTo>
                  <a:cubicBezTo>
                    <a:pt x="7690" y="20012"/>
                    <a:pt x="7717" y="20003"/>
                    <a:pt x="7738" y="19974"/>
                  </a:cubicBezTo>
                  <a:cubicBezTo>
                    <a:pt x="7760" y="19943"/>
                    <a:pt x="7732" y="19919"/>
                    <a:pt x="7738" y="19891"/>
                  </a:cubicBezTo>
                  <a:cubicBezTo>
                    <a:pt x="7754" y="19815"/>
                    <a:pt x="7753" y="19828"/>
                    <a:pt x="7719" y="19762"/>
                  </a:cubicBezTo>
                  <a:cubicBezTo>
                    <a:pt x="7661" y="19649"/>
                    <a:pt x="7716" y="19766"/>
                    <a:pt x="7783" y="19712"/>
                  </a:cubicBezTo>
                  <a:cubicBezTo>
                    <a:pt x="7821" y="19682"/>
                    <a:pt x="7761" y="19675"/>
                    <a:pt x="7762" y="19666"/>
                  </a:cubicBezTo>
                  <a:cubicBezTo>
                    <a:pt x="7763" y="19658"/>
                    <a:pt x="7791" y="19636"/>
                    <a:pt x="7790" y="19632"/>
                  </a:cubicBezTo>
                  <a:cubicBezTo>
                    <a:pt x="7781" y="19602"/>
                    <a:pt x="7765" y="19584"/>
                    <a:pt x="7745" y="19551"/>
                  </a:cubicBezTo>
                  <a:cubicBezTo>
                    <a:pt x="7713" y="19497"/>
                    <a:pt x="7676" y="19450"/>
                    <a:pt x="7637" y="19400"/>
                  </a:cubicBezTo>
                  <a:cubicBezTo>
                    <a:pt x="7623" y="19382"/>
                    <a:pt x="7571" y="19347"/>
                    <a:pt x="7583" y="19323"/>
                  </a:cubicBezTo>
                  <a:cubicBezTo>
                    <a:pt x="7598" y="19294"/>
                    <a:pt x="7644" y="19339"/>
                    <a:pt x="7636" y="19342"/>
                  </a:cubicBezTo>
                  <a:cubicBezTo>
                    <a:pt x="7631" y="19344"/>
                    <a:pt x="7678" y="19365"/>
                    <a:pt x="7698" y="19305"/>
                  </a:cubicBezTo>
                  <a:cubicBezTo>
                    <a:pt x="7709" y="19273"/>
                    <a:pt x="7689" y="19261"/>
                    <a:pt x="7680" y="19227"/>
                  </a:cubicBezTo>
                  <a:cubicBezTo>
                    <a:pt x="7667" y="19183"/>
                    <a:pt x="7682" y="19181"/>
                    <a:pt x="7644" y="19145"/>
                  </a:cubicBezTo>
                  <a:cubicBezTo>
                    <a:pt x="7613" y="19116"/>
                    <a:pt x="7574" y="19131"/>
                    <a:pt x="7549" y="19097"/>
                  </a:cubicBezTo>
                  <a:cubicBezTo>
                    <a:pt x="7499" y="19027"/>
                    <a:pt x="7592" y="19010"/>
                    <a:pt x="7521" y="18952"/>
                  </a:cubicBezTo>
                  <a:cubicBezTo>
                    <a:pt x="7482" y="18919"/>
                    <a:pt x="7357" y="18883"/>
                    <a:pt x="7304" y="18872"/>
                  </a:cubicBezTo>
                  <a:cubicBezTo>
                    <a:pt x="7498" y="18879"/>
                    <a:pt x="7277" y="18785"/>
                    <a:pt x="7227" y="18760"/>
                  </a:cubicBezTo>
                  <a:cubicBezTo>
                    <a:pt x="7147" y="18719"/>
                    <a:pt x="7071" y="18671"/>
                    <a:pt x="6978" y="18631"/>
                  </a:cubicBezTo>
                  <a:cubicBezTo>
                    <a:pt x="6871" y="18585"/>
                    <a:pt x="6854" y="18531"/>
                    <a:pt x="6781" y="18475"/>
                  </a:cubicBezTo>
                  <a:cubicBezTo>
                    <a:pt x="6706" y="18416"/>
                    <a:pt x="6648" y="18419"/>
                    <a:pt x="6624" y="18336"/>
                  </a:cubicBezTo>
                  <a:cubicBezTo>
                    <a:pt x="6608" y="18282"/>
                    <a:pt x="6618" y="18223"/>
                    <a:pt x="6599" y="18170"/>
                  </a:cubicBezTo>
                  <a:cubicBezTo>
                    <a:pt x="6595" y="18160"/>
                    <a:pt x="6545" y="18087"/>
                    <a:pt x="6544" y="18088"/>
                  </a:cubicBezTo>
                  <a:cubicBezTo>
                    <a:pt x="6581" y="18047"/>
                    <a:pt x="6615" y="18122"/>
                    <a:pt x="6651" y="18110"/>
                  </a:cubicBezTo>
                  <a:cubicBezTo>
                    <a:pt x="6776" y="18069"/>
                    <a:pt x="6575" y="17878"/>
                    <a:pt x="6529" y="17809"/>
                  </a:cubicBezTo>
                  <a:cubicBezTo>
                    <a:pt x="6453" y="17695"/>
                    <a:pt x="6475" y="17591"/>
                    <a:pt x="6448" y="17477"/>
                  </a:cubicBezTo>
                  <a:cubicBezTo>
                    <a:pt x="6437" y="17433"/>
                    <a:pt x="6347" y="17351"/>
                    <a:pt x="6373" y="17325"/>
                  </a:cubicBezTo>
                  <a:cubicBezTo>
                    <a:pt x="6405" y="17290"/>
                    <a:pt x="6384" y="17187"/>
                    <a:pt x="6385" y="17144"/>
                  </a:cubicBezTo>
                  <a:cubicBezTo>
                    <a:pt x="6387" y="17072"/>
                    <a:pt x="6384" y="17040"/>
                    <a:pt x="6291" y="16993"/>
                  </a:cubicBezTo>
                  <a:cubicBezTo>
                    <a:pt x="6215" y="16955"/>
                    <a:pt x="6129" y="16963"/>
                    <a:pt x="6048" y="16932"/>
                  </a:cubicBezTo>
                  <a:cubicBezTo>
                    <a:pt x="5896" y="16873"/>
                    <a:pt x="5797" y="16791"/>
                    <a:pt x="5671" y="16710"/>
                  </a:cubicBezTo>
                  <a:cubicBezTo>
                    <a:pt x="5542" y="16626"/>
                    <a:pt x="5358" y="16567"/>
                    <a:pt x="5193" y="16529"/>
                  </a:cubicBezTo>
                  <a:cubicBezTo>
                    <a:pt x="5088" y="16505"/>
                    <a:pt x="5076" y="16490"/>
                    <a:pt x="5004" y="16434"/>
                  </a:cubicBezTo>
                  <a:cubicBezTo>
                    <a:pt x="4948" y="16390"/>
                    <a:pt x="4867" y="16326"/>
                    <a:pt x="4778" y="16354"/>
                  </a:cubicBezTo>
                  <a:cubicBezTo>
                    <a:pt x="4822" y="16302"/>
                    <a:pt x="4734" y="16314"/>
                    <a:pt x="4692" y="16286"/>
                  </a:cubicBezTo>
                  <a:cubicBezTo>
                    <a:pt x="4661" y="16265"/>
                    <a:pt x="4661" y="16244"/>
                    <a:pt x="4637" y="16230"/>
                  </a:cubicBezTo>
                  <a:cubicBezTo>
                    <a:pt x="4556" y="16184"/>
                    <a:pt x="4484" y="16171"/>
                    <a:pt x="4405" y="16122"/>
                  </a:cubicBezTo>
                  <a:cubicBezTo>
                    <a:pt x="4362" y="16095"/>
                    <a:pt x="4284" y="16010"/>
                    <a:pt x="4261" y="15975"/>
                  </a:cubicBezTo>
                  <a:cubicBezTo>
                    <a:pt x="4224" y="15919"/>
                    <a:pt x="4248" y="15851"/>
                    <a:pt x="4140" y="15927"/>
                  </a:cubicBezTo>
                  <a:cubicBezTo>
                    <a:pt x="4132" y="15846"/>
                    <a:pt x="4169" y="15854"/>
                    <a:pt x="4088" y="15789"/>
                  </a:cubicBezTo>
                  <a:cubicBezTo>
                    <a:pt x="4041" y="15751"/>
                    <a:pt x="3984" y="15715"/>
                    <a:pt x="3930" y="15683"/>
                  </a:cubicBezTo>
                  <a:cubicBezTo>
                    <a:pt x="3879" y="15652"/>
                    <a:pt x="3819" y="15617"/>
                    <a:pt x="3768" y="15592"/>
                  </a:cubicBezTo>
                  <a:cubicBezTo>
                    <a:pt x="3697" y="15559"/>
                    <a:pt x="3664" y="15567"/>
                    <a:pt x="3581" y="15552"/>
                  </a:cubicBezTo>
                  <a:cubicBezTo>
                    <a:pt x="3551" y="15546"/>
                    <a:pt x="3546" y="15523"/>
                    <a:pt x="3502" y="15516"/>
                  </a:cubicBezTo>
                  <a:cubicBezTo>
                    <a:pt x="3480" y="15512"/>
                    <a:pt x="3425" y="15526"/>
                    <a:pt x="3404" y="15528"/>
                  </a:cubicBezTo>
                  <a:cubicBezTo>
                    <a:pt x="3347" y="15532"/>
                    <a:pt x="3270" y="15531"/>
                    <a:pt x="3205" y="15534"/>
                  </a:cubicBezTo>
                  <a:cubicBezTo>
                    <a:pt x="3102" y="15540"/>
                    <a:pt x="3070" y="15494"/>
                    <a:pt x="3032" y="15588"/>
                  </a:cubicBezTo>
                  <a:cubicBezTo>
                    <a:pt x="3009" y="15645"/>
                    <a:pt x="3035" y="15702"/>
                    <a:pt x="3128" y="15707"/>
                  </a:cubicBezTo>
                  <a:cubicBezTo>
                    <a:pt x="2995" y="15733"/>
                    <a:pt x="3044" y="15772"/>
                    <a:pt x="3089" y="15850"/>
                  </a:cubicBezTo>
                  <a:cubicBezTo>
                    <a:pt x="3132" y="15925"/>
                    <a:pt x="3124" y="16040"/>
                    <a:pt x="3269" y="16064"/>
                  </a:cubicBezTo>
                  <a:cubicBezTo>
                    <a:pt x="3257" y="16002"/>
                    <a:pt x="3399" y="16074"/>
                    <a:pt x="3477" y="16086"/>
                  </a:cubicBezTo>
                  <a:cubicBezTo>
                    <a:pt x="3492" y="16088"/>
                    <a:pt x="3516" y="16071"/>
                    <a:pt x="3539" y="16073"/>
                  </a:cubicBezTo>
                  <a:cubicBezTo>
                    <a:pt x="3561" y="16075"/>
                    <a:pt x="3572" y="16102"/>
                    <a:pt x="3602" y="16105"/>
                  </a:cubicBezTo>
                  <a:cubicBezTo>
                    <a:pt x="3643" y="16108"/>
                    <a:pt x="3696" y="16098"/>
                    <a:pt x="3739" y="16099"/>
                  </a:cubicBezTo>
                  <a:cubicBezTo>
                    <a:pt x="3814" y="16100"/>
                    <a:pt x="3965" y="16112"/>
                    <a:pt x="3830" y="16039"/>
                  </a:cubicBezTo>
                  <a:cubicBezTo>
                    <a:pt x="3742" y="15991"/>
                    <a:pt x="3664" y="15993"/>
                    <a:pt x="3600" y="15922"/>
                  </a:cubicBezTo>
                  <a:cubicBezTo>
                    <a:pt x="3692" y="15955"/>
                    <a:pt x="3790" y="15980"/>
                    <a:pt x="3878" y="16019"/>
                  </a:cubicBezTo>
                  <a:cubicBezTo>
                    <a:pt x="3928" y="16040"/>
                    <a:pt x="3982" y="16056"/>
                    <a:pt x="4023" y="16072"/>
                  </a:cubicBezTo>
                  <a:cubicBezTo>
                    <a:pt x="4069" y="16091"/>
                    <a:pt x="4144" y="16072"/>
                    <a:pt x="4094" y="16111"/>
                  </a:cubicBezTo>
                  <a:cubicBezTo>
                    <a:pt x="4092" y="16112"/>
                    <a:pt x="3968" y="16114"/>
                    <a:pt x="3948" y="16123"/>
                  </a:cubicBezTo>
                  <a:cubicBezTo>
                    <a:pt x="3896" y="16146"/>
                    <a:pt x="3898" y="16143"/>
                    <a:pt x="3892" y="16185"/>
                  </a:cubicBezTo>
                  <a:cubicBezTo>
                    <a:pt x="3885" y="16236"/>
                    <a:pt x="3934" y="16315"/>
                    <a:pt x="3933" y="16371"/>
                  </a:cubicBezTo>
                  <a:cubicBezTo>
                    <a:pt x="3871" y="16327"/>
                    <a:pt x="3906" y="16241"/>
                    <a:pt x="3857" y="16196"/>
                  </a:cubicBezTo>
                  <a:cubicBezTo>
                    <a:pt x="3819" y="16161"/>
                    <a:pt x="3705" y="16137"/>
                    <a:pt x="3647" y="16129"/>
                  </a:cubicBezTo>
                  <a:cubicBezTo>
                    <a:pt x="3609" y="16124"/>
                    <a:pt x="3557" y="16129"/>
                    <a:pt x="3520" y="16127"/>
                  </a:cubicBezTo>
                  <a:cubicBezTo>
                    <a:pt x="3499" y="16126"/>
                    <a:pt x="3417" y="16105"/>
                    <a:pt x="3408" y="16107"/>
                  </a:cubicBezTo>
                  <a:cubicBezTo>
                    <a:pt x="3401" y="16109"/>
                    <a:pt x="3273" y="16225"/>
                    <a:pt x="3273" y="16229"/>
                  </a:cubicBezTo>
                  <a:cubicBezTo>
                    <a:pt x="3261" y="16303"/>
                    <a:pt x="3329" y="16258"/>
                    <a:pt x="3373" y="16285"/>
                  </a:cubicBezTo>
                  <a:cubicBezTo>
                    <a:pt x="3446" y="16329"/>
                    <a:pt x="3405" y="16326"/>
                    <a:pt x="3411" y="16360"/>
                  </a:cubicBezTo>
                  <a:cubicBezTo>
                    <a:pt x="3411" y="16362"/>
                    <a:pt x="3364" y="16364"/>
                    <a:pt x="3386" y="16396"/>
                  </a:cubicBezTo>
                  <a:cubicBezTo>
                    <a:pt x="3388" y="16399"/>
                    <a:pt x="3444" y="16447"/>
                    <a:pt x="3445" y="16432"/>
                  </a:cubicBezTo>
                  <a:cubicBezTo>
                    <a:pt x="3442" y="16461"/>
                    <a:pt x="3416" y="16458"/>
                    <a:pt x="3369" y="16483"/>
                  </a:cubicBezTo>
                  <a:cubicBezTo>
                    <a:pt x="3310" y="16514"/>
                    <a:pt x="3184" y="16535"/>
                    <a:pt x="3194" y="16581"/>
                  </a:cubicBezTo>
                  <a:cubicBezTo>
                    <a:pt x="3218" y="16697"/>
                    <a:pt x="3390" y="16618"/>
                    <a:pt x="3456" y="16599"/>
                  </a:cubicBezTo>
                  <a:cubicBezTo>
                    <a:pt x="3639" y="16549"/>
                    <a:pt x="3489" y="16607"/>
                    <a:pt x="3552" y="16654"/>
                  </a:cubicBezTo>
                  <a:cubicBezTo>
                    <a:pt x="3622" y="16708"/>
                    <a:pt x="3731" y="16609"/>
                    <a:pt x="3802" y="16642"/>
                  </a:cubicBezTo>
                  <a:cubicBezTo>
                    <a:pt x="3745" y="16660"/>
                    <a:pt x="3696" y="16684"/>
                    <a:pt x="3767" y="16710"/>
                  </a:cubicBezTo>
                  <a:cubicBezTo>
                    <a:pt x="3629" y="16722"/>
                    <a:pt x="3735" y="16862"/>
                    <a:pt x="3834" y="16864"/>
                  </a:cubicBezTo>
                  <a:cubicBezTo>
                    <a:pt x="3944" y="16868"/>
                    <a:pt x="3961" y="16784"/>
                    <a:pt x="3963" y="16730"/>
                  </a:cubicBezTo>
                  <a:cubicBezTo>
                    <a:pt x="4027" y="16766"/>
                    <a:pt x="4123" y="16887"/>
                    <a:pt x="4194" y="16793"/>
                  </a:cubicBezTo>
                  <a:cubicBezTo>
                    <a:pt x="4227" y="16858"/>
                    <a:pt x="4156" y="16841"/>
                    <a:pt x="4112" y="16864"/>
                  </a:cubicBezTo>
                  <a:cubicBezTo>
                    <a:pt x="4072" y="16885"/>
                    <a:pt x="4048" y="16902"/>
                    <a:pt x="4014" y="16922"/>
                  </a:cubicBezTo>
                  <a:cubicBezTo>
                    <a:pt x="3942" y="16965"/>
                    <a:pt x="3906" y="16981"/>
                    <a:pt x="3911" y="17051"/>
                  </a:cubicBezTo>
                  <a:cubicBezTo>
                    <a:pt x="3917" y="17133"/>
                    <a:pt x="3977" y="17186"/>
                    <a:pt x="4098" y="17203"/>
                  </a:cubicBezTo>
                  <a:cubicBezTo>
                    <a:pt x="4246" y="17224"/>
                    <a:pt x="4222" y="17169"/>
                    <a:pt x="4297" y="17096"/>
                  </a:cubicBezTo>
                  <a:cubicBezTo>
                    <a:pt x="4310" y="17141"/>
                    <a:pt x="4231" y="17234"/>
                    <a:pt x="4348" y="17217"/>
                  </a:cubicBezTo>
                  <a:cubicBezTo>
                    <a:pt x="4429" y="17205"/>
                    <a:pt x="4421" y="17149"/>
                    <a:pt x="4396" y="17113"/>
                  </a:cubicBezTo>
                  <a:cubicBezTo>
                    <a:pt x="4452" y="17150"/>
                    <a:pt x="4438" y="17311"/>
                    <a:pt x="4568" y="17262"/>
                  </a:cubicBezTo>
                  <a:cubicBezTo>
                    <a:pt x="4587" y="17311"/>
                    <a:pt x="4433" y="17651"/>
                    <a:pt x="4673" y="17545"/>
                  </a:cubicBezTo>
                  <a:cubicBezTo>
                    <a:pt x="4696" y="17535"/>
                    <a:pt x="4730" y="17474"/>
                    <a:pt x="4731" y="17473"/>
                  </a:cubicBezTo>
                  <a:cubicBezTo>
                    <a:pt x="4795" y="17460"/>
                    <a:pt x="4774" y="17509"/>
                    <a:pt x="4762" y="17527"/>
                  </a:cubicBezTo>
                  <a:cubicBezTo>
                    <a:pt x="4705" y="17611"/>
                    <a:pt x="4585" y="17574"/>
                    <a:pt x="4768" y="17666"/>
                  </a:cubicBezTo>
                  <a:cubicBezTo>
                    <a:pt x="4849" y="17707"/>
                    <a:pt x="4896" y="17694"/>
                    <a:pt x="4995" y="17703"/>
                  </a:cubicBezTo>
                  <a:cubicBezTo>
                    <a:pt x="5009" y="17704"/>
                    <a:pt x="5108" y="17717"/>
                    <a:pt x="5112" y="17722"/>
                  </a:cubicBezTo>
                  <a:cubicBezTo>
                    <a:pt x="5162" y="17770"/>
                    <a:pt x="5013" y="17737"/>
                    <a:pt x="5015" y="17737"/>
                  </a:cubicBezTo>
                  <a:cubicBezTo>
                    <a:pt x="4844" y="17741"/>
                    <a:pt x="4663" y="17643"/>
                    <a:pt x="4519" y="17705"/>
                  </a:cubicBezTo>
                  <a:cubicBezTo>
                    <a:pt x="4443" y="17738"/>
                    <a:pt x="4463" y="17743"/>
                    <a:pt x="4434" y="17806"/>
                  </a:cubicBezTo>
                  <a:cubicBezTo>
                    <a:pt x="4415" y="17848"/>
                    <a:pt x="4330" y="17920"/>
                    <a:pt x="4341" y="17953"/>
                  </a:cubicBezTo>
                  <a:cubicBezTo>
                    <a:pt x="4350" y="17980"/>
                    <a:pt x="4405" y="18031"/>
                    <a:pt x="4459" y="18012"/>
                  </a:cubicBezTo>
                  <a:cubicBezTo>
                    <a:pt x="4504" y="17996"/>
                    <a:pt x="4446" y="17957"/>
                    <a:pt x="4471" y="17940"/>
                  </a:cubicBezTo>
                  <a:cubicBezTo>
                    <a:pt x="4587" y="17856"/>
                    <a:pt x="4557" y="17983"/>
                    <a:pt x="4605" y="18035"/>
                  </a:cubicBezTo>
                  <a:cubicBezTo>
                    <a:pt x="4716" y="18155"/>
                    <a:pt x="4690" y="18006"/>
                    <a:pt x="4758" y="17997"/>
                  </a:cubicBezTo>
                  <a:cubicBezTo>
                    <a:pt x="4759" y="17997"/>
                    <a:pt x="4831" y="18054"/>
                    <a:pt x="4869" y="18063"/>
                  </a:cubicBezTo>
                  <a:cubicBezTo>
                    <a:pt x="4906" y="18072"/>
                    <a:pt x="4968" y="18041"/>
                    <a:pt x="4996" y="18060"/>
                  </a:cubicBezTo>
                  <a:cubicBezTo>
                    <a:pt x="5040" y="18090"/>
                    <a:pt x="4865" y="18184"/>
                    <a:pt x="4995" y="18215"/>
                  </a:cubicBezTo>
                  <a:cubicBezTo>
                    <a:pt x="5068" y="18233"/>
                    <a:pt x="5136" y="18154"/>
                    <a:pt x="5196" y="18123"/>
                  </a:cubicBezTo>
                  <a:cubicBezTo>
                    <a:pt x="5178" y="18171"/>
                    <a:pt x="5104" y="18241"/>
                    <a:pt x="5046" y="18272"/>
                  </a:cubicBezTo>
                  <a:cubicBezTo>
                    <a:pt x="4995" y="18298"/>
                    <a:pt x="4918" y="18265"/>
                    <a:pt x="4955" y="18335"/>
                  </a:cubicBezTo>
                  <a:cubicBezTo>
                    <a:pt x="4975" y="18372"/>
                    <a:pt x="5100" y="18362"/>
                    <a:pt x="5152" y="18346"/>
                  </a:cubicBezTo>
                  <a:cubicBezTo>
                    <a:pt x="5208" y="18330"/>
                    <a:pt x="5244" y="18284"/>
                    <a:pt x="5310" y="18254"/>
                  </a:cubicBezTo>
                  <a:cubicBezTo>
                    <a:pt x="5292" y="18293"/>
                    <a:pt x="5138" y="18429"/>
                    <a:pt x="5287" y="18404"/>
                  </a:cubicBezTo>
                  <a:cubicBezTo>
                    <a:pt x="5277" y="18423"/>
                    <a:pt x="5180" y="18546"/>
                    <a:pt x="5230" y="18545"/>
                  </a:cubicBezTo>
                  <a:cubicBezTo>
                    <a:pt x="5287" y="18543"/>
                    <a:pt x="5369" y="18512"/>
                    <a:pt x="5424" y="18499"/>
                  </a:cubicBezTo>
                  <a:cubicBezTo>
                    <a:pt x="5400" y="18559"/>
                    <a:pt x="5232" y="18616"/>
                    <a:pt x="5150" y="18609"/>
                  </a:cubicBezTo>
                  <a:cubicBezTo>
                    <a:pt x="5114" y="18606"/>
                    <a:pt x="5029" y="18532"/>
                    <a:pt x="5011" y="18596"/>
                  </a:cubicBezTo>
                  <a:cubicBezTo>
                    <a:pt x="5002" y="18631"/>
                    <a:pt x="5194" y="18730"/>
                    <a:pt x="5219" y="18761"/>
                  </a:cubicBezTo>
                  <a:cubicBezTo>
                    <a:pt x="5288" y="18847"/>
                    <a:pt x="5327" y="18966"/>
                    <a:pt x="5507" y="18918"/>
                  </a:cubicBezTo>
                  <a:cubicBezTo>
                    <a:pt x="5605" y="18891"/>
                    <a:pt x="5640" y="18791"/>
                    <a:pt x="5738" y="18865"/>
                  </a:cubicBezTo>
                  <a:cubicBezTo>
                    <a:pt x="5736" y="18866"/>
                    <a:pt x="5642" y="18909"/>
                    <a:pt x="5642" y="18908"/>
                  </a:cubicBezTo>
                  <a:cubicBezTo>
                    <a:pt x="5635" y="18977"/>
                    <a:pt x="5764" y="18955"/>
                    <a:pt x="5808" y="18957"/>
                  </a:cubicBezTo>
                  <a:cubicBezTo>
                    <a:pt x="5833" y="18958"/>
                    <a:pt x="5846" y="18925"/>
                    <a:pt x="5885" y="18940"/>
                  </a:cubicBezTo>
                  <a:cubicBezTo>
                    <a:pt x="5912" y="18951"/>
                    <a:pt x="5931" y="18968"/>
                    <a:pt x="5960" y="18976"/>
                  </a:cubicBezTo>
                  <a:cubicBezTo>
                    <a:pt x="5982" y="18982"/>
                    <a:pt x="6071" y="19008"/>
                    <a:pt x="6095" y="19009"/>
                  </a:cubicBezTo>
                  <a:cubicBezTo>
                    <a:pt x="6334" y="19022"/>
                    <a:pt x="6359" y="18805"/>
                    <a:pt x="6467" y="18711"/>
                  </a:cubicBezTo>
                  <a:cubicBezTo>
                    <a:pt x="6482" y="18818"/>
                    <a:pt x="6399" y="18935"/>
                    <a:pt x="6276" y="19006"/>
                  </a:cubicBezTo>
                  <a:cubicBezTo>
                    <a:pt x="6229" y="19033"/>
                    <a:pt x="6163" y="19029"/>
                    <a:pt x="6117" y="19041"/>
                  </a:cubicBezTo>
                  <a:cubicBezTo>
                    <a:pt x="6088" y="19049"/>
                    <a:pt x="6057" y="19048"/>
                    <a:pt x="6027" y="19061"/>
                  </a:cubicBezTo>
                  <a:cubicBezTo>
                    <a:pt x="5991" y="19077"/>
                    <a:pt x="6018" y="19109"/>
                    <a:pt x="5990" y="19121"/>
                  </a:cubicBezTo>
                  <a:cubicBezTo>
                    <a:pt x="5933" y="19145"/>
                    <a:pt x="5864" y="19141"/>
                    <a:pt x="5799" y="19172"/>
                  </a:cubicBezTo>
                  <a:cubicBezTo>
                    <a:pt x="5773" y="19184"/>
                    <a:pt x="5700" y="19165"/>
                    <a:pt x="5711" y="19205"/>
                  </a:cubicBezTo>
                  <a:cubicBezTo>
                    <a:pt x="5719" y="19232"/>
                    <a:pt x="5737" y="19286"/>
                    <a:pt x="5762" y="19308"/>
                  </a:cubicBezTo>
                  <a:cubicBezTo>
                    <a:pt x="5996" y="19507"/>
                    <a:pt x="6229" y="19663"/>
                    <a:pt x="6559" y="19748"/>
                  </a:cubicBezTo>
                  <a:cubicBezTo>
                    <a:pt x="6388" y="19796"/>
                    <a:pt x="6812" y="19990"/>
                    <a:pt x="6878" y="20031"/>
                  </a:cubicBezTo>
                  <a:cubicBezTo>
                    <a:pt x="7069" y="20146"/>
                    <a:pt x="7287" y="20218"/>
                    <a:pt x="7471" y="20339"/>
                  </a:cubicBezTo>
                  <a:cubicBezTo>
                    <a:pt x="7565" y="20340"/>
                    <a:pt x="7660" y="20182"/>
                    <a:pt x="7751" y="20188"/>
                  </a:cubicBezTo>
                  <a:cubicBezTo>
                    <a:pt x="7800" y="20191"/>
                    <a:pt x="7800" y="20287"/>
                    <a:pt x="7887" y="20278"/>
                  </a:cubicBezTo>
                  <a:cubicBezTo>
                    <a:pt x="7963" y="20270"/>
                    <a:pt x="7960" y="20214"/>
                    <a:pt x="7957" y="20174"/>
                  </a:cubicBezTo>
                  <a:cubicBezTo>
                    <a:pt x="7953" y="20129"/>
                    <a:pt x="7929" y="20093"/>
                    <a:pt x="7932" y="20038"/>
                  </a:cubicBezTo>
                  <a:close/>
                  <a:moveTo>
                    <a:pt x="5471" y="16344"/>
                  </a:moveTo>
                  <a:cubicBezTo>
                    <a:pt x="5589" y="16361"/>
                    <a:pt x="5569" y="16369"/>
                    <a:pt x="5666" y="16301"/>
                  </a:cubicBezTo>
                  <a:cubicBezTo>
                    <a:pt x="5680" y="16291"/>
                    <a:pt x="5749" y="16284"/>
                    <a:pt x="5751" y="16282"/>
                  </a:cubicBezTo>
                  <a:cubicBezTo>
                    <a:pt x="5775" y="16247"/>
                    <a:pt x="5736" y="16187"/>
                    <a:pt x="5726" y="16152"/>
                  </a:cubicBezTo>
                  <a:cubicBezTo>
                    <a:pt x="5653" y="16101"/>
                    <a:pt x="5502" y="16143"/>
                    <a:pt x="5416" y="16163"/>
                  </a:cubicBezTo>
                  <a:cubicBezTo>
                    <a:pt x="5368" y="16174"/>
                    <a:pt x="5197" y="16197"/>
                    <a:pt x="5187" y="16243"/>
                  </a:cubicBezTo>
                  <a:cubicBezTo>
                    <a:pt x="5175" y="16293"/>
                    <a:pt x="5406" y="16335"/>
                    <a:pt x="5471" y="16344"/>
                  </a:cubicBezTo>
                  <a:close/>
                  <a:moveTo>
                    <a:pt x="4738" y="18111"/>
                  </a:moveTo>
                  <a:cubicBezTo>
                    <a:pt x="4692" y="18144"/>
                    <a:pt x="4696" y="18215"/>
                    <a:pt x="4715" y="18242"/>
                  </a:cubicBezTo>
                  <a:cubicBezTo>
                    <a:pt x="4712" y="18237"/>
                    <a:pt x="4839" y="18308"/>
                    <a:pt x="4834" y="18308"/>
                  </a:cubicBezTo>
                  <a:cubicBezTo>
                    <a:pt x="4946" y="18302"/>
                    <a:pt x="4922" y="18160"/>
                    <a:pt x="4893" y="18107"/>
                  </a:cubicBezTo>
                  <a:cubicBezTo>
                    <a:pt x="4833" y="18106"/>
                    <a:pt x="4775" y="18086"/>
                    <a:pt x="4738" y="18111"/>
                  </a:cubicBezTo>
                  <a:close/>
                  <a:moveTo>
                    <a:pt x="4491" y="17485"/>
                  </a:moveTo>
                  <a:cubicBezTo>
                    <a:pt x="4512" y="17389"/>
                    <a:pt x="4531" y="17323"/>
                    <a:pt x="4424" y="17251"/>
                  </a:cubicBezTo>
                  <a:cubicBezTo>
                    <a:pt x="4355" y="17247"/>
                    <a:pt x="4284" y="17254"/>
                    <a:pt x="4212" y="17261"/>
                  </a:cubicBezTo>
                  <a:cubicBezTo>
                    <a:pt x="4109" y="17272"/>
                    <a:pt x="4113" y="17246"/>
                    <a:pt x="4175" y="17328"/>
                  </a:cubicBezTo>
                  <a:cubicBezTo>
                    <a:pt x="4194" y="17354"/>
                    <a:pt x="4258" y="17335"/>
                    <a:pt x="4228" y="17369"/>
                  </a:cubicBezTo>
                  <a:cubicBezTo>
                    <a:pt x="4236" y="17360"/>
                    <a:pt x="4118" y="17380"/>
                    <a:pt x="4120" y="17379"/>
                  </a:cubicBezTo>
                  <a:cubicBezTo>
                    <a:pt x="4108" y="17382"/>
                    <a:pt x="4087" y="17315"/>
                    <a:pt x="4069" y="17372"/>
                  </a:cubicBezTo>
                  <a:cubicBezTo>
                    <a:pt x="4061" y="17397"/>
                    <a:pt x="4098" y="17424"/>
                    <a:pt x="4110" y="17446"/>
                  </a:cubicBezTo>
                  <a:cubicBezTo>
                    <a:pt x="4148" y="17514"/>
                    <a:pt x="4239" y="17684"/>
                    <a:pt x="4368" y="17673"/>
                  </a:cubicBezTo>
                  <a:cubicBezTo>
                    <a:pt x="4468" y="17663"/>
                    <a:pt x="4479" y="17536"/>
                    <a:pt x="4491" y="17485"/>
                  </a:cubicBezTo>
                  <a:close/>
                  <a:moveTo>
                    <a:pt x="3218" y="10937"/>
                  </a:moveTo>
                  <a:cubicBezTo>
                    <a:pt x="3152" y="10933"/>
                    <a:pt x="3187" y="10977"/>
                    <a:pt x="3142" y="10998"/>
                  </a:cubicBezTo>
                  <a:cubicBezTo>
                    <a:pt x="3112" y="11013"/>
                    <a:pt x="3041" y="11005"/>
                    <a:pt x="3016" y="11024"/>
                  </a:cubicBezTo>
                  <a:cubicBezTo>
                    <a:pt x="2947" y="11078"/>
                    <a:pt x="3019" y="11154"/>
                    <a:pt x="3080" y="11198"/>
                  </a:cubicBezTo>
                  <a:cubicBezTo>
                    <a:pt x="3173" y="11263"/>
                    <a:pt x="3235" y="11335"/>
                    <a:pt x="3265" y="11193"/>
                  </a:cubicBezTo>
                  <a:cubicBezTo>
                    <a:pt x="3280" y="11124"/>
                    <a:pt x="3252" y="11142"/>
                    <a:pt x="3234" y="11078"/>
                  </a:cubicBezTo>
                  <a:cubicBezTo>
                    <a:pt x="3221" y="11031"/>
                    <a:pt x="3266" y="10982"/>
                    <a:pt x="3218" y="10937"/>
                  </a:cubicBezTo>
                  <a:close/>
                  <a:moveTo>
                    <a:pt x="2825" y="10763"/>
                  </a:moveTo>
                  <a:cubicBezTo>
                    <a:pt x="2933" y="10728"/>
                    <a:pt x="2819" y="10681"/>
                    <a:pt x="2851" y="10633"/>
                  </a:cubicBezTo>
                  <a:cubicBezTo>
                    <a:pt x="2893" y="10572"/>
                    <a:pt x="2953" y="10621"/>
                    <a:pt x="2988" y="10654"/>
                  </a:cubicBezTo>
                  <a:cubicBezTo>
                    <a:pt x="3008" y="10673"/>
                    <a:pt x="2978" y="10701"/>
                    <a:pt x="3011" y="10719"/>
                  </a:cubicBezTo>
                  <a:cubicBezTo>
                    <a:pt x="3081" y="10757"/>
                    <a:pt x="3059" y="10711"/>
                    <a:pt x="3117" y="10691"/>
                  </a:cubicBezTo>
                  <a:cubicBezTo>
                    <a:pt x="3188" y="10667"/>
                    <a:pt x="3207" y="10660"/>
                    <a:pt x="3296" y="10657"/>
                  </a:cubicBezTo>
                  <a:cubicBezTo>
                    <a:pt x="3295" y="10665"/>
                    <a:pt x="3288" y="10688"/>
                    <a:pt x="3285" y="10695"/>
                  </a:cubicBezTo>
                  <a:cubicBezTo>
                    <a:pt x="3195" y="10656"/>
                    <a:pt x="3145" y="10711"/>
                    <a:pt x="3089" y="10758"/>
                  </a:cubicBezTo>
                  <a:cubicBezTo>
                    <a:pt x="3062" y="10779"/>
                    <a:pt x="3023" y="10754"/>
                    <a:pt x="3018" y="10801"/>
                  </a:cubicBezTo>
                  <a:cubicBezTo>
                    <a:pt x="3019" y="10793"/>
                    <a:pt x="3111" y="10837"/>
                    <a:pt x="3091" y="10831"/>
                  </a:cubicBezTo>
                  <a:cubicBezTo>
                    <a:pt x="3170" y="10853"/>
                    <a:pt x="3213" y="10839"/>
                    <a:pt x="3296" y="10793"/>
                  </a:cubicBezTo>
                  <a:cubicBezTo>
                    <a:pt x="3425" y="10723"/>
                    <a:pt x="3388" y="10684"/>
                    <a:pt x="3363" y="10563"/>
                  </a:cubicBezTo>
                  <a:cubicBezTo>
                    <a:pt x="3285" y="10390"/>
                    <a:pt x="2612" y="10628"/>
                    <a:pt x="2825" y="10763"/>
                  </a:cubicBezTo>
                  <a:close/>
                  <a:moveTo>
                    <a:pt x="6583" y="17383"/>
                  </a:moveTo>
                  <a:cubicBezTo>
                    <a:pt x="6645" y="17317"/>
                    <a:pt x="6692" y="17276"/>
                    <a:pt x="6614" y="17197"/>
                  </a:cubicBezTo>
                  <a:cubicBezTo>
                    <a:pt x="6586" y="17170"/>
                    <a:pt x="6618" y="17136"/>
                    <a:pt x="6522" y="17158"/>
                  </a:cubicBezTo>
                  <a:cubicBezTo>
                    <a:pt x="6456" y="17174"/>
                    <a:pt x="6449" y="17219"/>
                    <a:pt x="6438" y="17261"/>
                  </a:cubicBezTo>
                  <a:cubicBezTo>
                    <a:pt x="6420" y="17337"/>
                    <a:pt x="6459" y="17363"/>
                    <a:pt x="6493" y="17435"/>
                  </a:cubicBezTo>
                  <a:cubicBezTo>
                    <a:pt x="6519" y="17488"/>
                    <a:pt x="6493" y="17545"/>
                    <a:pt x="6510" y="17596"/>
                  </a:cubicBezTo>
                  <a:cubicBezTo>
                    <a:pt x="6519" y="17591"/>
                    <a:pt x="6528" y="17586"/>
                    <a:pt x="6537" y="17581"/>
                  </a:cubicBezTo>
                  <a:cubicBezTo>
                    <a:pt x="6539" y="17539"/>
                    <a:pt x="6554" y="17499"/>
                    <a:pt x="6557" y="17457"/>
                  </a:cubicBezTo>
                  <a:cubicBezTo>
                    <a:pt x="6558" y="17443"/>
                    <a:pt x="6518" y="17424"/>
                    <a:pt x="6523" y="17411"/>
                  </a:cubicBezTo>
                  <a:cubicBezTo>
                    <a:pt x="6535" y="17380"/>
                    <a:pt x="6564" y="17404"/>
                    <a:pt x="6583" y="17383"/>
                  </a:cubicBezTo>
                  <a:close/>
                  <a:moveTo>
                    <a:pt x="5662" y="13717"/>
                  </a:moveTo>
                  <a:cubicBezTo>
                    <a:pt x="5628" y="13663"/>
                    <a:pt x="5646" y="13715"/>
                    <a:pt x="5579" y="13710"/>
                  </a:cubicBezTo>
                  <a:cubicBezTo>
                    <a:pt x="5385" y="13694"/>
                    <a:pt x="5295" y="13780"/>
                    <a:pt x="5101" y="13792"/>
                  </a:cubicBezTo>
                  <a:cubicBezTo>
                    <a:pt x="5001" y="13798"/>
                    <a:pt x="4940" y="13781"/>
                    <a:pt x="4848" y="13821"/>
                  </a:cubicBezTo>
                  <a:cubicBezTo>
                    <a:pt x="4772" y="13855"/>
                    <a:pt x="4699" y="13927"/>
                    <a:pt x="4653" y="13977"/>
                  </a:cubicBezTo>
                  <a:cubicBezTo>
                    <a:pt x="4614" y="14019"/>
                    <a:pt x="4516" y="14113"/>
                    <a:pt x="4581" y="14150"/>
                  </a:cubicBezTo>
                  <a:cubicBezTo>
                    <a:pt x="4608" y="14165"/>
                    <a:pt x="4786" y="14146"/>
                    <a:pt x="4814" y="14130"/>
                  </a:cubicBezTo>
                  <a:cubicBezTo>
                    <a:pt x="4897" y="14083"/>
                    <a:pt x="4897" y="13954"/>
                    <a:pt x="5049" y="13961"/>
                  </a:cubicBezTo>
                  <a:cubicBezTo>
                    <a:pt x="5203" y="13932"/>
                    <a:pt x="5569" y="13910"/>
                    <a:pt x="5644" y="13812"/>
                  </a:cubicBezTo>
                  <a:cubicBezTo>
                    <a:pt x="5634" y="13824"/>
                    <a:pt x="5654" y="13704"/>
                    <a:pt x="5662" y="13717"/>
                  </a:cubicBezTo>
                  <a:close/>
                  <a:moveTo>
                    <a:pt x="3971" y="9597"/>
                  </a:moveTo>
                  <a:cubicBezTo>
                    <a:pt x="4105" y="9565"/>
                    <a:pt x="4320" y="9486"/>
                    <a:pt x="4309" y="9370"/>
                  </a:cubicBezTo>
                  <a:cubicBezTo>
                    <a:pt x="4227" y="9381"/>
                    <a:pt x="4158" y="9421"/>
                    <a:pt x="4088" y="9451"/>
                  </a:cubicBezTo>
                  <a:cubicBezTo>
                    <a:pt x="4037" y="9471"/>
                    <a:pt x="3878" y="9497"/>
                    <a:pt x="3848" y="9527"/>
                  </a:cubicBezTo>
                  <a:cubicBezTo>
                    <a:pt x="3762" y="9612"/>
                    <a:pt x="3890" y="9615"/>
                    <a:pt x="3971" y="9597"/>
                  </a:cubicBezTo>
                  <a:close/>
                  <a:moveTo>
                    <a:pt x="8158" y="19648"/>
                  </a:moveTo>
                  <a:cubicBezTo>
                    <a:pt x="8099" y="19558"/>
                    <a:pt x="7985" y="19482"/>
                    <a:pt x="7898" y="19404"/>
                  </a:cubicBezTo>
                  <a:cubicBezTo>
                    <a:pt x="7903" y="19468"/>
                    <a:pt x="8072" y="19653"/>
                    <a:pt x="8158" y="19648"/>
                  </a:cubicBezTo>
                  <a:close/>
                  <a:moveTo>
                    <a:pt x="7869" y="19487"/>
                  </a:moveTo>
                  <a:cubicBezTo>
                    <a:pt x="7826" y="19453"/>
                    <a:pt x="7831" y="19588"/>
                    <a:pt x="7832" y="19601"/>
                  </a:cubicBezTo>
                  <a:cubicBezTo>
                    <a:pt x="7832" y="19612"/>
                    <a:pt x="7842" y="19666"/>
                    <a:pt x="7840" y="19675"/>
                  </a:cubicBezTo>
                  <a:cubicBezTo>
                    <a:pt x="7836" y="19695"/>
                    <a:pt x="7790" y="19717"/>
                    <a:pt x="7795" y="19742"/>
                  </a:cubicBezTo>
                  <a:cubicBezTo>
                    <a:pt x="7813" y="19835"/>
                    <a:pt x="7889" y="19810"/>
                    <a:pt x="7963" y="19772"/>
                  </a:cubicBezTo>
                  <a:cubicBezTo>
                    <a:pt x="8004" y="19751"/>
                    <a:pt x="8035" y="19793"/>
                    <a:pt x="8009" y="19706"/>
                  </a:cubicBezTo>
                  <a:cubicBezTo>
                    <a:pt x="7985" y="19624"/>
                    <a:pt x="7927" y="19560"/>
                    <a:pt x="7869" y="19487"/>
                  </a:cubicBezTo>
                  <a:close/>
                  <a:moveTo>
                    <a:pt x="3632" y="12565"/>
                  </a:moveTo>
                  <a:cubicBezTo>
                    <a:pt x="3579" y="12519"/>
                    <a:pt x="3528" y="12600"/>
                    <a:pt x="3521" y="12637"/>
                  </a:cubicBezTo>
                  <a:cubicBezTo>
                    <a:pt x="3511" y="12688"/>
                    <a:pt x="3534" y="12715"/>
                    <a:pt x="3567" y="12756"/>
                  </a:cubicBezTo>
                  <a:cubicBezTo>
                    <a:pt x="3489" y="12763"/>
                    <a:pt x="3581" y="12935"/>
                    <a:pt x="3595" y="12963"/>
                  </a:cubicBezTo>
                  <a:cubicBezTo>
                    <a:pt x="3614" y="13002"/>
                    <a:pt x="3658" y="13013"/>
                    <a:pt x="3669" y="13042"/>
                  </a:cubicBezTo>
                  <a:cubicBezTo>
                    <a:pt x="3676" y="13061"/>
                    <a:pt x="3644" y="13096"/>
                    <a:pt x="3646" y="13121"/>
                  </a:cubicBezTo>
                  <a:cubicBezTo>
                    <a:pt x="3990" y="13116"/>
                    <a:pt x="3669" y="12635"/>
                    <a:pt x="3632" y="12565"/>
                  </a:cubicBezTo>
                  <a:close/>
                  <a:moveTo>
                    <a:pt x="7474" y="18555"/>
                  </a:moveTo>
                  <a:cubicBezTo>
                    <a:pt x="7582" y="18577"/>
                    <a:pt x="7463" y="18419"/>
                    <a:pt x="7429" y="18389"/>
                  </a:cubicBezTo>
                  <a:cubicBezTo>
                    <a:pt x="7349" y="18235"/>
                    <a:pt x="7257" y="18097"/>
                    <a:pt x="7031" y="18017"/>
                  </a:cubicBezTo>
                  <a:cubicBezTo>
                    <a:pt x="6947" y="18095"/>
                    <a:pt x="7070" y="18140"/>
                    <a:pt x="7134" y="18195"/>
                  </a:cubicBezTo>
                  <a:cubicBezTo>
                    <a:pt x="7184" y="18239"/>
                    <a:pt x="7206" y="18295"/>
                    <a:pt x="7252" y="18348"/>
                  </a:cubicBezTo>
                  <a:cubicBezTo>
                    <a:pt x="7286" y="18385"/>
                    <a:pt x="7420" y="18544"/>
                    <a:pt x="7474" y="18555"/>
                  </a:cubicBezTo>
                  <a:close/>
                  <a:moveTo>
                    <a:pt x="6676" y="16965"/>
                  </a:moveTo>
                  <a:cubicBezTo>
                    <a:pt x="6613" y="16995"/>
                    <a:pt x="6604" y="17049"/>
                    <a:pt x="6554" y="17074"/>
                  </a:cubicBezTo>
                  <a:cubicBezTo>
                    <a:pt x="6537" y="17083"/>
                    <a:pt x="6476" y="17040"/>
                    <a:pt x="6444" y="17076"/>
                  </a:cubicBezTo>
                  <a:cubicBezTo>
                    <a:pt x="6369" y="17163"/>
                    <a:pt x="6539" y="17105"/>
                    <a:pt x="6548" y="17106"/>
                  </a:cubicBezTo>
                  <a:cubicBezTo>
                    <a:pt x="6767" y="17135"/>
                    <a:pt x="6687" y="17311"/>
                    <a:pt x="6661" y="17415"/>
                  </a:cubicBezTo>
                  <a:cubicBezTo>
                    <a:pt x="6807" y="17363"/>
                    <a:pt x="6815" y="17314"/>
                    <a:pt x="6789" y="17208"/>
                  </a:cubicBezTo>
                  <a:cubicBezTo>
                    <a:pt x="6765" y="17109"/>
                    <a:pt x="6775" y="17043"/>
                    <a:pt x="6676" y="16965"/>
                  </a:cubicBezTo>
                  <a:close/>
                  <a:moveTo>
                    <a:pt x="21446" y="21308"/>
                  </a:moveTo>
                  <a:cubicBezTo>
                    <a:pt x="21446" y="21159"/>
                    <a:pt x="21161" y="21112"/>
                    <a:pt x="21008" y="21006"/>
                  </a:cubicBezTo>
                  <a:cubicBezTo>
                    <a:pt x="20855" y="20901"/>
                    <a:pt x="21008" y="20824"/>
                    <a:pt x="21166" y="20715"/>
                  </a:cubicBezTo>
                  <a:cubicBezTo>
                    <a:pt x="21324" y="20606"/>
                    <a:pt x="21134" y="20373"/>
                    <a:pt x="21061" y="20323"/>
                  </a:cubicBezTo>
                  <a:cubicBezTo>
                    <a:pt x="20987" y="20272"/>
                    <a:pt x="21293" y="20163"/>
                    <a:pt x="21293" y="19944"/>
                  </a:cubicBezTo>
                  <a:cubicBezTo>
                    <a:pt x="21293" y="19726"/>
                    <a:pt x="21293" y="19755"/>
                    <a:pt x="21293" y="19610"/>
                  </a:cubicBezTo>
                  <a:cubicBezTo>
                    <a:pt x="21293" y="19465"/>
                    <a:pt x="21040" y="19275"/>
                    <a:pt x="20828" y="19275"/>
                  </a:cubicBezTo>
                  <a:cubicBezTo>
                    <a:pt x="20617" y="19275"/>
                    <a:pt x="20617" y="19130"/>
                    <a:pt x="20406" y="18984"/>
                  </a:cubicBezTo>
                  <a:cubicBezTo>
                    <a:pt x="20195" y="18839"/>
                    <a:pt x="20401" y="18784"/>
                    <a:pt x="20290" y="18708"/>
                  </a:cubicBezTo>
                  <a:cubicBezTo>
                    <a:pt x="20180" y="18631"/>
                    <a:pt x="20290" y="18497"/>
                    <a:pt x="19942" y="18388"/>
                  </a:cubicBezTo>
                  <a:cubicBezTo>
                    <a:pt x="19594" y="18279"/>
                    <a:pt x="19826" y="18177"/>
                    <a:pt x="19604" y="18024"/>
                  </a:cubicBezTo>
                  <a:cubicBezTo>
                    <a:pt x="19383" y="17871"/>
                    <a:pt x="19351" y="17777"/>
                    <a:pt x="19351" y="17544"/>
                  </a:cubicBezTo>
                  <a:cubicBezTo>
                    <a:pt x="19351" y="17311"/>
                    <a:pt x="19183" y="17369"/>
                    <a:pt x="19077" y="17297"/>
                  </a:cubicBezTo>
                  <a:cubicBezTo>
                    <a:pt x="18971" y="17224"/>
                    <a:pt x="18834" y="17224"/>
                    <a:pt x="18834" y="17086"/>
                  </a:cubicBezTo>
                  <a:cubicBezTo>
                    <a:pt x="18834" y="16948"/>
                    <a:pt x="18486" y="16846"/>
                    <a:pt x="18486" y="16650"/>
                  </a:cubicBezTo>
                  <a:cubicBezTo>
                    <a:pt x="18486" y="16453"/>
                    <a:pt x="18053" y="16650"/>
                    <a:pt x="17853" y="16511"/>
                  </a:cubicBezTo>
                  <a:cubicBezTo>
                    <a:pt x="17652" y="16373"/>
                    <a:pt x="18001" y="16235"/>
                    <a:pt x="17832" y="16118"/>
                  </a:cubicBezTo>
                  <a:cubicBezTo>
                    <a:pt x="17663" y="16002"/>
                    <a:pt x="17389" y="16118"/>
                    <a:pt x="17389" y="15973"/>
                  </a:cubicBezTo>
                  <a:lnTo>
                    <a:pt x="17389" y="15551"/>
                  </a:lnTo>
                  <a:cubicBezTo>
                    <a:pt x="17389" y="15377"/>
                    <a:pt x="17389" y="15340"/>
                    <a:pt x="17230" y="15340"/>
                  </a:cubicBezTo>
                  <a:cubicBezTo>
                    <a:pt x="17072" y="15340"/>
                    <a:pt x="16882" y="15100"/>
                    <a:pt x="16882" y="14926"/>
                  </a:cubicBezTo>
                  <a:cubicBezTo>
                    <a:pt x="16882" y="14751"/>
                    <a:pt x="16671" y="14780"/>
                    <a:pt x="16523" y="14882"/>
                  </a:cubicBezTo>
                  <a:cubicBezTo>
                    <a:pt x="16376" y="14984"/>
                    <a:pt x="16049" y="14497"/>
                    <a:pt x="15806" y="14329"/>
                  </a:cubicBezTo>
                  <a:cubicBezTo>
                    <a:pt x="15563" y="14162"/>
                    <a:pt x="15806" y="14068"/>
                    <a:pt x="15933" y="14068"/>
                  </a:cubicBezTo>
                  <a:cubicBezTo>
                    <a:pt x="16059" y="14068"/>
                    <a:pt x="15785" y="13689"/>
                    <a:pt x="15785" y="13689"/>
                  </a:cubicBezTo>
                  <a:lnTo>
                    <a:pt x="18427" y="5352"/>
                  </a:lnTo>
                  <a:cubicBezTo>
                    <a:pt x="9269" y="3796"/>
                    <a:pt x="2833" y="1252"/>
                    <a:pt x="41" y="0"/>
                  </a:cubicBezTo>
                  <a:cubicBezTo>
                    <a:pt x="99" y="83"/>
                    <a:pt x="181" y="170"/>
                    <a:pt x="214" y="259"/>
                  </a:cubicBezTo>
                  <a:cubicBezTo>
                    <a:pt x="234" y="313"/>
                    <a:pt x="205" y="339"/>
                    <a:pt x="203" y="391"/>
                  </a:cubicBezTo>
                  <a:cubicBezTo>
                    <a:pt x="198" y="572"/>
                    <a:pt x="332" y="780"/>
                    <a:pt x="401" y="954"/>
                  </a:cubicBezTo>
                  <a:cubicBezTo>
                    <a:pt x="463" y="1113"/>
                    <a:pt x="603" y="1317"/>
                    <a:pt x="593" y="1478"/>
                  </a:cubicBezTo>
                  <a:cubicBezTo>
                    <a:pt x="589" y="1561"/>
                    <a:pt x="524" y="1654"/>
                    <a:pt x="493" y="1733"/>
                  </a:cubicBezTo>
                  <a:cubicBezTo>
                    <a:pt x="477" y="1773"/>
                    <a:pt x="354" y="1886"/>
                    <a:pt x="373" y="1908"/>
                  </a:cubicBezTo>
                  <a:cubicBezTo>
                    <a:pt x="397" y="1935"/>
                    <a:pt x="990" y="1862"/>
                    <a:pt x="1051" y="1857"/>
                  </a:cubicBezTo>
                  <a:cubicBezTo>
                    <a:pt x="1208" y="1843"/>
                    <a:pt x="1264" y="1831"/>
                    <a:pt x="1404" y="1885"/>
                  </a:cubicBezTo>
                  <a:cubicBezTo>
                    <a:pt x="1504" y="1924"/>
                    <a:pt x="1614" y="1850"/>
                    <a:pt x="1679" y="1801"/>
                  </a:cubicBezTo>
                  <a:cubicBezTo>
                    <a:pt x="1738" y="1756"/>
                    <a:pt x="1781" y="1629"/>
                    <a:pt x="1851" y="1600"/>
                  </a:cubicBezTo>
                  <a:cubicBezTo>
                    <a:pt x="1934" y="1565"/>
                    <a:pt x="2144" y="1660"/>
                    <a:pt x="2168" y="1527"/>
                  </a:cubicBezTo>
                  <a:cubicBezTo>
                    <a:pt x="2183" y="1449"/>
                    <a:pt x="2073" y="1425"/>
                    <a:pt x="2260" y="1437"/>
                  </a:cubicBezTo>
                  <a:cubicBezTo>
                    <a:pt x="2343" y="1442"/>
                    <a:pt x="2420" y="1465"/>
                    <a:pt x="2502" y="1475"/>
                  </a:cubicBezTo>
                  <a:cubicBezTo>
                    <a:pt x="2634" y="1492"/>
                    <a:pt x="2774" y="1481"/>
                    <a:pt x="2909" y="1478"/>
                  </a:cubicBezTo>
                  <a:cubicBezTo>
                    <a:pt x="3094" y="1476"/>
                    <a:pt x="3208" y="1561"/>
                    <a:pt x="3239" y="1691"/>
                  </a:cubicBezTo>
                  <a:cubicBezTo>
                    <a:pt x="3261" y="1784"/>
                    <a:pt x="3347" y="1879"/>
                    <a:pt x="3289" y="1974"/>
                  </a:cubicBezTo>
                  <a:cubicBezTo>
                    <a:pt x="3264" y="2013"/>
                    <a:pt x="3210" y="2026"/>
                    <a:pt x="3189" y="2047"/>
                  </a:cubicBezTo>
                  <a:cubicBezTo>
                    <a:pt x="3179" y="2059"/>
                    <a:pt x="3145" y="2052"/>
                    <a:pt x="3141" y="2072"/>
                  </a:cubicBezTo>
                  <a:cubicBezTo>
                    <a:pt x="3134" y="2104"/>
                    <a:pt x="3163" y="2132"/>
                    <a:pt x="3149" y="2162"/>
                  </a:cubicBezTo>
                  <a:cubicBezTo>
                    <a:pt x="3094" y="2279"/>
                    <a:pt x="3150" y="2304"/>
                    <a:pt x="3250" y="2393"/>
                  </a:cubicBezTo>
                  <a:cubicBezTo>
                    <a:pt x="3315" y="2450"/>
                    <a:pt x="3311" y="2470"/>
                    <a:pt x="3324" y="2545"/>
                  </a:cubicBezTo>
                  <a:cubicBezTo>
                    <a:pt x="3335" y="2613"/>
                    <a:pt x="3430" y="2630"/>
                    <a:pt x="3440" y="2687"/>
                  </a:cubicBezTo>
                  <a:cubicBezTo>
                    <a:pt x="3453" y="2757"/>
                    <a:pt x="3409" y="2794"/>
                    <a:pt x="3401" y="2850"/>
                  </a:cubicBezTo>
                  <a:cubicBezTo>
                    <a:pt x="3397" y="2874"/>
                    <a:pt x="3429" y="2906"/>
                    <a:pt x="3418" y="2928"/>
                  </a:cubicBezTo>
                  <a:cubicBezTo>
                    <a:pt x="3375" y="3018"/>
                    <a:pt x="3400" y="3077"/>
                    <a:pt x="3478" y="3161"/>
                  </a:cubicBezTo>
                  <a:cubicBezTo>
                    <a:pt x="3545" y="3233"/>
                    <a:pt x="3632" y="3307"/>
                    <a:pt x="3675" y="3389"/>
                  </a:cubicBezTo>
                  <a:cubicBezTo>
                    <a:pt x="3761" y="3555"/>
                    <a:pt x="3780" y="3760"/>
                    <a:pt x="3837" y="3933"/>
                  </a:cubicBezTo>
                  <a:cubicBezTo>
                    <a:pt x="3635" y="4016"/>
                    <a:pt x="3825" y="4345"/>
                    <a:pt x="3812" y="4475"/>
                  </a:cubicBezTo>
                  <a:cubicBezTo>
                    <a:pt x="3796" y="4634"/>
                    <a:pt x="3869" y="4786"/>
                    <a:pt x="3861" y="4946"/>
                  </a:cubicBezTo>
                  <a:cubicBezTo>
                    <a:pt x="3855" y="5069"/>
                    <a:pt x="3864" y="5195"/>
                    <a:pt x="3872" y="5318"/>
                  </a:cubicBezTo>
                  <a:cubicBezTo>
                    <a:pt x="3881" y="5473"/>
                    <a:pt x="4013" y="5681"/>
                    <a:pt x="3943" y="5838"/>
                  </a:cubicBezTo>
                  <a:cubicBezTo>
                    <a:pt x="3909" y="5914"/>
                    <a:pt x="3742" y="5930"/>
                    <a:pt x="3787" y="6012"/>
                  </a:cubicBezTo>
                  <a:cubicBezTo>
                    <a:pt x="3835" y="6099"/>
                    <a:pt x="4013" y="6084"/>
                    <a:pt x="3960" y="6190"/>
                  </a:cubicBezTo>
                  <a:cubicBezTo>
                    <a:pt x="3903" y="6302"/>
                    <a:pt x="3742" y="6293"/>
                    <a:pt x="3882" y="6425"/>
                  </a:cubicBezTo>
                  <a:cubicBezTo>
                    <a:pt x="3970" y="6509"/>
                    <a:pt x="3935" y="6534"/>
                    <a:pt x="3912" y="6627"/>
                  </a:cubicBezTo>
                  <a:cubicBezTo>
                    <a:pt x="3899" y="6677"/>
                    <a:pt x="3830" y="6775"/>
                    <a:pt x="3893" y="6796"/>
                  </a:cubicBezTo>
                  <a:cubicBezTo>
                    <a:pt x="4083" y="6858"/>
                    <a:pt x="4136" y="6872"/>
                    <a:pt x="4251" y="7005"/>
                  </a:cubicBezTo>
                  <a:cubicBezTo>
                    <a:pt x="4367" y="7140"/>
                    <a:pt x="4463" y="7261"/>
                    <a:pt x="4635" y="7361"/>
                  </a:cubicBezTo>
                  <a:cubicBezTo>
                    <a:pt x="4751" y="7428"/>
                    <a:pt x="4966" y="7610"/>
                    <a:pt x="4961" y="7720"/>
                  </a:cubicBezTo>
                  <a:cubicBezTo>
                    <a:pt x="4956" y="7809"/>
                    <a:pt x="4975" y="7891"/>
                    <a:pt x="5101" y="7941"/>
                  </a:cubicBezTo>
                  <a:cubicBezTo>
                    <a:pt x="5182" y="7973"/>
                    <a:pt x="5253" y="7932"/>
                    <a:pt x="5272" y="8018"/>
                  </a:cubicBezTo>
                  <a:cubicBezTo>
                    <a:pt x="5289" y="8100"/>
                    <a:pt x="5229" y="8177"/>
                    <a:pt x="5187" y="8251"/>
                  </a:cubicBezTo>
                  <a:cubicBezTo>
                    <a:pt x="5297" y="8204"/>
                    <a:pt x="5201" y="8277"/>
                    <a:pt x="5160" y="8302"/>
                  </a:cubicBezTo>
                  <a:cubicBezTo>
                    <a:pt x="5109" y="8334"/>
                    <a:pt x="5038" y="8352"/>
                    <a:pt x="4990" y="8383"/>
                  </a:cubicBezTo>
                  <a:cubicBezTo>
                    <a:pt x="4905" y="8439"/>
                    <a:pt x="4938" y="8478"/>
                    <a:pt x="4913" y="8546"/>
                  </a:cubicBezTo>
                  <a:cubicBezTo>
                    <a:pt x="4894" y="8596"/>
                    <a:pt x="4837" y="8631"/>
                    <a:pt x="4816" y="8680"/>
                  </a:cubicBezTo>
                  <a:cubicBezTo>
                    <a:pt x="4788" y="8748"/>
                    <a:pt x="4826" y="8825"/>
                    <a:pt x="4804" y="8895"/>
                  </a:cubicBezTo>
                  <a:cubicBezTo>
                    <a:pt x="4794" y="8927"/>
                    <a:pt x="4762" y="8954"/>
                    <a:pt x="4754" y="8987"/>
                  </a:cubicBezTo>
                  <a:cubicBezTo>
                    <a:pt x="4746" y="9022"/>
                    <a:pt x="4777" y="9060"/>
                    <a:pt x="4759" y="9095"/>
                  </a:cubicBezTo>
                  <a:cubicBezTo>
                    <a:pt x="4738" y="9135"/>
                    <a:pt x="4580" y="9163"/>
                    <a:pt x="4530" y="9187"/>
                  </a:cubicBezTo>
                  <a:cubicBezTo>
                    <a:pt x="4443" y="9230"/>
                    <a:pt x="4374" y="9277"/>
                    <a:pt x="4363" y="9346"/>
                  </a:cubicBezTo>
                  <a:cubicBezTo>
                    <a:pt x="4335" y="9512"/>
                    <a:pt x="4574" y="9333"/>
                    <a:pt x="4668" y="9282"/>
                  </a:cubicBezTo>
                  <a:cubicBezTo>
                    <a:pt x="4741" y="9243"/>
                    <a:pt x="4821" y="9185"/>
                    <a:pt x="4885" y="9140"/>
                  </a:cubicBezTo>
                  <a:cubicBezTo>
                    <a:pt x="4924" y="9113"/>
                    <a:pt x="5018" y="9038"/>
                    <a:pt x="5012" y="8996"/>
                  </a:cubicBezTo>
                  <a:cubicBezTo>
                    <a:pt x="4997" y="9005"/>
                    <a:pt x="4968" y="9015"/>
                    <a:pt x="4954" y="9026"/>
                  </a:cubicBezTo>
                  <a:cubicBezTo>
                    <a:pt x="4961" y="8966"/>
                    <a:pt x="5081" y="8925"/>
                    <a:pt x="5111" y="8862"/>
                  </a:cubicBezTo>
                  <a:cubicBezTo>
                    <a:pt x="5137" y="8807"/>
                    <a:pt x="5134" y="8741"/>
                    <a:pt x="5178" y="8693"/>
                  </a:cubicBezTo>
                  <a:cubicBezTo>
                    <a:pt x="5174" y="8752"/>
                    <a:pt x="5095" y="8925"/>
                    <a:pt x="5133" y="8973"/>
                  </a:cubicBezTo>
                  <a:cubicBezTo>
                    <a:pt x="5162" y="9010"/>
                    <a:pt x="5180" y="8966"/>
                    <a:pt x="5257" y="8964"/>
                  </a:cubicBezTo>
                  <a:cubicBezTo>
                    <a:pt x="5320" y="8963"/>
                    <a:pt x="5340" y="9010"/>
                    <a:pt x="5415" y="8985"/>
                  </a:cubicBezTo>
                  <a:cubicBezTo>
                    <a:pt x="5362" y="9060"/>
                    <a:pt x="5298" y="8975"/>
                    <a:pt x="5222" y="8987"/>
                  </a:cubicBezTo>
                  <a:cubicBezTo>
                    <a:pt x="5185" y="8993"/>
                    <a:pt x="5085" y="9066"/>
                    <a:pt x="5056" y="9086"/>
                  </a:cubicBezTo>
                  <a:cubicBezTo>
                    <a:pt x="4956" y="9154"/>
                    <a:pt x="4841" y="9217"/>
                    <a:pt x="4729" y="9280"/>
                  </a:cubicBezTo>
                  <a:cubicBezTo>
                    <a:pt x="4634" y="9334"/>
                    <a:pt x="4413" y="9404"/>
                    <a:pt x="4572" y="9479"/>
                  </a:cubicBezTo>
                  <a:cubicBezTo>
                    <a:pt x="4643" y="9512"/>
                    <a:pt x="4793" y="9544"/>
                    <a:pt x="4880" y="9563"/>
                  </a:cubicBezTo>
                  <a:cubicBezTo>
                    <a:pt x="4809" y="9615"/>
                    <a:pt x="4719" y="9521"/>
                    <a:pt x="4654" y="9519"/>
                  </a:cubicBezTo>
                  <a:cubicBezTo>
                    <a:pt x="4611" y="9518"/>
                    <a:pt x="4473" y="9553"/>
                    <a:pt x="4436" y="9562"/>
                  </a:cubicBezTo>
                  <a:cubicBezTo>
                    <a:pt x="4487" y="9543"/>
                    <a:pt x="4516" y="9489"/>
                    <a:pt x="4428" y="9485"/>
                  </a:cubicBezTo>
                  <a:cubicBezTo>
                    <a:pt x="4373" y="9482"/>
                    <a:pt x="4337" y="9523"/>
                    <a:pt x="4295" y="9541"/>
                  </a:cubicBezTo>
                  <a:cubicBezTo>
                    <a:pt x="4160" y="9602"/>
                    <a:pt x="4196" y="9616"/>
                    <a:pt x="4323" y="9572"/>
                  </a:cubicBezTo>
                  <a:cubicBezTo>
                    <a:pt x="4283" y="9647"/>
                    <a:pt x="4059" y="9644"/>
                    <a:pt x="4053" y="9738"/>
                  </a:cubicBezTo>
                  <a:cubicBezTo>
                    <a:pt x="4050" y="9767"/>
                    <a:pt x="4160" y="9857"/>
                    <a:pt x="4175" y="9894"/>
                  </a:cubicBezTo>
                  <a:cubicBezTo>
                    <a:pt x="4194" y="9944"/>
                    <a:pt x="4233" y="9977"/>
                    <a:pt x="4312" y="9976"/>
                  </a:cubicBezTo>
                  <a:cubicBezTo>
                    <a:pt x="4187" y="10059"/>
                    <a:pt x="4078" y="9787"/>
                    <a:pt x="3999" y="9760"/>
                  </a:cubicBezTo>
                  <a:cubicBezTo>
                    <a:pt x="3637" y="9636"/>
                    <a:pt x="3899" y="10068"/>
                    <a:pt x="3952" y="10142"/>
                  </a:cubicBezTo>
                  <a:cubicBezTo>
                    <a:pt x="3967" y="10086"/>
                    <a:pt x="4044" y="10086"/>
                    <a:pt x="4108" y="10087"/>
                  </a:cubicBezTo>
                  <a:cubicBezTo>
                    <a:pt x="4072" y="10135"/>
                    <a:pt x="3985" y="10108"/>
                    <a:pt x="3939" y="10179"/>
                  </a:cubicBezTo>
                  <a:cubicBezTo>
                    <a:pt x="3901" y="10237"/>
                    <a:pt x="3895" y="10298"/>
                    <a:pt x="3979" y="10347"/>
                  </a:cubicBezTo>
                  <a:cubicBezTo>
                    <a:pt x="3860" y="10368"/>
                    <a:pt x="3827" y="10113"/>
                    <a:pt x="3806" y="10044"/>
                  </a:cubicBezTo>
                  <a:cubicBezTo>
                    <a:pt x="3794" y="10003"/>
                    <a:pt x="3791" y="9828"/>
                    <a:pt x="3735" y="9806"/>
                  </a:cubicBezTo>
                  <a:cubicBezTo>
                    <a:pt x="3686" y="9786"/>
                    <a:pt x="3690" y="9830"/>
                    <a:pt x="3690" y="9854"/>
                  </a:cubicBezTo>
                  <a:cubicBezTo>
                    <a:pt x="3691" y="9899"/>
                    <a:pt x="3657" y="9871"/>
                    <a:pt x="3637" y="9905"/>
                  </a:cubicBezTo>
                  <a:cubicBezTo>
                    <a:pt x="3613" y="9948"/>
                    <a:pt x="3603" y="10016"/>
                    <a:pt x="3577" y="10038"/>
                  </a:cubicBezTo>
                  <a:cubicBezTo>
                    <a:pt x="3556" y="10056"/>
                    <a:pt x="3472" y="10035"/>
                    <a:pt x="3458" y="10106"/>
                  </a:cubicBezTo>
                  <a:cubicBezTo>
                    <a:pt x="3438" y="10205"/>
                    <a:pt x="3651" y="10269"/>
                    <a:pt x="3721" y="10159"/>
                  </a:cubicBezTo>
                  <a:cubicBezTo>
                    <a:pt x="3702" y="10198"/>
                    <a:pt x="3685" y="10253"/>
                    <a:pt x="3661" y="10289"/>
                  </a:cubicBezTo>
                  <a:cubicBezTo>
                    <a:pt x="3646" y="10311"/>
                    <a:pt x="3642" y="10331"/>
                    <a:pt x="3627" y="10349"/>
                  </a:cubicBezTo>
                  <a:cubicBezTo>
                    <a:pt x="3618" y="10359"/>
                    <a:pt x="3564" y="10345"/>
                    <a:pt x="3560" y="10355"/>
                  </a:cubicBezTo>
                  <a:cubicBezTo>
                    <a:pt x="3528" y="10440"/>
                    <a:pt x="3709" y="10528"/>
                    <a:pt x="3809" y="10521"/>
                  </a:cubicBezTo>
                  <a:cubicBezTo>
                    <a:pt x="3953" y="10512"/>
                    <a:pt x="4023" y="10474"/>
                    <a:pt x="4153" y="10549"/>
                  </a:cubicBezTo>
                  <a:cubicBezTo>
                    <a:pt x="4206" y="10579"/>
                    <a:pt x="4250" y="10620"/>
                    <a:pt x="4308" y="10625"/>
                  </a:cubicBezTo>
                  <a:cubicBezTo>
                    <a:pt x="4366" y="10629"/>
                    <a:pt x="4396" y="10572"/>
                    <a:pt x="4460" y="10615"/>
                  </a:cubicBezTo>
                  <a:cubicBezTo>
                    <a:pt x="4362" y="10618"/>
                    <a:pt x="4308" y="10651"/>
                    <a:pt x="4219" y="10629"/>
                  </a:cubicBezTo>
                  <a:cubicBezTo>
                    <a:pt x="4149" y="10611"/>
                    <a:pt x="4102" y="10531"/>
                    <a:pt x="4017" y="10524"/>
                  </a:cubicBezTo>
                  <a:cubicBezTo>
                    <a:pt x="3781" y="10504"/>
                    <a:pt x="3950" y="10839"/>
                    <a:pt x="3966" y="10910"/>
                  </a:cubicBezTo>
                  <a:cubicBezTo>
                    <a:pt x="3897" y="10834"/>
                    <a:pt x="3924" y="10474"/>
                    <a:pt x="3709" y="10572"/>
                  </a:cubicBezTo>
                  <a:cubicBezTo>
                    <a:pt x="3619" y="10613"/>
                    <a:pt x="3438" y="10916"/>
                    <a:pt x="3621" y="10916"/>
                  </a:cubicBezTo>
                  <a:cubicBezTo>
                    <a:pt x="3525" y="11012"/>
                    <a:pt x="3738" y="11149"/>
                    <a:pt x="3760" y="11251"/>
                  </a:cubicBezTo>
                  <a:cubicBezTo>
                    <a:pt x="3761" y="11252"/>
                    <a:pt x="3741" y="11294"/>
                    <a:pt x="3743" y="11319"/>
                  </a:cubicBezTo>
                  <a:cubicBezTo>
                    <a:pt x="3745" y="11352"/>
                    <a:pt x="3761" y="11383"/>
                    <a:pt x="3774" y="11414"/>
                  </a:cubicBezTo>
                  <a:cubicBezTo>
                    <a:pt x="3797" y="11474"/>
                    <a:pt x="3938" y="11806"/>
                    <a:pt x="4023" y="11804"/>
                  </a:cubicBezTo>
                  <a:cubicBezTo>
                    <a:pt x="4075" y="11804"/>
                    <a:pt x="4145" y="11681"/>
                    <a:pt x="4163" y="11651"/>
                  </a:cubicBezTo>
                  <a:cubicBezTo>
                    <a:pt x="4199" y="11590"/>
                    <a:pt x="4217" y="11522"/>
                    <a:pt x="4296" y="11481"/>
                  </a:cubicBezTo>
                  <a:cubicBezTo>
                    <a:pt x="4356" y="11448"/>
                    <a:pt x="4474" y="11442"/>
                    <a:pt x="4525" y="11412"/>
                  </a:cubicBezTo>
                  <a:cubicBezTo>
                    <a:pt x="4539" y="11404"/>
                    <a:pt x="4567" y="11411"/>
                    <a:pt x="4583" y="11399"/>
                  </a:cubicBezTo>
                  <a:cubicBezTo>
                    <a:pt x="4599" y="11386"/>
                    <a:pt x="4568" y="11352"/>
                    <a:pt x="4576" y="11347"/>
                  </a:cubicBezTo>
                  <a:cubicBezTo>
                    <a:pt x="4679" y="11284"/>
                    <a:pt x="4543" y="11375"/>
                    <a:pt x="4647" y="11372"/>
                  </a:cubicBezTo>
                  <a:cubicBezTo>
                    <a:pt x="4709" y="11370"/>
                    <a:pt x="4752" y="11278"/>
                    <a:pt x="4737" y="11221"/>
                  </a:cubicBezTo>
                  <a:cubicBezTo>
                    <a:pt x="4776" y="11250"/>
                    <a:pt x="4753" y="11298"/>
                    <a:pt x="4732" y="11336"/>
                  </a:cubicBezTo>
                  <a:cubicBezTo>
                    <a:pt x="4746" y="11325"/>
                    <a:pt x="4782" y="11310"/>
                    <a:pt x="4796" y="11300"/>
                  </a:cubicBezTo>
                  <a:cubicBezTo>
                    <a:pt x="4787" y="11333"/>
                    <a:pt x="4748" y="11363"/>
                    <a:pt x="4723" y="11390"/>
                  </a:cubicBezTo>
                  <a:cubicBezTo>
                    <a:pt x="4823" y="11343"/>
                    <a:pt x="4938" y="11306"/>
                    <a:pt x="5023" y="11267"/>
                  </a:cubicBezTo>
                  <a:cubicBezTo>
                    <a:pt x="5113" y="11226"/>
                    <a:pt x="5156" y="11165"/>
                    <a:pt x="5271" y="11159"/>
                  </a:cubicBezTo>
                  <a:cubicBezTo>
                    <a:pt x="5233" y="11184"/>
                    <a:pt x="5129" y="11256"/>
                    <a:pt x="5111" y="11289"/>
                  </a:cubicBezTo>
                  <a:cubicBezTo>
                    <a:pt x="5062" y="11375"/>
                    <a:pt x="5198" y="11362"/>
                    <a:pt x="5256" y="11416"/>
                  </a:cubicBezTo>
                  <a:cubicBezTo>
                    <a:pt x="5334" y="11488"/>
                    <a:pt x="5075" y="11369"/>
                    <a:pt x="5089" y="11370"/>
                  </a:cubicBezTo>
                  <a:cubicBezTo>
                    <a:pt x="5066" y="11369"/>
                    <a:pt x="4997" y="11408"/>
                    <a:pt x="4991" y="11410"/>
                  </a:cubicBezTo>
                  <a:cubicBezTo>
                    <a:pt x="4953" y="11423"/>
                    <a:pt x="4911" y="11410"/>
                    <a:pt x="4876" y="11438"/>
                  </a:cubicBezTo>
                  <a:cubicBezTo>
                    <a:pt x="4845" y="11463"/>
                    <a:pt x="4869" y="11507"/>
                    <a:pt x="4847" y="11536"/>
                  </a:cubicBezTo>
                  <a:cubicBezTo>
                    <a:pt x="4823" y="11567"/>
                    <a:pt x="4764" y="11574"/>
                    <a:pt x="4745" y="11603"/>
                  </a:cubicBezTo>
                  <a:cubicBezTo>
                    <a:pt x="4697" y="11676"/>
                    <a:pt x="4798" y="11778"/>
                    <a:pt x="4849" y="11839"/>
                  </a:cubicBezTo>
                  <a:cubicBezTo>
                    <a:pt x="4911" y="11912"/>
                    <a:pt x="4902" y="12001"/>
                    <a:pt x="5056" y="11978"/>
                  </a:cubicBezTo>
                  <a:cubicBezTo>
                    <a:pt x="5103" y="11971"/>
                    <a:pt x="5120" y="11936"/>
                    <a:pt x="5154" y="11939"/>
                  </a:cubicBezTo>
                  <a:cubicBezTo>
                    <a:pt x="5178" y="11941"/>
                    <a:pt x="5229" y="11989"/>
                    <a:pt x="5257" y="11999"/>
                  </a:cubicBezTo>
                  <a:cubicBezTo>
                    <a:pt x="5299" y="12014"/>
                    <a:pt x="5349" y="12003"/>
                    <a:pt x="5390" y="12028"/>
                  </a:cubicBezTo>
                  <a:cubicBezTo>
                    <a:pt x="5449" y="12064"/>
                    <a:pt x="5430" y="12126"/>
                    <a:pt x="5453" y="12181"/>
                  </a:cubicBezTo>
                  <a:cubicBezTo>
                    <a:pt x="5474" y="12230"/>
                    <a:pt x="5543" y="12276"/>
                    <a:pt x="5506" y="12325"/>
                  </a:cubicBezTo>
                  <a:cubicBezTo>
                    <a:pt x="5479" y="12362"/>
                    <a:pt x="5500" y="12405"/>
                    <a:pt x="5506" y="12444"/>
                  </a:cubicBezTo>
                  <a:cubicBezTo>
                    <a:pt x="5456" y="12414"/>
                    <a:pt x="5495" y="12133"/>
                    <a:pt x="5346" y="12229"/>
                  </a:cubicBezTo>
                  <a:cubicBezTo>
                    <a:pt x="5391" y="12179"/>
                    <a:pt x="5452" y="12132"/>
                    <a:pt x="5374" y="12073"/>
                  </a:cubicBezTo>
                  <a:cubicBezTo>
                    <a:pt x="5345" y="12052"/>
                    <a:pt x="5222" y="12004"/>
                    <a:pt x="5182" y="11997"/>
                  </a:cubicBezTo>
                  <a:cubicBezTo>
                    <a:pt x="5149" y="11990"/>
                    <a:pt x="5065" y="11990"/>
                    <a:pt x="5007" y="12004"/>
                  </a:cubicBezTo>
                  <a:cubicBezTo>
                    <a:pt x="4910" y="12029"/>
                    <a:pt x="4954" y="12038"/>
                    <a:pt x="4896" y="12107"/>
                  </a:cubicBezTo>
                  <a:cubicBezTo>
                    <a:pt x="4922" y="12048"/>
                    <a:pt x="4881" y="12004"/>
                    <a:pt x="4845" y="11949"/>
                  </a:cubicBezTo>
                  <a:cubicBezTo>
                    <a:pt x="4822" y="11913"/>
                    <a:pt x="4766" y="11802"/>
                    <a:pt x="4764" y="11899"/>
                  </a:cubicBezTo>
                  <a:cubicBezTo>
                    <a:pt x="4755" y="11879"/>
                    <a:pt x="4729" y="11854"/>
                    <a:pt x="4721" y="11835"/>
                  </a:cubicBezTo>
                  <a:cubicBezTo>
                    <a:pt x="4715" y="11818"/>
                    <a:pt x="4726" y="11765"/>
                    <a:pt x="4715" y="11752"/>
                  </a:cubicBezTo>
                  <a:cubicBezTo>
                    <a:pt x="4686" y="11717"/>
                    <a:pt x="4632" y="11719"/>
                    <a:pt x="4565" y="11714"/>
                  </a:cubicBezTo>
                  <a:cubicBezTo>
                    <a:pt x="4508" y="11710"/>
                    <a:pt x="4485" y="11650"/>
                    <a:pt x="4476" y="11746"/>
                  </a:cubicBezTo>
                  <a:cubicBezTo>
                    <a:pt x="4466" y="11848"/>
                    <a:pt x="4538" y="11776"/>
                    <a:pt x="4559" y="11798"/>
                  </a:cubicBezTo>
                  <a:cubicBezTo>
                    <a:pt x="4607" y="11852"/>
                    <a:pt x="4488" y="11814"/>
                    <a:pt x="4499" y="11888"/>
                  </a:cubicBezTo>
                  <a:cubicBezTo>
                    <a:pt x="4506" y="11935"/>
                    <a:pt x="4439" y="11962"/>
                    <a:pt x="4431" y="12003"/>
                  </a:cubicBezTo>
                  <a:cubicBezTo>
                    <a:pt x="4416" y="12073"/>
                    <a:pt x="4584" y="12332"/>
                    <a:pt x="4598" y="12195"/>
                  </a:cubicBezTo>
                  <a:cubicBezTo>
                    <a:pt x="4640" y="12259"/>
                    <a:pt x="4620" y="12346"/>
                    <a:pt x="4739" y="12367"/>
                  </a:cubicBezTo>
                  <a:cubicBezTo>
                    <a:pt x="4633" y="12358"/>
                    <a:pt x="4688" y="12395"/>
                    <a:pt x="4675" y="12412"/>
                  </a:cubicBezTo>
                  <a:cubicBezTo>
                    <a:pt x="4650" y="12445"/>
                    <a:pt x="4640" y="12468"/>
                    <a:pt x="4621" y="12509"/>
                  </a:cubicBezTo>
                  <a:cubicBezTo>
                    <a:pt x="4595" y="12567"/>
                    <a:pt x="4551" y="12643"/>
                    <a:pt x="4543" y="12698"/>
                  </a:cubicBezTo>
                  <a:cubicBezTo>
                    <a:pt x="4532" y="12768"/>
                    <a:pt x="4612" y="12879"/>
                    <a:pt x="4731" y="12891"/>
                  </a:cubicBezTo>
                  <a:cubicBezTo>
                    <a:pt x="4827" y="12901"/>
                    <a:pt x="4931" y="12827"/>
                    <a:pt x="4984" y="12774"/>
                  </a:cubicBezTo>
                  <a:cubicBezTo>
                    <a:pt x="5010" y="12799"/>
                    <a:pt x="5047" y="12810"/>
                    <a:pt x="5091" y="12808"/>
                  </a:cubicBezTo>
                  <a:cubicBezTo>
                    <a:pt x="5045" y="12837"/>
                    <a:pt x="4984" y="12821"/>
                    <a:pt x="4937" y="12856"/>
                  </a:cubicBezTo>
                  <a:cubicBezTo>
                    <a:pt x="4903" y="12881"/>
                    <a:pt x="4904" y="12939"/>
                    <a:pt x="4884" y="12971"/>
                  </a:cubicBezTo>
                  <a:cubicBezTo>
                    <a:pt x="4818" y="13074"/>
                    <a:pt x="4642" y="13143"/>
                    <a:pt x="4578" y="13257"/>
                  </a:cubicBezTo>
                  <a:cubicBezTo>
                    <a:pt x="4546" y="13313"/>
                    <a:pt x="4540" y="13382"/>
                    <a:pt x="4456" y="13420"/>
                  </a:cubicBezTo>
                  <a:cubicBezTo>
                    <a:pt x="4430" y="13432"/>
                    <a:pt x="4382" y="13421"/>
                    <a:pt x="4339" y="13441"/>
                  </a:cubicBezTo>
                  <a:cubicBezTo>
                    <a:pt x="4339" y="13441"/>
                    <a:pt x="4267" y="13512"/>
                    <a:pt x="4271" y="13505"/>
                  </a:cubicBezTo>
                  <a:cubicBezTo>
                    <a:pt x="4257" y="13529"/>
                    <a:pt x="4193" y="13530"/>
                    <a:pt x="4278" y="13563"/>
                  </a:cubicBezTo>
                  <a:cubicBezTo>
                    <a:pt x="4339" y="13586"/>
                    <a:pt x="4317" y="13573"/>
                    <a:pt x="4378" y="13554"/>
                  </a:cubicBezTo>
                  <a:cubicBezTo>
                    <a:pt x="4446" y="13532"/>
                    <a:pt x="4531" y="13476"/>
                    <a:pt x="4583" y="13444"/>
                  </a:cubicBezTo>
                  <a:cubicBezTo>
                    <a:pt x="4649" y="13403"/>
                    <a:pt x="4680" y="13353"/>
                    <a:pt x="4772" y="13327"/>
                  </a:cubicBezTo>
                  <a:cubicBezTo>
                    <a:pt x="4856" y="13305"/>
                    <a:pt x="4935" y="13334"/>
                    <a:pt x="5016" y="13309"/>
                  </a:cubicBezTo>
                  <a:cubicBezTo>
                    <a:pt x="5007" y="13336"/>
                    <a:pt x="4951" y="13365"/>
                    <a:pt x="4918" y="13372"/>
                  </a:cubicBezTo>
                  <a:cubicBezTo>
                    <a:pt x="4884" y="13380"/>
                    <a:pt x="4871" y="13349"/>
                    <a:pt x="4824" y="13360"/>
                  </a:cubicBezTo>
                  <a:cubicBezTo>
                    <a:pt x="4713" y="13387"/>
                    <a:pt x="4673" y="13460"/>
                    <a:pt x="4698" y="13535"/>
                  </a:cubicBezTo>
                  <a:cubicBezTo>
                    <a:pt x="4727" y="13620"/>
                    <a:pt x="4825" y="13614"/>
                    <a:pt x="4877" y="13537"/>
                  </a:cubicBezTo>
                  <a:cubicBezTo>
                    <a:pt x="4895" y="13511"/>
                    <a:pt x="4874" y="13476"/>
                    <a:pt x="4903" y="13441"/>
                  </a:cubicBezTo>
                  <a:cubicBezTo>
                    <a:pt x="4920" y="13420"/>
                    <a:pt x="4942" y="13404"/>
                    <a:pt x="4967" y="13391"/>
                  </a:cubicBezTo>
                  <a:cubicBezTo>
                    <a:pt x="4965" y="13435"/>
                    <a:pt x="4908" y="13428"/>
                    <a:pt x="4892" y="13464"/>
                  </a:cubicBezTo>
                  <a:cubicBezTo>
                    <a:pt x="4877" y="13496"/>
                    <a:pt x="4916" y="13532"/>
                    <a:pt x="4906" y="13562"/>
                  </a:cubicBezTo>
                  <a:cubicBezTo>
                    <a:pt x="4882" y="13629"/>
                    <a:pt x="4799" y="13591"/>
                    <a:pt x="4767" y="13674"/>
                  </a:cubicBezTo>
                  <a:cubicBezTo>
                    <a:pt x="4676" y="13910"/>
                    <a:pt x="4961" y="13676"/>
                    <a:pt x="5045" y="13656"/>
                  </a:cubicBezTo>
                  <a:cubicBezTo>
                    <a:pt x="5045" y="13658"/>
                    <a:pt x="5046" y="13660"/>
                    <a:pt x="5046" y="13662"/>
                  </a:cubicBezTo>
                  <a:cubicBezTo>
                    <a:pt x="5074" y="13702"/>
                    <a:pt x="4872" y="13761"/>
                    <a:pt x="5094" y="13757"/>
                  </a:cubicBezTo>
                  <a:cubicBezTo>
                    <a:pt x="5146" y="13757"/>
                    <a:pt x="5243" y="13741"/>
                    <a:pt x="5316" y="13719"/>
                  </a:cubicBezTo>
                  <a:cubicBezTo>
                    <a:pt x="5408" y="13693"/>
                    <a:pt x="5428" y="13673"/>
                    <a:pt x="5531" y="13664"/>
                  </a:cubicBezTo>
                  <a:cubicBezTo>
                    <a:pt x="5561" y="13662"/>
                    <a:pt x="5631" y="13663"/>
                    <a:pt x="5656" y="13649"/>
                  </a:cubicBezTo>
                  <a:cubicBezTo>
                    <a:pt x="5701" y="13625"/>
                    <a:pt x="5658" y="13605"/>
                    <a:pt x="5690" y="13577"/>
                  </a:cubicBezTo>
                  <a:cubicBezTo>
                    <a:pt x="5802" y="13479"/>
                    <a:pt x="6038" y="13513"/>
                    <a:pt x="6143" y="13417"/>
                  </a:cubicBezTo>
                  <a:cubicBezTo>
                    <a:pt x="6235" y="13334"/>
                    <a:pt x="6186" y="13247"/>
                    <a:pt x="6197" y="13149"/>
                  </a:cubicBezTo>
                  <a:cubicBezTo>
                    <a:pt x="6315" y="13271"/>
                    <a:pt x="6286" y="13447"/>
                    <a:pt x="6090" y="13508"/>
                  </a:cubicBezTo>
                  <a:cubicBezTo>
                    <a:pt x="6031" y="13527"/>
                    <a:pt x="5930" y="13520"/>
                    <a:pt x="5859" y="13543"/>
                  </a:cubicBezTo>
                  <a:cubicBezTo>
                    <a:pt x="5767" y="13572"/>
                    <a:pt x="5722" y="13599"/>
                    <a:pt x="5709" y="13672"/>
                  </a:cubicBezTo>
                  <a:cubicBezTo>
                    <a:pt x="5694" y="13755"/>
                    <a:pt x="5708" y="13842"/>
                    <a:pt x="5827" y="13880"/>
                  </a:cubicBezTo>
                  <a:cubicBezTo>
                    <a:pt x="5917" y="13909"/>
                    <a:pt x="5982" y="13879"/>
                    <a:pt x="6082" y="13883"/>
                  </a:cubicBezTo>
                  <a:cubicBezTo>
                    <a:pt x="6121" y="13885"/>
                    <a:pt x="6188" y="13871"/>
                    <a:pt x="6215" y="13898"/>
                  </a:cubicBezTo>
                  <a:cubicBezTo>
                    <a:pt x="6252" y="13935"/>
                    <a:pt x="6164" y="13912"/>
                    <a:pt x="6143" y="13916"/>
                  </a:cubicBezTo>
                  <a:cubicBezTo>
                    <a:pt x="6038" y="13938"/>
                    <a:pt x="5986" y="13900"/>
                    <a:pt x="5938" y="13979"/>
                  </a:cubicBezTo>
                  <a:cubicBezTo>
                    <a:pt x="5841" y="14138"/>
                    <a:pt x="6159" y="14289"/>
                    <a:pt x="6036" y="14463"/>
                  </a:cubicBezTo>
                  <a:cubicBezTo>
                    <a:pt x="6026" y="14367"/>
                    <a:pt x="5977" y="14285"/>
                    <a:pt x="5923" y="14197"/>
                  </a:cubicBezTo>
                  <a:cubicBezTo>
                    <a:pt x="5883" y="14131"/>
                    <a:pt x="5908" y="14103"/>
                    <a:pt x="5897" y="14044"/>
                  </a:cubicBezTo>
                  <a:cubicBezTo>
                    <a:pt x="5884" y="13975"/>
                    <a:pt x="5814" y="13912"/>
                    <a:pt x="5718" y="13898"/>
                  </a:cubicBezTo>
                  <a:cubicBezTo>
                    <a:pt x="5627" y="13885"/>
                    <a:pt x="5636" y="13911"/>
                    <a:pt x="5550" y="13933"/>
                  </a:cubicBezTo>
                  <a:cubicBezTo>
                    <a:pt x="5478" y="13951"/>
                    <a:pt x="5423" y="13938"/>
                    <a:pt x="5350" y="13947"/>
                  </a:cubicBezTo>
                  <a:cubicBezTo>
                    <a:pt x="5239" y="13959"/>
                    <a:pt x="5267" y="13983"/>
                    <a:pt x="5230" y="14041"/>
                  </a:cubicBezTo>
                  <a:cubicBezTo>
                    <a:pt x="5185" y="14112"/>
                    <a:pt x="5223" y="14092"/>
                    <a:pt x="5096" y="14093"/>
                  </a:cubicBezTo>
                  <a:cubicBezTo>
                    <a:pt x="5074" y="14093"/>
                    <a:pt x="5040" y="14084"/>
                    <a:pt x="5011" y="14085"/>
                  </a:cubicBezTo>
                  <a:cubicBezTo>
                    <a:pt x="5008" y="14085"/>
                    <a:pt x="4958" y="14112"/>
                    <a:pt x="4940" y="14115"/>
                  </a:cubicBezTo>
                  <a:cubicBezTo>
                    <a:pt x="4951" y="14107"/>
                    <a:pt x="4963" y="14098"/>
                    <a:pt x="4974" y="14090"/>
                  </a:cubicBezTo>
                  <a:cubicBezTo>
                    <a:pt x="5024" y="14050"/>
                    <a:pt x="5013" y="14059"/>
                    <a:pt x="5074" y="14047"/>
                  </a:cubicBezTo>
                  <a:cubicBezTo>
                    <a:pt x="5110" y="14040"/>
                    <a:pt x="5145" y="14098"/>
                    <a:pt x="5185" y="14046"/>
                  </a:cubicBezTo>
                  <a:cubicBezTo>
                    <a:pt x="5244" y="13966"/>
                    <a:pt x="5022" y="14007"/>
                    <a:pt x="4980" y="14026"/>
                  </a:cubicBezTo>
                  <a:cubicBezTo>
                    <a:pt x="4902" y="14062"/>
                    <a:pt x="4904" y="14132"/>
                    <a:pt x="4843" y="14173"/>
                  </a:cubicBezTo>
                  <a:cubicBezTo>
                    <a:pt x="4766" y="14223"/>
                    <a:pt x="4728" y="14165"/>
                    <a:pt x="4618" y="14191"/>
                  </a:cubicBezTo>
                  <a:cubicBezTo>
                    <a:pt x="4473" y="14226"/>
                    <a:pt x="4404" y="14397"/>
                    <a:pt x="4374" y="14492"/>
                  </a:cubicBezTo>
                  <a:cubicBezTo>
                    <a:pt x="4360" y="14536"/>
                    <a:pt x="4338" y="14702"/>
                    <a:pt x="4366" y="14730"/>
                  </a:cubicBezTo>
                  <a:cubicBezTo>
                    <a:pt x="4390" y="14753"/>
                    <a:pt x="4504" y="14732"/>
                    <a:pt x="4485" y="14783"/>
                  </a:cubicBezTo>
                  <a:cubicBezTo>
                    <a:pt x="4479" y="14800"/>
                    <a:pt x="4403" y="14790"/>
                    <a:pt x="4375" y="14786"/>
                  </a:cubicBezTo>
                  <a:cubicBezTo>
                    <a:pt x="4486" y="14973"/>
                    <a:pt x="4619" y="14771"/>
                    <a:pt x="4675" y="14717"/>
                  </a:cubicBezTo>
                  <a:cubicBezTo>
                    <a:pt x="4704" y="14689"/>
                    <a:pt x="4850" y="14653"/>
                    <a:pt x="4850" y="14654"/>
                  </a:cubicBezTo>
                  <a:cubicBezTo>
                    <a:pt x="4851" y="14644"/>
                    <a:pt x="4687" y="14579"/>
                    <a:pt x="4664" y="14560"/>
                  </a:cubicBezTo>
                  <a:cubicBezTo>
                    <a:pt x="4732" y="14547"/>
                    <a:pt x="4776" y="14595"/>
                    <a:pt x="4827" y="14591"/>
                  </a:cubicBezTo>
                  <a:cubicBezTo>
                    <a:pt x="4906" y="14584"/>
                    <a:pt x="4867" y="14554"/>
                    <a:pt x="4922" y="14530"/>
                  </a:cubicBezTo>
                  <a:cubicBezTo>
                    <a:pt x="4974" y="14507"/>
                    <a:pt x="4987" y="14527"/>
                    <a:pt x="5037" y="14503"/>
                  </a:cubicBezTo>
                  <a:cubicBezTo>
                    <a:pt x="5064" y="14490"/>
                    <a:pt x="5104" y="14442"/>
                    <a:pt x="5129" y="14426"/>
                  </a:cubicBezTo>
                  <a:cubicBezTo>
                    <a:pt x="5120" y="14527"/>
                    <a:pt x="5002" y="14530"/>
                    <a:pt x="4944" y="14572"/>
                  </a:cubicBezTo>
                  <a:cubicBezTo>
                    <a:pt x="4838" y="14651"/>
                    <a:pt x="4992" y="14701"/>
                    <a:pt x="5032" y="14627"/>
                  </a:cubicBezTo>
                  <a:cubicBezTo>
                    <a:pt x="5111" y="14707"/>
                    <a:pt x="5181" y="14697"/>
                    <a:pt x="5300" y="14722"/>
                  </a:cubicBezTo>
                  <a:cubicBezTo>
                    <a:pt x="5386" y="14740"/>
                    <a:pt x="5456" y="14778"/>
                    <a:pt x="5539" y="14805"/>
                  </a:cubicBezTo>
                  <a:cubicBezTo>
                    <a:pt x="5623" y="14832"/>
                    <a:pt x="5729" y="14884"/>
                    <a:pt x="5802" y="14865"/>
                  </a:cubicBezTo>
                  <a:cubicBezTo>
                    <a:pt x="5912" y="14835"/>
                    <a:pt x="5845" y="14797"/>
                    <a:pt x="5905" y="14734"/>
                  </a:cubicBezTo>
                  <a:cubicBezTo>
                    <a:pt x="5940" y="14924"/>
                    <a:pt x="5797" y="14922"/>
                    <a:pt x="5592" y="14867"/>
                  </a:cubicBezTo>
                  <a:cubicBezTo>
                    <a:pt x="5424" y="14821"/>
                    <a:pt x="5282" y="14753"/>
                    <a:pt x="5105" y="14723"/>
                  </a:cubicBezTo>
                  <a:cubicBezTo>
                    <a:pt x="5031" y="14710"/>
                    <a:pt x="4915" y="14695"/>
                    <a:pt x="4841" y="14703"/>
                  </a:cubicBezTo>
                  <a:cubicBezTo>
                    <a:pt x="4719" y="14718"/>
                    <a:pt x="4748" y="14755"/>
                    <a:pt x="4690" y="14821"/>
                  </a:cubicBezTo>
                  <a:cubicBezTo>
                    <a:pt x="4644" y="14872"/>
                    <a:pt x="4569" y="14880"/>
                    <a:pt x="4499" y="14906"/>
                  </a:cubicBezTo>
                  <a:cubicBezTo>
                    <a:pt x="4461" y="14920"/>
                    <a:pt x="4435" y="14948"/>
                    <a:pt x="4400" y="14955"/>
                  </a:cubicBezTo>
                  <a:cubicBezTo>
                    <a:pt x="4383" y="14959"/>
                    <a:pt x="4339" y="14936"/>
                    <a:pt x="4307" y="14945"/>
                  </a:cubicBezTo>
                  <a:cubicBezTo>
                    <a:pt x="4043" y="15015"/>
                    <a:pt x="4569" y="15049"/>
                    <a:pt x="4622" y="15061"/>
                  </a:cubicBezTo>
                  <a:cubicBezTo>
                    <a:pt x="4603" y="15068"/>
                    <a:pt x="4575" y="15091"/>
                    <a:pt x="4549" y="15099"/>
                  </a:cubicBezTo>
                  <a:cubicBezTo>
                    <a:pt x="4775" y="15163"/>
                    <a:pt x="4847" y="15228"/>
                    <a:pt x="5071" y="15127"/>
                  </a:cubicBezTo>
                  <a:cubicBezTo>
                    <a:pt x="4990" y="15349"/>
                    <a:pt x="4631" y="15137"/>
                    <a:pt x="4471" y="15116"/>
                  </a:cubicBezTo>
                  <a:cubicBezTo>
                    <a:pt x="4419" y="15109"/>
                    <a:pt x="4264" y="15096"/>
                    <a:pt x="4211" y="15107"/>
                  </a:cubicBezTo>
                  <a:cubicBezTo>
                    <a:pt x="4033" y="15144"/>
                    <a:pt x="4146" y="15247"/>
                    <a:pt x="4225" y="15310"/>
                  </a:cubicBezTo>
                  <a:cubicBezTo>
                    <a:pt x="4282" y="15355"/>
                    <a:pt x="4331" y="15348"/>
                    <a:pt x="4376" y="15368"/>
                  </a:cubicBezTo>
                  <a:cubicBezTo>
                    <a:pt x="4427" y="15390"/>
                    <a:pt x="4453" y="15427"/>
                    <a:pt x="4504" y="15460"/>
                  </a:cubicBezTo>
                  <a:cubicBezTo>
                    <a:pt x="4554" y="15492"/>
                    <a:pt x="4622" y="15514"/>
                    <a:pt x="4686" y="15530"/>
                  </a:cubicBezTo>
                  <a:cubicBezTo>
                    <a:pt x="4831" y="15568"/>
                    <a:pt x="4986" y="15580"/>
                    <a:pt x="5135" y="15604"/>
                  </a:cubicBezTo>
                  <a:cubicBezTo>
                    <a:pt x="5258" y="15624"/>
                    <a:pt x="5407" y="15614"/>
                    <a:pt x="5470" y="15523"/>
                  </a:cubicBezTo>
                  <a:cubicBezTo>
                    <a:pt x="5523" y="15606"/>
                    <a:pt x="5387" y="15597"/>
                    <a:pt x="5343" y="15636"/>
                  </a:cubicBezTo>
                  <a:cubicBezTo>
                    <a:pt x="5295" y="15678"/>
                    <a:pt x="5352" y="15713"/>
                    <a:pt x="5304" y="15758"/>
                  </a:cubicBezTo>
                  <a:cubicBezTo>
                    <a:pt x="5262" y="15796"/>
                    <a:pt x="5282" y="15715"/>
                    <a:pt x="5273" y="15707"/>
                  </a:cubicBezTo>
                  <a:cubicBezTo>
                    <a:pt x="5241" y="15677"/>
                    <a:pt x="5217" y="15648"/>
                    <a:pt x="5157" y="15632"/>
                  </a:cubicBezTo>
                  <a:cubicBezTo>
                    <a:pt x="5086" y="15613"/>
                    <a:pt x="4991" y="15612"/>
                    <a:pt x="4918" y="15598"/>
                  </a:cubicBezTo>
                  <a:cubicBezTo>
                    <a:pt x="4735" y="15561"/>
                    <a:pt x="4620" y="15531"/>
                    <a:pt x="4479" y="15448"/>
                  </a:cubicBezTo>
                  <a:cubicBezTo>
                    <a:pt x="4413" y="15409"/>
                    <a:pt x="4348" y="15385"/>
                    <a:pt x="4319" y="15475"/>
                  </a:cubicBezTo>
                  <a:cubicBezTo>
                    <a:pt x="4296" y="15545"/>
                    <a:pt x="4326" y="15491"/>
                    <a:pt x="4380" y="15561"/>
                  </a:cubicBezTo>
                  <a:cubicBezTo>
                    <a:pt x="4406" y="15595"/>
                    <a:pt x="4343" y="15601"/>
                    <a:pt x="4389" y="15636"/>
                  </a:cubicBezTo>
                  <a:cubicBezTo>
                    <a:pt x="4445" y="15678"/>
                    <a:pt x="4526" y="15696"/>
                    <a:pt x="4575" y="15733"/>
                  </a:cubicBezTo>
                  <a:cubicBezTo>
                    <a:pt x="4627" y="15773"/>
                    <a:pt x="4664" y="15833"/>
                    <a:pt x="4724" y="15869"/>
                  </a:cubicBezTo>
                  <a:cubicBezTo>
                    <a:pt x="4811" y="15920"/>
                    <a:pt x="4831" y="15905"/>
                    <a:pt x="4941" y="15875"/>
                  </a:cubicBezTo>
                  <a:cubicBezTo>
                    <a:pt x="4852" y="15826"/>
                    <a:pt x="4754" y="15799"/>
                    <a:pt x="4671" y="15736"/>
                  </a:cubicBezTo>
                  <a:cubicBezTo>
                    <a:pt x="4775" y="15708"/>
                    <a:pt x="4838" y="15824"/>
                    <a:pt x="4945" y="15832"/>
                  </a:cubicBezTo>
                  <a:cubicBezTo>
                    <a:pt x="4996" y="15835"/>
                    <a:pt x="5038" y="15802"/>
                    <a:pt x="5070" y="15807"/>
                  </a:cubicBezTo>
                  <a:cubicBezTo>
                    <a:pt x="5123" y="15818"/>
                    <a:pt x="5179" y="15911"/>
                    <a:pt x="5221" y="15937"/>
                  </a:cubicBezTo>
                  <a:cubicBezTo>
                    <a:pt x="5261" y="15963"/>
                    <a:pt x="5438" y="15946"/>
                    <a:pt x="5478" y="15905"/>
                  </a:cubicBezTo>
                  <a:cubicBezTo>
                    <a:pt x="5529" y="15852"/>
                    <a:pt x="5476" y="15798"/>
                    <a:pt x="5567" y="15744"/>
                  </a:cubicBezTo>
                  <a:cubicBezTo>
                    <a:pt x="5580" y="15840"/>
                    <a:pt x="5496" y="15867"/>
                    <a:pt x="5623" y="15945"/>
                  </a:cubicBezTo>
                  <a:cubicBezTo>
                    <a:pt x="5694" y="15987"/>
                    <a:pt x="5816" y="16032"/>
                    <a:pt x="5907" y="15998"/>
                  </a:cubicBezTo>
                  <a:cubicBezTo>
                    <a:pt x="5875" y="16143"/>
                    <a:pt x="5521" y="15910"/>
                    <a:pt x="5415" y="15969"/>
                  </a:cubicBezTo>
                  <a:cubicBezTo>
                    <a:pt x="5349" y="16006"/>
                    <a:pt x="5366" y="16046"/>
                    <a:pt x="5438" y="16073"/>
                  </a:cubicBezTo>
                  <a:cubicBezTo>
                    <a:pt x="5506" y="16098"/>
                    <a:pt x="5510" y="16067"/>
                    <a:pt x="5568" y="16069"/>
                  </a:cubicBezTo>
                  <a:cubicBezTo>
                    <a:pt x="5660" y="16073"/>
                    <a:pt x="5763" y="16113"/>
                    <a:pt x="5839" y="16113"/>
                  </a:cubicBezTo>
                  <a:cubicBezTo>
                    <a:pt x="5826" y="16209"/>
                    <a:pt x="5735" y="16189"/>
                    <a:pt x="5882" y="16244"/>
                  </a:cubicBezTo>
                  <a:cubicBezTo>
                    <a:pt x="5912" y="16255"/>
                    <a:pt x="6015" y="16228"/>
                    <a:pt x="5951" y="16274"/>
                  </a:cubicBezTo>
                  <a:cubicBezTo>
                    <a:pt x="5938" y="16282"/>
                    <a:pt x="5848" y="16286"/>
                    <a:pt x="5826" y="16290"/>
                  </a:cubicBezTo>
                  <a:cubicBezTo>
                    <a:pt x="5751" y="16302"/>
                    <a:pt x="5623" y="16326"/>
                    <a:pt x="5707" y="16372"/>
                  </a:cubicBezTo>
                  <a:cubicBezTo>
                    <a:pt x="5778" y="16412"/>
                    <a:pt x="5894" y="16365"/>
                    <a:pt x="5962" y="16378"/>
                  </a:cubicBezTo>
                  <a:cubicBezTo>
                    <a:pt x="6050" y="16396"/>
                    <a:pt x="6115" y="16449"/>
                    <a:pt x="6226" y="16444"/>
                  </a:cubicBezTo>
                  <a:cubicBezTo>
                    <a:pt x="6291" y="16441"/>
                    <a:pt x="6274" y="16426"/>
                    <a:pt x="6329" y="16413"/>
                  </a:cubicBezTo>
                  <a:cubicBezTo>
                    <a:pt x="6331" y="16412"/>
                    <a:pt x="6450" y="16381"/>
                    <a:pt x="6440" y="16390"/>
                  </a:cubicBezTo>
                  <a:cubicBezTo>
                    <a:pt x="6505" y="16330"/>
                    <a:pt x="6397" y="16285"/>
                    <a:pt x="6542" y="16241"/>
                  </a:cubicBezTo>
                  <a:cubicBezTo>
                    <a:pt x="6592" y="16226"/>
                    <a:pt x="6624" y="16260"/>
                    <a:pt x="6665" y="16223"/>
                  </a:cubicBezTo>
                  <a:cubicBezTo>
                    <a:pt x="6694" y="16196"/>
                    <a:pt x="6658" y="16155"/>
                    <a:pt x="6655" y="16124"/>
                  </a:cubicBezTo>
                  <a:cubicBezTo>
                    <a:pt x="6650" y="16076"/>
                    <a:pt x="6640" y="16004"/>
                    <a:pt x="6676" y="15965"/>
                  </a:cubicBezTo>
                  <a:cubicBezTo>
                    <a:pt x="6740" y="16056"/>
                    <a:pt x="6753" y="16176"/>
                    <a:pt x="6675" y="16250"/>
                  </a:cubicBezTo>
                  <a:cubicBezTo>
                    <a:pt x="6661" y="16264"/>
                    <a:pt x="6647" y="16300"/>
                    <a:pt x="6624" y="16306"/>
                  </a:cubicBezTo>
                  <a:cubicBezTo>
                    <a:pt x="6602" y="16311"/>
                    <a:pt x="6565" y="16290"/>
                    <a:pt x="6568" y="16289"/>
                  </a:cubicBezTo>
                  <a:cubicBezTo>
                    <a:pt x="6482" y="16320"/>
                    <a:pt x="6526" y="16287"/>
                    <a:pt x="6488" y="16355"/>
                  </a:cubicBezTo>
                  <a:cubicBezTo>
                    <a:pt x="6456" y="16414"/>
                    <a:pt x="6435" y="16449"/>
                    <a:pt x="6338" y="16474"/>
                  </a:cubicBezTo>
                  <a:cubicBezTo>
                    <a:pt x="6319" y="16478"/>
                    <a:pt x="6317" y="16504"/>
                    <a:pt x="6287" y="16509"/>
                  </a:cubicBezTo>
                  <a:cubicBezTo>
                    <a:pt x="6266" y="16513"/>
                    <a:pt x="6252" y="16485"/>
                    <a:pt x="6228" y="16485"/>
                  </a:cubicBezTo>
                  <a:cubicBezTo>
                    <a:pt x="6188" y="16484"/>
                    <a:pt x="6149" y="16480"/>
                    <a:pt x="6113" y="16478"/>
                  </a:cubicBezTo>
                  <a:cubicBezTo>
                    <a:pt x="5959" y="16468"/>
                    <a:pt x="5814" y="16400"/>
                    <a:pt x="5649" y="16403"/>
                  </a:cubicBezTo>
                  <a:cubicBezTo>
                    <a:pt x="5512" y="16405"/>
                    <a:pt x="5580" y="16466"/>
                    <a:pt x="5688" y="16480"/>
                  </a:cubicBezTo>
                  <a:cubicBezTo>
                    <a:pt x="5748" y="16488"/>
                    <a:pt x="5893" y="16445"/>
                    <a:pt x="5943" y="16473"/>
                  </a:cubicBezTo>
                  <a:cubicBezTo>
                    <a:pt x="6033" y="16524"/>
                    <a:pt x="5807" y="16509"/>
                    <a:pt x="5765" y="16509"/>
                  </a:cubicBezTo>
                  <a:cubicBezTo>
                    <a:pt x="5686" y="16508"/>
                    <a:pt x="5600" y="16495"/>
                    <a:pt x="5610" y="16576"/>
                  </a:cubicBezTo>
                  <a:cubicBezTo>
                    <a:pt x="5560" y="16505"/>
                    <a:pt x="5402" y="16542"/>
                    <a:pt x="5581" y="16614"/>
                  </a:cubicBezTo>
                  <a:cubicBezTo>
                    <a:pt x="5654" y="16644"/>
                    <a:pt x="5735" y="16669"/>
                    <a:pt x="5811" y="16690"/>
                  </a:cubicBezTo>
                  <a:cubicBezTo>
                    <a:pt x="5902" y="16715"/>
                    <a:pt x="5932" y="16695"/>
                    <a:pt x="6025" y="16690"/>
                  </a:cubicBezTo>
                  <a:cubicBezTo>
                    <a:pt x="6071" y="16687"/>
                    <a:pt x="6063" y="16654"/>
                    <a:pt x="6118" y="16697"/>
                  </a:cubicBezTo>
                  <a:cubicBezTo>
                    <a:pt x="6158" y="16728"/>
                    <a:pt x="6074" y="16705"/>
                    <a:pt x="6079" y="16739"/>
                  </a:cubicBezTo>
                  <a:cubicBezTo>
                    <a:pt x="6110" y="16955"/>
                    <a:pt x="6345" y="16750"/>
                    <a:pt x="6409" y="16681"/>
                  </a:cubicBezTo>
                  <a:cubicBezTo>
                    <a:pt x="6466" y="16620"/>
                    <a:pt x="6448" y="16584"/>
                    <a:pt x="6563" y="16556"/>
                  </a:cubicBezTo>
                  <a:cubicBezTo>
                    <a:pt x="6570" y="16554"/>
                    <a:pt x="6702" y="16514"/>
                    <a:pt x="6654" y="16553"/>
                  </a:cubicBezTo>
                  <a:cubicBezTo>
                    <a:pt x="6614" y="16585"/>
                    <a:pt x="6571" y="16570"/>
                    <a:pt x="6539" y="16588"/>
                  </a:cubicBezTo>
                  <a:cubicBezTo>
                    <a:pt x="6452" y="16638"/>
                    <a:pt x="6468" y="16697"/>
                    <a:pt x="6420" y="16756"/>
                  </a:cubicBezTo>
                  <a:cubicBezTo>
                    <a:pt x="6373" y="16813"/>
                    <a:pt x="6270" y="16871"/>
                    <a:pt x="6460" y="16875"/>
                  </a:cubicBezTo>
                  <a:cubicBezTo>
                    <a:pt x="6532" y="16876"/>
                    <a:pt x="6610" y="16788"/>
                    <a:pt x="6626" y="16790"/>
                  </a:cubicBezTo>
                  <a:cubicBezTo>
                    <a:pt x="6664" y="16794"/>
                    <a:pt x="6589" y="16976"/>
                    <a:pt x="6748" y="16879"/>
                  </a:cubicBezTo>
                  <a:cubicBezTo>
                    <a:pt x="6726" y="16928"/>
                    <a:pt x="6727" y="17024"/>
                    <a:pt x="6837" y="17009"/>
                  </a:cubicBezTo>
                  <a:cubicBezTo>
                    <a:pt x="6882" y="17002"/>
                    <a:pt x="6929" y="16943"/>
                    <a:pt x="6969" y="16918"/>
                  </a:cubicBezTo>
                  <a:cubicBezTo>
                    <a:pt x="7050" y="16868"/>
                    <a:pt x="7204" y="16863"/>
                    <a:pt x="7266" y="16812"/>
                  </a:cubicBezTo>
                  <a:cubicBezTo>
                    <a:pt x="7271" y="16807"/>
                    <a:pt x="7334" y="16690"/>
                    <a:pt x="7337" y="16679"/>
                  </a:cubicBezTo>
                  <a:cubicBezTo>
                    <a:pt x="7348" y="16631"/>
                    <a:pt x="7275" y="16576"/>
                    <a:pt x="7317" y="16532"/>
                  </a:cubicBezTo>
                  <a:cubicBezTo>
                    <a:pt x="7329" y="16520"/>
                    <a:pt x="7461" y="16470"/>
                    <a:pt x="7490" y="16456"/>
                  </a:cubicBezTo>
                  <a:cubicBezTo>
                    <a:pt x="7521" y="16441"/>
                    <a:pt x="7495" y="16400"/>
                    <a:pt x="7547" y="16418"/>
                  </a:cubicBezTo>
                  <a:cubicBezTo>
                    <a:pt x="7585" y="16430"/>
                    <a:pt x="7559" y="16482"/>
                    <a:pt x="7547" y="16499"/>
                  </a:cubicBezTo>
                  <a:cubicBezTo>
                    <a:pt x="7528" y="16526"/>
                    <a:pt x="7355" y="16568"/>
                    <a:pt x="7362" y="16596"/>
                  </a:cubicBezTo>
                  <a:cubicBezTo>
                    <a:pt x="7380" y="16660"/>
                    <a:pt x="7414" y="16667"/>
                    <a:pt x="7386" y="16728"/>
                  </a:cubicBezTo>
                  <a:cubicBezTo>
                    <a:pt x="7377" y="16747"/>
                    <a:pt x="7339" y="16778"/>
                    <a:pt x="7324" y="16798"/>
                  </a:cubicBezTo>
                  <a:cubicBezTo>
                    <a:pt x="7307" y="16821"/>
                    <a:pt x="7296" y="16874"/>
                    <a:pt x="7271" y="16889"/>
                  </a:cubicBezTo>
                  <a:cubicBezTo>
                    <a:pt x="7229" y="16916"/>
                    <a:pt x="7203" y="16892"/>
                    <a:pt x="7166" y="16907"/>
                  </a:cubicBezTo>
                  <a:cubicBezTo>
                    <a:pt x="7135" y="16919"/>
                    <a:pt x="7100" y="16950"/>
                    <a:pt x="7066" y="16964"/>
                  </a:cubicBezTo>
                  <a:cubicBezTo>
                    <a:pt x="7039" y="16975"/>
                    <a:pt x="7002" y="16955"/>
                    <a:pt x="6978" y="16968"/>
                  </a:cubicBezTo>
                  <a:cubicBezTo>
                    <a:pt x="6965" y="16974"/>
                    <a:pt x="6855" y="17125"/>
                    <a:pt x="6855" y="17126"/>
                  </a:cubicBezTo>
                  <a:cubicBezTo>
                    <a:pt x="6849" y="17210"/>
                    <a:pt x="6960" y="17140"/>
                    <a:pt x="7000" y="17111"/>
                  </a:cubicBezTo>
                  <a:cubicBezTo>
                    <a:pt x="7019" y="17096"/>
                    <a:pt x="7027" y="17082"/>
                    <a:pt x="7030" y="17073"/>
                  </a:cubicBezTo>
                  <a:cubicBezTo>
                    <a:pt x="7030" y="17084"/>
                    <a:pt x="7031" y="17107"/>
                    <a:pt x="7041" y="17148"/>
                  </a:cubicBezTo>
                  <a:cubicBezTo>
                    <a:pt x="7050" y="17188"/>
                    <a:pt x="7003" y="17189"/>
                    <a:pt x="7088" y="17229"/>
                  </a:cubicBezTo>
                  <a:cubicBezTo>
                    <a:pt x="7138" y="17252"/>
                    <a:pt x="7138" y="17253"/>
                    <a:pt x="7196" y="17250"/>
                  </a:cubicBezTo>
                  <a:cubicBezTo>
                    <a:pt x="7290" y="17245"/>
                    <a:pt x="7334" y="17165"/>
                    <a:pt x="7406" y="17153"/>
                  </a:cubicBezTo>
                  <a:cubicBezTo>
                    <a:pt x="7479" y="17141"/>
                    <a:pt x="7575" y="17183"/>
                    <a:pt x="7669" y="17172"/>
                  </a:cubicBezTo>
                  <a:cubicBezTo>
                    <a:pt x="7723" y="17166"/>
                    <a:pt x="7912" y="17110"/>
                    <a:pt x="7841" y="17163"/>
                  </a:cubicBezTo>
                  <a:cubicBezTo>
                    <a:pt x="7795" y="17198"/>
                    <a:pt x="7670" y="17224"/>
                    <a:pt x="7606" y="17222"/>
                  </a:cubicBezTo>
                  <a:cubicBezTo>
                    <a:pt x="7519" y="17219"/>
                    <a:pt x="7480" y="17187"/>
                    <a:pt x="7395" y="17222"/>
                  </a:cubicBezTo>
                  <a:cubicBezTo>
                    <a:pt x="7253" y="17279"/>
                    <a:pt x="7398" y="17358"/>
                    <a:pt x="7354" y="17452"/>
                  </a:cubicBezTo>
                  <a:cubicBezTo>
                    <a:pt x="7321" y="17520"/>
                    <a:pt x="7230" y="17526"/>
                    <a:pt x="7192" y="17566"/>
                  </a:cubicBezTo>
                  <a:cubicBezTo>
                    <a:pt x="7158" y="17601"/>
                    <a:pt x="7121" y="17690"/>
                    <a:pt x="7118" y="17736"/>
                  </a:cubicBezTo>
                  <a:cubicBezTo>
                    <a:pt x="7066" y="17676"/>
                    <a:pt x="6956" y="17506"/>
                    <a:pt x="7003" y="17680"/>
                  </a:cubicBezTo>
                  <a:cubicBezTo>
                    <a:pt x="7033" y="17790"/>
                    <a:pt x="7134" y="17918"/>
                    <a:pt x="7212" y="18016"/>
                  </a:cubicBezTo>
                  <a:cubicBezTo>
                    <a:pt x="7268" y="18086"/>
                    <a:pt x="7329" y="18090"/>
                    <a:pt x="7417" y="18126"/>
                  </a:cubicBezTo>
                  <a:cubicBezTo>
                    <a:pt x="7452" y="18141"/>
                    <a:pt x="7458" y="18173"/>
                    <a:pt x="7496" y="18180"/>
                  </a:cubicBezTo>
                  <a:cubicBezTo>
                    <a:pt x="7492" y="18180"/>
                    <a:pt x="7510" y="18145"/>
                    <a:pt x="7538" y="18147"/>
                  </a:cubicBezTo>
                  <a:cubicBezTo>
                    <a:pt x="7610" y="18153"/>
                    <a:pt x="7646" y="18176"/>
                    <a:pt x="7723" y="18164"/>
                  </a:cubicBezTo>
                  <a:cubicBezTo>
                    <a:pt x="7841" y="18145"/>
                    <a:pt x="7807" y="18068"/>
                    <a:pt x="7894" y="18011"/>
                  </a:cubicBezTo>
                  <a:cubicBezTo>
                    <a:pt x="7892" y="18033"/>
                    <a:pt x="7861" y="18130"/>
                    <a:pt x="7876" y="18149"/>
                  </a:cubicBezTo>
                  <a:cubicBezTo>
                    <a:pt x="7899" y="18180"/>
                    <a:pt x="7974" y="18180"/>
                    <a:pt x="8003" y="18143"/>
                  </a:cubicBezTo>
                  <a:cubicBezTo>
                    <a:pt x="8052" y="18082"/>
                    <a:pt x="7903" y="17985"/>
                    <a:pt x="7997" y="17913"/>
                  </a:cubicBezTo>
                  <a:cubicBezTo>
                    <a:pt x="8058" y="17867"/>
                    <a:pt x="8246" y="17910"/>
                    <a:pt x="8291" y="17843"/>
                  </a:cubicBezTo>
                  <a:cubicBezTo>
                    <a:pt x="8330" y="17782"/>
                    <a:pt x="8148" y="17697"/>
                    <a:pt x="8149" y="17628"/>
                  </a:cubicBezTo>
                  <a:cubicBezTo>
                    <a:pt x="8242" y="17683"/>
                    <a:pt x="8446" y="17824"/>
                    <a:pt x="8305" y="17895"/>
                  </a:cubicBezTo>
                  <a:cubicBezTo>
                    <a:pt x="8259" y="17918"/>
                    <a:pt x="7979" y="17911"/>
                    <a:pt x="8035" y="17994"/>
                  </a:cubicBezTo>
                  <a:cubicBezTo>
                    <a:pt x="8078" y="18057"/>
                    <a:pt x="8104" y="18116"/>
                    <a:pt x="8038" y="18180"/>
                  </a:cubicBezTo>
                  <a:cubicBezTo>
                    <a:pt x="7959" y="18255"/>
                    <a:pt x="7921" y="18222"/>
                    <a:pt x="7994" y="18340"/>
                  </a:cubicBezTo>
                  <a:cubicBezTo>
                    <a:pt x="8056" y="18437"/>
                    <a:pt x="8083" y="18478"/>
                    <a:pt x="8232" y="18475"/>
                  </a:cubicBezTo>
                  <a:cubicBezTo>
                    <a:pt x="8284" y="18474"/>
                    <a:pt x="8355" y="18466"/>
                    <a:pt x="8403" y="18449"/>
                  </a:cubicBezTo>
                  <a:cubicBezTo>
                    <a:pt x="8333" y="18523"/>
                    <a:pt x="8222" y="18494"/>
                    <a:pt x="8125" y="18512"/>
                  </a:cubicBezTo>
                  <a:cubicBezTo>
                    <a:pt x="8052" y="18525"/>
                    <a:pt x="8057" y="18529"/>
                    <a:pt x="8018" y="18568"/>
                  </a:cubicBezTo>
                  <a:cubicBezTo>
                    <a:pt x="8008" y="18579"/>
                    <a:pt x="8023" y="18667"/>
                    <a:pt x="7963" y="18646"/>
                  </a:cubicBezTo>
                  <a:cubicBezTo>
                    <a:pt x="7880" y="18616"/>
                    <a:pt x="8086" y="18192"/>
                    <a:pt x="7798" y="18279"/>
                  </a:cubicBezTo>
                  <a:cubicBezTo>
                    <a:pt x="7589" y="18342"/>
                    <a:pt x="7708" y="18584"/>
                    <a:pt x="7838" y="18656"/>
                  </a:cubicBezTo>
                  <a:cubicBezTo>
                    <a:pt x="7925" y="18704"/>
                    <a:pt x="8170" y="18904"/>
                    <a:pt x="8264" y="18867"/>
                  </a:cubicBezTo>
                  <a:cubicBezTo>
                    <a:pt x="8349" y="18835"/>
                    <a:pt x="8288" y="18779"/>
                    <a:pt x="8328" y="18738"/>
                  </a:cubicBezTo>
                  <a:cubicBezTo>
                    <a:pt x="8374" y="18692"/>
                    <a:pt x="8470" y="18704"/>
                    <a:pt x="8539" y="18697"/>
                  </a:cubicBezTo>
                  <a:cubicBezTo>
                    <a:pt x="8600" y="18691"/>
                    <a:pt x="8673" y="18679"/>
                    <a:pt x="8717" y="18654"/>
                  </a:cubicBezTo>
                  <a:cubicBezTo>
                    <a:pt x="8740" y="18641"/>
                    <a:pt x="8739" y="18597"/>
                    <a:pt x="8769" y="18578"/>
                  </a:cubicBezTo>
                  <a:cubicBezTo>
                    <a:pt x="8794" y="18562"/>
                    <a:pt x="8842" y="18569"/>
                    <a:pt x="8872" y="18550"/>
                  </a:cubicBezTo>
                  <a:cubicBezTo>
                    <a:pt x="8842" y="18619"/>
                    <a:pt x="8721" y="18684"/>
                    <a:pt x="8669" y="18754"/>
                  </a:cubicBezTo>
                  <a:cubicBezTo>
                    <a:pt x="8625" y="18813"/>
                    <a:pt x="8589" y="18894"/>
                    <a:pt x="8567" y="18956"/>
                  </a:cubicBezTo>
                  <a:cubicBezTo>
                    <a:pt x="8561" y="18972"/>
                    <a:pt x="8518" y="18943"/>
                    <a:pt x="8526" y="18981"/>
                  </a:cubicBezTo>
                  <a:cubicBezTo>
                    <a:pt x="8534" y="19014"/>
                    <a:pt x="8573" y="19019"/>
                    <a:pt x="8601" y="19038"/>
                  </a:cubicBezTo>
                  <a:cubicBezTo>
                    <a:pt x="8808" y="19179"/>
                    <a:pt x="9006" y="19158"/>
                    <a:pt x="9101" y="18964"/>
                  </a:cubicBezTo>
                  <a:cubicBezTo>
                    <a:pt x="9163" y="19079"/>
                    <a:pt x="8951" y="19173"/>
                    <a:pt x="8813" y="19153"/>
                  </a:cubicBezTo>
                  <a:cubicBezTo>
                    <a:pt x="8773" y="19147"/>
                    <a:pt x="8695" y="19108"/>
                    <a:pt x="8681" y="19106"/>
                  </a:cubicBezTo>
                  <a:cubicBezTo>
                    <a:pt x="8631" y="19100"/>
                    <a:pt x="8581" y="19132"/>
                    <a:pt x="8515" y="19110"/>
                  </a:cubicBezTo>
                  <a:cubicBezTo>
                    <a:pt x="8526" y="19162"/>
                    <a:pt x="8561" y="19208"/>
                    <a:pt x="8613" y="19245"/>
                  </a:cubicBezTo>
                  <a:cubicBezTo>
                    <a:pt x="8535" y="19195"/>
                    <a:pt x="8451" y="19270"/>
                    <a:pt x="8482" y="19323"/>
                  </a:cubicBezTo>
                  <a:cubicBezTo>
                    <a:pt x="8523" y="19396"/>
                    <a:pt x="8626" y="19353"/>
                    <a:pt x="8697" y="19341"/>
                  </a:cubicBezTo>
                  <a:cubicBezTo>
                    <a:pt x="8586" y="19426"/>
                    <a:pt x="8492" y="19399"/>
                    <a:pt x="8541" y="19525"/>
                  </a:cubicBezTo>
                  <a:cubicBezTo>
                    <a:pt x="8529" y="19570"/>
                    <a:pt x="8566" y="19565"/>
                    <a:pt x="8618" y="19542"/>
                  </a:cubicBezTo>
                  <a:cubicBezTo>
                    <a:pt x="8599" y="19486"/>
                    <a:pt x="8724" y="19440"/>
                    <a:pt x="8800" y="19454"/>
                  </a:cubicBezTo>
                  <a:cubicBezTo>
                    <a:pt x="8909" y="19475"/>
                    <a:pt x="8826" y="19494"/>
                    <a:pt x="8847" y="19523"/>
                  </a:cubicBezTo>
                  <a:cubicBezTo>
                    <a:pt x="8876" y="19562"/>
                    <a:pt x="8905" y="19584"/>
                    <a:pt x="8975" y="19617"/>
                  </a:cubicBezTo>
                  <a:lnTo>
                    <a:pt x="12591" y="20316"/>
                  </a:lnTo>
                  <a:lnTo>
                    <a:pt x="16511" y="20959"/>
                  </a:lnTo>
                  <a:lnTo>
                    <a:pt x="17830" y="21148"/>
                  </a:lnTo>
                  <a:lnTo>
                    <a:pt x="20489" y="21491"/>
                  </a:lnTo>
                  <a:lnTo>
                    <a:pt x="21600" y="21600"/>
                  </a:lnTo>
                  <a:cubicBezTo>
                    <a:pt x="21527" y="21489"/>
                    <a:pt x="21446" y="21390"/>
                    <a:pt x="21446" y="21308"/>
                  </a:cubicBezTo>
                  <a:close/>
                  <a:moveTo>
                    <a:pt x="1055" y="11294"/>
                  </a:moveTo>
                  <a:cubicBezTo>
                    <a:pt x="1041" y="11268"/>
                    <a:pt x="1017" y="11266"/>
                    <a:pt x="1011" y="11233"/>
                  </a:cubicBezTo>
                  <a:cubicBezTo>
                    <a:pt x="1005" y="11202"/>
                    <a:pt x="1045" y="11164"/>
                    <a:pt x="1037" y="11128"/>
                  </a:cubicBezTo>
                  <a:cubicBezTo>
                    <a:pt x="967" y="11149"/>
                    <a:pt x="875" y="11111"/>
                    <a:pt x="807" y="11121"/>
                  </a:cubicBezTo>
                  <a:cubicBezTo>
                    <a:pt x="704" y="11137"/>
                    <a:pt x="695" y="11151"/>
                    <a:pt x="590" y="11136"/>
                  </a:cubicBezTo>
                  <a:cubicBezTo>
                    <a:pt x="413" y="11109"/>
                    <a:pt x="264" y="11074"/>
                    <a:pt x="98" y="11011"/>
                  </a:cubicBezTo>
                  <a:cubicBezTo>
                    <a:pt x="117" y="11053"/>
                    <a:pt x="34" y="11111"/>
                    <a:pt x="70" y="11155"/>
                  </a:cubicBezTo>
                  <a:cubicBezTo>
                    <a:pt x="102" y="11194"/>
                    <a:pt x="191" y="11197"/>
                    <a:pt x="250" y="11221"/>
                  </a:cubicBezTo>
                  <a:cubicBezTo>
                    <a:pt x="304" y="11243"/>
                    <a:pt x="346" y="11276"/>
                    <a:pt x="392" y="11319"/>
                  </a:cubicBezTo>
                  <a:cubicBezTo>
                    <a:pt x="420" y="11346"/>
                    <a:pt x="460" y="11335"/>
                    <a:pt x="461" y="11365"/>
                  </a:cubicBezTo>
                  <a:cubicBezTo>
                    <a:pt x="460" y="11354"/>
                    <a:pt x="399" y="11408"/>
                    <a:pt x="397" y="11410"/>
                  </a:cubicBezTo>
                  <a:cubicBezTo>
                    <a:pt x="388" y="11400"/>
                    <a:pt x="358" y="11383"/>
                    <a:pt x="352" y="11374"/>
                  </a:cubicBezTo>
                  <a:cubicBezTo>
                    <a:pt x="355" y="11388"/>
                    <a:pt x="353" y="11407"/>
                    <a:pt x="355" y="11420"/>
                  </a:cubicBezTo>
                  <a:cubicBezTo>
                    <a:pt x="325" y="11395"/>
                    <a:pt x="220" y="11303"/>
                    <a:pt x="161" y="11361"/>
                  </a:cubicBezTo>
                  <a:cubicBezTo>
                    <a:pt x="149" y="11374"/>
                    <a:pt x="173" y="11422"/>
                    <a:pt x="176" y="11436"/>
                  </a:cubicBezTo>
                  <a:cubicBezTo>
                    <a:pt x="181" y="11461"/>
                    <a:pt x="198" y="11492"/>
                    <a:pt x="203" y="11509"/>
                  </a:cubicBezTo>
                  <a:cubicBezTo>
                    <a:pt x="211" y="11534"/>
                    <a:pt x="205" y="11644"/>
                    <a:pt x="253" y="11663"/>
                  </a:cubicBezTo>
                  <a:cubicBezTo>
                    <a:pt x="318" y="11690"/>
                    <a:pt x="387" y="11594"/>
                    <a:pt x="401" y="11557"/>
                  </a:cubicBezTo>
                  <a:cubicBezTo>
                    <a:pt x="406" y="11617"/>
                    <a:pt x="500" y="11671"/>
                    <a:pt x="470" y="11726"/>
                  </a:cubicBezTo>
                  <a:cubicBezTo>
                    <a:pt x="457" y="11710"/>
                    <a:pt x="418" y="11690"/>
                    <a:pt x="407" y="11678"/>
                  </a:cubicBezTo>
                  <a:cubicBezTo>
                    <a:pt x="413" y="11694"/>
                    <a:pt x="412" y="11721"/>
                    <a:pt x="419" y="11738"/>
                  </a:cubicBezTo>
                  <a:cubicBezTo>
                    <a:pt x="349" y="11626"/>
                    <a:pt x="271" y="11726"/>
                    <a:pt x="322" y="11806"/>
                  </a:cubicBezTo>
                  <a:cubicBezTo>
                    <a:pt x="342" y="11837"/>
                    <a:pt x="377" y="11855"/>
                    <a:pt x="386" y="11881"/>
                  </a:cubicBezTo>
                  <a:cubicBezTo>
                    <a:pt x="395" y="11911"/>
                    <a:pt x="373" y="11945"/>
                    <a:pt x="388" y="11980"/>
                  </a:cubicBezTo>
                  <a:cubicBezTo>
                    <a:pt x="422" y="12057"/>
                    <a:pt x="492" y="12104"/>
                    <a:pt x="539" y="12171"/>
                  </a:cubicBezTo>
                  <a:cubicBezTo>
                    <a:pt x="559" y="12201"/>
                    <a:pt x="543" y="12246"/>
                    <a:pt x="566" y="12273"/>
                  </a:cubicBezTo>
                  <a:cubicBezTo>
                    <a:pt x="594" y="12307"/>
                    <a:pt x="679" y="12275"/>
                    <a:pt x="661" y="12343"/>
                  </a:cubicBezTo>
                  <a:cubicBezTo>
                    <a:pt x="515" y="12264"/>
                    <a:pt x="596" y="12450"/>
                    <a:pt x="599" y="12464"/>
                  </a:cubicBezTo>
                  <a:cubicBezTo>
                    <a:pt x="611" y="12519"/>
                    <a:pt x="613" y="12611"/>
                    <a:pt x="663" y="12662"/>
                  </a:cubicBezTo>
                  <a:cubicBezTo>
                    <a:pt x="674" y="12648"/>
                    <a:pt x="699" y="12634"/>
                    <a:pt x="708" y="12618"/>
                  </a:cubicBezTo>
                  <a:cubicBezTo>
                    <a:pt x="710" y="12646"/>
                    <a:pt x="686" y="12777"/>
                    <a:pt x="717" y="12788"/>
                  </a:cubicBezTo>
                  <a:cubicBezTo>
                    <a:pt x="793" y="12816"/>
                    <a:pt x="793" y="12660"/>
                    <a:pt x="804" y="12638"/>
                  </a:cubicBezTo>
                  <a:cubicBezTo>
                    <a:pt x="848" y="12698"/>
                    <a:pt x="815" y="12726"/>
                    <a:pt x="803" y="12786"/>
                  </a:cubicBezTo>
                  <a:cubicBezTo>
                    <a:pt x="784" y="12878"/>
                    <a:pt x="926" y="12738"/>
                    <a:pt x="937" y="12721"/>
                  </a:cubicBezTo>
                  <a:cubicBezTo>
                    <a:pt x="885" y="12905"/>
                    <a:pt x="1218" y="12708"/>
                    <a:pt x="1019" y="12726"/>
                  </a:cubicBezTo>
                  <a:cubicBezTo>
                    <a:pt x="978" y="12715"/>
                    <a:pt x="938" y="12694"/>
                    <a:pt x="915" y="12670"/>
                  </a:cubicBezTo>
                  <a:cubicBezTo>
                    <a:pt x="1072" y="12695"/>
                    <a:pt x="1033" y="12557"/>
                    <a:pt x="877" y="12564"/>
                  </a:cubicBezTo>
                  <a:cubicBezTo>
                    <a:pt x="684" y="12572"/>
                    <a:pt x="843" y="12397"/>
                    <a:pt x="735" y="12373"/>
                  </a:cubicBezTo>
                  <a:cubicBezTo>
                    <a:pt x="799" y="12342"/>
                    <a:pt x="775" y="12309"/>
                    <a:pt x="769" y="12261"/>
                  </a:cubicBezTo>
                  <a:cubicBezTo>
                    <a:pt x="762" y="12196"/>
                    <a:pt x="774" y="12231"/>
                    <a:pt x="722" y="12184"/>
                  </a:cubicBezTo>
                  <a:cubicBezTo>
                    <a:pt x="651" y="12119"/>
                    <a:pt x="627" y="12104"/>
                    <a:pt x="633" y="12001"/>
                  </a:cubicBezTo>
                  <a:cubicBezTo>
                    <a:pt x="635" y="11965"/>
                    <a:pt x="679" y="11926"/>
                    <a:pt x="651" y="11870"/>
                  </a:cubicBezTo>
                  <a:cubicBezTo>
                    <a:pt x="623" y="11814"/>
                    <a:pt x="560" y="11844"/>
                    <a:pt x="579" y="11787"/>
                  </a:cubicBezTo>
                  <a:cubicBezTo>
                    <a:pt x="606" y="11707"/>
                    <a:pt x="754" y="11801"/>
                    <a:pt x="829" y="11766"/>
                  </a:cubicBezTo>
                  <a:cubicBezTo>
                    <a:pt x="750" y="11755"/>
                    <a:pt x="648" y="11728"/>
                    <a:pt x="625" y="11665"/>
                  </a:cubicBezTo>
                  <a:cubicBezTo>
                    <a:pt x="600" y="11595"/>
                    <a:pt x="690" y="11571"/>
                    <a:pt x="542" y="11550"/>
                  </a:cubicBezTo>
                  <a:cubicBezTo>
                    <a:pt x="644" y="11552"/>
                    <a:pt x="751" y="11385"/>
                    <a:pt x="656" y="11315"/>
                  </a:cubicBezTo>
                  <a:cubicBezTo>
                    <a:pt x="792" y="11361"/>
                    <a:pt x="969" y="11360"/>
                    <a:pt x="1049" y="11469"/>
                  </a:cubicBezTo>
                  <a:cubicBezTo>
                    <a:pt x="1130" y="11415"/>
                    <a:pt x="1087" y="11354"/>
                    <a:pt x="1055" y="11294"/>
                  </a:cubicBezTo>
                  <a:close/>
                  <a:moveTo>
                    <a:pt x="1299" y="9983"/>
                  </a:moveTo>
                  <a:cubicBezTo>
                    <a:pt x="1327" y="10027"/>
                    <a:pt x="1303" y="10143"/>
                    <a:pt x="1278" y="10189"/>
                  </a:cubicBezTo>
                  <a:cubicBezTo>
                    <a:pt x="1230" y="10276"/>
                    <a:pt x="1087" y="10271"/>
                    <a:pt x="1029" y="10351"/>
                  </a:cubicBezTo>
                  <a:cubicBezTo>
                    <a:pt x="998" y="10395"/>
                    <a:pt x="1068" y="10405"/>
                    <a:pt x="991" y="10444"/>
                  </a:cubicBezTo>
                  <a:cubicBezTo>
                    <a:pt x="895" y="10491"/>
                    <a:pt x="893" y="10404"/>
                    <a:pt x="804" y="10421"/>
                  </a:cubicBezTo>
                  <a:cubicBezTo>
                    <a:pt x="771" y="10427"/>
                    <a:pt x="826" y="10475"/>
                    <a:pt x="811" y="10480"/>
                  </a:cubicBezTo>
                  <a:cubicBezTo>
                    <a:pt x="775" y="10491"/>
                    <a:pt x="766" y="10464"/>
                    <a:pt x="738" y="10467"/>
                  </a:cubicBezTo>
                  <a:cubicBezTo>
                    <a:pt x="674" y="10474"/>
                    <a:pt x="628" y="10457"/>
                    <a:pt x="565" y="10478"/>
                  </a:cubicBezTo>
                  <a:cubicBezTo>
                    <a:pt x="592" y="10410"/>
                    <a:pt x="702" y="10423"/>
                    <a:pt x="779" y="10401"/>
                  </a:cubicBezTo>
                  <a:cubicBezTo>
                    <a:pt x="733" y="10382"/>
                    <a:pt x="688" y="10392"/>
                    <a:pt x="642" y="10382"/>
                  </a:cubicBezTo>
                  <a:cubicBezTo>
                    <a:pt x="581" y="10368"/>
                    <a:pt x="553" y="10327"/>
                    <a:pt x="477" y="10358"/>
                  </a:cubicBezTo>
                  <a:cubicBezTo>
                    <a:pt x="580" y="10298"/>
                    <a:pt x="407" y="10288"/>
                    <a:pt x="570" y="10273"/>
                  </a:cubicBezTo>
                  <a:cubicBezTo>
                    <a:pt x="760" y="10255"/>
                    <a:pt x="924" y="10315"/>
                    <a:pt x="1110" y="10265"/>
                  </a:cubicBezTo>
                  <a:cubicBezTo>
                    <a:pt x="1240" y="10230"/>
                    <a:pt x="1282" y="10114"/>
                    <a:pt x="1278" y="10023"/>
                  </a:cubicBezTo>
                  <a:cubicBezTo>
                    <a:pt x="1276" y="9995"/>
                    <a:pt x="1211" y="9997"/>
                    <a:pt x="1230" y="9964"/>
                  </a:cubicBezTo>
                  <a:cubicBezTo>
                    <a:pt x="1248" y="9932"/>
                    <a:pt x="1262" y="9914"/>
                    <a:pt x="1242" y="9881"/>
                  </a:cubicBezTo>
                  <a:cubicBezTo>
                    <a:pt x="1215" y="9837"/>
                    <a:pt x="1139" y="9826"/>
                    <a:pt x="1069" y="9829"/>
                  </a:cubicBezTo>
                  <a:cubicBezTo>
                    <a:pt x="1057" y="9830"/>
                    <a:pt x="889" y="9862"/>
                    <a:pt x="882" y="9867"/>
                  </a:cubicBezTo>
                  <a:cubicBezTo>
                    <a:pt x="809" y="9921"/>
                    <a:pt x="785" y="9915"/>
                    <a:pt x="690" y="9932"/>
                  </a:cubicBezTo>
                  <a:cubicBezTo>
                    <a:pt x="696" y="9846"/>
                    <a:pt x="837" y="9893"/>
                    <a:pt x="882" y="9830"/>
                  </a:cubicBezTo>
                  <a:cubicBezTo>
                    <a:pt x="943" y="9747"/>
                    <a:pt x="901" y="9701"/>
                    <a:pt x="791" y="9667"/>
                  </a:cubicBezTo>
                  <a:cubicBezTo>
                    <a:pt x="705" y="9641"/>
                    <a:pt x="657" y="9652"/>
                    <a:pt x="581" y="9601"/>
                  </a:cubicBezTo>
                  <a:cubicBezTo>
                    <a:pt x="536" y="9570"/>
                    <a:pt x="502" y="9496"/>
                    <a:pt x="423" y="9507"/>
                  </a:cubicBezTo>
                  <a:cubicBezTo>
                    <a:pt x="480" y="9539"/>
                    <a:pt x="385" y="9561"/>
                    <a:pt x="360" y="9595"/>
                  </a:cubicBezTo>
                  <a:cubicBezTo>
                    <a:pt x="328" y="9640"/>
                    <a:pt x="335" y="9672"/>
                    <a:pt x="284" y="9716"/>
                  </a:cubicBezTo>
                  <a:cubicBezTo>
                    <a:pt x="280" y="9720"/>
                    <a:pt x="239" y="9726"/>
                    <a:pt x="225" y="9734"/>
                  </a:cubicBezTo>
                  <a:cubicBezTo>
                    <a:pt x="219" y="9738"/>
                    <a:pt x="165" y="9784"/>
                    <a:pt x="157" y="9792"/>
                  </a:cubicBezTo>
                  <a:cubicBezTo>
                    <a:pt x="104" y="9849"/>
                    <a:pt x="131" y="9858"/>
                    <a:pt x="107" y="9916"/>
                  </a:cubicBezTo>
                  <a:cubicBezTo>
                    <a:pt x="84" y="9970"/>
                    <a:pt x="39" y="9968"/>
                    <a:pt x="86" y="10031"/>
                  </a:cubicBezTo>
                  <a:cubicBezTo>
                    <a:pt x="100" y="10050"/>
                    <a:pt x="157" y="10048"/>
                    <a:pt x="157" y="10048"/>
                  </a:cubicBezTo>
                  <a:cubicBezTo>
                    <a:pt x="170" y="10073"/>
                    <a:pt x="133" y="10078"/>
                    <a:pt x="133" y="10108"/>
                  </a:cubicBezTo>
                  <a:cubicBezTo>
                    <a:pt x="133" y="10124"/>
                    <a:pt x="167" y="10159"/>
                    <a:pt x="155" y="10172"/>
                  </a:cubicBezTo>
                  <a:cubicBezTo>
                    <a:pt x="144" y="10184"/>
                    <a:pt x="77" y="10131"/>
                    <a:pt x="63" y="10167"/>
                  </a:cubicBezTo>
                  <a:cubicBezTo>
                    <a:pt x="58" y="10178"/>
                    <a:pt x="133" y="10269"/>
                    <a:pt x="136" y="10300"/>
                  </a:cubicBezTo>
                  <a:cubicBezTo>
                    <a:pt x="55" y="10282"/>
                    <a:pt x="30" y="10272"/>
                    <a:pt x="0" y="10313"/>
                  </a:cubicBezTo>
                  <a:cubicBezTo>
                    <a:pt x="8" y="10303"/>
                    <a:pt x="37" y="10384"/>
                    <a:pt x="30" y="10376"/>
                  </a:cubicBezTo>
                  <a:cubicBezTo>
                    <a:pt x="32" y="10378"/>
                    <a:pt x="101" y="10418"/>
                    <a:pt x="101" y="10415"/>
                  </a:cubicBezTo>
                  <a:cubicBezTo>
                    <a:pt x="101" y="10413"/>
                    <a:pt x="65" y="10488"/>
                    <a:pt x="49" y="10473"/>
                  </a:cubicBezTo>
                  <a:cubicBezTo>
                    <a:pt x="77" y="10499"/>
                    <a:pt x="171" y="10478"/>
                    <a:pt x="212" y="10505"/>
                  </a:cubicBezTo>
                  <a:cubicBezTo>
                    <a:pt x="190" y="10491"/>
                    <a:pt x="188" y="10623"/>
                    <a:pt x="283" y="10531"/>
                  </a:cubicBezTo>
                  <a:cubicBezTo>
                    <a:pt x="204" y="10637"/>
                    <a:pt x="511" y="10780"/>
                    <a:pt x="399" y="10856"/>
                  </a:cubicBezTo>
                  <a:cubicBezTo>
                    <a:pt x="358" y="10758"/>
                    <a:pt x="171" y="10593"/>
                    <a:pt x="47" y="10715"/>
                  </a:cubicBezTo>
                  <a:cubicBezTo>
                    <a:pt x="96" y="10715"/>
                    <a:pt x="205" y="10736"/>
                    <a:pt x="244" y="10756"/>
                  </a:cubicBezTo>
                  <a:cubicBezTo>
                    <a:pt x="309" y="10789"/>
                    <a:pt x="183" y="10779"/>
                    <a:pt x="129" y="10791"/>
                  </a:cubicBezTo>
                  <a:cubicBezTo>
                    <a:pt x="1" y="10821"/>
                    <a:pt x="100" y="10793"/>
                    <a:pt x="150" y="10863"/>
                  </a:cubicBezTo>
                  <a:cubicBezTo>
                    <a:pt x="176" y="10900"/>
                    <a:pt x="110" y="11017"/>
                    <a:pt x="238" y="10998"/>
                  </a:cubicBezTo>
                  <a:cubicBezTo>
                    <a:pt x="196" y="11051"/>
                    <a:pt x="263" y="11052"/>
                    <a:pt x="319" y="11064"/>
                  </a:cubicBezTo>
                  <a:cubicBezTo>
                    <a:pt x="337" y="11068"/>
                    <a:pt x="385" y="11055"/>
                    <a:pt x="393" y="11057"/>
                  </a:cubicBezTo>
                  <a:cubicBezTo>
                    <a:pt x="398" y="11058"/>
                    <a:pt x="422" y="11080"/>
                    <a:pt x="442" y="11084"/>
                  </a:cubicBezTo>
                  <a:cubicBezTo>
                    <a:pt x="499" y="11097"/>
                    <a:pt x="549" y="11136"/>
                    <a:pt x="614" y="11098"/>
                  </a:cubicBezTo>
                  <a:cubicBezTo>
                    <a:pt x="639" y="11084"/>
                    <a:pt x="494" y="11038"/>
                    <a:pt x="481" y="11029"/>
                  </a:cubicBezTo>
                  <a:cubicBezTo>
                    <a:pt x="540" y="11039"/>
                    <a:pt x="623" y="11013"/>
                    <a:pt x="709" y="11030"/>
                  </a:cubicBezTo>
                  <a:cubicBezTo>
                    <a:pt x="846" y="11056"/>
                    <a:pt x="873" y="11068"/>
                    <a:pt x="969" y="10980"/>
                  </a:cubicBezTo>
                  <a:cubicBezTo>
                    <a:pt x="1078" y="10880"/>
                    <a:pt x="1092" y="10747"/>
                    <a:pt x="1186" y="10643"/>
                  </a:cubicBezTo>
                  <a:cubicBezTo>
                    <a:pt x="1240" y="10582"/>
                    <a:pt x="1323" y="10537"/>
                    <a:pt x="1377" y="10478"/>
                  </a:cubicBezTo>
                  <a:cubicBezTo>
                    <a:pt x="1440" y="10410"/>
                    <a:pt x="1470" y="10383"/>
                    <a:pt x="1569" y="10337"/>
                  </a:cubicBezTo>
                  <a:cubicBezTo>
                    <a:pt x="1674" y="10288"/>
                    <a:pt x="1966" y="10137"/>
                    <a:pt x="1948" y="10032"/>
                  </a:cubicBezTo>
                  <a:cubicBezTo>
                    <a:pt x="1948" y="10030"/>
                    <a:pt x="1958" y="10011"/>
                    <a:pt x="1959" y="10010"/>
                  </a:cubicBezTo>
                  <a:cubicBezTo>
                    <a:pt x="1778" y="10090"/>
                    <a:pt x="1447" y="10105"/>
                    <a:pt x="1299" y="9983"/>
                  </a:cubicBezTo>
                  <a:close/>
                  <a:moveTo>
                    <a:pt x="3167" y="11915"/>
                  </a:moveTo>
                  <a:cubicBezTo>
                    <a:pt x="3262" y="11856"/>
                    <a:pt x="3281" y="11996"/>
                    <a:pt x="3360" y="11892"/>
                  </a:cubicBezTo>
                  <a:cubicBezTo>
                    <a:pt x="3391" y="11851"/>
                    <a:pt x="3355" y="11763"/>
                    <a:pt x="3348" y="11720"/>
                  </a:cubicBezTo>
                  <a:cubicBezTo>
                    <a:pt x="3330" y="11598"/>
                    <a:pt x="3306" y="11526"/>
                    <a:pt x="3217" y="11418"/>
                  </a:cubicBezTo>
                  <a:cubicBezTo>
                    <a:pt x="3134" y="11318"/>
                    <a:pt x="3055" y="11211"/>
                    <a:pt x="2934" y="11129"/>
                  </a:cubicBezTo>
                  <a:cubicBezTo>
                    <a:pt x="2870" y="11086"/>
                    <a:pt x="2792" y="11051"/>
                    <a:pt x="2757" y="11139"/>
                  </a:cubicBezTo>
                  <a:cubicBezTo>
                    <a:pt x="2724" y="11220"/>
                    <a:pt x="2848" y="11245"/>
                    <a:pt x="2903" y="11276"/>
                  </a:cubicBezTo>
                  <a:cubicBezTo>
                    <a:pt x="2756" y="11260"/>
                    <a:pt x="2820" y="11453"/>
                    <a:pt x="2898" y="11481"/>
                  </a:cubicBezTo>
                  <a:cubicBezTo>
                    <a:pt x="3130" y="11563"/>
                    <a:pt x="2928" y="11838"/>
                    <a:pt x="3167" y="11915"/>
                  </a:cubicBezTo>
                  <a:close/>
                  <a:moveTo>
                    <a:pt x="1026" y="11518"/>
                  </a:moveTo>
                  <a:cubicBezTo>
                    <a:pt x="1016" y="11501"/>
                    <a:pt x="875" y="11410"/>
                    <a:pt x="854" y="11403"/>
                  </a:cubicBezTo>
                  <a:cubicBezTo>
                    <a:pt x="749" y="11367"/>
                    <a:pt x="685" y="11416"/>
                    <a:pt x="680" y="11497"/>
                  </a:cubicBezTo>
                  <a:cubicBezTo>
                    <a:pt x="706" y="11595"/>
                    <a:pt x="740" y="11692"/>
                    <a:pt x="911" y="11649"/>
                  </a:cubicBezTo>
                  <a:cubicBezTo>
                    <a:pt x="989" y="11629"/>
                    <a:pt x="1059" y="11574"/>
                    <a:pt x="1026" y="11518"/>
                  </a:cubicBezTo>
                  <a:close/>
                  <a:moveTo>
                    <a:pt x="940" y="12368"/>
                  </a:moveTo>
                  <a:cubicBezTo>
                    <a:pt x="856" y="12359"/>
                    <a:pt x="829" y="12396"/>
                    <a:pt x="823" y="12451"/>
                  </a:cubicBezTo>
                  <a:cubicBezTo>
                    <a:pt x="822" y="12526"/>
                    <a:pt x="989" y="12487"/>
                    <a:pt x="886" y="12467"/>
                  </a:cubicBezTo>
                  <a:cubicBezTo>
                    <a:pt x="930" y="12430"/>
                    <a:pt x="1062" y="12382"/>
                    <a:pt x="940" y="12368"/>
                  </a:cubicBezTo>
                  <a:close/>
                  <a:moveTo>
                    <a:pt x="3958" y="12254"/>
                  </a:moveTo>
                  <a:cubicBezTo>
                    <a:pt x="3864" y="12293"/>
                    <a:pt x="3708" y="12415"/>
                    <a:pt x="3840" y="12473"/>
                  </a:cubicBezTo>
                  <a:cubicBezTo>
                    <a:pt x="3996" y="12543"/>
                    <a:pt x="4048" y="12354"/>
                    <a:pt x="4217" y="12392"/>
                  </a:cubicBezTo>
                  <a:cubicBezTo>
                    <a:pt x="4206" y="12338"/>
                    <a:pt x="4132" y="12271"/>
                    <a:pt x="4145" y="12216"/>
                  </a:cubicBezTo>
                  <a:cubicBezTo>
                    <a:pt x="4176" y="12247"/>
                    <a:pt x="4215" y="12298"/>
                    <a:pt x="4227" y="12335"/>
                  </a:cubicBezTo>
                  <a:cubicBezTo>
                    <a:pt x="4260" y="12431"/>
                    <a:pt x="4239" y="12375"/>
                    <a:pt x="4148" y="12406"/>
                  </a:cubicBezTo>
                  <a:cubicBezTo>
                    <a:pt x="4084" y="12428"/>
                    <a:pt x="4050" y="12461"/>
                    <a:pt x="3992" y="12491"/>
                  </a:cubicBezTo>
                  <a:cubicBezTo>
                    <a:pt x="3909" y="12536"/>
                    <a:pt x="3878" y="12512"/>
                    <a:pt x="3903" y="12592"/>
                  </a:cubicBezTo>
                  <a:cubicBezTo>
                    <a:pt x="3839" y="12459"/>
                    <a:pt x="3775" y="12585"/>
                    <a:pt x="3775" y="12657"/>
                  </a:cubicBezTo>
                  <a:cubicBezTo>
                    <a:pt x="3775" y="12743"/>
                    <a:pt x="3840" y="12788"/>
                    <a:pt x="3883" y="12874"/>
                  </a:cubicBezTo>
                  <a:cubicBezTo>
                    <a:pt x="3956" y="12909"/>
                    <a:pt x="4029" y="12851"/>
                    <a:pt x="4070" y="12904"/>
                  </a:cubicBezTo>
                  <a:cubicBezTo>
                    <a:pt x="4107" y="12792"/>
                    <a:pt x="4267" y="12702"/>
                    <a:pt x="4284" y="12593"/>
                  </a:cubicBezTo>
                  <a:cubicBezTo>
                    <a:pt x="4319" y="12648"/>
                    <a:pt x="4385" y="12602"/>
                    <a:pt x="4421" y="12564"/>
                  </a:cubicBezTo>
                  <a:cubicBezTo>
                    <a:pt x="4394" y="12643"/>
                    <a:pt x="4317" y="12654"/>
                    <a:pt x="4251" y="12703"/>
                  </a:cubicBezTo>
                  <a:cubicBezTo>
                    <a:pt x="4187" y="12751"/>
                    <a:pt x="4150" y="12814"/>
                    <a:pt x="4117" y="12872"/>
                  </a:cubicBezTo>
                  <a:cubicBezTo>
                    <a:pt x="4062" y="12969"/>
                    <a:pt x="3995" y="12995"/>
                    <a:pt x="4155" y="13026"/>
                  </a:cubicBezTo>
                  <a:cubicBezTo>
                    <a:pt x="4263" y="13047"/>
                    <a:pt x="4299" y="12935"/>
                    <a:pt x="4345" y="12885"/>
                  </a:cubicBezTo>
                  <a:cubicBezTo>
                    <a:pt x="4449" y="12771"/>
                    <a:pt x="4572" y="12648"/>
                    <a:pt x="4599" y="12511"/>
                  </a:cubicBezTo>
                  <a:cubicBezTo>
                    <a:pt x="4609" y="12463"/>
                    <a:pt x="4626" y="12358"/>
                    <a:pt x="4598" y="12316"/>
                  </a:cubicBezTo>
                  <a:cubicBezTo>
                    <a:pt x="4563" y="12265"/>
                    <a:pt x="4480" y="12227"/>
                    <a:pt x="4442" y="12165"/>
                  </a:cubicBezTo>
                  <a:cubicBezTo>
                    <a:pt x="4411" y="12117"/>
                    <a:pt x="4285" y="11930"/>
                    <a:pt x="4169" y="11984"/>
                  </a:cubicBezTo>
                  <a:cubicBezTo>
                    <a:pt x="4163" y="11987"/>
                    <a:pt x="4095" y="12121"/>
                    <a:pt x="4085" y="12136"/>
                  </a:cubicBezTo>
                  <a:cubicBezTo>
                    <a:pt x="4036" y="12208"/>
                    <a:pt x="4042" y="12219"/>
                    <a:pt x="3958" y="12254"/>
                  </a:cubicBezTo>
                  <a:close/>
                  <a:moveTo>
                    <a:pt x="4276" y="13959"/>
                  </a:moveTo>
                  <a:cubicBezTo>
                    <a:pt x="4199" y="13985"/>
                    <a:pt x="4199" y="14037"/>
                    <a:pt x="4167" y="14064"/>
                  </a:cubicBezTo>
                  <a:cubicBezTo>
                    <a:pt x="4126" y="14100"/>
                    <a:pt x="4056" y="14101"/>
                    <a:pt x="4090" y="14159"/>
                  </a:cubicBezTo>
                  <a:cubicBezTo>
                    <a:pt x="4126" y="14220"/>
                    <a:pt x="4201" y="14149"/>
                    <a:pt x="4180" y="14237"/>
                  </a:cubicBezTo>
                  <a:cubicBezTo>
                    <a:pt x="4169" y="14284"/>
                    <a:pt x="4082" y="14310"/>
                    <a:pt x="4138" y="14341"/>
                  </a:cubicBezTo>
                  <a:cubicBezTo>
                    <a:pt x="4245" y="14401"/>
                    <a:pt x="4509" y="14047"/>
                    <a:pt x="4551" y="13990"/>
                  </a:cubicBezTo>
                  <a:cubicBezTo>
                    <a:pt x="4508" y="13924"/>
                    <a:pt x="4349" y="13934"/>
                    <a:pt x="4276" y="13959"/>
                  </a:cubicBezTo>
                  <a:close/>
                  <a:moveTo>
                    <a:pt x="4193" y="13853"/>
                  </a:moveTo>
                  <a:cubicBezTo>
                    <a:pt x="4147" y="14062"/>
                    <a:pt x="4378" y="13813"/>
                    <a:pt x="4419" y="13747"/>
                  </a:cubicBezTo>
                  <a:cubicBezTo>
                    <a:pt x="4321" y="13644"/>
                    <a:pt x="4206" y="13798"/>
                    <a:pt x="4193" y="13853"/>
                  </a:cubicBezTo>
                  <a:close/>
                  <a:moveTo>
                    <a:pt x="4064" y="14748"/>
                  </a:moveTo>
                  <a:cubicBezTo>
                    <a:pt x="4076" y="14760"/>
                    <a:pt x="4084" y="14824"/>
                    <a:pt x="4098" y="14830"/>
                  </a:cubicBezTo>
                  <a:cubicBezTo>
                    <a:pt x="4267" y="14896"/>
                    <a:pt x="4243" y="14461"/>
                    <a:pt x="4247" y="14420"/>
                  </a:cubicBezTo>
                  <a:cubicBezTo>
                    <a:pt x="4018" y="14352"/>
                    <a:pt x="3945" y="14571"/>
                    <a:pt x="3977" y="14680"/>
                  </a:cubicBezTo>
                  <a:cubicBezTo>
                    <a:pt x="3995" y="14745"/>
                    <a:pt x="4031" y="14715"/>
                    <a:pt x="4064" y="14748"/>
                  </a:cubicBezTo>
                  <a:close/>
                  <a:moveTo>
                    <a:pt x="3791" y="11494"/>
                  </a:moveTo>
                  <a:cubicBezTo>
                    <a:pt x="3759" y="11419"/>
                    <a:pt x="3727" y="11363"/>
                    <a:pt x="3704" y="11285"/>
                  </a:cubicBezTo>
                  <a:cubicBezTo>
                    <a:pt x="3665" y="11153"/>
                    <a:pt x="3573" y="11028"/>
                    <a:pt x="3483" y="10912"/>
                  </a:cubicBezTo>
                  <a:cubicBezTo>
                    <a:pt x="3441" y="10860"/>
                    <a:pt x="3396" y="10763"/>
                    <a:pt x="3285" y="10836"/>
                  </a:cubicBezTo>
                  <a:cubicBezTo>
                    <a:pt x="3211" y="10884"/>
                    <a:pt x="3276" y="10880"/>
                    <a:pt x="3275" y="10915"/>
                  </a:cubicBezTo>
                  <a:cubicBezTo>
                    <a:pt x="3274" y="10935"/>
                    <a:pt x="3264" y="10981"/>
                    <a:pt x="3263" y="11004"/>
                  </a:cubicBezTo>
                  <a:cubicBezTo>
                    <a:pt x="3263" y="11018"/>
                    <a:pt x="3232" y="11028"/>
                    <a:pt x="3236" y="11047"/>
                  </a:cubicBezTo>
                  <a:cubicBezTo>
                    <a:pt x="3239" y="11065"/>
                    <a:pt x="3281" y="11062"/>
                    <a:pt x="3286" y="11075"/>
                  </a:cubicBezTo>
                  <a:cubicBezTo>
                    <a:pt x="3297" y="11102"/>
                    <a:pt x="3315" y="11133"/>
                    <a:pt x="3324" y="11153"/>
                  </a:cubicBezTo>
                  <a:cubicBezTo>
                    <a:pt x="3343" y="11196"/>
                    <a:pt x="3283" y="11183"/>
                    <a:pt x="3349" y="11216"/>
                  </a:cubicBezTo>
                  <a:cubicBezTo>
                    <a:pt x="3358" y="11221"/>
                    <a:pt x="3436" y="11213"/>
                    <a:pt x="3459" y="11220"/>
                  </a:cubicBezTo>
                  <a:cubicBezTo>
                    <a:pt x="3500" y="11233"/>
                    <a:pt x="3525" y="11251"/>
                    <a:pt x="3531" y="11280"/>
                  </a:cubicBezTo>
                  <a:cubicBezTo>
                    <a:pt x="3494" y="11244"/>
                    <a:pt x="3323" y="11213"/>
                    <a:pt x="3305" y="11275"/>
                  </a:cubicBezTo>
                  <a:cubicBezTo>
                    <a:pt x="3276" y="11377"/>
                    <a:pt x="3553" y="11234"/>
                    <a:pt x="3434" y="11319"/>
                  </a:cubicBezTo>
                  <a:cubicBezTo>
                    <a:pt x="3476" y="11347"/>
                    <a:pt x="3476" y="11334"/>
                    <a:pt x="3433" y="11358"/>
                  </a:cubicBezTo>
                  <a:cubicBezTo>
                    <a:pt x="3525" y="11399"/>
                    <a:pt x="3414" y="11421"/>
                    <a:pt x="3409" y="11463"/>
                  </a:cubicBezTo>
                  <a:cubicBezTo>
                    <a:pt x="3401" y="11523"/>
                    <a:pt x="3441" y="11506"/>
                    <a:pt x="3449" y="11545"/>
                  </a:cubicBezTo>
                  <a:cubicBezTo>
                    <a:pt x="3451" y="11556"/>
                    <a:pt x="3413" y="11586"/>
                    <a:pt x="3413" y="11603"/>
                  </a:cubicBezTo>
                  <a:cubicBezTo>
                    <a:pt x="3411" y="11636"/>
                    <a:pt x="3447" y="11632"/>
                    <a:pt x="3455" y="11648"/>
                  </a:cubicBezTo>
                  <a:cubicBezTo>
                    <a:pt x="3473" y="11686"/>
                    <a:pt x="3454" y="11740"/>
                    <a:pt x="3541" y="11729"/>
                  </a:cubicBezTo>
                  <a:cubicBezTo>
                    <a:pt x="3523" y="11799"/>
                    <a:pt x="3539" y="11862"/>
                    <a:pt x="3554" y="11942"/>
                  </a:cubicBezTo>
                  <a:cubicBezTo>
                    <a:pt x="3712" y="11989"/>
                    <a:pt x="3667" y="11886"/>
                    <a:pt x="3706" y="11826"/>
                  </a:cubicBezTo>
                  <a:cubicBezTo>
                    <a:pt x="3742" y="11906"/>
                    <a:pt x="3892" y="11725"/>
                    <a:pt x="3875" y="11673"/>
                  </a:cubicBezTo>
                  <a:cubicBezTo>
                    <a:pt x="3851" y="11599"/>
                    <a:pt x="3735" y="11615"/>
                    <a:pt x="3702" y="11549"/>
                  </a:cubicBezTo>
                  <a:cubicBezTo>
                    <a:pt x="3796" y="11606"/>
                    <a:pt x="3825" y="11575"/>
                    <a:pt x="3791" y="11494"/>
                  </a:cubicBezTo>
                  <a:close/>
                  <a:moveTo>
                    <a:pt x="4379" y="13382"/>
                  </a:moveTo>
                  <a:cubicBezTo>
                    <a:pt x="4584" y="13293"/>
                    <a:pt x="4570" y="13019"/>
                    <a:pt x="4609" y="12871"/>
                  </a:cubicBezTo>
                  <a:cubicBezTo>
                    <a:pt x="4504" y="12871"/>
                    <a:pt x="4445" y="12995"/>
                    <a:pt x="4403" y="13059"/>
                  </a:cubicBezTo>
                  <a:cubicBezTo>
                    <a:pt x="4355" y="13133"/>
                    <a:pt x="4359" y="13263"/>
                    <a:pt x="4308" y="13314"/>
                  </a:cubicBezTo>
                  <a:cubicBezTo>
                    <a:pt x="4280" y="13343"/>
                    <a:pt x="4169" y="13370"/>
                    <a:pt x="4208" y="13404"/>
                  </a:cubicBezTo>
                  <a:cubicBezTo>
                    <a:pt x="4254" y="13445"/>
                    <a:pt x="4339" y="13399"/>
                    <a:pt x="4379" y="13382"/>
                  </a:cubicBezTo>
                  <a:close/>
                  <a:moveTo>
                    <a:pt x="3923" y="13062"/>
                  </a:moveTo>
                  <a:cubicBezTo>
                    <a:pt x="3806" y="13081"/>
                    <a:pt x="4079" y="13218"/>
                    <a:pt x="4096" y="13231"/>
                  </a:cubicBezTo>
                  <a:cubicBezTo>
                    <a:pt x="4132" y="13260"/>
                    <a:pt x="4160" y="13326"/>
                    <a:pt x="4228" y="13293"/>
                  </a:cubicBezTo>
                  <a:cubicBezTo>
                    <a:pt x="4313" y="13251"/>
                    <a:pt x="4300" y="13071"/>
                    <a:pt x="4312" y="13010"/>
                  </a:cubicBezTo>
                  <a:cubicBezTo>
                    <a:pt x="4279" y="12972"/>
                    <a:pt x="4264" y="13055"/>
                    <a:pt x="4212" y="13064"/>
                  </a:cubicBezTo>
                  <a:cubicBezTo>
                    <a:pt x="4183" y="13070"/>
                    <a:pt x="4091" y="13009"/>
                    <a:pt x="4049" y="13024"/>
                  </a:cubicBezTo>
                  <a:cubicBezTo>
                    <a:pt x="3986" y="13046"/>
                    <a:pt x="4062" y="13106"/>
                    <a:pt x="4020" y="13123"/>
                  </a:cubicBezTo>
                  <a:cubicBezTo>
                    <a:pt x="3945" y="13152"/>
                    <a:pt x="3961" y="13056"/>
                    <a:pt x="3923" y="13062"/>
                  </a:cubicBezTo>
                  <a:close/>
                  <a:moveTo>
                    <a:pt x="4640" y="11641"/>
                  </a:moveTo>
                  <a:cubicBezTo>
                    <a:pt x="4700" y="11605"/>
                    <a:pt x="4695" y="11557"/>
                    <a:pt x="4780" y="11528"/>
                  </a:cubicBezTo>
                  <a:cubicBezTo>
                    <a:pt x="4707" y="11474"/>
                    <a:pt x="4440" y="11459"/>
                    <a:pt x="4350" y="11512"/>
                  </a:cubicBezTo>
                  <a:cubicBezTo>
                    <a:pt x="4271" y="11558"/>
                    <a:pt x="4177" y="11755"/>
                    <a:pt x="4150" y="11827"/>
                  </a:cubicBezTo>
                  <a:cubicBezTo>
                    <a:pt x="4309" y="11766"/>
                    <a:pt x="4335" y="11677"/>
                    <a:pt x="4535" y="11655"/>
                  </a:cubicBezTo>
                  <a:cubicBezTo>
                    <a:pt x="4634" y="11644"/>
                    <a:pt x="4563" y="11689"/>
                    <a:pt x="4640" y="11641"/>
                  </a:cubicBezTo>
                  <a:close/>
                  <a:moveTo>
                    <a:pt x="4640" y="11641"/>
                  </a:moveTo>
                </a:path>
              </a:pathLst>
            </a:custGeom>
            <a:grpFill/>
            <a:ln w="12700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37" name="AutoShape 10"/>
            <p:cNvSpPr>
              <a:spLocks/>
            </p:cNvSpPr>
            <p:nvPr/>
          </p:nvSpPr>
          <p:spPr bwMode="auto">
            <a:xfrm>
              <a:off x="1351527" y="1557073"/>
              <a:ext cx="1497013" cy="1358900"/>
            </a:xfrm>
            <a:custGeom>
              <a:avLst/>
              <a:gdLst/>
              <a:ahLst/>
              <a:cxnLst/>
              <a:rect l="0" t="0" r="r" b="b"/>
              <a:pathLst>
                <a:path w="21566" h="21520">
                  <a:moveTo>
                    <a:pt x="21496" y="13129"/>
                  </a:moveTo>
                  <a:cubicBezTo>
                    <a:pt x="21450" y="12952"/>
                    <a:pt x="21427" y="12901"/>
                    <a:pt x="21184" y="12901"/>
                  </a:cubicBezTo>
                  <a:cubicBezTo>
                    <a:pt x="20942" y="12901"/>
                    <a:pt x="20653" y="13192"/>
                    <a:pt x="20503" y="13472"/>
                  </a:cubicBezTo>
                  <a:cubicBezTo>
                    <a:pt x="20353" y="13750"/>
                    <a:pt x="19961" y="13966"/>
                    <a:pt x="19683" y="13966"/>
                  </a:cubicBezTo>
                  <a:cubicBezTo>
                    <a:pt x="19406" y="13966"/>
                    <a:pt x="19181" y="13656"/>
                    <a:pt x="19037" y="13497"/>
                  </a:cubicBezTo>
                  <a:cubicBezTo>
                    <a:pt x="18893" y="13339"/>
                    <a:pt x="18818" y="13598"/>
                    <a:pt x="18633" y="13598"/>
                  </a:cubicBezTo>
                  <a:cubicBezTo>
                    <a:pt x="18448" y="13598"/>
                    <a:pt x="18379" y="13497"/>
                    <a:pt x="18252" y="13357"/>
                  </a:cubicBezTo>
                  <a:cubicBezTo>
                    <a:pt x="18125" y="13218"/>
                    <a:pt x="17952" y="13345"/>
                    <a:pt x="17536" y="13345"/>
                  </a:cubicBezTo>
                  <a:cubicBezTo>
                    <a:pt x="17121" y="13345"/>
                    <a:pt x="17051" y="13383"/>
                    <a:pt x="16728" y="13231"/>
                  </a:cubicBezTo>
                  <a:cubicBezTo>
                    <a:pt x="16405" y="13079"/>
                    <a:pt x="16013" y="12698"/>
                    <a:pt x="15897" y="12457"/>
                  </a:cubicBezTo>
                  <a:cubicBezTo>
                    <a:pt x="15781" y="12216"/>
                    <a:pt x="15489" y="11481"/>
                    <a:pt x="15489" y="11481"/>
                  </a:cubicBezTo>
                  <a:cubicBezTo>
                    <a:pt x="15489" y="11481"/>
                    <a:pt x="14394" y="7770"/>
                    <a:pt x="14121" y="6801"/>
                  </a:cubicBezTo>
                  <a:cubicBezTo>
                    <a:pt x="14130" y="6806"/>
                    <a:pt x="14139" y="6810"/>
                    <a:pt x="14148" y="6815"/>
                  </a:cubicBezTo>
                  <a:cubicBezTo>
                    <a:pt x="14088" y="6782"/>
                    <a:pt x="14020" y="6755"/>
                    <a:pt x="13966" y="6715"/>
                  </a:cubicBezTo>
                  <a:cubicBezTo>
                    <a:pt x="13862" y="6636"/>
                    <a:pt x="13756" y="6556"/>
                    <a:pt x="13629" y="6515"/>
                  </a:cubicBezTo>
                  <a:cubicBezTo>
                    <a:pt x="13567" y="6495"/>
                    <a:pt x="13506" y="6504"/>
                    <a:pt x="13446" y="6503"/>
                  </a:cubicBezTo>
                  <a:cubicBezTo>
                    <a:pt x="13392" y="6502"/>
                    <a:pt x="13290" y="6483"/>
                    <a:pt x="13241" y="6510"/>
                  </a:cubicBezTo>
                  <a:cubicBezTo>
                    <a:pt x="13140" y="6565"/>
                    <a:pt x="13127" y="6739"/>
                    <a:pt x="13078" y="6831"/>
                  </a:cubicBezTo>
                  <a:cubicBezTo>
                    <a:pt x="13043" y="6897"/>
                    <a:pt x="12980" y="6910"/>
                    <a:pt x="12946" y="6965"/>
                  </a:cubicBezTo>
                  <a:cubicBezTo>
                    <a:pt x="12908" y="7026"/>
                    <a:pt x="12955" y="7100"/>
                    <a:pt x="12913" y="7160"/>
                  </a:cubicBezTo>
                  <a:cubicBezTo>
                    <a:pt x="12917" y="7095"/>
                    <a:pt x="12881" y="7107"/>
                    <a:pt x="12850" y="7147"/>
                  </a:cubicBezTo>
                  <a:cubicBezTo>
                    <a:pt x="12842" y="7078"/>
                    <a:pt x="12891" y="7072"/>
                    <a:pt x="12914" y="7023"/>
                  </a:cubicBezTo>
                  <a:cubicBezTo>
                    <a:pt x="12935" y="6980"/>
                    <a:pt x="12938" y="6937"/>
                    <a:pt x="12963" y="6893"/>
                  </a:cubicBezTo>
                  <a:cubicBezTo>
                    <a:pt x="12996" y="6838"/>
                    <a:pt x="13003" y="6829"/>
                    <a:pt x="13021" y="6762"/>
                  </a:cubicBezTo>
                  <a:cubicBezTo>
                    <a:pt x="13034" y="6711"/>
                    <a:pt x="13052" y="6673"/>
                    <a:pt x="13080" y="6631"/>
                  </a:cubicBezTo>
                  <a:cubicBezTo>
                    <a:pt x="13151" y="6526"/>
                    <a:pt x="13219" y="6534"/>
                    <a:pt x="13178" y="6398"/>
                  </a:cubicBezTo>
                  <a:cubicBezTo>
                    <a:pt x="13158" y="6331"/>
                    <a:pt x="13127" y="6325"/>
                    <a:pt x="13085" y="6281"/>
                  </a:cubicBezTo>
                  <a:cubicBezTo>
                    <a:pt x="13015" y="6209"/>
                    <a:pt x="12964" y="6108"/>
                    <a:pt x="12906" y="6022"/>
                  </a:cubicBezTo>
                  <a:cubicBezTo>
                    <a:pt x="12861" y="5955"/>
                    <a:pt x="12806" y="5927"/>
                    <a:pt x="12743" y="5889"/>
                  </a:cubicBezTo>
                  <a:cubicBezTo>
                    <a:pt x="12717" y="5874"/>
                    <a:pt x="12676" y="5851"/>
                    <a:pt x="12656" y="5829"/>
                  </a:cubicBezTo>
                  <a:cubicBezTo>
                    <a:pt x="12643" y="5814"/>
                    <a:pt x="12595" y="5825"/>
                    <a:pt x="12571" y="5810"/>
                  </a:cubicBezTo>
                  <a:cubicBezTo>
                    <a:pt x="12513" y="5776"/>
                    <a:pt x="12478" y="5701"/>
                    <a:pt x="12423" y="5668"/>
                  </a:cubicBezTo>
                  <a:cubicBezTo>
                    <a:pt x="12351" y="5624"/>
                    <a:pt x="12336" y="5661"/>
                    <a:pt x="12274" y="5662"/>
                  </a:cubicBezTo>
                  <a:cubicBezTo>
                    <a:pt x="12232" y="5663"/>
                    <a:pt x="12127" y="5641"/>
                    <a:pt x="12088" y="5622"/>
                  </a:cubicBezTo>
                  <a:cubicBezTo>
                    <a:pt x="12030" y="5594"/>
                    <a:pt x="12011" y="5509"/>
                    <a:pt x="11955" y="5484"/>
                  </a:cubicBezTo>
                  <a:cubicBezTo>
                    <a:pt x="11907" y="5462"/>
                    <a:pt x="11803" y="5500"/>
                    <a:pt x="11758" y="5523"/>
                  </a:cubicBezTo>
                  <a:cubicBezTo>
                    <a:pt x="11698" y="5553"/>
                    <a:pt x="11688" y="5618"/>
                    <a:pt x="11628" y="5643"/>
                  </a:cubicBezTo>
                  <a:cubicBezTo>
                    <a:pt x="11636" y="5618"/>
                    <a:pt x="11639" y="5582"/>
                    <a:pt x="11650" y="5558"/>
                  </a:cubicBezTo>
                  <a:cubicBezTo>
                    <a:pt x="11644" y="5559"/>
                    <a:pt x="11632" y="5564"/>
                    <a:pt x="11626" y="5565"/>
                  </a:cubicBezTo>
                  <a:cubicBezTo>
                    <a:pt x="11645" y="5515"/>
                    <a:pt x="11678" y="5535"/>
                    <a:pt x="11698" y="5518"/>
                  </a:cubicBezTo>
                  <a:cubicBezTo>
                    <a:pt x="11719" y="5500"/>
                    <a:pt x="11737" y="5469"/>
                    <a:pt x="11760" y="5443"/>
                  </a:cubicBezTo>
                  <a:cubicBezTo>
                    <a:pt x="11807" y="5390"/>
                    <a:pt x="11847" y="5361"/>
                    <a:pt x="11911" y="5369"/>
                  </a:cubicBezTo>
                  <a:cubicBezTo>
                    <a:pt x="11841" y="5315"/>
                    <a:pt x="11825" y="5294"/>
                    <a:pt x="11801" y="5195"/>
                  </a:cubicBezTo>
                  <a:cubicBezTo>
                    <a:pt x="11788" y="5142"/>
                    <a:pt x="11722" y="5130"/>
                    <a:pt x="11682" y="5108"/>
                  </a:cubicBezTo>
                  <a:cubicBezTo>
                    <a:pt x="11595" y="5061"/>
                    <a:pt x="11518" y="4989"/>
                    <a:pt x="11436" y="4933"/>
                  </a:cubicBezTo>
                  <a:cubicBezTo>
                    <a:pt x="11329" y="4860"/>
                    <a:pt x="11280" y="4715"/>
                    <a:pt x="11156" y="4656"/>
                  </a:cubicBezTo>
                  <a:cubicBezTo>
                    <a:pt x="11098" y="4627"/>
                    <a:pt x="11029" y="4645"/>
                    <a:pt x="10981" y="4588"/>
                  </a:cubicBezTo>
                  <a:cubicBezTo>
                    <a:pt x="10925" y="4522"/>
                    <a:pt x="10891" y="4310"/>
                    <a:pt x="10915" y="4216"/>
                  </a:cubicBezTo>
                  <a:cubicBezTo>
                    <a:pt x="10939" y="4124"/>
                    <a:pt x="11000" y="4121"/>
                    <a:pt x="10973" y="4010"/>
                  </a:cubicBezTo>
                  <a:cubicBezTo>
                    <a:pt x="10948" y="3903"/>
                    <a:pt x="10885" y="3836"/>
                    <a:pt x="10839" y="3746"/>
                  </a:cubicBezTo>
                  <a:cubicBezTo>
                    <a:pt x="10786" y="3643"/>
                    <a:pt x="10783" y="3526"/>
                    <a:pt x="10782" y="3413"/>
                  </a:cubicBezTo>
                  <a:cubicBezTo>
                    <a:pt x="10782" y="3295"/>
                    <a:pt x="10748" y="3210"/>
                    <a:pt x="10692" y="3106"/>
                  </a:cubicBezTo>
                  <a:cubicBezTo>
                    <a:pt x="10664" y="3052"/>
                    <a:pt x="10631" y="2983"/>
                    <a:pt x="10595" y="2935"/>
                  </a:cubicBezTo>
                  <a:cubicBezTo>
                    <a:pt x="10572" y="2904"/>
                    <a:pt x="10561" y="2886"/>
                    <a:pt x="10527" y="2866"/>
                  </a:cubicBezTo>
                  <a:cubicBezTo>
                    <a:pt x="10512" y="2857"/>
                    <a:pt x="10452" y="2850"/>
                    <a:pt x="10458" y="2854"/>
                  </a:cubicBezTo>
                  <a:cubicBezTo>
                    <a:pt x="10310" y="2740"/>
                    <a:pt x="10309" y="2489"/>
                    <a:pt x="10311" y="2310"/>
                  </a:cubicBezTo>
                  <a:cubicBezTo>
                    <a:pt x="10312" y="2161"/>
                    <a:pt x="10308" y="2014"/>
                    <a:pt x="10307" y="1866"/>
                  </a:cubicBezTo>
                  <a:cubicBezTo>
                    <a:pt x="10307" y="1753"/>
                    <a:pt x="10300" y="1743"/>
                    <a:pt x="10244" y="1656"/>
                  </a:cubicBezTo>
                  <a:cubicBezTo>
                    <a:pt x="10182" y="1561"/>
                    <a:pt x="10156" y="1446"/>
                    <a:pt x="10164" y="1331"/>
                  </a:cubicBezTo>
                  <a:cubicBezTo>
                    <a:pt x="10135" y="1309"/>
                    <a:pt x="10107" y="1284"/>
                    <a:pt x="10075" y="1268"/>
                  </a:cubicBezTo>
                  <a:cubicBezTo>
                    <a:pt x="10117" y="1306"/>
                    <a:pt x="10096" y="1349"/>
                    <a:pt x="10115" y="1391"/>
                  </a:cubicBezTo>
                  <a:cubicBezTo>
                    <a:pt x="10054" y="1418"/>
                    <a:pt x="10025" y="1334"/>
                    <a:pt x="9970" y="1323"/>
                  </a:cubicBezTo>
                  <a:cubicBezTo>
                    <a:pt x="9928" y="1315"/>
                    <a:pt x="9850" y="1334"/>
                    <a:pt x="9800" y="1345"/>
                  </a:cubicBezTo>
                  <a:cubicBezTo>
                    <a:pt x="9779" y="1350"/>
                    <a:pt x="9706" y="1398"/>
                    <a:pt x="9686" y="1410"/>
                  </a:cubicBezTo>
                  <a:cubicBezTo>
                    <a:pt x="9645" y="1434"/>
                    <a:pt x="9625" y="1417"/>
                    <a:pt x="9614" y="1488"/>
                  </a:cubicBezTo>
                  <a:cubicBezTo>
                    <a:pt x="9597" y="1411"/>
                    <a:pt x="9632" y="1267"/>
                    <a:pt x="9491" y="1325"/>
                  </a:cubicBezTo>
                  <a:cubicBezTo>
                    <a:pt x="9451" y="1342"/>
                    <a:pt x="9445" y="1385"/>
                    <a:pt x="9411" y="1403"/>
                  </a:cubicBezTo>
                  <a:cubicBezTo>
                    <a:pt x="9371" y="1423"/>
                    <a:pt x="9289" y="1418"/>
                    <a:pt x="9244" y="1422"/>
                  </a:cubicBezTo>
                  <a:cubicBezTo>
                    <a:pt x="9201" y="1425"/>
                    <a:pt x="9147" y="1433"/>
                    <a:pt x="9105" y="1428"/>
                  </a:cubicBezTo>
                  <a:cubicBezTo>
                    <a:pt x="9077" y="1425"/>
                    <a:pt x="8921" y="1380"/>
                    <a:pt x="8957" y="1437"/>
                  </a:cubicBezTo>
                  <a:cubicBezTo>
                    <a:pt x="8968" y="1455"/>
                    <a:pt x="8992" y="1462"/>
                    <a:pt x="9016" y="1470"/>
                  </a:cubicBezTo>
                  <a:cubicBezTo>
                    <a:pt x="8997" y="1464"/>
                    <a:pt x="8974" y="1473"/>
                    <a:pt x="8948" y="1513"/>
                  </a:cubicBezTo>
                  <a:cubicBezTo>
                    <a:pt x="8956" y="1433"/>
                    <a:pt x="8832" y="1394"/>
                    <a:pt x="8771" y="1405"/>
                  </a:cubicBezTo>
                  <a:cubicBezTo>
                    <a:pt x="8700" y="1417"/>
                    <a:pt x="8683" y="1493"/>
                    <a:pt x="8621" y="1517"/>
                  </a:cubicBezTo>
                  <a:cubicBezTo>
                    <a:pt x="8564" y="1538"/>
                    <a:pt x="8497" y="1515"/>
                    <a:pt x="8438" y="1544"/>
                  </a:cubicBezTo>
                  <a:cubicBezTo>
                    <a:pt x="8321" y="1601"/>
                    <a:pt x="8254" y="1703"/>
                    <a:pt x="8111" y="1680"/>
                  </a:cubicBezTo>
                  <a:cubicBezTo>
                    <a:pt x="7976" y="1659"/>
                    <a:pt x="7823" y="1660"/>
                    <a:pt x="7762" y="1822"/>
                  </a:cubicBezTo>
                  <a:cubicBezTo>
                    <a:pt x="7739" y="1887"/>
                    <a:pt x="7717" y="1975"/>
                    <a:pt x="7708" y="2044"/>
                  </a:cubicBezTo>
                  <a:cubicBezTo>
                    <a:pt x="7700" y="2105"/>
                    <a:pt x="7722" y="2177"/>
                    <a:pt x="7681" y="2225"/>
                  </a:cubicBezTo>
                  <a:cubicBezTo>
                    <a:pt x="7640" y="2106"/>
                    <a:pt x="7691" y="1926"/>
                    <a:pt x="7741" y="1807"/>
                  </a:cubicBezTo>
                  <a:cubicBezTo>
                    <a:pt x="7758" y="1768"/>
                    <a:pt x="7833" y="1685"/>
                    <a:pt x="7798" y="1637"/>
                  </a:cubicBezTo>
                  <a:cubicBezTo>
                    <a:pt x="7771" y="1600"/>
                    <a:pt x="7615" y="1604"/>
                    <a:pt x="7566" y="1582"/>
                  </a:cubicBezTo>
                  <a:cubicBezTo>
                    <a:pt x="7420" y="1515"/>
                    <a:pt x="7355" y="1303"/>
                    <a:pt x="7175" y="1317"/>
                  </a:cubicBezTo>
                  <a:cubicBezTo>
                    <a:pt x="7097" y="1323"/>
                    <a:pt x="7019" y="1279"/>
                    <a:pt x="6940" y="1278"/>
                  </a:cubicBezTo>
                  <a:cubicBezTo>
                    <a:pt x="6878" y="1278"/>
                    <a:pt x="6808" y="1284"/>
                    <a:pt x="6747" y="1270"/>
                  </a:cubicBezTo>
                  <a:cubicBezTo>
                    <a:pt x="6565" y="1228"/>
                    <a:pt x="6395" y="1142"/>
                    <a:pt x="6209" y="1114"/>
                  </a:cubicBezTo>
                  <a:cubicBezTo>
                    <a:pt x="6148" y="1104"/>
                    <a:pt x="5886" y="1086"/>
                    <a:pt x="5839" y="1132"/>
                  </a:cubicBezTo>
                  <a:cubicBezTo>
                    <a:pt x="5848" y="1069"/>
                    <a:pt x="5605" y="967"/>
                    <a:pt x="5621" y="1100"/>
                  </a:cubicBezTo>
                  <a:cubicBezTo>
                    <a:pt x="5582" y="1027"/>
                    <a:pt x="5630" y="1006"/>
                    <a:pt x="5572" y="934"/>
                  </a:cubicBezTo>
                  <a:cubicBezTo>
                    <a:pt x="5524" y="875"/>
                    <a:pt x="5480" y="831"/>
                    <a:pt x="5437" y="770"/>
                  </a:cubicBezTo>
                  <a:cubicBezTo>
                    <a:pt x="5371" y="677"/>
                    <a:pt x="5281" y="557"/>
                    <a:pt x="5198" y="496"/>
                  </a:cubicBezTo>
                  <a:cubicBezTo>
                    <a:pt x="5138" y="452"/>
                    <a:pt x="5048" y="448"/>
                    <a:pt x="4980" y="420"/>
                  </a:cubicBezTo>
                  <a:cubicBezTo>
                    <a:pt x="4897" y="386"/>
                    <a:pt x="4840" y="327"/>
                    <a:pt x="4767" y="273"/>
                  </a:cubicBezTo>
                  <a:cubicBezTo>
                    <a:pt x="4683" y="210"/>
                    <a:pt x="4591" y="158"/>
                    <a:pt x="4504" y="100"/>
                  </a:cubicBezTo>
                  <a:cubicBezTo>
                    <a:pt x="4440" y="59"/>
                    <a:pt x="4416" y="-63"/>
                    <a:pt x="4322" y="41"/>
                  </a:cubicBezTo>
                  <a:lnTo>
                    <a:pt x="4089" y="6"/>
                  </a:lnTo>
                  <a:cubicBezTo>
                    <a:pt x="3195" y="1491"/>
                    <a:pt x="1312" y="4590"/>
                    <a:pt x="477" y="5750"/>
                  </a:cubicBezTo>
                  <a:lnTo>
                    <a:pt x="0" y="6347"/>
                  </a:lnTo>
                  <a:lnTo>
                    <a:pt x="546" y="12491"/>
                  </a:lnTo>
                  <a:cubicBezTo>
                    <a:pt x="651" y="12493"/>
                    <a:pt x="805" y="12470"/>
                    <a:pt x="873" y="12582"/>
                  </a:cubicBezTo>
                  <a:cubicBezTo>
                    <a:pt x="895" y="12619"/>
                    <a:pt x="887" y="12705"/>
                    <a:pt x="898" y="12750"/>
                  </a:cubicBezTo>
                  <a:cubicBezTo>
                    <a:pt x="924" y="12866"/>
                    <a:pt x="977" y="12972"/>
                    <a:pt x="1013" y="13084"/>
                  </a:cubicBezTo>
                  <a:cubicBezTo>
                    <a:pt x="1052" y="13203"/>
                    <a:pt x="1014" y="13342"/>
                    <a:pt x="1111" y="13427"/>
                  </a:cubicBezTo>
                  <a:cubicBezTo>
                    <a:pt x="1148" y="13459"/>
                    <a:pt x="1214" y="13493"/>
                    <a:pt x="1262" y="13491"/>
                  </a:cubicBezTo>
                  <a:cubicBezTo>
                    <a:pt x="1321" y="13488"/>
                    <a:pt x="1376" y="13434"/>
                    <a:pt x="1440" y="13459"/>
                  </a:cubicBezTo>
                  <a:cubicBezTo>
                    <a:pt x="1486" y="13477"/>
                    <a:pt x="1494" y="13512"/>
                    <a:pt x="1532" y="13529"/>
                  </a:cubicBezTo>
                  <a:cubicBezTo>
                    <a:pt x="1555" y="13539"/>
                    <a:pt x="1603" y="13533"/>
                    <a:pt x="1629" y="13533"/>
                  </a:cubicBezTo>
                  <a:cubicBezTo>
                    <a:pt x="1684" y="13533"/>
                    <a:pt x="1739" y="13525"/>
                    <a:pt x="1795" y="13525"/>
                  </a:cubicBezTo>
                  <a:cubicBezTo>
                    <a:pt x="1907" y="13527"/>
                    <a:pt x="1883" y="13550"/>
                    <a:pt x="1935" y="13631"/>
                  </a:cubicBezTo>
                  <a:cubicBezTo>
                    <a:pt x="1980" y="13701"/>
                    <a:pt x="2022" y="13695"/>
                    <a:pt x="2100" y="13671"/>
                  </a:cubicBezTo>
                  <a:cubicBezTo>
                    <a:pt x="2137" y="13659"/>
                    <a:pt x="2231" y="13635"/>
                    <a:pt x="2259" y="13603"/>
                  </a:cubicBezTo>
                  <a:cubicBezTo>
                    <a:pt x="2278" y="13581"/>
                    <a:pt x="2257" y="13543"/>
                    <a:pt x="2263" y="13536"/>
                  </a:cubicBezTo>
                  <a:cubicBezTo>
                    <a:pt x="2278" y="13517"/>
                    <a:pt x="2300" y="13510"/>
                    <a:pt x="2318" y="13494"/>
                  </a:cubicBezTo>
                  <a:cubicBezTo>
                    <a:pt x="2400" y="13426"/>
                    <a:pt x="2495" y="13447"/>
                    <a:pt x="2596" y="13440"/>
                  </a:cubicBezTo>
                  <a:cubicBezTo>
                    <a:pt x="2689" y="13434"/>
                    <a:pt x="2727" y="13438"/>
                    <a:pt x="2825" y="13470"/>
                  </a:cubicBezTo>
                  <a:cubicBezTo>
                    <a:pt x="2866" y="13483"/>
                    <a:pt x="3054" y="13501"/>
                    <a:pt x="3067" y="13525"/>
                  </a:cubicBezTo>
                  <a:cubicBezTo>
                    <a:pt x="3105" y="13598"/>
                    <a:pt x="3017" y="13556"/>
                    <a:pt x="3009" y="13594"/>
                  </a:cubicBezTo>
                  <a:cubicBezTo>
                    <a:pt x="2988" y="13694"/>
                    <a:pt x="3079" y="13652"/>
                    <a:pt x="3133" y="13647"/>
                  </a:cubicBezTo>
                  <a:cubicBezTo>
                    <a:pt x="3270" y="13634"/>
                    <a:pt x="3243" y="13769"/>
                    <a:pt x="3319" y="13872"/>
                  </a:cubicBezTo>
                  <a:cubicBezTo>
                    <a:pt x="3352" y="13916"/>
                    <a:pt x="3407" y="13992"/>
                    <a:pt x="3441" y="13899"/>
                  </a:cubicBezTo>
                  <a:cubicBezTo>
                    <a:pt x="3455" y="13858"/>
                    <a:pt x="3396" y="13828"/>
                    <a:pt x="3432" y="13771"/>
                  </a:cubicBezTo>
                  <a:cubicBezTo>
                    <a:pt x="3455" y="13737"/>
                    <a:pt x="3540" y="13729"/>
                    <a:pt x="3575" y="13726"/>
                  </a:cubicBezTo>
                  <a:cubicBezTo>
                    <a:pt x="3678" y="13714"/>
                    <a:pt x="3645" y="13742"/>
                    <a:pt x="3695" y="13812"/>
                  </a:cubicBezTo>
                  <a:cubicBezTo>
                    <a:pt x="3729" y="13858"/>
                    <a:pt x="3772" y="13885"/>
                    <a:pt x="3824" y="13903"/>
                  </a:cubicBezTo>
                  <a:cubicBezTo>
                    <a:pt x="3869" y="13918"/>
                    <a:pt x="3942" y="13898"/>
                    <a:pt x="3980" y="13923"/>
                  </a:cubicBezTo>
                  <a:cubicBezTo>
                    <a:pt x="4002" y="13937"/>
                    <a:pt x="4011" y="13974"/>
                    <a:pt x="4027" y="13992"/>
                  </a:cubicBezTo>
                  <a:cubicBezTo>
                    <a:pt x="4039" y="14007"/>
                    <a:pt x="4027" y="14038"/>
                    <a:pt x="4050" y="14054"/>
                  </a:cubicBezTo>
                  <a:cubicBezTo>
                    <a:pt x="4070" y="14067"/>
                    <a:pt x="4115" y="14046"/>
                    <a:pt x="4136" y="14049"/>
                  </a:cubicBezTo>
                  <a:cubicBezTo>
                    <a:pt x="4162" y="14053"/>
                    <a:pt x="4149" y="14092"/>
                    <a:pt x="4162" y="14096"/>
                  </a:cubicBezTo>
                  <a:cubicBezTo>
                    <a:pt x="4173" y="14099"/>
                    <a:pt x="4193" y="14091"/>
                    <a:pt x="4199" y="14093"/>
                  </a:cubicBezTo>
                  <a:cubicBezTo>
                    <a:pt x="4230" y="14104"/>
                    <a:pt x="4292" y="14104"/>
                    <a:pt x="4321" y="14096"/>
                  </a:cubicBezTo>
                  <a:cubicBezTo>
                    <a:pt x="4346" y="14088"/>
                    <a:pt x="4437" y="14038"/>
                    <a:pt x="4463" y="14018"/>
                  </a:cubicBezTo>
                  <a:cubicBezTo>
                    <a:pt x="4540" y="13957"/>
                    <a:pt x="4596" y="13848"/>
                    <a:pt x="4677" y="13783"/>
                  </a:cubicBezTo>
                  <a:cubicBezTo>
                    <a:pt x="4719" y="13749"/>
                    <a:pt x="4746" y="13720"/>
                    <a:pt x="4803" y="13717"/>
                  </a:cubicBezTo>
                  <a:cubicBezTo>
                    <a:pt x="4847" y="13715"/>
                    <a:pt x="4822" y="13762"/>
                    <a:pt x="4839" y="13794"/>
                  </a:cubicBezTo>
                  <a:cubicBezTo>
                    <a:pt x="4842" y="13799"/>
                    <a:pt x="4880" y="13836"/>
                    <a:pt x="4885" y="13842"/>
                  </a:cubicBezTo>
                  <a:cubicBezTo>
                    <a:pt x="4903" y="13863"/>
                    <a:pt x="4899" y="13897"/>
                    <a:pt x="4934" y="13912"/>
                  </a:cubicBezTo>
                  <a:cubicBezTo>
                    <a:pt x="4966" y="13925"/>
                    <a:pt x="5039" y="13882"/>
                    <a:pt x="5073" y="13877"/>
                  </a:cubicBezTo>
                  <a:cubicBezTo>
                    <a:pt x="5161" y="13863"/>
                    <a:pt x="5239" y="13852"/>
                    <a:pt x="5327" y="13824"/>
                  </a:cubicBezTo>
                  <a:cubicBezTo>
                    <a:pt x="5383" y="13806"/>
                    <a:pt x="5436" y="13786"/>
                    <a:pt x="5496" y="13780"/>
                  </a:cubicBezTo>
                  <a:cubicBezTo>
                    <a:pt x="5593" y="13770"/>
                    <a:pt x="5609" y="13800"/>
                    <a:pt x="5665" y="13883"/>
                  </a:cubicBezTo>
                  <a:cubicBezTo>
                    <a:pt x="5800" y="13941"/>
                    <a:pt x="5925" y="13879"/>
                    <a:pt x="6072" y="13849"/>
                  </a:cubicBezTo>
                  <a:cubicBezTo>
                    <a:pt x="6102" y="13827"/>
                    <a:pt x="6137" y="13775"/>
                    <a:pt x="6150" y="13761"/>
                  </a:cubicBezTo>
                  <a:cubicBezTo>
                    <a:pt x="6165" y="13746"/>
                    <a:pt x="6238" y="13711"/>
                    <a:pt x="6181" y="13689"/>
                  </a:cubicBezTo>
                  <a:cubicBezTo>
                    <a:pt x="6236" y="13654"/>
                    <a:pt x="6250" y="13643"/>
                    <a:pt x="6273" y="13587"/>
                  </a:cubicBezTo>
                  <a:cubicBezTo>
                    <a:pt x="6308" y="13497"/>
                    <a:pt x="6344" y="13338"/>
                    <a:pt x="6331" y="13230"/>
                  </a:cubicBezTo>
                  <a:cubicBezTo>
                    <a:pt x="6326" y="13187"/>
                    <a:pt x="6293" y="13178"/>
                    <a:pt x="6304" y="13121"/>
                  </a:cubicBezTo>
                  <a:cubicBezTo>
                    <a:pt x="6312" y="13083"/>
                    <a:pt x="6326" y="13076"/>
                    <a:pt x="6346" y="13049"/>
                  </a:cubicBezTo>
                  <a:cubicBezTo>
                    <a:pt x="6377" y="13006"/>
                    <a:pt x="6417" y="12974"/>
                    <a:pt x="6460" y="12946"/>
                  </a:cubicBezTo>
                  <a:cubicBezTo>
                    <a:pt x="6513" y="12913"/>
                    <a:pt x="6560" y="12883"/>
                    <a:pt x="6609" y="12847"/>
                  </a:cubicBezTo>
                  <a:cubicBezTo>
                    <a:pt x="6686" y="12791"/>
                    <a:pt x="6707" y="12783"/>
                    <a:pt x="6682" y="12893"/>
                  </a:cubicBezTo>
                  <a:cubicBezTo>
                    <a:pt x="6670" y="12949"/>
                    <a:pt x="6658" y="13001"/>
                    <a:pt x="6646" y="13059"/>
                  </a:cubicBezTo>
                  <a:cubicBezTo>
                    <a:pt x="6633" y="13123"/>
                    <a:pt x="6609" y="13160"/>
                    <a:pt x="6602" y="13238"/>
                  </a:cubicBezTo>
                  <a:cubicBezTo>
                    <a:pt x="6653" y="13194"/>
                    <a:pt x="6748" y="13165"/>
                    <a:pt x="6777" y="13093"/>
                  </a:cubicBezTo>
                  <a:cubicBezTo>
                    <a:pt x="6796" y="13046"/>
                    <a:pt x="6774" y="12984"/>
                    <a:pt x="6786" y="12936"/>
                  </a:cubicBezTo>
                  <a:cubicBezTo>
                    <a:pt x="6789" y="12920"/>
                    <a:pt x="6776" y="12911"/>
                    <a:pt x="6779" y="12895"/>
                  </a:cubicBezTo>
                  <a:cubicBezTo>
                    <a:pt x="6784" y="12872"/>
                    <a:pt x="6822" y="12888"/>
                    <a:pt x="6826" y="12865"/>
                  </a:cubicBezTo>
                  <a:cubicBezTo>
                    <a:pt x="6833" y="12826"/>
                    <a:pt x="6805" y="12776"/>
                    <a:pt x="6816" y="12734"/>
                  </a:cubicBezTo>
                  <a:cubicBezTo>
                    <a:pt x="6831" y="12683"/>
                    <a:pt x="6864" y="12699"/>
                    <a:pt x="6883" y="12650"/>
                  </a:cubicBezTo>
                  <a:cubicBezTo>
                    <a:pt x="6878" y="12661"/>
                    <a:pt x="6880" y="12520"/>
                    <a:pt x="6883" y="12543"/>
                  </a:cubicBezTo>
                  <a:cubicBezTo>
                    <a:pt x="6876" y="12501"/>
                    <a:pt x="6848" y="12479"/>
                    <a:pt x="6851" y="12420"/>
                  </a:cubicBezTo>
                  <a:cubicBezTo>
                    <a:pt x="6865" y="12210"/>
                    <a:pt x="7101" y="12335"/>
                    <a:pt x="7060" y="12526"/>
                  </a:cubicBezTo>
                  <a:cubicBezTo>
                    <a:pt x="7037" y="12639"/>
                    <a:pt x="6917" y="12742"/>
                    <a:pt x="6897" y="12847"/>
                  </a:cubicBezTo>
                  <a:cubicBezTo>
                    <a:pt x="6883" y="12917"/>
                    <a:pt x="6907" y="12995"/>
                    <a:pt x="6955" y="12949"/>
                  </a:cubicBezTo>
                  <a:cubicBezTo>
                    <a:pt x="6992" y="12913"/>
                    <a:pt x="6956" y="12854"/>
                    <a:pt x="6992" y="12797"/>
                  </a:cubicBezTo>
                  <a:cubicBezTo>
                    <a:pt x="7028" y="12741"/>
                    <a:pt x="7024" y="12787"/>
                    <a:pt x="7065" y="12752"/>
                  </a:cubicBezTo>
                  <a:cubicBezTo>
                    <a:pt x="7075" y="12744"/>
                    <a:pt x="7115" y="12701"/>
                    <a:pt x="7116" y="12687"/>
                  </a:cubicBezTo>
                  <a:cubicBezTo>
                    <a:pt x="7118" y="12654"/>
                    <a:pt x="7056" y="12628"/>
                    <a:pt x="7084" y="12592"/>
                  </a:cubicBezTo>
                  <a:cubicBezTo>
                    <a:pt x="7086" y="12589"/>
                    <a:pt x="7146" y="12643"/>
                    <a:pt x="7175" y="12606"/>
                  </a:cubicBezTo>
                  <a:cubicBezTo>
                    <a:pt x="7147" y="12702"/>
                    <a:pt x="7202" y="12636"/>
                    <a:pt x="7225" y="12597"/>
                  </a:cubicBezTo>
                  <a:cubicBezTo>
                    <a:pt x="7244" y="12565"/>
                    <a:pt x="7271" y="12497"/>
                    <a:pt x="7273" y="12459"/>
                  </a:cubicBezTo>
                  <a:cubicBezTo>
                    <a:pt x="7283" y="12298"/>
                    <a:pt x="7123" y="12330"/>
                    <a:pt x="7092" y="12225"/>
                  </a:cubicBezTo>
                  <a:cubicBezTo>
                    <a:pt x="7089" y="12215"/>
                    <a:pt x="7047" y="12077"/>
                    <a:pt x="7045" y="12082"/>
                  </a:cubicBezTo>
                  <a:cubicBezTo>
                    <a:pt x="7048" y="12073"/>
                    <a:pt x="7132" y="12057"/>
                    <a:pt x="7156" y="12048"/>
                  </a:cubicBezTo>
                  <a:cubicBezTo>
                    <a:pt x="7175" y="12040"/>
                    <a:pt x="7200" y="12022"/>
                    <a:pt x="7225" y="12013"/>
                  </a:cubicBezTo>
                  <a:cubicBezTo>
                    <a:pt x="7235" y="12009"/>
                    <a:pt x="7228" y="11966"/>
                    <a:pt x="7243" y="11969"/>
                  </a:cubicBezTo>
                  <a:cubicBezTo>
                    <a:pt x="7252" y="11970"/>
                    <a:pt x="7289" y="12024"/>
                    <a:pt x="7303" y="12033"/>
                  </a:cubicBezTo>
                  <a:cubicBezTo>
                    <a:pt x="7367" y="12077"/>
                    <a:pt x="7422" y="12056"/>
                    <a:pt x="7480" y="12061"/>
                  </a:cubicBezTo>
                  <a:cubicBezTo>
                    <a:pt x="7546" y="12066"/>
                    <a:pt x="7636" y="12088"/>
                    <a:pt x="7692" y="12108"/>
                  </a:cubicBezTo>
                  <a:cubicBezTo>
                    <a:pt x="7703" y="12112"/>
                    <a:pt x="7706" y="12062"/>
                    <a:pt x="7728" y="12094"/>
                  </a:cubicBezTo>
                  <a:cubicBezTo>
                    <a:pt x="7741" y="12112"/>
                    <a:pt x="7741" y="12136"/>
                    <a:pt x="7763" y="12142"/>
                  </a:cubicBezTo>
                  <a:cubicBezTo>
                    <a:pt x="7794" y="12151"/>
                    <a:pt x="7814" y="12115"/>
                    <a:pt x="7843" y="12118"/>
                  </a:cubicBezTo>
                  <a:cubicBezTo>
                    <a:pt x="7910" y="12125"/>
                    <a:pt x="7989" y="12196"/>
                    <a:pt x="8055" y="12192"/>
                  </a:cubicBezTo>
                  <a:cubicBezTo>
                    <a:pt x="8110" y="12190"/>
                    <a:pt x="8161" y="12151"/>
                    <a:pt x="8219" y="12128"/>
                  </a:cubicBezTo>
                  <a:cubicBezTo>
                    <a:pt x="8240" y="12119"/>
                    <a:pt x="8288" y="12100"/>
                    <a:pt x="8283" y="12101"/>
                  </a:cubicBezTo>
                  <a:cubicBezTo>
                    <a:pt x="8275" y="12104"/>
                    <a:pt x="8276" y="12075"/>
                    <a:pt x="8306" y="12073"/>
                  </a:cubicBezTo>
                  <a:cubicBezTo>
                    <a:pt x="8344" y="12069"/>
                    <a:pt x="8385" y="12137"/>
                    <a:pt x="8424" y="12131"/>
                  </a:cubicBezTo>
                  <a:cubicBezTo>
                    <a:pt x="8448" y="12128"/>
                    <a:pt x="8468" y="12084"/>
                    <a:pt x="8486" y="12070"/>
                  </a:cubicBezTo>
                  <a:cubicBezTo>
                    <a:pt x="8507" y="12052"/>
                    <a:pt x="8530" y="12017"/>
                    <a:pt x="8555" y="12014"/>
                  </a:cubicBezTo>
                  <a:cubicBezTo>
                    <a:pt x="8606" y="12007"/>
                    <a:pt x="8610" y="12053"/>
                    <a:pt x="8634" y="12066"/>
                  </a:cubicBezTo>
                  <a:cubicBezTo>
                    <a:pt x="8726" y="12114"/>
                    <a:pt x="8686" y="12058"/>
                    <a:pt x="8763" y="12024"/>
                  </a:cubicBezTo>
                  <a:cubicBezTo>
                    <a:pt x="8873" y="11973"/>
                    <a:pt x="8903" y="12163"/>
                    <a:pt x="8966" y="12216"/>
                  </a:cubicBezTo>
                  <a:cubicBezTo>
                    <a:pt x="9089" y="12318"/>
                    <a:pt x="9140" y="12541"/>
                    <a:pt x="9229" y="12686"/>
                  </a:cubicBezTo>
                  <a:cubicBezTo>
                    <a:pt x="9405" y="12976"/>
                    <a:pt x="9696" y="13237"/>
                    <a:pt x="10029" y="13074"/>
                  </a:cubicBezTo>
                  <a:cubicBezTo>
                    <a:pt x="10085" y="13046"/>
                    <a:pt x="10124" y="12997"/>
                    <a:pt x="10184" y="12972"/>
                  </a:cubicBezTo>
                  <a:cubicBezTo>
                    <a:pt x="10247" y="12945"/>
                    <a:pt x="10315" y="12930"/>
                    <a:pt x="10380" y="12910"/>
                  </a:cubicBezTo>
                  <a:cubicBezTo>
                    <a:pt x="10429" y="12895"/>
                    <a:pt x="10531" y="12852"/>
                    <a:pt x="10560" y="12902"/>
                  </a:cubicBezTo>
                  <a:cubicBezTo>
                    <a:pt x="10584" y="12942"/>
                    <a:pt x="10548" y="12991"/>
                    <a:pt x="10542" y="13030"/>
                  </a:cubicBezTo>
                  <a:cubicBezTo>
                    <a:pt x="10536" y="13067"/>
                    <a:pt x="10530" y="13066"/>
                    <a:pt x="10533" y="13109"/>
                  </a:cubicBezTo>
                  <a:cubicBezTo>
                    <a:pt x="10536" y="13158"/>
                    <a:pt x="10559" y="13168"/>
                    <a:pt x="10547" y="13231"/>
                  </a:cubicBezTo>
                  <a:cubicBezTo>
                    <a:pt x="10539" y="13273"/>
                    <a:pt x="10497" y="13256"/>
                    <a:pt x="10521" y="13319"/>
                  </a:cubicBezTo>
                  <a:cubicBezTo>
                    <a:pt x="10550" y="13390"/>
                    <a:pt x="10477" y="13450"/>
                    <a:pt x="10566" y="13490"/>
                  </a:cubicBezTo>
                  <a:cubicBezTo>
                    <a:pt x="10607" y="13508"/>
                    <a:pt x="10618" y="13555"/>
                    <a:pt x="10655" y="13576"/>
                  </a:cubicBezTo>
                  <a:cubicBezTo>
                    <a:pt x="10675" y="13587"/>
                    <a:pt x="10702" y="13577"/>
                    <a:pt x="10723" y="13585"/>
                  </a:cubicBezTo>
                  <a:cubicBezTo>
                    <a:pt x="10784" y="13606"/>
                    <a:pt x="10836" y="13629"/>
                    <a:pt x="10888" y="13669"/>
                  </a:cubicBezTo>
                  <a:cubicBezTo>
                    <a:pt x="10957" y="13724"/>
                    <a:pt x="11035" y="13767"/>
                    <a:pt x="11028" y="13867"/>
                  </a:cubicBezTo>
                  <a:cubicBezTo>
                    <a:pt x="11023" y="13928"/>
                    <a:pt x="10978" y="14000"/>
                    <a:pt x="10974" y="14065"/>
                  </a:cubicBezTo>
                  <a:cubicBezTo>
                    <a:pt x="10972" y="14102"/>
                    <a:pt x="10985" y="14141"/>
                    <a:pt x="10981" y="14180"/>
                  </a:cubicBezTo>
                  <a:cubicBezTo>
                    <a:pt x="10978" y="14211"/>
                    <a:pt x="10948" y="14235"/>
                    <a:pt x="10947" y="14268"/>
                  </a:cubicBezTo>
                  <a:cubicBezTo>
                    <a:pt x="10942" y="14363"/>
                    <a:pt x="10990" y="14349"/>
                    <a:pt x="11047" y="14371"/>
                  </a:cubicBezTo>
                  <a:cubicBezTo>
                    <a:pt x="11067" y="14378"/>
                    <a:pt x="11075" y="14352"/>
                    <a:pt x="11097" y="14380"/>
                  </a:cubicBezTo>
                  <a:cubicBezTo>
                    <a:pt x="11103" y="14388"/>
                    <a:pt x="11124" y="14427"/>
                    <a:pt x="11137" y="14427"/>
                  </a:cubicBezTo>
                  <a:cubicBezTo>
                    <a:pt x="11203" y="14429"/>
                    <a:pt x="11132" y="14391"/>
                    <a:pt x="11166" y="14369"/>
                  </a:cubicBezTo>
                  <a:cubicBezTo>
                    <a:pt x="11200" y="14349"/>
                    <a:pt x="11296" y="14340"/>
                    <a:pt x="11331" y="14351"/>
                  </a:cubicBezTo>
                  <a:cubicBezTo>
                    <a:pt x="11412" y="14376"/>
                    <a:pt x="11422" y="14444"/>
                    <a:pt x="11362" y="14485"/>
                  </a:cubicBezTo>
                  <a:cubicBezTo>
                    <a:pt x="11346" y="14496"/>
                    <a:pt x="11308" y="14475"/>
                    <a:pt x="11280" y="14501"/>
                  </a:cubicBezTo>
                  <a:cubicBezTo>
                    <a:pt x="11244" y="14535"/>
                    <a:pt x="11264" y="14531"/>
                    <a:pt x="11256" y="14571"/>
                  </a:cubicBezTo>
                  <a:cubicBezTo>
                    <a:pt x="11253" y="14585"/>
                    <a:pt x="11250" y="14679"/>
                    <a:pt x="11254" y="14686"/>
                  </a:cubicBezTo>
                  <a:cubicBezTo>
                    <a:pt x="11301" y="14768"/>
                    <a:pt x="11302" y="14677"/>
                    <a:pt x="11316" y="14668"/>
                  </a:cubicBezTo>
                  <a:cubicBezTo>
                    <a:pt x="11324" y="14664"/>
                    <a:pt x="11333" y="14585"/>
                    <a:pt x="11361" y="14632"/>
                  </a:cubicBezTo>
                  <a:cubicBezTo>
                    <a:pt x="11395" y="14690"/>
                    <a:pt x="11379" y="14708"/>
                    <a:pt x="11366" y="14756"/>
                  </a:cubicBezTo>
                  <a:cubicBezTo>
                    <a:pt x="11352" y="14808"/>
                    <a:pt x="11289" y="14877"/>
                    <a:pt x="11293" y="14931"/>
                  </a:cubicBezTo>
                  <a:cubicBezTo>
                    <a:pt x="11297" y="14995"/>
                    <a:pt x="11392" y="15066"/>
                    <a:pt x="11436" y="15041"/>
                  </a:cubicBezTo>
                  <a:cubicBezTo>
                    <a:pt x="11428" y="15046"/>
                    <a:pt x="11461" y="14980"/>
                    <a:pt x="11466" y="14975"/>
                  </a:cubicBezTo>
                  <a:cubicBezTo>
                    <a:pt x="11482" y="14959"/>
                    <a:pt x="11511" y="14951"/>
                    <a:pt x="11534" y="14942"/>
                  </a:cubicBezTo>
                  <a:cubicBezTo>
                    <a:pt x="11561" y="14933"/>
                    <a:pt x="11585" y="14951"/>
                    <a:pt x="11619" y="14933"/>
                  </a:cubicBezTo>
                  <a:cubicBezTo>
                    <a:pt x="11642" y="14920"/>
                    <a:pt x="11646" y="14880"/>
                    <a:pt x="11669" y="14867"/>
                  </a:cubicBezTo>
                  <a:cubicBezTo>
                    <a:pt x="11733" y="14831"/>
                    <a:pt x="11804" y="14874"/>
                    <a:pt x="11811" y="14955"/>
                  </a:cubicBezTo>
                  <a:cubicBezTo>
                    <a:pt x="11818" y="15039"/>
                    <a:pt x="11786" y="15118"/>
                    <a:pt x="11874" y="15153"/>
                  </a:cubicBezTo>
                  <a:cubicBezTo>
                    <a:pt x="11944" y="15181"/>
                    <a:pt x="11981" y="15115"/>
                    <a:pt x="12050" y="15116"/>
                  </a:cubicBezTo>
                  <a:cubicBezTo>
                    <a:pt x="12076" y="15116"/>
                    <a:pt x="12125" y="15141"/>
                    <a:pt x="12158" y="15145"/>
                  </a:cubicBezTo>
                  <a:cubicBezTo>
                    <a:pt x="12176" y="15147"/>
                    <a:pt x="12224" y="15152"/>
                    <a:pt x="12242" y="15149"/>
                  </a:cubicBezTo>
                  <a:cubicBezTo>
                    <a:pt x="12267" y="15147"/>
                    <a:pt x="12305" y="15121"/>
                    <a:pt x="12329" y="15120"/>
                  </a:cubicBezTo>
                  <a:cubicBezTo>
                    <a:pt x="12358" y="15118"/>
                    <a:pt x="12375" y="15143"/>
                    <a:pt x="12398" y="15143"/>
                  </a:cubicBezTo>
                  <a:cubicBezTo>
                    <a:pt x="12452" y="15145"/>
                    <a:pt x="12528" y="15126"/>
                    <a:pt x="12591" y="15125"/>
                  </a:cubicBezTo>
                  <a:cubicBezTo>
                    <a:pt x="12855" y="15123"/>
                    <a:pt x="13087" y="15105"/>
                    <a:pt x="13309" y="14933"/>
                  </a:cubicBezTo>
                  <a:cubicBezTo>
                    <a:pt x="13204" y="15047"/>
                    <a:pt x="13376" y="14986"/>
                    <a:pt x="13432" y="14956"/>
                  </a:cubicBezTo>
                  <a:cubicBezTo>
                    <a:pt x="13496" y="14920"/>
                    <a:pt x="13535" y="14887"/>
                    <a:pt x="13617" y="14882"/>
                  </a:cubicBezTo>
                  <a:cubicBezTo>
                    <a:pt x="13609" y="14887"/>
                    <a:pt x="13591" y="14906"/>
                    <a:pt x="13577" y="14913"/>
                  </a:cubicBezTo>
                  <a:cubicBezTo>
                    <a:pt x="13614" y="14942"/>
                    <a:pt x="13732" y="14937"/>
                    <a:pt x="13778" y="14932"/>
                  </a:cubicBezTo>
                  <a:cubicBezTo>
                    <a:pt x="13843" y="14926"/>
                    <a:pt x="13890" y="14911"/>
                    <a:pt x="13963" y="14904"/>
                  </a:cubicBezTo>
                  <a:cubicBezTo>
                    <a:pt x="14035" y="14896"/>
                    <a:pt x="14094" y="14857"/>
                    <a:pt x="14164" y="14844"/>
                  </a:cubicBezTo>
                  <a:cubicBezTo>
                    <a:pt x="14303" y="14817"/>
                    <a:pt x="14134" y="14894"/>
                    <a:pt x="14237" y="14959"/>
                  </a:cubicBezTo>
                  <a:cubicBezTo>
                    <a:pt x="14225" y="14883"/>
                    <a:pt x="14269" y="14898"/>
                    <a:pt x="14290" y="14854"/>
                  </a:cubicBezTo>
                  <a:cubicBezTo>
                    <a:pt x="14304" y="14825"/>
                    <a:pt x="14282" y="14746"/>
                    <a:pt x="14342" y="14775"/>
                  </a:cubicBezTo>
                  <a:cubicBezTo>
                    <a:pt x="14453" y="14829"/>
                    <a:pt x="14349" y="14876"/>
                    <a:pt x="14293" y="14945"/>
                  </a:cubicBezTo>
                  <a:cubicBezTo>
                    <a:pt x="14349" y="14917"/>
                    <a:pt x="14397" y="14859"/>
                    <a:pt x="14459" y="14858"/>
                  </a:cubicBezTo>
                  <a:cubicBezTo>
                    <a:pt x="14428" y="14894"/>
                    <a:pt x="14385" y="14902"/>
                    <a:pt x="14352" y="14930"/>
                  </a:cubicBezTo>
                  <a:cubicBezTo>
                    <a:pt x="14364" y="14927"/>
                    <a:pt x="14398" y="14930"/>
                    <a:pt x="14414" y="14926"/>
                  </a:cubicBezTo>
                  <a:cubicBezTo>
                    <a:pt x="14403" y="14969"/>
                    <a:pt x="14371" y="15003"/>
                    <a:pt x="14350" y="15039"/>
                  </a:cubicBezTo>
                  <a:cubicBezTo>
                    <a:pt x="14400" y="15000"/>
                    <a:pt x="14490" y="14826"/>
                    <a:pt x="14516" y="14938"/>
                  </a:cubicBezTo>
                  <a:cubicBezTo>
                    <a:pt x="14562" y="14856"/>
                    <a:pt x="14690" y="14923"/>
                    <a:pt x="14757" y="14886"/>
                  </a:cubicBezTo>
                  <a:cubicBezTo>
                    <a:pt x="14843" y="14839"/>
                    <a:pt x="14788" y="14761"/>
                    <a:pt x="14749" y="14850"/>
                  </a:cubicBezTo>
                  <a:cubicBezTo>
                    <a:pt x="14761" y="14687"/>
                    <a:pt x="14841" y="14884"/>
                    <a:pt x="14860" y="14911"/>
                  </a:cubicBezTo>
                  <a:cubicBezTo>
                    <a:pt x="14879" y="14862"/>
                    <a:pt x="14937" y="14839"/>
                    <a:pt x="14983" y="14827"/>
                  </a:cubicBezTo>
                  <a:cubicBezTo>
                    <a:pt x="15014" y="14819"/>
                    <a:pt x="15108" y="14796"/>
                    <a:pt x="15124" y="14806"/>
                  </a:cubicBezTo>
                  <a:cubicBezTo>
                    <a:pt x="15156" y="14825"/>
                    <a:pt x="15160" y="14793"/>
                    <a:pt x="15178" y="14785"/>
                  </a:cubicBezTo>
                  <a:cubicBezTo>
                    <a:pt x="15179" y="14793"/>
                    <a:pt x="15236" y="14815"/>
                    <a:pt x="15234" y="14807"/>
                  </a:cubicBezTo>
                  <a:cubicBezTo>
                    <a:pt x="15264" y="14836"/>
                    <a:pt x="15293" y="14895"/>
                    <a:pt x="15346" y="14882"/>
                  </a:cubicBezTo>
                  <a:cubicBezTo>
                    <a:pt x="15310" y="14918"/>
                    <a:pt x="15393" y="14959"/>
                    <a:pt x="15422" y="14995"/>
                  </a:cubicBezTo>
                  <a:cubicBezTo>
                    <a:pt x="15453" y="15035"/>
                    <a:pt x="15478" y="15096"/>
                    <a:pt x="15523" y="15127"/>
                  </a:cubicBezTo>
                  <a:cubicBezTo>
                    <a:pt x="15537" y="15137"/>
                    <a:pt x="15583" y="15147"/>
                    <a:pt x="15592" y="15156"/>
                  </a:cubicBezTo>
                  <a:cubicBezTo>
                    <a:pt x="15610" y="15175"/>
                    <a:pt x="15603" y="15214"/>
                    <a:pt x="15631" y="15227"/>
                  </a:cubicBezTo>
                  <a:cubicBezTo>
                    <a:pt x="15661" y="15240"/>
                    <a:pt x="15730" y="15193"/>
                    <a:pt x="15689" y="15143"/>
                  </a:cubicBezTo>
                  <a:cubicBezTo>
                    <a:pt x="15770" y="15170"/>
                    <a:pt x="15749" y="15245"/>
                    <a:pt x="15772" y="15316"/>
                  </a:cubicBezTo>
                  <a:cubicBezTo>
                    <a:pt x="15795" y="15385"/>
                    <a:pt x="15848" y="15406"/>
                    <a:pt x="15867" y="15474"/>
                  </a:cubicBezTo>
                  <a:cubicBezTo>
                    <a:pt x="15867" y="15474"/>
                    <a:pt x="15871" y="15395"/>
                    <a:pt x="15865" y="15394"/>
                  </a:cubicBezTo>
                  <a:cubicBezTo>
                    <a:pt x="15907" y="15401"/>
                    <a:pt x="15875" y="15423"/>
                    <a:pt x="15898" y="15438"/>
                  </a:cubicBezTo>
                  <a:cubicBezTo>
                    <a:pt x="15944" y="15468"/>
                    <a:pt x="15927" y="15475"/>
                    <a:pt x="15985" y="15480"/>
                  </a:cubicBezTo>
                  <a:cubicBezTo>
                    <a:pt x="15998" y="15481"/>
                    <a:pt x="16018" y="15501"/>
                    <a:pt x="16041" y="15483"/>
                  </a:cubicBezTo>
                  <a:cubicBezTo>
                    <a:pt x="16082" y="15448"/>
                    <a:pt x="16021" y="15469"/>
                    <a:pt x="16031" y="15446"/>
                  </a:cubicBezTo>
                  <a:cubicBezTo>
                    <a:pt x="16052" y="15394"/>
                    <a:pt x="16053" y="15338"/>
                    <a:pt x="16123" y="15360"/>
                  </a:cubicBezTo>
                  <a:cubicBezTo>
                    <a:pt x="16145" y="15367"/>
                    <a:pt x="16197" y="15442"/>
                    <a:pt x="16197" y="15467"/>
                  </a:cubicBezTo>
                  <a:cubicBezTo>
                    <a:pt x="16195" y="15521"/>
                    <a:pt x="16184" y="15575"/>
                    <a:pt x="16178" y="15628"/>
                  </a:cubicBezTo>
                  <a:cubicBezTo>
                    <a:pt x="16170" y="15695"/>
                    <a:pt x="16189" y="15660"/>
                    <a:pt x="16198" y="15664"/>
                  </a:cubicBezTo>
                  <a:cubicBezTo>
                    <a:pt x="16208" y="15669"/>
                    <a:pt x="16260" y="15625"/>
                    <a:pt x="16290" y="15687"/>
                  </a:cubicBezTo>
                  <a:cubicBezTo>
                    <a:pt x="16307" y="15722"/>
                    <a:pt x="16293" y="15769"/>
                    <a:pt x="16229" y="15774"/>
                  </a:cubicBezTo>
                  <a:cubicBezTo>
                    <a:pt x="16270" y="15829"/>
                    <a:pt x="16294" y="15814"/>
                    <a:pt x="16345" y="15843"/>
                  </a:cubicBezTo>
                  <a:cubicBezTo>
                    <a:pt x="16361" y="15851"/>
                    <a:pt x="16350" y="15883"/>
                    <a:pt x="16363" y="15890"/>
                  </a:cubicBezTo>
                  <a:cubicBezTo>
                    <a:pt x="16381" y="15899"/>
                    <a:pt x="16420" y="15884"/>
                    <a:pt x="16432" y="15895"/>
                  </a:cubicBezTo>
                  <a:cubicBezTo>
                    <a:pt x="16453" y="15916"/>
                    <a:pt x="16444" y="15960"/>
                    <a:pt x="16475" y="15978"/>
                  </a:cubicBezTo>
                  <a:cubicBezTo>
                    <a:pt x="16501" y="15993"/>
                    <a:pt x="16508" y="15948"/>
                    <a:pt x="16544" y="15962"/>
                  </a:cubicBezTo>
                  <a:cubicBezTo>
                    <a:pt x="16586" y="15979"/>
                    <a:pt x="16636" y="16056"/>
                    <a:pt x="16670" y="16092"/>
                  </a:cubicBezTo>
                  <a:cubicBezTo>
                    <a:pt x="16685" y="16108"/>
                    <a:pt x="16694" y="16183"/>
                    <a:pt x="16723" y="16125"/>
                  </a:cubicBezTo>
                  <a:cubicBezTo>
                    <a:pt x="16744" y="16083"/>
                    <a:pt x="16689" y="16053"/>
                    <a:pt x="16707" y="16035"/>
                  </a:cubicBezTo>
                  <a:cubicBezTo>
                    <a:pt x="16771" y="15967"/>
                    <a:pt x="16746" y="16127"/>
                    <a:pt x="16750" y="16136"/>
                  </a:cubicBezTo>
                  <a:cubicBezTo>
                    <a:pt x="16750" y="16137"/>
                    <a:pt x="16799" y="16215"/>
                    <a:pt x="16806" y="16176"/>
                  </a:cubicBezTo>
                  <a:cubicBezTo>
                    <a:pt x="16797" y="16229"/>
                    <a:pt x="16707" y="16221"/>
                    <a:pt x="16667" y="16221"/>
                  </a:cubicBezTo>
                  <a:cubicBezTo>
                    <a:pt x="16652" y="16220"/>
                    <a:pt x="16627" y="16243"/>
                    <a:pt x="16615" y="16240"/>
                  </a:cubicBezTo>
                  <a:cubicBezTo>
                    <a:pt x="16609" y="16238"/>
                    <a:pt x="16582" y="16212"/>
                    <a:pt x="16592" y="16213"/>
                  </a:cubicBezTo>
                  <a:cubicBezTo>
                    <a:pt x="16617" y="16217"/>
                    <a:pt x="16528" y="16184"/>
                    <a:pt x="16523" y="16194"/>
                  </a:cubicBezTo>
                  <a:cubicBezTo>
                    <a:pt x="16510" y="16162"/>
                    <a:pt x="16494" y="16058"/>
                    <a:pt x="16428" y="16156"/>
                  </a:cubicBezTo>
                  <a:cubicBezTo>
                    <a:pt x="16374" y="16237"/>
                    <a:pt x="16319" y="16297"/>
                    <a:pt x="16408" y="16354"/>
                  </a:cubicBezTo>
                  <a:cubicBezTo>
                    <a:pt x="16490" y="16405"/>
                    <a:pt x="16491" y="16356"/>
                    <a:pt x="16528" y="16458"/>
                  </a:cubicBezTo>
                  <a:cubicBezTo>
                    <a:pt x="16544" y="16501"/>
                    <a:pt x="16573" y="16569"/>
                    <a:pt x="16574" y="16616"/>
                  </a:cubicBezTo>
                  <a:cubicBezTo>
                    <a:pt x="16580" y="16825"/>
                    <a:pt x="16397" y="16749"/>
                    <a:pt x="16279" y="16757"/>
                  </a:cubicBezTo>
                  <a:cubicBezTo>
                    <a:pt x="16177" y="16764"/>
                    <a:pt x="15985" y="16751"/>
                    <a:pt x="15921" y="16670"/>
                  </a:cubicBezTo>
                  <a:cubicBezTo>
                    <a:pt x="15871" y="16606"/>
                    <a:pt x="15874" y="16546"/>
                    <a:pt x="15779" y="16602"/>
                  </a:cubicBezTo>
                  <a:cubicBezTo>
                    <a:pt x="15690" y="16654"/>
                    <a:pt x="15678" y="16771"/>
                    <a:pt x="15616" y="16847"/>
                  </a:cubicBezTo>
                  <a:cubicBezTo>
                    <a:pt x="15610" y="16770"/>
                    <a:pt x="15647" y="16590"/>
                    <a:pt x="15575" y="16551"/>
                  </a:cubicBezTo>
                  <a:cubicBezTo>
                    <a:pt x="15480" y="16499"/>
                    <a:pt x="15422" y="16651"/>
                    <a:pt x="15368" y="16685"/>
                  </a:cubicBezTo>
                  <a:cubicBezTo>
                    <a:pt x="15352" y="16617"/>
                    <a:pt x="15426" y="16588"/>
                    <a:pt x="15442" y="16527"/>
                  </a:cubicBezTo>
                  <a:cubicBezTo>
                    <a:pt x="15457" y="16468"/>
                    <a:pt x="15426" y="16456"/>
                    <a:pt x="15427" y="16408"/>
                  </a:cubicBezTo>
                  <a:cubicBezTo>
                    <a:pt x="15428" y="16354"/>
                    <a:pt x="15458" y="16261"/>
                    <a:pt x="15382" y="16341"/>
                  </a:cubicBezTo>
                  <a:cubicBezTo>
                    <a:pt x="15368" y="16356"/>
                    <a:pt x="15364" y="16412"/>
                    <a:pt x="15347" y="16427"/>
                  </a:cubicBezTo>
                  <a:cubicBezTo>
                    <a:pt x="15343" y="16431"/>
                    <a:pt x="15302" y="16439"/>
                    <a:pt x="15288" y="16455"/>
                  </a:cubicBezTo>
                  <a:cubicBezTo>
                    <a:pt x="15320" y="16400"/>
                    <a:pt x="15298" y="16396"/>
                    <a:pt x="15277" y="16374"/>
                  </a:cubicBezTo>
                  <a:cubicBezTo>
                    <a:pt x="15302" y="16401"/>
                    <a:pt x="15153" y="16330"/>
                    <a:pt x="15211" y="16337"/>
                  </a:cubicBezTo>
                  <a:cubicBezTo>
                    <a:pt x="15138" y="16328"/>
                    <a:pt x="15157" y="16366"/>
                    <a:pt x="15110" y="16271"/>
                  </a:cubicBezTo>
                  <a:cubicBezTo>
                    <a:pt x="15091" y="16232"/>
                    <a:pt x="15082" y="16214"/>
                    <a:pt x="15060" y="16182"/>
                  </a:cubicBezTo>
                  <a:cubicBezTo>
                    <a:pt x="15041" y="16157"/>
                    <a:pt x="15009" y="16159"/>
                    <a:pt x="15000" y="16117"/>
                  </a:cubicBezTo>
                  <a:cubicBezTo>
                    <a:pt x="14983" y="16037"/>
                    <a:pt x="15079" y="15983"/>
                    <a:pt x="14954" y="16010"/>
                  </a:cubicBezTo>
                  <a:cubicBezTo>
                    <a:pt x="14895" y="16022"/>
                    <a:pt x="14836" y="16053"/>
                    <a:pt x="14775" y="16067"/>
                  </a:cubicBezTo>
                  <a:cubicBezTo>
                    <a:pt x="14727" y="16078"/>
                    <a:pt x="14628" y="16065"/>
                    <a:pt x="14617" y="16089"/>
                  </a:cubicBezTo>
                  <a:cubicBezTo>
                    <a:pt x="14552" y="16221"/>
                    <a:pt x="14729" y="16165"/>
                    <a:pt x="14749" y="16177"/>
                  </a:cubicBezTo>
                  <a:cubicBezTo>
                    <a:pt x="14761" y="16184"/>
                    <a:pt x="14796" y="16255"/>
                    <a:pt x="14814" y="16273"/>
                  </a:cubicBezTo>
                  <a:cubicBezTo>
                    <a:pt x="14828" y="16288"/>
                    <a:pt x="14856" y="16303"/>
                    <a:pt x="14873" y="16317"/>
                  </a:cubicBezTo>
                  <a:cubicBezTo>
                    <a:pt x="14916" y="16352"/>
                    <a:pt x="14949" y="16385"/>
                    <a:pt x="14977" y="16437"/>
                  </a:cubicBezTo>
                  <a:cubicBezTo>
                    <a:pt x="15050" y="16328"/>
                    <a:pt x="15092" y="16557"/>
                    <a:pt x="15135" y="16607"/>
                  </a:cubicBezTo>
                  <a:cubicBezTo>
                    <a:pt x="15193" y="16674"/>
                    <a:pt x="15267" y="16783"/>
                    <a:pt x="15282" y="16900"/>
                  </a:cubicBezTo>
                  <a:cubicBezTo>
                    <a:pt x="15300" y="17039"/>
                    <a:pt x="15206" y="17233"/>
                    <a:pt x="15150" y="17342"/>
                  </a:cubicBezTo>
                  <a:cubicBezTo>
                    <a:pt x="15081" y="17473"/>
                    <a:pt x="15133" y="17585"/>
                    <a:pt x="15093" y="17726"/>
                  </a:cubicBezTo>
                  <a:cubicBezTo>
                    <a:pt x="15059" y="17850"/>
                    <a:pt x="15034" y="17903"/>
                    <a:pt x="15082" y="18023"/>
                  </a:cubicBezTo>
                  <a:cubicBezTo>
                    <a:pt x="15107" y="18086"/>
                    <a:pt x="15134" y="18140"/>
                    <a:pt x="15150" y="18207"/>
                  </a:cubicBezTo>
                  <a:cubicBezTo>
                    <a:pt x="15186" y="18355"/>
                    <a:pt x="15210" y="18502"/>
                    <a:pt x="15267" y="18644"/>
                  </a:cubicBezTo>
                  <a:cubicBezTo>
                    <a:pt x="15315" y="18763"/>
                    <a:pt x="15391" y="18936"/>
                    <a:pt x="15324" y="19063"/>
                  </a:cubicBezTo>
                  <a:cubicBezTo>
                    <a:pt x="15249" y="19205"/>
                    <a:pt x="15163" y="19340"/>
                    <a:pt x="15094" y="19481"/>
                  </a:cubicBezTo>
                  <a:cubicBezTo>
                    <a:pt x="15029" y="19616"/>
                    <a:pt x="14899" y="19690"/>
                    <a:pt x="14788" y="19773"/>
                  </a:cubicBezTo>
                  <a:cubicBezTo>
                    <a:pt x="14815" y="19877"/>
                    <a:pt x="14783" y="19978"/>
                    <a:pt x="14797" y="20081"/>
                  </a:cubicBezTo>
                  <a:cubicBezTo>
                    <a:pt x="14804" y="20128"/>
                    <a:pt x="14827" y="20168"/>
                    <a:pt x="14832" y="20218"/>
                  </a:cubicBezTo>
                  <a:cubicBezTo>
                    <a:pt x="14844" y="20320"/>
                    <a:pt x="14856" y="20534"/>
                    <a:pt x="14732" y="20552"/>
                  </a:cubicBezTo>
                  <a:cubicBezTo>
                    <a:pt x="14814" y="20634"/>
                    <a:pt x="14934" y="20551"/>
                    <a:pt x="15002" y="20620"/>
                  </a:cubicBezTo>
                  <a:cubicBezTo>
                    <a:pt x="15055" y="20675"/>
                    <a:pt x="15070" y="20852"/>
                    <a:pt x="14977" y="20879"/>
                  </a:cubicBezTo>
                  <a:cubicBezTo>
                    <a:pt x="14890" y="20904"/>
                    <a:pt x="14806" y="20951"/>
                    <a:pt x="14716" y="20967"/>
                  </a:cubicBezTo>
                  <a:cubicBezTo>
                    <a:pt x="14648" y="20980"/>
                    <a:pt x="14557" y="20958"/>
                    <a:pt x="14497" y="20985"/>
                  </a:cubicBezTo>
                  <a:cubicBezTo>
                    <a:pt x="14353" y="21050"/>
                    <a:pt x="14357" y="21290"/>
                    <a:pt x="14420" y="21425"/>
                  </a:cubicBezTo>
                  <a:cubicBezTo>
                    <a:pt x="14448" y="21484"/>
                    <a:pt x="14632" y="21537"/>
                    <a:pt x="14709" y="21514"/>
                  </a:cubicBezTo>
                  <a:cubicBezTo>
                    <a:pt x="14816" y="21483"/>
                    <a:pt x="14928" y="21331"/>
                    <a:pt x="15034" y="21384"/>
                  </a:cubicBezTo>
                  <a:cubicBezTo>
                    <a:pt x="15072" y="21403"/>
                    <a:pt x="15105" y="21457"/>
                    <a:pt x="15128" y="21492"/>
                  </a:cubicBezTo>
                  <a:cubicBezTo>
                    <a:pt x="15120" y="21276"/>
                    <a:pt x="15123" y="21179"/>
                    <a:pt x="15279" y="21022"/>
                  </a:cubicBezTo>
                  <a:cubicBezTo>
                    <a:pt x="15320" y="20980"/>
                    <a:pt x="15357" y="20926"/>
                    <a:pt x="15398" y="20887"/>
                  </a:cubicBezTo>
                  <a:cubicBezTo>
                    <a:pt x="15451" y="20838"/>
                    <a:pt x="15551" y="20823"/>
                    <a:pt x="15595" y="20769"/>
                  </a:cubicBezTo>
                  <a:cubicBezTo>
                    <a:pt x="15600" y="20763"/>
                    <a:pt x="15609" y="20654"/>
                    <a:pt x="15642" y="20664"/>
                  </a:cubicBezTo>
                  <a:cubicBezTo>
                    <a:pt x="15662" y="20671"/>
                    <a:pt x="15639" y="20761"/>
                    <a:pt x="15641" y="20775"/>
                  </a:cubicBezTo>
                  <a:cubicBezTo>
                    <a:pt x="15703" y="20708"/>
                    <a:pt x="15662" y="20559"/>
                    <a:pt x="15713" y="20467"/>
                  </a:cubicBezTo>
                  <a:cubicBezTo>
                    <a:pt x="15778" y="20352"/>
                    <a:pt x="15832" y="20227"/>
                    <a:pt x="15914" y="20126"/>
                  </a:cubicBezTo>
                  <a:cubicBezTo>
                    <a:pt x="16054" y="19954"/>
                    <a:pt x="16309" y="19828"/>
                    <a:pt x="16522" y="19806"/>
                  </a:cubicBezTo>
                  <a:cubicBezTo>
                    <a:pt x="16675" y="19790"/>
                    <a:pt x="16824" y="19841"/>
                    <a:pt x="16974" y="19791"/>
                  </a:cubicBezTo>
                  <a:cubicBezTo>
                    <a:pt x="17083" y="19755"/>
                    <a:pt x="17331" y="19766"/>
                    <a:pt x="17403" y="19671"/>
                  </a:cubicBezTo>
                  <a:cubicBezTo>
                    <a:pt x="17348" y="19677"/>
                    <a:pt x="16977" y="19753"/>
                    <a:pt x="16976" y="19719"/>
                  </a:cubicBezTo>
                  <a:cubicBezTo>
                    <a:pt x="16974" y="19678"/>
                    <a:pt x="16992" y="19604"/>
                    <a:pt x="17035" y="19602"/>
                  </a:cubicBezTo>
                  <a:cubicBezTo>
                    <a:pt x="17063" y="19600"/>
                    <a:pt x="17073" y="19517"/>
                    <a:pt x="17083" y="19490"/>
                  </a:cubicBezTo>
                  <a:cubicBezTo>
                    <a:pt x="17133" y="19354"/>
                    <a:pt x="17231" y="19327"/>
                    <a:pt x="17349" y="19264"/>
                  </a:cubicBezTo>
                  <a:cubicBezTo>
                    <a:pt x="17472" y="19178"/>
                    <a:pt x="17576" y="19102"/>
                    <a:pt x="17713" y="19055"/>
                  </a:cubicBezTo>
                  <a:cubicBezTo>
                    <a:pt x="17838" y="19012"/>
                    <a:pt x="17938" y="18931"/>
                    <a:pt x="18066" y="18887"/>
                  </a:cubicBezTo>
                  <a:cubicBezTo>
                    <a:pt x="18128" y="18866"/>
                    <a:pt x="18223" y="18879"/>
                    <a:pt x="18261" y="18863"/>
                  </a:cubicBezTo>
                  <a:cubicBezTo>
                    <a:pt x="18296" y="18848"/>
                    <a:pt x="18394" y="18746"/>
                    <a:pt x="18404" y="18704"/>
                  </a:cubicBezTo>
                  <a:cubicBezTo>
                    <a:pt x="18328" y="18661"/>
                    <a:pt x="18166" y="18597"/>
                    <a:pt x="18166" y="18478"/>
                  </a:cubicBezTo>
                  <a:lnTo>
                    <a:pt x="18090" y="18217"/>
                  </a:lnTo>
                  <a:cubicBezTo>
                    <a:pt x="17989" y="18268"/>
                    <a:pt x="17935" y="18388"/>
                    <a:pt x="17840" y="18436"/>
                  </a:cubicBezTo>
                  <a:cubicBezTo>
                    <a:pt x="17805" y="18453"/>
                    <a:pt x="17751" y="18460"/>
                    <a:pt x="17710" y="18473"/>
                  </a:cubicBezTo>
                  <a:cubicBezTo>
                    <a:pt x="17629" y="18499"/>
                    <a:pt x="17523" y="18520"/>
                    <a:pt x="17439" y="18492"/>
                  </a:cubicBezTo>
                  <a:cubicBezTo>
                    <a:pt x="17319" y="18452"/>
                    <a:pt x="17357" y="18371"/>
                    <a:pt x="17389" y="18272"/>
                  </a:cubicBezTo>
                  <a:cubicBezTo>
                    <a:pt x="17416" y="18186"/>
                    <a:pt x="17416" y="18108"/>
                    <a:pt x="17423" y="18026"/>
                  </a:cubicBezTo>
                  <a:cubicBezTo>
                    <a:pt x="17440" y="17835"/>
                    <a:pt x="17597" y="17797"/>
                    <a:pt x="17680" y="17651"/>
                  </a:cubicBezTo>
                  <a:cubicBezTo>
                    <a:pt x="17713" y="17592"/>
                    <a:pt x="17746" y="17532"/>
                    <a:pt x="17779" y="17474"/>
                  </a:cubicBezTo>
                  <a:cubicBezTo>
                    <a:pt x="17816" y="17409"/>
                    <a:pt x="17814" y="17389"/>
                    <a:pt x="17886" y="17340"/>
                  </a:cubicBezTo>
                  <a:cubicBezTo>
                    <a:pt x="17958" y="17290"/>
                    <a:pt x="18034" y="17247"/>
                    <a:pt x="18107" y="17198"/>
                  </a:cubicBezTo>
                  <a:cubicBezTo>
                    <a:pt x="18205" y="17132"/>
                    <a:pt x="18315" y="17092"/>
                    <a:pt x="18408" y="17024"/>
                  </a:cubicBezTo>
                  <a:cubicBezTo>
                    <a:pt x="18519" y="16943"/>
                    <a:pt x="18628" y="16859"/>
                    <a:pt x="18745" y="16789"/>
                  </a:cubicBezTo>
                  <a:cubicBezTo>
                    <a:pt x="18866" y="16716"/>
                    <a:pt x="18991" y="16641"/>
                    <a:pt x="19117" y="16595"/>
                  </a:cubicBezTo>
                  <a:cubicBezTo>
                    <a:pt x="18991" y="16590"/>
                    <a:pt x="19119" y="16540"/>
                    <a:pt x="19158" y="16517"/>
                  </a:cubicBezTo>
                  <a:cubicBezTo>
                    <a:pt x="19173" y="16508"/>
                    <a:pt x="19233" y="16502"/>
                    <a:pt x="19250" y="16512"/>
                  </a:cubicBezTo>
                  <a:cubicBezTo>
                    <a:pt x="19275" y="16526"/>
                    <a:pt x="19224" y="16548"/>
                    <a:pt x="19250" y="16570"/>
                  </a:cubicBezTo>
                  <a:cubicBezTo>
                    <a:pt x="19358" y="16660"/>
                    <a:pt x="19453" y="16498"/>
                    <a:pt x="19563" y="16495"/>
                  </a:cubicBezTo>
                  <a:cubicBezTo>
                    <a:pt x="19541" y="16516"/>
                    <a:pt x="19543" y="16523"/>
                    <a:pt x="19506" y="16526"/>
                  </a:cubicBezTo>
                  <a:cubicBezTo>
                    <a:pt x="19544" y="16597"/>
                    <a:pt x="19587" y="16550"/>
                    <a:pt x="19636" y="16533"/>
                  </a:cubicBezTo>
                  <a:cubicBezTo>
                    <a:pt x="19601" y="16604"/>
                    <a:pt x="19644" y="16608"/>
                    <a:pt x="19695" y="16598"/>
                  </a:cubicBezTo>
                  <a:cubicBezTo>
                    <a:pt x="19774" y="16582"/>
                    <a:pt x="19822" y="16476"/>
                    <a:pt x="19886" y="16416"/>
                  </a:cubicBezTo>
                  <a:cubicBezTo>
                    <a:pt x="19909" y="16396"/>
                    <a:pt x="19993" y="16351"/>
                    <a:pt x="19932" y="16343"/>
                  </a:cubicBezTo>
                  <a:cubicBezTo>
                    <a:pt x="19909" y="16339"/>
                    <a:pt x="19852" y="16394"/>
                    <a:pt x="19819" y="16395"/>
                  </a:cubicBezTo>
                  <a:cubicBezTo>
                    <a:pt x="19773" y="16397"/>
                    <a:pt x="19763" y="16412"/>
                    <a:pt x="19782" y="16332"/>
                  </a:cubicBezTo>
                  <a:cubicBezTo>
                    <a:pt x="19797" y="16271"/>
                    <a:pt x="19847" y="16223"/>
                    <a:pt x="19862" y="16158"/>
                  </a:cubicBezTo>
                  <a:cubicBezTo>
                    <a:pt x="19894" y="16022"/>
                    <a:pt x="19839" y="16164"/>
                    <a:pt x="19785" y="16217"/>
                  </a:cubicBezTo>
                  <a:cubicBezTo>
                    <a:pt x="19739" y="16262"/>
                    <a:pt x="19692" y="16260"/>
                    <a:pt x="19647" y="16299"/>
                  </a:cubicBezTo>
                  <a:cubicBezTo>
                    <a:pt x="19651" y="16228"/>
                    <a:pt x="19672" y="16097"/>
                    <a:pt x="19609" y="16110"/>
                  </a:cubicBezTo>
                  <a:cubicBezTo>
                    <a:pt x="19562" y="16120"/>
                    <a:pt x="19433" y="16238"/>
                    <a:pt x="19472" y="16275"/>
                  </a:cubicBezTo>
                  <a:cubicBezTo>
                    <a:pt x="19433" y="16332"/>
                    <a:pt x="19399" y="16277"/>
                    <a:pt x="19410" y="16230"/>
                  </a:cubicBezTo>
                  <a:cubicBezTo>
                    <a:pt x="19390" y="16233"/>
                    <a:pt x="19361" y="16245"/>
                    <a:pt x="19342" y="16260"/>
                  </a:cubicBezTo>
                  <a:cubicBezTo>
                    <a:pt x="19459" y="16181"/>
                    <a:pt x="19573" y="16104"/>
                    <a:pt x="19688" y="16022"/>
                  </a:cubicBezTo>
                  <a:cubicBezTo>
                    <a:pt x="19657" y="16056"/>
                    <a:pt x="19656" y="16104"/>
                    <a:pt x="19676" y="16146"/>
                  </a:cubicBezTo>
                  <a:cubicBezTo>
                    <a:pt x="19710" y="16118"/>
                    <a:pt x="19733" y="16020"/>
                    <a:pt x="19772" y="16010"/>
                  </a:cubicBezTo>
                  <a:cubicBezTo>
                    <a:pt x="19860" y="15987"/>
                    <a:pt x="19761" y="16088"/>
                    <a:pt x="19748" y="16102"/>
                  </a:cubicBezTo>
                  <a:cubicBezTo>
                    <a:pt x="19730" y="16120"/>
                    <a:pt x="19686" y="16173"/>
                    <a:pt x="19684" y="16203"/>
                  </a:cubicBezTo>
                  <a:cubicBezTo>
                    <a:pt x="19683" y="16219"/>
                    <a:pt x="19708" y="16221"/>
                    <a:pt x="19716" y="16247"/>
                  </a:cubicBezTo>
                  <a:cubicBezTo>
                    <a:pt x="19801" y="16213"/>
                    <a:pt x="19877" y="16026"/>
                    <a:pt x="19936" y="15945"/>
                  </a:cubicBezTo>
                  <a:cubicBezTo>
                    <a:pt x="19995" y="15865"/>
                    <a:pt x="20077" y="15845"/>
                    <a:pt x="20150" y="15795"/>
                  </a:cubicBezTo>
                  <a:cubicBezTo>
                    <a:pt x="20274" y="15709"/>
                    <a:pt x="20368" y="15561"/>
                    <a:pt x="20477" y="15455"/>
                  </a:cubicBezTo>
                  <a:cubicBezTo>
                    <a:pt x="20586" y="15349"/>
                    <a:pt x="20631" y="15245"/>
                    <a:pt x="20692" y="15096"/>
                  </a:cubicBezTo>
                  <a:lnTo>
                    <a:pt x="20713" y="15099"/>
                  </a:lnTo>
                  <a:cubicBezTo>
                    <a:pt x="20835" y="14795"/>
                    <a:pt x="20944" y="14497"/>
                    <a:pt x="21111" y="14225"/>
                  </a:cubicBezTo>
                  <a:cubicBezTo>
                    <a:pt x="21172" y="14124"/>
                    <a:pt x="21224" y="14035"/>
                    <a:pt x="21313" y="13967"/>
                  </a:cubicBezTo>
                  <a:cubicBezTo>
                    <a:pt x="21376" y="13919"/>
                    <a:pt x="21441" y="13924"/>
                    <a:pt x="21506" y="13877"/>
                  </a:cubicBezTo>
                  <a:lnTo>
                    <a:pt x="21529" y="13866"/>
                  </a:lnTo>
                  <a:cubicBezTo>
                    <a:pt x="21531" y="13826"/>
                    <a:pt x="21534" y="13791"/>
                    <a:pt x="21542" y="13763"/>
                  </a:cubicBezTo>
                  <a:cubicBezTo>
                    <a:pt x="21600" y="13560"/>
                    <a:pt x="21542" y="13307"/>
                    <a:pt x="21496" y="13129"/>
                  </a:cubicBezTo>
                  <a:close/>
                  <a:moveTo>
                    <a:pt x="21496" y="13129"/>
                  </a:moveTo>
                </a:path>
              </a:pathLst>
            </a:custGeom>
            <a:grpFill/>
            <a:ln w="12700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0" name="AutoShape 13"/>
            <p:cNvSpPr>
              <a:spLocks/>
            </p:cNvSpPr>
            <p:nvPr/>
          </p:nvSpPr>
          <p:spPr bwMode="auto">
            <a:xfrm>
              <a:off x="2723127" y="795073"/>
              <a:ext cx="1333500" cy="895350"/>
            </a:xfrm>
            <a:custGeom>
              <a:avLst/>
              <a:gdLst/>
              <a:ahLst/>
              <a:cxnLst/>
              <a:rect l="0" t="0" r="r" b="b"/>
              <a:pathLst>
                <a:path w="21504" h="21573">
                  <a:moveTo>
                    <a:pt x="9440" y="6514"/>
                  </a:moveTo>
                  <a:cubicBezTo>
                    <a:pt x="9533" y="6540"/>
                    <a:pt x="9612" y="6387"/>
                    <a:pt x="9643" y="6269"/>
                  </a:cubicBezTo>
                  <a:cubicBezTo>
                    <a:pt x="9676" y="6138"/>
                    <a:pt x="9658" y="6218"/>
                    <a:pt x="9634" y="6236"/>
                  </a:cubicBezTo>
                  <a:cubicBezTo>
                    <a:pt x="9596" y="6266"/>
                    <a:pt x="9564" y="6202"/>
                    <a:pt x="9574" y="6312"/>
                  </a:cubicBezTo>
                  <a:cubicBezTo>
                    <a:pt x="9529" y="6244"/>
                    <a:pt x="9497" y="6163"/>
                    <a:pt x="9496" y="6063"/>
                  </a:cubicBezTo>
                  <a:cubicBezTo>
                    <a:pt x="9433" y="6105"/>
                    <a:pt x="9423" y="6264"/>
                    <a:pt x="9382" y="6342"/>
                  </a:cubicBezTo>
                  <a:cubicBezTo>
                    <a:pt x="9360" y="6385"/>
                    <a:pt x="9305" y="6314"/>
                    <a:pt x="9334" y="6401"/>
                  </a:cubicBezTo>
                  <a:cubicBezTo>
                    <a:pt x="9339" y="6416"/>
                    <a:pt x="9435" y="6512"/>
                    <a:pt x="9440" y="6514"/>
                  </a:cubicBezTo>
                  <a:close/>
                  <a:moveTo>
                    <a:pt x="17072" y="13634"/>
                  </a:moveTo>
                  <a:cubicBezTo>
                    <a:pt x="17113" y="13668"/>
                    <a:pt x="17213" y="13573"/>
                    <a:pt x="17148" y="13724"/>
                  </a:cubicBezTo>
                  <a:cubicBezTo>
                    <a:pt x="17246" y="13667"/>
                    <a:pt x="17204" y="13587"/>
                    <a:pt x="17246" y="13486"/>
                  </a:cubicBezTo>
                  <a:cubicBezTo>
                    <a:pt x="17306" y="13339"/>
                    <a:pt x="17313" y="13320"/>
                    <a:pt x="17280" y="13138"/>
                  </a:cubicBezTo>
                  <a:cubicBezTo>
                    <a:pt x="17264" y="13121"/>
                    <a:pt x="17254" y="13134"/>
                    <a:pt x="17246" y="13105"/>
                  </a:cubicBezTo>
                  <a:cubicBezTo>
                    <a:pt x="17237" y="13151"/>
                    <a:pt x="17240" y="13222"/>
                    <a:pt x="17231" y="13273"/>
                  </a:cubicBezTo>
                  <a:cubicBezTo>
                    <a:pt x="17221" y="13264"/>
                    <a:pt x="17217" y="13253"/>
                    <a:pt x="17208" y="13245"/>
                  </a:cubicBezTo>
                  <a:cubicBezTo>
                    <a:pt x="17200" y="13269"/>
                    <a:pt x="17207" y="13744"/>
                    <a:pt x="17097" y="13455"/>
                  </a:cubicBezTo>
                  <a:cubicBezTo>
                    <a:pt x="17075" y="13531"/>
                    <a:pt x="16993" y="13569"/>
                    <a:pt x="17072" y="13634"/>
                  </a:cubicBezTo>
                  <a:close/>
                  <a:moveTo>
                    <a:pt x="5001" y="4723"/>
                  </a:moveTo>
                  <a:cubicBezTo>
                    <a:pt x="4989" y="4775"/>
                    <a:pt x="4976" y="4933"/>
                    <a:pt x="4986" y="4988"/>
                  </a:cubicBezTo>
                  <a:cubicBezTo>
                    <a:pt x="4996" y="5041"/>
                    <a:pt x="5037" y="5096"/>
                    <a:pt x="5054" y="5147"/>
                  </a:cubicBezTo>
                  <a:cubicBezTo>
                    <a:pt x="5082" y="5234"/>
                    <a:pt x="5082" y="5324"/>
                    <a:pt x="5104" y="5415"/>
                  </a:cubicBezTo>
                  <a:cubicBezTo>
                    <a:pt x="5133" y="5366"/>
                    <a:pt x="5134" y="5302"/>
                    <a:pt x="5165" y="5284"/>
                  </a:cubicBezTo>
                  <a:cubicBezTo>
                    <a:pt x="5215" y="5256"/>
                    <a:pt x="5288" y="5366"/>
                    <a:pt x="5337" y="5339"/>
                  </a:cubicBezTo>
                  <a:cubicBezTo>
                    <a:pt x="5386" y="5314"/>
                    <a:pt x="5314" y="5017"/>
                    <a:pt x="5239" y="4991"/>
                  </a:cubicBezTo>
                  <a:cubicBezTo>
                    <a:pt x="5145" y="4959"/>
                    <a:pt x="5173" y="5125"/>
                    <a:pt x="5131" y="5148"/>
                  </a:cubicBezTo>
                  <a:cubicBezTo>
                    <a:pt x="5086" y="5172"/>
                    <a:pt x="5104" y="5003"/>
                    <a:pt x="5114" y="4979"/>
                  </a:cubicBezTo>
                  <a:cubicBezTo>
                    <a:pt x="5115" y="4976"/>
                    <a:pt x="5102" y="4953"/>
                    <a:pt x="5107" y="4939"/>
                  </a:cubicBezTo>
                  <a:cubicBezTo>
                    <a:pt x="5116" y="4914"/>
                    <a:pt x="5146" y="4936"/>
                    <a:pt x="5145" y="4940"/>
                  </a:cubicBezTo>
                  <a:cubicBezTo>
                    <a:pt x="5148" y="4930"/>
                    <a:pt x="5177" y="4914"/>
                    <a:pt x="5184" y="4869"/>
                  </a:cubicBezTo>
                  <a:cubicBezTo>
                    <a:pt x="5201" y="4755"/>
                    <a:pt x="5109" y="4818"/>
                    <a:pt x="5144" y="4695"/>
                  </a:cubicBezTo>
                  <a:cubicBezTo>
                    <a:pt x="5128" y="4608"/>
                    <a:pt x="5018" y="4650"/>
                    <a:pt x="5001" y="4723"/>
                  </a:cubicBezTo>
                  <a:close/>
                  <a:moveTo>
                    <a:pt x="19534" y="14880"/>
                  </a:moveTo>
                  <a:cubicBezTo>
                    <a:pt x="19501" y="15065"/>
                    <a:pt x="19457" y="15096"/>
                    <a:pt x="19351" y="15155"/>
                  </a:cubicBezTo>
                  <a:cubicBezTo>
                    <a:pt x="19334" y="15164"/>
                    <a:pt x="19329" y="15206"/>
                    <a:pt x="19310" y="15216"/>
                  </a:cubicBezTo>
                  <a:cubicBezTo>
                    <a:pt x="19297" y="15223"/>
                    <a:pt x="19258" y="15181"/>
                    <a:pt x="19245" y="15194"/>
                  </a:cubicBezTo>
                  <a:cubicBezTo>
                    <a:pt x="19189" y="15251"/>
                    <a:pt x="19237" y="15249"/>
                    <a:pt x="19288" y="15292"/>
                  </a:cubicBezTo>
                  <a:cubicBezTo>
                    <a:pt x="19405" y="15391"/>
                    <a:pt x="19445" y="15271"/>
                    <a:pt x="19545" y="15175"/>
                  </a:cubicBezTo>
                  <a:cubicBezTo>
                    <a:pt x="19585" y="15136"/>
                    <a:pt x="19649" y="15129"/>
                    <a:pt x="19652" y="15025"/>
                  </a:cubicBezTo>
                  <a:cubicBezTo>
                    <a:pt x="19654" y="14943"/>
                    <a:pt x="19580" y="14765"/>
                    <a:pt x="19534" y="14880"/>
                  </a:cubicBezTo>
                  <a:close/>
                  <a:moveTo>
                    <a:pt x="17461" y="12801"/>
                  </a:moveTo>
                  <a:cubicBezTo>
                    <a:pt x="17415" y="12843"/>
                    <a:pt x="17451" y="12902"/>
                    <a:pt x="17488" y="12945"/>
                  </a:cubicBezTo>
                  <a:cubicBezTo>
                    <a:pt x="17560" y="13030"/>
                    <a:pt x="17532" y="12995"/>
                    <a:pt x="17575" y="12922"/>
                  </a:cubicBezTo>
                  <a:cubicBezTo>
                    <a:pt x="17628" y="12831"/>
                    <a:pt x="17643" y="12673"/>
                    <a:pt x="17702" y="12591"/>
                  </a:cubicBezTo>
                  <a:cubicBezTo>
                    <a:pt x="17657" y="12542"/>
                    <a:pt x="17595" y="12531"/>
                    <a:pt x="17542" y="12509"/>
                  </a:cubicBezTo>
                  <a:cubicBezTo>
                    <a:pt x="17457" y="12499"/>
                    <a:pt x="17484" y="12656"/>
                    <a:pt x="17509" y="12723"/>
                  </a:cubicBezTo>
                  <a:cubicBezTo>
                    <a:pt x="17436" y="12626"/>
                    <a:pt x="17352" y="12765"/>
                    <a:pt x="17461" y="12801"/>
                  </a:cubicBezTo>
                  <a:close/>
                  <a:moveTo>
                    <a:pt x="15344" y="12112"/>
                  </a:moveTo>
                  <a:cubicBezTo>
                    <a:pt x="15408" y="12084"/>
                    <a:pt x="15382" y="11972"/>
                    <a:pt x="15379" y="11854"/>
                  </a:cubicBezTo>
                  <a:cubicBezTo>
                    <a:pt x="15346" y="11789"/>
                    <a:pt x="15258" y="12001"/>
                    <a:pt x="15259" y="12017"/>
                  </a:cubicBezTo>
                  <a:cubicBezTo>
                    <a:pt x="15260" y="12102"/>
                    <a:pt x="15301" y="12130"/>
                    <a:pt x="15344" y="12112"/>
                  </a:cubicBezTo>
                  <a:close/>
                  <a:moveTo>
                    <a:pt x="19597" y="16443"/>
                  </a:moveTo>
                  <a:cubicBezTo>
                    <a:pt x="19600" y="16504"/>
                    <a:pt x="19630" y="16555"/>
                    <a:pt x="19632" y="16616"/>
                  </a:cubicBezTo>
                  <a:cubicBezTo>
                    <a:pt x="19633" y="16641"/>
                    <a:pt x="19601" y="16666"/>
                    <a:pt x="19605" y="16725"/>
                  </a:cubicBezTo>
                  <a:cubicBezTo>
                    <a:pt x="19606" y="16736"/>
                    <a:pt x="19637" y="16781"/>
                    <a:pt x="19648" y="16823"/>
                  </a:cubicBezTo>
                  <a:cubicBezTo>
                    <a:pt x="19659" y="16867"/>
                    <a:pt x="19669" y="16927"/>
                    <a:pt x="19670" y="16974"/>
                  </a:cubicBezTo>
                  <a:cubicBezTo>
                    <a:pt x="19670" y="17040"/>
                    <a:pt x="19618" y="17251"/>
                    <a:pt x="19719" y="17125"/>
                  </a:cubicBezTo>
                  <a:cubicBezTo>
                    <a:pt x="19808" y="17015"/>
                    <a:pt x="19654" y="16623"/>
                    <a:pt x="19619" y="16480"/>
                  </a:cubicBezTo>
                  <a:cubicBezTo>
                    <a:pt x="19611" y="16467"/>
                    <a:pt x="19606" y="16451"/>
                    <a:pt x="19597" y="16443"/>
                  </a:cubicBezTo>
                  <a:close/>
                  <a:moveTo>
                    <a:pt x="21495" y="17089"/>
                  </a:moveTo>
                  <a:cubicBezTo>
                    <a:pt x="21487" y="17006"/>
                    <a:pt x="21497" y="16947"/>
                    <a:pt x="21491" y="16870"/>
                  </a:cubicBezTo>
                  <a:cubicBezTo>
                    <a:pt x="21485" y="16786"/>
                    <a:pt x="21444" y="16715"/>
                    <a:pt x="21418" y="16631"/>
                  </a:cubicBezTo>
                  <a:cubicBezTo>
                    <a:pt x="21363" y="16450"/>
                    <a:pt x="21349" y="16238"/>
                    <a:pt x="21204" y="16270"/>
                  </a:cubicBezTo>
                  <a:cubicBezTo>
                    <a:pt x="21263" y="16198"/>
                    <a:pt x="21133" y="15731"/>
                    <a:pt x="21099" y="15726"/>
                  </a:cubicBezTo>
                  <a:cubicBezTo>
                    <a:pt x="21127" y="15676"/>
                    <a:pt x="21114" y="15656"/>
                    <a:pt x="21108" y="15601"/>
                  </a:cubicBezTo>
                  <a:cubicBezTo>
                    <a:pt x="21094" y="15484"/>
                    <a:pt x="21073" y="15340"/>
                    <a:pt x="21029" y="15246"/>
                  </a:cubicBezTo>
                  <a:cubicBezTo>
                    <a:pt x="21022" y="15229"/>
                    <a:pt x="21045" y="15192"/>
                    <a:pt x="21020" y="15164"/>
                  </a:cubicBezTo>
                  <a:cubicBezTo>
                    <a:pt x="21005" y="15147"/>
                    <a:pt x="20971" y="15178"/>
                    <a:pt x="20960" y="15162"/>
                  </a:cubicBezTo>
                  <a:cubicBezTo>
                    <a:pt x="20929" y="15118"/>
                    <a:pt x="20936" y="15085"/>
                    <a:pt x="20907" y="15032"/>
                  </a:cubicBezTo>
                  <a:cubicBezTo>
                    <a:pt x="20893" y="15006"/>
                    <a:pt x="20849" y="14931"/>
                    <a:pt x="20826" y="14953"/>
                  </a:cubicBezTo>
                  <a:cubicBezTo>
                    <a:pt x="20769" y="15009"/>
                    <a:pt x="20788" y="14914"/>
                    <a:pt x="20750" y="14881"/>
                  </a:cubicBezTo>
                  <a:cubicBezTo>
                    <a:pt x="20703" y="14840"/>
                    <a:pt x="20711" y="14831"/>
                    <a:pt x="20650" y="14824"/>
                  </a:cubicBezTo>
                  <a:cubicBezTo>
                    <a:pt x="20578" y="14816"/>
                    <a:pt x="20600" y="14796"/>
                    <a:pt x="20602" y="14882"/>
                  </a:cubicBezTo>
                  <a:cubicBezTo>
                    <a:pt x="20605" y="14991"/>
                    <a:pt x="20681" y="15083"/>
                    <a:pt x="20708" y="15174"/>
                  </a:cubicBezTo>
                  <a:cubicBezTo>
                    <a:pt x="20745" y="15295"/>
                    <a:pt x="20732" y="15393"/>
                    <a:pt x="20715" y="15510"/>
                  </a:cubicBezTo>
                  <a:cubicBezTo>
                    <a:pt x="20703" y="15593"/>
                    <a:pt x="20713" y="15744"/>
                    <a:pt x="20694" y="15810"/>
                  </a:cubicBezTo>
                  <a:cubicBezTo>
                    <a:pt x="20687" y="15837"/>
                    <a:pt x="20649" y="15924"/>
                    <a:pt x="20617" y="15897"/>
                  </a:cubicBezTo>
                  <a:cubicBezTo>
                    <a:pt x="20609" y="15891"/>
                    <a:pt x="20610" y="15789"/>
                    <a:pt x="20593" y="15761"/>
                  </a:cubicBezTo>
                  <a:cubicBezTo>
                    <a:pt x="20591" y="15780"/>
                    <a:pt x="20578" y="15818"/>
                    <a:pt x="20577" y="15840"/>
                  </a:cubicBezTo>
                  <a:cubicBezTo>
                    <a:pt x="20571" y="15821"/>
                    <a:pt x="20550" y="15734"/>
                    <a:pt x="20536" y="15726"/>
                  </a:cubicBezTo>
                  <a:cubicBezTo>
                    <a:pt x="20532" y="15724"/>
                    <a:pt x="20454" y="15711"/>
                    <a:pt x="20479" y="15736"/>
                  </a:cubicBezTo>
                  <a:cubicBezTo>
                    <a:pt x="20475" y="15733"/>
                    <a:pt x="20463" y="15782"/>
                    <a:pt x="20448" y="15754"/>
                  </a:cubicBezTo>
                  <a:cubicBezTo>
                    <a:pt x="20439" y="15736"/>
                    <a:pt x="20455" y="15697"/>
                    <a:pt x="20450" y="15685"/>
                  </a:cubicBezTo>
                  <a:cubicBezTo>
                    <a:pt x="20450" y="15684"/>
                    <a:pt x="20468" y="15593"/>
                    <a:pt x="20468" y="15587"/>
                  </a:cubicBezTo>
                  <a:cubicBezTo>
                    <a:pt x="20461" y="15616"/>
                    <a:pt x="20436" y="15665"/>
                    <a:pt x="20427" y="15694"/>
                  </a:cubicBezTo>
                  <a:cubicBezTo>
                    <a:pt x="20429" y="15675"/>
                    <a:pt x="20423" y="15627"/>
                    <a:pt x="20424" y="15608"/>
                  </a:cubicBezTo>
                  <a:cubicBezTo>
                    <a:pt x="20356" y="15725"/>
                    <a:pt x="20410" y="15570"/>
                    <a:pt x="20405" y="15527"/>
                  </a:cubicBezTo>
                  <a:cubicBezTo>
                    <a:pt x="20393" y="15416"/>
                    <a:pt x="20356" y="15435"/>
                    <a:pt x="20330" y="15369"/>
                  </a:cubicBezTo>
                  <a:cubicBezTo>
                    <a:pt x="20299" y="15294"/>
                    <a:pt x="20313" y="15154"/>
                    <a:pt x="20297" y="15053"/>
                  </a:cubicBezTo>
                  <a:cubicBezTo>
                    <a:pt x="20280" y="14935"/>
                    <a:pt x="20237" y="14877"/>
                    <a:pt x="20230" y="14750"/>
                  </a:cubicBezTo>
                  <a:cubicBezTo>
                    <a:pt x="20225" y="14656"/>
                    <a:pt x="20202" y="14584"/>
                    <a:pt x="20195" y="14504"/>
                  </a:cubicBezTo>
                  <a:cubicBezTo>
                    <a:pt x="20186" y="14403"/>
                    <a:pt x="20282" y="14249"/>
                    <a:pt x="20141" y="14267"/>
                  </a:cubicBezTo>
                  <a:cubicBezTo>
                    <a:pt x="20037" y="14280"/>
                    <a:pt x="20113" y="14407"/>
                    <a:pt x="20106" y="14529"/>
                  </a:cubicBezTo>
                  <a:cubicBezTo>
                    <a:pt x="20097" y="14701"/>
                    <a:pt x="20046" y="14633"/>
                    <a:pt x="20001" y="14718"/>
                  </a:cubicBezTo>
                  <a:cubicBezTo>
                    <a:pt x="19989" y="14740"/>
                    <a:pt x="19958" y="14926"/>
                    <a:pt x="19958" y="14973"/>
                  </a:cubicBezTo>
                  <a:cubicBezTo>
                    <a:pt x="19959" y="15053"/>
                    <a:pt x="19997" y="15226"/>
                    <a:pt x="20035" y="15272"/>
                  </a:cubicBezTo>
                  <a:cubicBezTo>
                    <a:pt x="19924" y="15320"/>
                    <a:pt x="20116" y="15832"/>
                    <a:pt x="20158" y="15902"/>
                  </a:cubicBezTo>
                  <a:cubicBezTo>
                    <a:pt x="20050" y="15922"/>
                    <a:pt x="20211" y="16015"/>
                    <a:pt x="20210" y="16072"/>
                  </a:cubicBezTo>
                  <a:cubicBezTo>
                    <a:pt x="20208" y="16142"/>
                    <a:pt x="20122" y="16103"/>
                    <a:pt x="20136" y="16219"/>
                  </a:cubicBezTo>
                  <a:cubicBezTo>
                    <a:pt x="20106" y="16092"/>
                    <a:pt x="20055" y="16178"/>
                    <a:pt x="20024" y="16141"/>
                  </a:cubicBezTo>
                  <a:cubicBezTo>
                    <a:pt x="20010" y="16122"/>
                    <a:pt x="19973" y="15884"/>
                    <a:pt x="19944" y="15972"/>
                  </a:cubicBezTo>
                  <a:cubicBezTo>
                    <a:pt x="19914" y="16061"/>
                    <a:pt x="20025" y="16110"/>
                    <a:pt x="19937" y="16146"/>
                  </a:cubicBezTo>
                  <a:cubicBezTo>
                    <a:pt x="19925" y="16150"/>
                    <a:pt x="19834" y="16098"/>
                    <a:pt x="19817" y="16083"/>
                  </a:cubicBezTo>
                  <a:cubicBezTo>
                    <a:pt x="19786" y="16055"/>
                    <a:pt x="19800" y="16033"/>
                    <a:pt x="19779" y="16013"/>
                  </a:cubicBezTo>
                  <a:cubicBezTo>
                    <a:pt x="19750" y="15984"/>
                    <a:pt x="19582" y="15872"/>
                    <a:pt x="19582" y="15871"/>
                  </a:cubicBezTo>
                  <a:cubicBezTo>
                    <a:pt x="19603" y="15794"/>
                    <a:pt x="19676" y="15881"/>
                    <a:pt x="19709" y="15880"/>
                  </a:cubicBezTo>
                  <a:cubicBezTo>
                    <a:pt x="19772" y="15878"/>
                    <a:pt x="19780" y="15900"/>
                    <a:pt x="19760" y="15767"/>
                  </a:cubicBezTo>
                  <a:cubicBezTo>
                    <a:pt x="19747" y="15681"/>
                    <a:pt x="19724" y="15600"/>
                    <a:pt x="19654" y="15648"/>
                  </a:cubicBezTo>
                  <a:cubicBezTo>
                    <a:pt x="19712" y="15549"/>
                    <a:pt x="19722" y="15545"/>
                    <a:pt x="19698" y="15409"/>
                  </a:cubicBezTo>
                  <a:cubicBezTo>
                    <a:pt x="19685" y="15333"/>
                    <a:pt x="19682" y="15266"/>
                    <a:pt x="19641" y="15208"/>
                  </a:cubicBezTo>
                  <a:cubicBezTo>
                    <a:pt x="19578" y="15354"/>
                    <a:pt x="19547" y="15548"/>
                    <a:pt x="19406" y="15543"/>
                  </a:cubicBezTo>
                  <a:cubicBezTo>
                    <a:pt x="19476" y="15454"/>
                    <a:pt x="19685" y="15112"/>
                    <a:pt x="19480" y="15309"/>
                  </a:cubicBezTo>
                  <a:cubicBezTo>
                    <a:pt x="19412" y="15374"/>
                    <a:pt x="19371" y="15466"/>
                    <a:pt x="19300" y="15371"/>
                  </a:cubicBezTo>
                  <a:cubicBezTo>
                    <a:pt x="19286" y="15350"/>
                    <a:pt x="19175" y="15229"/>
                    <a:pt x="19182" y="15187"/>
                  </a:cubicBezTo>
                  <a:cubicBezTo>
                    <a:pt x="19190" y="15130"/>
                    <a:pt x="19239" y="15163"/>
                    <a:pt x="19257" y="15151"/>
                  </a:cubicBezTo>
                  <a:cubicBezTo>
                    <a:pt x="19267" y="15144"/>
                    <a:pt x="19323" y="15120"/>
                    <a:pt x="19337" y="15113"/>
                  </a:cubicBezTo>
                  <a:cubicBezTo>
                    <a:pt x="19350" y="15106"/>
                    <a:pt x="19416" y="15066"/>
                    <a:pt x="19427" y="15056"/>
                  </a:cubicBezTo>
                  <a:cubicBezTo>
                    <a:pt x="19505" y="14987"/>
                    <a:pt x="19490" y="14969"/>
                    <a:pt x="19511" y="14834"/>
                  </a:cubicBezTo>
                  <a:cubicBezTo>
                    <a:pt x="19525" y="14748"/>
                    <a:pt x="19555" y="14639"/>
                    <a:pt x="19563" y="14563"/>
                  </a:cubicBezTo>
                  <a:cubicBezTo>
                    <a:pt x="19570" y="14495"/>
                    <a:pt x="19613" y="14541"/>
                    <a:pt x="19560" y="14452"/>
                  </a:cubicBezTo>
                  <a:cubicBezTo>
                    <a:pt x="19538" y="14415"/>
                    <a:pt x="19535" y="14343"/>
                    <a:pt x="19520" y="14300"/>
                  </a:cubicBezTo>
                  <a:cubicBezTo>
                    <a:pt x="19537" y="14283"/>
                    <a:pt x="19550" y="14253"/>
                    <a:pt x="19577" y="14234"/>
                  </a:cubicBezTo>
                  <a:cubicBezTo>
                    <a:pt x="19610" y="14211"/>
                    <a:pt x="19647" y="14259"/>
                    <a:pt x="19679" y="14209"/>
                  </a:cubicBezTo>
                  <a:cubicBezTo>
                    <a:pt x="19686" y="14197"/>
                    <a:pt x="19704" y="13970"/>
                    <a:pt x="19701" y="13937"/>
                  </a:cubicBezTo>
                  <a:cubicBezTo>
                    <a:pt x="19695" y="13858"/>
                    <a:pt x="19655" y="13722"/>
                    <a:pt x="19642" y="13658"/>
                  </a:cubicBezTo>
                  <a:cubicBezTo>
                    <a:pt x="19609" y="13507"/>
                    <a:pt x="19536" y="13481"/>
                    <a:pt x="19423" y="13470"/>
                  </a:cubicBezTo>
                  <a:cubicBezTo>
                    <a:pt x="19466" y="13585"/>
                    <a:pt x="19438" y="13691"/>
                    <a:pt x="19442" y="13816"/>
                  </a:cubicBezTo>
                  <a:cubicBezTo>
                    <a:pt x="19444" y="13895"/>
                    <a:pt x="19485" y="13951"/>
                    <a:pt x="19407" y="13943"/>
                  </a:cubicBezTo>
                  <a:cubicBezTo>
                    <a:pt x="19363" y="13939"/>
                    <a:pt x="19347" y="13860"/>
                    <a:pt x="19286" y="13885"/>
                  </a:cubicBezTo>
                  <a:cubicBezTo>
                    <a:pt x="19150" y="13941"/>
                    <a:pt x="19243" y="14050"/>
                    <a:pt x="19278" y="14173"/>
                  </a:cubicBezTo>
                  <a:cubicBezTo>
                    <a:pt x="19302" y="14260"/>
                    <a:pt x="19292" y="14421"/>
                    <a:pt x="19272" y="14515"/>
                  </a:cubicBezTo>
                  <a:cubicBezTo>
                    <a:pt x="19272" y="14446"/>
                    <a:pt x="19251" y="14386"/>
                    <a:pt x="19244" y="14320"/>
                  </a:cubicBezTo>
                  <a:cubicBezTo>
                    <a:pt x="19241" y="14320"/>
                    <a:pt x="19225" y="14349"/>
                    <a:pt x="19222" y="14354"/>
                  </a:cubicBezTo>
                  <a:cubicBezTo>
                    <a:pt x="19213" y="14339"/>
                    <a:pt x="19216" y="14320"/>
                    <a:pt x="19201" y="14315"/>
                  </a:cubicBezTo>
                  <a:cubicBezTo>
                    <a:pt x="19186" y="14380"/>
                    <a:pt x="19224" y="14431"/>
                    <a:pt x="19215" y="14490"/>
                  </a:cubicBezTo>
                  <a:cubicBezTo>
                    <a:pt x="19213" y="14502"/>
                    <a:pt x="19175" y="14570"/>
                    <a:pt x="19167" y="14591"/>
                  </a:cubicBezTo>
                  <a:cubicBezTo>
                    <a:pt x="19154" y="14531"/>
                    <a:pt x="19176" y="14471"/>
                    <a:pt x="19171" y="14410"/>
                  </a:cubicBezTo>
                  <a:cubicBezTo>
                    <a:pt x="19165" y="14343"/>
                    <a:pt x="19141" y="14380"/>
                    <a:pt x="19132" y="14302"/>
                  </a:cubicBezTo>
                  <a:cubicBezTo>
                    <a:pt x="19063" y="14346"/>
                    <a:pt x="19077" y="14504"/>
                    <a:pt x="19083" y="14594"/>
                  </a:cubicBezTo>
                  <a:cubicBezTo>
                    <a:pt x="19086" y="14630"/>
                    <a:pt x="19117" y="14875"/>
                    <a:pt x="19084" y="14851"/>
                  </a:cubicBezTo>
                  <a:cubicBezTo>
                    <a:pt x="19030" y="14809"/>
                    <a:pt x="19078" y="14496"/>
                    <a:pt x="18991" y="14710"/>
                  </a:cubicBezTo>
                  <a:cubicBezTo>
                    <a:pt x="18965" y="14773"/>
                    <a:pt x="18955" y="14892"/>
                    <a:pt x="18933" y="14959"/>
                  </a:cubicBezTo>
                  <a:cubicBezTo>
                    <a:pt x="18928" y="14976"/>
                    <a:pt x="18900" y="14994"/>
                    <a:pt x="18890" y="15015"/>
                  </a:cubicBezTo>
                  <a:cubicBezTo>
                    <a:pt x="18882" y="15035"/>
                    <a:pt x="18901" y="15088"/>
                    <a:pt x="18893" y="15101"/>
                  </a:cubicBezTo>
                  <a:cubicBezTo>
                    <a:pt x="18862" y="15152"/>
                    <a:pt x="18853" y="15142"/>
                    <a:pt x="18851" y="15059"/>
                  </a:cubicBezTo>
                  <a:cubicBezTo>
                    <a:pt x="18847" y="14941"/>
                    <a:pt x="18897" y="14965"/>
                    <a:pt x="18933" y="14882"/>
                  </a:cubicBezTo>
                  <a:cubicBezTo>
                    <a:pt x="18963" y="14811"/>
                    <a:pt x="18953" y="14692"/>
                    <a:pt x="18986" y="14611"/>
                  </a:cubicBezTo>
                  <a:cubicBezTo>
                    <a:pt x="19003" y="14567"/>
                    <a:pt x="19111" y="14402"/>
                    <a:pt x="19002" y="14456"/>
                  </a:cubicBezTo>
                  <a:cubicBezTo>
                    <a:pt x="19014" y="14426"/>
                    <a:pt x="19018" y="14394"/>
                    <a:pt x="19036" y="14364"/>
                  </a:cubicBezTo>
                  <a:cubicBezTo>
                    <a:pt x="18959" y="14395"/>
                    <a:pt x="18877" y="14498"/>
                    <a:pt x="18856" y="14612"/>
                  </a:cubicBezTo>
                  <a:cubicBezTo>
                    <a:pt x="18817" y="14529"/>
                    <a:pt x="18890" y="14408"/>
                    <a:pt x="18913" y="14340"/>
                  </a:cubicBezTo>
                  <a:cubicBezTo>
                    <a:pt x="18937" y="14269"/>
                    <a:pt x="18998" y="14155"/>
                    <a:pt x="19002" y="14069"/>
                  </a:cubicBezTo>
                  <a:cubicBezTo>
                    <a:pt x="19007" y="13943"/>
                    <a:pt x="18978" y="14060"/>
                    <a:pt x="18957" y="14076"/>
                  </a:cubicBezTo>
                  <a:cubicBezTo>
                    <a:pt x="18945" y="14087"/>
                    <a:pt x="18954" y="14142"/>
                    <a:pt x="18940" y="14155"/>
                  </a:cubicBezTo>
                  <a:cubicBezTo>
                    <a:pt x="18911" y="14182"/>
                    <a:pt x="18924" y="14114"/>
                    <a:pt x="18915" y="14117"/>
                  </a:cubicBezTo>
                  <a:cubicBezTo>
                    <a:pt x="18901" y="14123"/>
                    <a:pt x="18865" y="14103"/>
                    <a:pt x="18848" y="14109"/>
                  </a:cubicBezTo>
                  <a:cubicBezTo>
                    <a:pt x="18832" y="14114"/>
                    <a:pt x="18818" y="14161"/>
                    <a:pt x="18813" y="14162"/>
                  </a:cubicBezTo>
                  <a:cubicBezTo>
                    <a:pt x="18785" y="14166"/>
                    <a:pt x="18771" y="14234"/>
                    <a:pt x="18752" y="14125"/>
                  </a:cubicBezTo>
                  <a:cubicBezTo>
                    <a:pt x="18751" y="14167"/>
                    <a:pt x="18720" y="14324"/>
                    <a:pt x="18753" y="14339"/>
                  </a:cubicBezTo>
                  <a:cubicBezTo>
                    <a:pt x="18790" y="14357"/>
                    <a:pt x="18830" y="14245"/>
                    <a:pt x="18840" y="14207"/>
                  </a:cubicBezTo>
                  <a:cubicBezTo>
                    <a:pt x="18840" y="14281"/>
                    <a:pt x="18828" y="14372"/>
                    <a:pt x="18793" y="14431"/>
                  </a:cubicBezTo>
                  <a:cubicBezTo>
                    <a:pt x="18815" y="14325"/>
                    <a:pt x="18751" y="14428"/>
                    <a:pt x="18724" y="14344"/>
                  </a:cubicBezTo>
                  <a:cubicBezTo>
                    <a:pt x="18698" y="14267"/>
                    <a:pt x="18645" y="14274"/>
                    <a:pt x="18605" y="14311"/>
                  </a:cubicBezTo>
                  <a:cubicBezTo>
                    <a:pt x="18621" y="14194"/>
                    <a:pt x="18750" y="14244"/>
                    <a:pt x="18707" y="14090"/>
                  </a:cubicBezTo>
                  <a:cubicBezTo>
                    <a:pt x="18653" y="14230"/>
                    <a:pt x="18685" y="14045"/>
                    <a:pt x="18684" y="14042"/>
                  </a:cubicBezTo>
                  <a:cubicBezTo>
                    <a:pt x="18673" y="13993"/>
                    <a:pt x="18729" y="13930"/>
                    <a:pt x="18638" y="13983"/>
                  </a:cubicBezTo>
                  <a:cubicBezTo>
                    <a:pt x="18531" y="14045"/>
                    <a:pt x="18612" y="14156"/>
                    <a:pt x="18592" y="14251"/>
                  </a:cubicBezTo>
                  <a:cubicBezTo>
                    <a:pt x="18564" y="14088"/>
                    <a:pt x="18504" y="14233"/>
                    <a:pt x="18474" y="14311"/>
                  </a:cubicBezTo>
                  <a:cubicBezTo>
                    <a:pt x="18439" y="14400"/>
                    <a:pt x="18402" y="14486"/>
                    <a:pt x="18421" y="14318"/>
                  </a:cubicBezTo>
                  <a:cubicBezTo>
                    <a:pt x="18430" y="14240"/>
                    <a:pt x="18495" y="14208"/>
                    <a:pt x="18517" y="14130"/>
                  </a:cubicBezTo>
                  <a:cubicBezTo>
                    <a:pt x="18534" y="14064"/>
                    <a:pt x="18524" y="13990"/>
                    <a:pt x="18556" y="13907"/>
                  </a:cubicBezTo>
                  <a:cubicBezTo>
                    <a:pt x="18541" y="13933"/>
                    <a:pt x="18508" y="13968"/>
                    <a:pt x="18494" y="13995"/>
                  </a:cubicBezTo>
                  <a:cubicBezTo>
                    <a:pt x="18481" y="13879"/>
                    <a:pt x="18571" y="13887"/>
                    <a:pt x="18574" y="13795"/>
                  </a:cubicBezTo>
                  <a:cubicBezTo>
                    <a:pt x="18579" y="13658"/>
                    <a:pt x="18460" y="13836"/>
                    <a:pt x="18476" y="13704"/>
                  </a:cubicBezTo>
                  <a:cubicBezTo>
                    <a:pt x="18477" y="13696"/>
                    <a:pt x="18585" y="13621"/>
                    <a:pt x="18566" y="13549"/>
                  </a:cubicBezTo>
                  <a:cubicBezTo>
                    <a:pt x="18556" y="13512"/>
                    <a:pt x="18494" y="13606"/>
                    <a:pt x="18465" y="13599"/>
                  </a:cubicBezTo>
                  <a:cubicBezTo>
                    <a:pt x="18522" y="13551"/>
                    <a:pt x="18715" y="13302"/>
                    <a:pt x="18596" y="13228"/>
                  </a:cubicBezTo>
                  <a:cubicBezTo>
                    <a:pt x="18532" y="13187"/>
                    <a:pt x="18572" y="13156"/>
                    <a:pt x="18576" y="13056"/>
                  </a:cubicBezTo>
                  <a:cubicBezTo>
                    <a:pt x="18576" y="13062"/>
                    <a:pt x="18559" y="12840"/>
                    <a:pt x="18562" y="12846"/>
                  </a:cubicBezTo>
                  <a:cubicBezTo>
                    <a:pt x="18531" y="12768"/>
                    <a:pt x="18406" y="12827"/>
                    <a:pt x="18347" y="12828"/>
                  </a:cubicBezTo>
                  <a:cubicBezTo>
                    <a:pt x="18294" y="12829"/>
                    <a:pt x="18223" y="12809"/>
                    <a:pt x="18164" y="12829"/>
                  </a:cubicBezTo>
                  <a:cubicBezTo>
                    <a:pt x="18133" y="12840"/>
                    <a:pt x="18110" y="12877"/>
                    <a:pt x="18079" y="12887"/>
                  </a:cubicBezTo>
                  <a:cubicBezTo>
                    <a:pt x="18049" y="12897"/>
                    <a:pt x="18012" y="12872"/>
                    <a:pt x="17983" y="12891"/>
                  </a:cubicBezTo>
                  <a:cubicBezTo>
                    <a:pt x="17929" y="12926"/>
                    <a:pt x="17929" y="12969"/>
                    <a:pt x="17894" y="13033"/>
                  </a:cubicBezTo>
                  <a:cubicBezTo>
                    <a:pt x="17922" y="12868"/>
                    <a:pt x="17795" y="13002"/>
                    <a:pt x="17792" y="13084"/>
                  </a:cubicBezTo>
                  <a:cubicBezTo>
                    <a:pt x="17789" y="13151"/>
                    <a:pt x="17828" y="13187"/>
                    <a:pt x="17830" y="13249"/>
                  </a:cubicBezTo>
                  <a:cubicBezTo>
                    <a:pt x="17833" y="13323"/>
                    <a:pt x="17765" y="13248"/>
                    <a:pt x="17799" y="13348"/>
                  </a:cubicBezTo>
                  <a:cubicBezTo>
                    <a:pt x="17790" y="13325"/>
                    <a:pt x="17761" y="13283"/>
                    <a:pt x="17752" y="13257"/>
                  </a:cubicBezTo>
                  <a:cubicBezTo>
                    <a:pt x="17722" y="13396"/>
                    <a:pt x="17596" y="13285"/>
                    <a:pt x="17640" y="13504"/>
                  </a:cubicBezTo>
                  <a:cubicBezTo>
                    <a:pt x="17652" y="13566"/>
                    <a:pt x="17673" y="13595"/>
                    <a:pt x="17681" y="13648"/>
                  </a:cubicBezTo>
                  <a:cubicBezTo>
                    <a:pt x="17686" y="13684"/>
                    <a:pt x="17679" y="13755"/>
                    <a:pt x="17686" y="13789"/>
                  </a:cubicBezTo>
                  <a:cubicBezTo>
                    <a:pt x="17639" y="13686"/>
                    <a:pt x="17605" y="13572"/>
                    <a:pt x="17564" y="13478"/>
                  </a:cubicBezTo>
                  <a:cubicBezTo>
                    <a:pt x="17525" y="13390"/>
                    <a:pt x="17494" y="13310"/>
                    <a:pt x="17469" y="13473"/>
                  </a:cubicBezTo>
                  <a:cubicBezTo>
                    <a:pt x="17455" y="13393"/>
                    <a:pt x="17420" y="13326"/>
                    <a:pt x="17448" y="13245"/>
                  </a:cubicBezTo>
                  <a:cubicBezTo>
                    <a:pt x="17329" y="13350"/>
                    <a:pt x="17400" y="13533"/>
                    <a:pt x="17407" y="13689"/>
                  </a:cubicBezTo>
                  <a:cubicBezTo>
                    <a:pt x="17411" y="13771"/>
                    <a:pt x="17416" y="13854"/>
                    <a:pt x="17418" y="13930"/>
                  </a:cubicBezTo>
                  <a:cubicBezTo>
                    <a:pt x="17419" y="13956"/>
                    <a:pt x="17377" y="13926"/>
                    <a:pt x="17378" y="13945"/>
                  </a:cubicBezTo>
                  <a:cubicBezTo>
                    <a:pt x="17378" y="13960"/>
                    <a:pt x="17407" y="13990"/>
                    <a:pt x="17406" y="13996"/>
                  </a:cubicBezTo>
                  <a:cubicBezTo>
                    <a:pt x="17399" y="14023"/>
                    <a:pt x="17413" y="14070"/>
                    <a:pt x="17401" y="14106"/>
                  </a:cubicBezTo>
                  <a:cubicBezTo>
                    <a:pt x="17378" y="14077"/>
                    <a:pt x="17254" y="13817"/>
                    <a:pt x="17244" y="13912"/>
                  </a:cubicBezTo>
                  <a:cubicBezTo>
                    <a:pt x="17231" y="14025"/>
                    <a:pt x="17324" y="14008"/>
                    <a:pt x="17332" y="14101"/>
                  </a:cubicBezTo>
                  <a:cubicBezTo>
                    <a:pt x="17342" y="14200"/>
                    <a:pt x="17283" y="14152"/>
                    <a:pt x="17263" y="14223"/>
                  </a:cubicBezTo>
                  <a:cubicBezTo>
                    <a:pt x="17257" y="14243"/>
                    <a:pt x="17280" y="14360"/>
                    <a:pt x="17272" y="14399"/>
                  </a:cubicBezTo>
                  <a:cubicBezTo>
                    <a:pt x="17250" y="14211"/>
                    <a:pt x="17208" y="14228"/>
                    <a:pt x="17108" y="14194"/>
                  </a:cubicBezTo>
                  <a:cubicBezTo>
                    <a:pt x="17164" y="14320"/>
                    <a:pt x="17160" y="14306"/>
                    <a:pt x="17145" y="14431"/>
                  </a:cubicBezTo>
                  <a:cubicBezTo>
                    <a:pt x="17137" y="14498"/>
                    <a:pt x="17105" y="14570"/>
                    <a:pt x="17105" y="14641"/>
                  </a:cubicBezTo>
                  <a:cubicBezTo>
                    <a:pt x="17105" y="14668"/>
                    <a:pt x="17114" y="14783"/>
                    <a:pt x="17155" y="14810"/>
                  </a:cubicBezTo>
                  <a:cubicBezTo>
                    <a:pt x="17211" y="14846"/>
                    <a:pt x="17206" y="14826"/>
                    <a:pt x="17242" y="14741"/>
                  </a:cubicBezTo>
                  <a:cubicBezTo>
                    <a:pt x="17239" y="14872"/>
                    <a:pt x="17185" y="14953"/>
                    <a:pt x="17165" y="15073"/>
                  </a:cubicBezTo>
                  <a:cubicBezTo>
                    <a:pt x="17161" y="14977"/>
                    <a:pt x="17186" y="14931"/>
                    <a:pt x="17126" y="14878"/>
                  </a:cubicBezTo>
                  <a:cubicBezTo>
                    <a:pt x="17072" y="14831"/>
                    <a:pt x="17060" y="14837"/>
                    <a:pt x="17054" y="14726"/>
                  </a:cubicBezTo>
                  <a:cubicBezTo>
                    <a:pt x="17050" y="14658"/>
                    <a:pt x="17084" y="14600"/>
                    <a:pt x="17080" y="14538"/>
                  </a:cubicBezTo>
                  <a:cubicBezTo>
                    <a:pt x="17074" y="14429"/>
                    <a:pt x="16984" y="14342"/>
                    <a:pt x="16959" y="14238"/>
                  </a:cubicBezTo>
                  <a:cubicBezTo>
                    <a:pt x="17115" y="14183"/>
                    <a:pt x="16749" y="13733"/>
                    <a:pt x="16837" y="14038"/>
                  </a:cubicBezTo>
                  <a:cubicBezTo>
                    <a:pt x="16802" y="14001"/>
                    <a:pt x="16738" y="14019"/>
                    <a:pt x="16755" y="14092"/>
                  </a:cubicBezTo>
                  <a:cubicBezTo>
                    <a:pt x="16760" y="14111"/>
                    <a:pt x="16852" y="14194"/>
                    <a:pt x="16867" y="14216"/>
                  </a:cubicBezTo>
                  <a:cubicBezTo>
                    <a:pt x="16908" y="14280"/>
                    <a:pt x="16931" y="14268"/>
                    <a:pt x="16955" y="14358"/>
                  </a:cubicBezTo>
                  <a:cubicBezTo>
                    <a:pt x="16966" y="14403"/>
                    <a:pt x="16919" y="14429"/>
                    <a:pt x="16953" y="14498"/>
                  </a:cubicBezTo>
                  <a:cubicBezTo>
                    <a:pt x="16886" y="14472"/>
                    <a:pt x="16913" y="14406"/>
                    <a:pt x="16895" y="14336"/>
                  </a:cubicBezTo>
                  <a:cubicBezTo>
                    <a:pt x="16899" y="14333"/>
                    <a:pt x="16851" y="14370"/>
                    <a:pt x="16856" y="14366"/>
                  </a:cubicBezTo>
                  <a:cubicBezTo>
                    <a:pt x="16859" y="14413"/>
                    <a:pt x="16873" y="14468"/>
                    <a:pt x="16883" y="14518"/>
                  </a:cubicBezTo>
                  <a:cubicBezTo>
                    <a:pt x="16849" y="14474"/>
                    <a:pt x="16819" y="14465"/>
                    <a:pt x="16810" y="14534"/>
                  </a:cubicBezTo>
                  <a:cubicBezTo>
                    <a:pt x="16809" y="14483"/>
                    <a:pt x="16835" y="14332"/>
                    <a:pt x="16815" y="14285"/>
                  </a:cubicBezTo>
                  <a:cubicBezTo>
                    <a:pt x="16784" y="14210"/>
                    <a:pt x="16773" y="14360"/>
                    <a:pt x="16748" y="14398"/>
                  </a:cubicBezTo>
                  <a:cubicBezTo>
                    <a:pt x="16743" y="14340"/>
                    <a:pt x="16770" y="14168"/>
                    <a:pt x="16709" y="14213"/>
                  </a:cubicBezTo>
                  <a:cubicBezTo>
                    <a:pt x="16644" y="14260"/>
                    <a:pt x="16716" y="14365"/>
                    <a:pt x="16656" y="14365"/>
                  </a:cubicBezTo>
                  <a:cubicBezTo>
                    <a:pt x="16665" y="14441"/>
                    <a:pt x="16703" y="14566"/>
                    <a:pt x="16691" y="14644"/>
                  </a:cubicBezTo>
                  <a:cubicBezTo>
                    <a:pt x="16667" y="14597"/>
                    <a:pt x="16620" y="14371"/>
                    <a:pt x="16586" y="14406"/>
                  </a:cubicBezTo>
                  <a:cubicBezTo>
                    <a:pt x="16556" y="14435"/>
                    <a:pt x="16588" y="14579"/>
                    <a:pt x="16584" y="14619"/>
                  </a:cubicBezTo>
                  <a:cubicBezTo>
                    <a:pt x="16577" y="14686"/>
                    <a:pt x="16580" y="14762"/>
                    <a:pt x="16514" y="14630"/>
                  </a:cubicBezTo>
                  <a:cubicBezTo>
                    <a:pt x="16483" y="14568"/>
                    <a:pt x="16462" y="14631"/>
                    <a:pt x="16437" y="14693"/>
                  </a:cubicBezTo>
                  <a:cubicBezTo>
                    <a:pt x="16438" y="14638"/>
                    <a:pt x="16430" y="14644"/>
                    <a:pt x="16449" y="14594"/>
                  </a:cubicBezTo>
                  <a:cubicBezTo>
                    <a:pt x="16347" y="14624"/>
                    <a:pt x="16314" y="14574"/>
                    <a:pt x="16250" y="14740"/>
                  </a:cubicBezTo>
                  <a:cubicBezTo>
                    <a:pt x="16210" y="14843"/>
                    <a:pt x="16214" y="14957"/>
                    <a:pt x="16173" y="15054"/>
                  </a:cubicBezTo>
                  <a:cubicBezTo>
                    <a:pt x="16137" y="14874"/>
                    <a:pt x="16197" y="14833"/>
                    <a:pt x="16220" y="14683"/>
                  </a:cubicBezTo>
                  <a:cubicBezTo>
                    <a:pt x="16225" y="14651"/>
                    <a:pt x="16225" y="14585"/>
                    <a:pt x="16216" y="14555"/>
                  </a:cubicBezTo>
                  <a:cubicBezTo>
                    <a:pt x="16203" y="14507"/>
                    <a:pt x="16164" y="14572"/>
                    <a:pt x="16156" y="14544"/>
                  </a:cubicBezTo>
                  <a:cubicBezTo>
                    <a:pt x="16140" y="14487"/>
                    <a:pt x="16158" y="14363"/>
                    <a:pt x="16149" y="14298"/>
                  </a:cubicBezTo>
                  <a:cubicBezTo>
                    <a:pt x="16112" y="14322"/>
                    <a:pt x="16085" y="14359"/>
                    <a:pt x="16071" y="14415"/>
                  </a:cubicBezTo>
                  <a:cubicBezTo>
                    <a:pt x="16076" y="14388"/>
                    <a:pt x="16077" y="14330"/>
                    <a:pt x="16081" y="14305"/>
                  </a:cubicBezTo>
                  <a:cubicBezTo>
                    <a:pt x="15988" y="14420"/>
                    <a:pt x="15983" y="14648"/>
                    <a:pt x="15991" y="14806"/>
                  </a:cubicBezTo>
                  <a:cubicBezTo>
                    <a:pt x="15928" y="14756"/>
                    <a:pt x="15966" y="14484"/>
                    <a:pt x="15979" y="14388"/>
                  </a:cubicBezTo>
                  <a:cubicBezTo>
                    <a:pt x="16004" y="14207"/>
                    <a:pt x="16085" y="14016"/>
                    <a:pt x="16131" y="13833"/>
                  </a:cubicBezTo>
                  <a:cubicBezTo>
                    <a:pt x="16148" y="13765"/>
                    <a:pt x="16201" y="13608"/>
                    <a:pt x="16205" y="13547"/>
                  </a:cubicBezTo>
                  <a:cubicBezTo>
                    <a:pt x="16209" y="13479"/>
                    <a:pt x="16169" y="13325"/>
                    <a:pt x="16113" y="13371"/>
                  </a:cubicBezTo>
                  <a:cubicBezTo>
                    <a:pt x="16089" y="13390"/>
                    <a:pt x="16109" y="13441"/>
                    <a:pt x="16095" y="13464"/>
                  </a:cubicBezTo>
                  <a:cubicBezTo>
                    <a:pt x="16087" y="13478"/>
                    <a:pt x="16031" y="13560"/>
                    <a:pt x="16029" y="13566"/>
                  </a:cubicBezTo>
                  <a:cubicBezTo>
                    <a:pt x="15987" y="13684"/>
                    <a:pt x="16032" y="13722"/>
                    <a:pt x="15938" y="13732"/>
                  </a:cubicBezTo>
                  <a:cubicBezTo>
                    <a:pt x="15882" y="13738"/>
                    <a:pt x="15821" y="13666"/>
                    <a:pt x="15766" y="13688"/>
                  </a:cubicBezTo>
                  <a:cubicBezTo>
                    <a:pt x="15667" y="13728"/>
                    <a:pt x="15763" y="13827"/>
                    <a:pt x="15724" y="13922"/>
                  </a:cubicBezTo>
                  <a:cubicBezTo>
                    <a:pt x="15715" y="13790"/>
                    <a:pt x="15666" y="13799"/>
                    <a:pt x="15647" y="13918"/>
                  </a:cubicBezTo>
                  <a:cubicBezTo>
                    <a:pt x="15633" y="13998"/>
                    <a:pt x="15671" y="14073"/>
                    <a:pt x="15642" y="14151"/>
                  </a:cubicBezTo>
                  <a:cubicBezTo>
                    <a:pt x="15628" y="14058"/>
                    <a:pt x="15624" y="13817"/>
                    <a:pt x="15569" y="13746"/>
                  </a:cubicBezTo>
                  <a:cubicBezTo>
                    <a:pt x="15498" y="13655"/>
                    <a:pt x="15449" y="13661"/>
                    <a:pt x="15427" y="13786"/>
                  </a:cubicBezTo>
                  <a:cubicBezTo>
                    <a:pt x="15403" y="13914"/>
                    <a:pt x="15400" y="14317"/>
                    <a:pt x="15501" y="14372"/>
                  </a:cubicBezTo>
                  <a:cubicBezTo>
                    <a:pt x="15417" y="14402"/>
                    <a:pt x="15484" y="14490"/>
                    <a:pt x="15512" y="14544"/>
                  </a:cubicBezTo>
                  <a:cubicBezTo>
                    <a:pt x="15373" y="14395"/>
                    <a:pt x="15402" y="14751"/>
                    <a:pt x="15408" y="14899"/>
                  </a:cubicBezTo>
                  <a:cubicBezTo>
                    <a:pt x="15416" y="15095"/>
                    <a:pt x="15446" y="15299"/>
                    <a:pt x="15444" y="15499"/>
                  </a:cubicBezTo>
                  <a:cubicBezTo>
                    <a:pt x="15409" y="15407"/>
                    <a:pt x="15387" y="15123"/>
                    <a:pt x="15312" y="15101"/>
                  </a:cubicBezTo>
                  <a:cubicBezTo>
                    <a:pt x="15229" y="15076"/>
                    <a:pt x="15216" y="15269"/>
                    <a:pt x="15218" y="15064"/>
                  </a:cubicBezTo>
                  <a:cubicBezTo>
                    <a:pt x="15220" y="14933"/>
                    <a:pt x="15223" y="14891"/>
                    <a:pt x="15198" y="14752"/>
                  </a:cubicBezTo>
                  <a:cubicBezTo>
                    <a:pt x="15180" y="14645"/>
                    <a:pt x="15129" y="14543"/>
                    <a:pt x="15142" y="14719"/>
                  </a:cubicBezTo>
                  <a:cubicBezTo>
                    <a:pt x="15094" y="14603"/>
                    <a:pt x="15106" y="14241"/>
                    <a:pt x="15042" y="14222"/>
                  </a:cubicBezTo>
                  <a:cubicBezTo>
                    <a:pt x="15145" y="14097"/>
                    <a:pt x="15070" y="13447"/>
                    <a:pt x="14937" y="13579"/>
                  </a:cubicBezTo>
                  <a:cubicBezTo>
                    <a:pt x="14955" y="13518"/>
                    <a:pt x="14997" y="13548"/>
                    <a:pt x="15005" y="13522"/>
                  </a:cubicBezTo>
                  <a:cubicBezTo>
                    <a:pt x="15023" y="13466"/>
                    <a:pt x="15008" y="13388"/>
                    <a:pt x="15008" y="13328"/>
                  </a:cubicBezTo>
                  <a:cubicBezTo>
                    <a:pt x="15009" y="13245"/>
                    <a:pt x="15035" y="13094"/>
                    <a:pt x="14947" y="13147"/>
                  </a:cubicBezTo>
                  <a:cubicBezTo>
                    <a:pt x="15018" y="13077"/>
                    <a:pt x="14993" y="12914"/>
                    <a:pt x="14981" y="12794"/>
                  </a:cubicBezTo>
                  <a:cubicBezTo>
                    <a:pt x="14967" y="12655"/>
                    <a:pt x="14959" y="12703"/>
                    <a:pt x="14892" y="12627"/>
                  </a:cubicBezTo>
                  <a:cubicBezTo>
                    <a:pt x="14828" y="12555"/>
                    <a:pt x="14707" y="12313"/>
                    <a:pt x="14755" y="12243"/>
                  </a:cubicBezTo>
                  <a:cubicBezTo>
                    <a:pt x="14772" y="12317"/>
                    <a:pt x="14853" y="12565"/>
                    <a:pt x="14904" y="12493"/>
                  </a:cubicBezTo>
                  <a:cubicBezTo>
                    <a:pt x="14910" y="12513"/>
                    <a:pt x="14931" y="12546"/>
                    <a:pt x="14935" y="12558"/>
                  </a:cubicBezTo>
                  <a:cubicBezTo>
                    <a:pt x="14946" y="12430"/>
                    <a:pt x="14932" y="12302"/>
                    <a:pt x="14924" y="12175"/>
                  </a:cubicBezTo>
                  <a:cubicBezTo>
                    <a:pt x="14919" y="12106"/>
                    <a:pt x="14902" y="11993"/>
                    <a:pt x="14959" y="12069"/>
                  </a:cubicBezTo>
                  <a:cubicBezTo>
                    <a:pt x="14935" y="12018"/>
                    <a:pt x="14886" y="11925"/>
                    <a:pt x="14947" y="11925"/>
                  </a:cubicBezTo>
                  <a:cubicBezTo>
                    <a:pt x="14924" y="11860"/>
                    <a:pt x="14886" y="11797"/>
                    <a:pt x="14873" y="11717"/>
                  </a:cubicBezTo>
                  <a:cubicBezTo>
                    <a:pt x="14870" y="11700"/>
                    <a:pt x="14844" y="11668"/>
                    <a:pt x="14844" y="11658"/>
                  </a:cubicBezTo>
                  <a:cubicBezTo>
                    <a:pt x="14842" y="11634"/>
                    <a:pt x="14872" y="11632"/>
                    <a:pt x="14871" y="11625"/>
                  </a:cubicBezTo>
                  <a:cubicBezTo>
                    <a:pt x="14860" y="11539"/>
                    <a:pt x="14828" y="11398"/>
                    <a:pt x="14783" y="11339"/>
                  </a:cubicBezTo>
                  <a:cubicBezTo>
                    <a:pt x="14688" y="11216"/>
                    <a:pt x="14541" y="11511"/>
                    <a:pt x="14625" y="11578"/>
                  </a:cubicBezTo>
                  <a:cubicBezTo>
                    <a:pt x="14605" y="11591"/>
                    <a:pt x="14500" y="11575"/>
                    <a:pt x="14484" y="11556"/>
                  </a:cubicBezTo>
                  <a:cubicBezTo>
                    <a:pt x="14453" y="11520"/>
                    <a:pt x="14458" y="11481"/>
                    <a:pt x="14440" y="11400"/>
                  </a:cubicBezTo>
                  <a:cubicBezTo>
                    <a:pt x="14426" y="11336"/>
                    <a:pt x="14406" y="11413"/>
                    <a:pt x="14385" y="11393"/>
                  </a:cubicBezTo>
                  <a:cubicBezTo>
                    <a:pt x="14328" y="11337"/>
                    <a:pt x="14306" y="11364"/>
                    <a:pt x="14377" y="11258"/>
                  </a:cubicBezTo>
                  <a:cubicBezTo>
                    <a:pt x="14408" y="11213"/>
                    <a:pt x="14473" y="11222"/>
                    <a:pt x="14504" y="11181"/>
                  </a:cubicBezTo>
                  <a:cubicBezTo>
                    <a:pt x="14565" y="11103"/>
                    <a:pt x="14570" y="11077"/>
                    <a:pt x="14649" y="11044"/>
                  </a:cubicBezTo>
                  <a:cubicBezTo>
                    <a:pt x="14652" y="11042"/>
                    <a:pt x="14731" y="11004"/>
                    <a:pt x="14727" y="11011"/>
                  </a:cubicBezTo>
                  <a:cubicBezTo>
                    <a:pt x="14770" y="10950"/>
                    <a:pt x="14725" y="11008"/>
                    <a:pt x="14725" y="10920"/>
                  </a:cubicBezTo>
                  <a:cubicBezTo>
                    <a:pt x="14725" y="10907"/>
                    <a:pt x="14753" y="10900"/>
                    <a:pt x="14753" y="10876"/>
                  </a:cubicBezTo>
                  <a:cubicBezTo>
                    <a:pt x="14753" y="10853"/>
                    <a:pt x="14710" y="10852"/>
                    <a:pt x="14717" y="10822"/>
                  </a:cubicBezTo>
                  <a:cubicBezTo>
                    <a:pt x="14725" y="10788"/>
                    <a:pt x="14777" y="10809"/>
                    <a:pt x="14776" y="10789"/>
                  </a:cubicBezTo>
                  <a:cubicBezTo>
                    <a:pt x="14772" y="10700"/>
                    <a:pt x="14704" y="10534"/>
                    <a:pt x="14636" y="10551"/>
                  </a:cubicBezTo>
                  <a:cubicBezTo>
                    <a:pt x="14682" y="10494"/>
                    <a:pt x="14684" y="10432"/>
                    <a:pt x="14622" y="10387"/>
                  </a:cubicBezTo>
                  <a:cubicBezTo>
                    <a:pt x="14665" y="10370"/>
                    <a:pt x="14652" y="10346"/>
                    <a:pt x="14650" y="10292"/>
                  </a:cubicBezTo>
                  <a:cubicBezTo>
                    <a:pt x="14623" y="10309"/>
                    <a:pt x="14604" y="10304"/>
                    <a:pt x="14597" y="10330"/>
                  </a:cubicBezTo>
                  <a:lnTo>
                    <a:pt x="14450" y="10437"/>
                  </a:lnTo>
                  <a:cubicBezTo>
                    <a:pt x="14420" y="10488"/>
                    <a:pt x="14423" y="10561"/>
                    <a:pt x="14423" y="10618"/>
                  </a:cubicBezTo>
                  <a:cubicBezTo>
                    <a:pt x="14414" y="10612"/>
                    <a:pt x="14401" y="10598"/>
                    <a:pt x="14394" y="10592"/>
                  </a:cubicBezTo>
                  <a:cubicBezTo>
                    <a:pt x="14439" y="10646"/>
                    <a:pt x="14522" y="10710"/>
                    <a:pt x="14580" y="10673"/>
                  </a:cubicBezTo>
                  <a:cubicBezTo>
                    <a:pt x="14553" y="10730"/>
                    <a:pt x="14465" y="10768"/>
                    <a:pt x="14420" y="10801"/>
                  </a:cubicBezTo>
                  <a:cubicBezTo>
                    <a:pt x="14368" y="10841"/>
                    <a:pt x="14335" y="10927"/>
                    <a:pt x="14329" y="10760"/>
                  </a:cubicBezTo>
                  <a:cubicBezTo>
                    <a:pt x="14272" y="10820"/>
                    <a:pt x="14276" y="10667"/>
                    <a:pt x="14274" y="10605"/>
                  </a:cubicBezTo>
                  <a:cubicBezTo>
                    <a:pt x="14211" y="10693"/>
                    <a:pt x="14209" y="10665"/>
                    <a:pt x="14184" y="10825"/>
                  </a:cubicBezTo>
                  <a:cubicBezTo>
                    <a:pt x="14170" y="10918"/>
                    <a:pt x="14141" y="10998"/>
                    <a:pt x="14118" y="11082"/>
                  </a:cubicBezTo>
                  <a:cubicBezTo>
                    <a:pt x="14067" y="11264"/>
                    <a:pt x="14016" y="11440"/>
                    <a:pt x="13950" y="11600"/>
                  </a:cubicBezTo>
                  <a:cubicBezTo>
                    <a:pt x="13881" y="11765"/>
                    <a:pt x="13822" y="12004"/>
                    <a:pt x="13869" y="12192"/>
                  </a:cubicBezTo>
                  <a:cubicBezTo>
                    <a:pt x="13876" y="12218"/>
                    <a:pt x="13919" y="12191"/>
                    <a:pt x="13928" y="12221"/>
                  </a:cubicBezTo>
                  <a:cubicBezTo>
                    <a:pt x="13934" y="12242"/>
                    <a:pt x="13904" y="12267"/>
                    <a:pt x="13909" y="12280"/>
                  </a:cubicBezTo>
                  <a:cubicBezTo>
                    <a:pt x="13933" y="12338"/>
                    <a:pt x="13944" y="12389"/>
                    <a:pt x="13953" y="12447"/>
                  </a:cubicBezTo>
                  <a:cubicBezTo>
                    <a:pt x="13965" y="12519"/>
                    <a:pt x="13967" y="12664"/>
                    <a:pt x="13908" y="12718"/>
                  </a:cubicBezTo>
                  <a:cubicBezTo>
                    <a:pt x="13961" y="12686"/>
                    <a:pt x="14015" y="12731"/>
                    <a:pt x="13971" y="12816"/>
                  </a:cubicBezTo>
                  <a:cubicBezTo>
                    <a:pt x="13931" y="12891"/>
                    <a:pt x="13888" y="12791"/>
                    <a:pt x="13845" y="12874"/>
                  </a:cubicBezTo>
                  <a:cubicBezTo>
                    <a:pt x="13892" y="12877"/>
                    <a:pt x="13949" y="12938"/>
                    <a:pt x="13983" y="12878"/>
                  </a:cubicBezTo>
                  <a:cubicBezTo>
                    <a:pt x="13976" y="13009"/>
                    <a:pt x="14035" y="12892"/>
                    <a:pt x="14057" y="12938"/>
                  </a:cubicBezTo>
                  <a:cubicBezTo>
                    <a:pt x="14052" y="12928"/>
                    <a:pt x="14064" y="13100"/>
                    <a:pt x="14064" y="13113"/>
                  </a:cubicBezTo>
                  <a:cubicBezTo>
                    <a:pt x="14068" y="13229"/>
                    <a:pt x="14063" y="13350"/>
                    <a:pt x="14035" y="13458"/>
                  </a:cubicBezTo>
                  <a:cubicBezTo>
                    <a:pt x="14013" y="13541"/>
                    <a:pt x="13908" y="13658"/>
                    <a:pt x="13897" y="13714"/>
                  </a:cubicBezTo>
                  <a:cubicBezTo>
                    <a:pt x="13883" y="13780"/>
                    <a:pt x="14028" y="13802"/>
                    <a:pt x="14067" y="13765"/>
                  </a:cubicBezTo>
                  <a:cubicBezTo>
                    <a:pt x="14067" y="13915"/>
                    <a:pt x="14127" y="13704"/>
                    <a:pt x="14151" y="13714"/>
                  </a:cubicBezTo>
                  <a:cubicBezTo>
                    <a:pt x="14228" y="13743"/>
                    <a:pt x="14086" y="13847"/>
                    <a:pt x="14081" y="13853"/>
                  </a:cubicBezTo>
                  <a:cubicBezTo>
                    <a:pt x="13994" y="13956"/>
                    <a:pt x="14031" y="13946"/>
                    <a:pt x="14052" y="14105"/>
                  </a:cubicBezTo>
                  <a:cubicBezTo>
                    <a:pt x="14067" y="14219"/>
                    <a:pt x="14061" y="14333"/>
                    <a:pt x="14083" y="14449"/>
                  </a:cubicBezTo>
                  <a:cubicBezTo>
                    <a:pt x="14128" y="14693"/>
                    <a:pt x="14197" y="14927"/>
                    <a:pt x="14235" y="15177"/>
                  </a:cubicBezTo>
                  <a:cubicBezTo>
                    <a:pt x="14270" y="15405"/>
                    <a:pt x="14291" y="15645"/>
                    <a:pt x="14327" y="15865"/>
                  </a:cubicBezTo>
                  <a:cubicBezTo>
                    <a:pt x="14346" y="15978"/>
                    <a:pt x="14349" y="16108"/>
                    <a:pt x="14379" y="16218"/>
                  </a:cubicBezTo>
                  <a:cubicBezTo>
                    <a:pt x="14408" y="16323"/>
                    <a:pt x="14624" y="16562"/>
                    <a:pt x="14606" y="16405"/>
                  </a:cubicBezTo>
                  <a:cubicBezTo>
                    <a:pt x="14667" y="16419"/>
                    <a:pt x="14872" y="16461"/>
                    <a:pt x="14738" y="16513"/>
                  </a:cubicBezTo>
                  <a:cubicBezTo>
                    <a:pt x="14704" y="16526"/>
                    <a:pt x="14642" y="16488"/>
                    <a:pt x="14621" y="16533"/>
                  </a:cubicBezTo>
                  <a:cubicBezTo>
                    <a:pt x="14590" y="16597"/>
                    <a:pt x="14637" y="16655"/>
                    <a:pt x="14674" y="16683"/>
                  </a:cubicBezTo>
                  <a:cubicBezTo>
                    <a:pt x="14595" y="16660"/>
                    <a:pt x="14523" y="16412"/>
                    <a:pt x="14441" y="16594"/>
                  </a:cubicBezTo>
                  <a:cubicBezTo>
                    <a:pt x="14410" y="16662"/>
                    <a:pt x="14409" y="16893"/>
                    <a:pt x="14415" y="16972"/>
                  </a:cubicBezTo>
                  <a:cubicBezTo>
                    <a:pt x="14442" y="17312"/>
                    <a:pt x="14701" y="17428"/>
                    <a:pt x="14812" y="17114"/>
                  </a:cubicBezTo>
                  <a:cubicBezTo>
                    <a:pt x="14821" y="17159"/>
                    <a:pt x="14831" y="17242"/>
                    <a:pt x="14811" y="17290"/>
                  </a:cubicBezTo>
                  <a:cubicBezTo>
                    <a:pt x="14798" y="17323"/>
                    <a:pt x="14719" y="17361"/>
                    <a:pt x="14722" y="17389"/>
                  </a:cubicBezTo>
                  <a:cubicBezTo>
                    <a:pt x="14744" y="17553"/>
                    <a:pt x="14860" y="17218"/>
                    <a:pt x="14863" y="17211"/>
                  </a:cubicBezTo>
                  <a:cubicBezTo>
                    <a:pt x="14834" y="17358"/>
                    <a:pt x="14928" y="17257"/>
                    <a:pt x="14932" y="17149"/>
                  </a:cubicBezTo>
                  <a:cubicBezTo>
                    <a:pt x="14940" y="17290"/>
                    <a:pt x="14917" y="17335"/>
                    <a:pt x="14842" y="17404"/>
                  </a:cubicBezTo>
                  <a:cubicBezTo>
                    <a:pt x="14767" y="17473"/>
                    <a:pt x="14714" y="17508"/>
                    <a:pt x="14803" y="17611"/>
                  </a:cubicBezTo>
                  <a:cubicBezTo>
                    <a:pt x="14853" y="17668"/>
                    <a:pt x="14929" y="17685"/>
                    <a:pt x="14990" y="17677"/>
                  </a:cubicBezTo>
                  <a:cubicBezTo>
                    <a:pt x="15014" y="17674"/>
                    <a:pt x="15068" y="17582"/>
                    <a:pt x="15076" y="17584"/>
                  </a:cubicBezTo>
                  <a:cubicBezTo>
                    <a:pt x="15141" y="17601"/>
                    <a:pt x="14968" y="17741"/>
                    <a:pt x="14932" y="17742"/>
                  </a:cubicBezTo>
                  <a:cubicBezTo>
                    <a:pt x="14853" y="17744"/>
                    <a:pt x="14803" y="17662"/>
                    <a:pt x="14725" y="17707"/>
                  </a:cubicBezTo>
                  <a:cubicBezTo>
                    <a:pt x="14673" y="17736"/>
                    <a:pt x="14605" y="17929"/>
                    <a:pt x="14593" y="17782"/>
                  </a:cubicBezTo>
                  <a:cubicBezTo>
                    <a:pt x="14579" y="17627"/>
                    <a:pt x="14485" y="17699"/>
                    <a:pt x="14527" y="17843"/>
                  </a:cubicBezTo>
                  <a:cubicBezTo>
                    <a:pt x="14557" y="17942"/>
                    <a:pt x="14530" y="18054"/>
                    <a:pt x="14563" y="18137"/>
                  </a:cubicBezTo>
                  <a:cubicBezTo>
                    <a:pt x="14651" y="18359"/>
                    <a:pt x="14614" y="18580"/>
                    <a:pt x="14669" y="18808"/>
                  </a:cubicBezTo>
                  <a:cubicBezTo>
                    <a:pt x="14692" y="18904"/>
                    <a:pt x="14795" y="19023"/>
                    <a:pt x="14763" y="19141"/>
                  </a:cubicBezTo>
                  <a:cubicBezTo>
                    <a:pt x="14729" y="19266"/>
                    <a:pt x="14631" y="19233"/>
                    <a:pt x="14592" y="19143"/>
                  </a:cubicBezTo>
                  <a:cubicBezTo>
                    <a:pt x="14713" y="19342"/>
                    <a:pt x="14537" y="19351"/>
                    <a:pt x="14493" y="19213"/>
                  </a:cubicBezTo>
                  <a:cubicBezTo>
                    <a:pt x="14458" y="19108"/>
                    <a:pt x="14525" y="18914"/>
                    <a:pt x="14523" y="18800"/>
                  </a:cubicBezTo>
                  <a:cubicBezTo>
                    <a:pt x="14494" y="18843"/>
                    <a:pt x="14492" y="18917"/>
                    <a:pt x="14481" y="18982"/>
                  </a:cubicBezTo>
                  <a:cubicBezTo>
                    <a:pt x="14447" y="19167"/>
                    <a:pt x="14385" y="19344"/>
                    <a:pt x="14361" y="19529"/>
                  </a:cubicBezTo>
                  <a:cubicBezTo>
                    <a:pt x="14352" y="19595"/>
                    <a:pt x="14337" y="19857"/>
                    <a:pt x="14412" y="19771"/>
                  </a:cubicBezTo>
                  <a:cubicBezTo>
                    <a:pt x="14463" y="19713"/>
                    <a:pt x="14480" y="19597"/>
                    <a:pt x="14530" y="19532"/>
                  </a:cubicBezTo>
                  <a:cubicBezTo>
                    <a:pt x="14574" y="19473"/>
                    <a:pt x="14632" y="19445"/>
                    <a:pt x="14678" y="19375"/>
                  </a:cubicBezTo>
                  <a:cubicBezTo>
                    <a:pt x="14723" y="19307"/>
                    <a:pt x="14751" y="19204"/>
                    <a:pt x="14799" y="19145"/>
                  </a:cubicBezTo>
                  <a:cubicBezTo>
                    <a:pt x="14872" y="19054"/>
                    <a:pt x="14980" y="19084"/>
                    <a:pt x="15054" y="19009"/>
                  </a:cubicBezTo>
                  <a:cubicBezTo>
                    <a:pt x="15100" y="18962"/>
                    <a:pt x="15127" y="18844"/>
                    <a:pt x="15188" y="18837"/>
                  </a:cubicBezTo>
                  <a:cubicBezTo>
                    <a:pt x="15115" y="19010"/>
                    <a:pt x="15087" y="19164"/>
                    <a:pt x="15026" y="19352"/>
                  </a:cubicBezTo>
                  <a:cubicBezTo>
                    <a:pt x="15015" y="19293"/>
                    <a:pt x="15041" y="19223"/>
                    <a:pt x="15062" y="19173"/>
                  </a:cubicBezTo>
                  <a:cubicBezTo>
                    <a:pt x="14955" y="19276"/>
                    <a:pt x="15005" y="19504"/>
                    <a:pt x="15000" y="19654"/>
                  </a:cubicBezTo>
                  <a:cubicBezTo>
                    <a:pt x="14994" y="19815"/>
                    <a:pt x="14951" y="19973"/>
                    <a:pt x="14937" y="20134"/>
                  </a:cubicBezTo>
                  <a:cubicBezTo>
                    <a:pt x="14924" y="20287"/>
                    <a:pt x="14882" y="20400"/>
                    <a:pt x="14845" y="20555"/>
                  </a:cubicBezTo>
                  <a:cubicBezTo>
                    <a:pt x="14808" y="20711"/>
                    <a:pt x="14820" y="20828"/>
                    <a:pt x="14803" y="20974"/>
                  </a:cubicBezTo>
                  <a:cubicBezTo>
                    <a:pt x="14797" y="21021"/>
                    <a:pt x="14727" y="21054"/>
                    <a:pt x="14783" y="21113"/>
                  </a:cubicBezTo>
                  <a:cubicBezTo>
                    <a:pt x="14815" y="21148"/>
                    <a:pt x="14864" y="21158"/>
                    <a:pt x="14893" y="21187"/>
                  </a:cubicBezTo>
                  <a:cubicBezTo>
                    <a:pt x="14955" y="21249"/>
                    <a:pt x="14991" y="21304"/>
                    <a:pt x="15035" y="21388"/>
                  </a:cubicBezTo>
                  <a:cubicBezTo>
                    <a:pt x="15092" y="21495"/>
                    <a:pt x="15100" y="21600"/>
                    <a:pt x="15211" y="21567"/>
                  </a:cubicBezTo>
                  <a:cubicBezTo>
                    <a:pt x="15298" y="21540"/>
                    <a:pt x="15361" y="21435"/>
                    <a:pt x="15421" y="21352"/>
                  </a:cubicBezTo>
                  <a:cubicBezTo>
                    <a:pt x="15530" y="21200"/>
                    <a:pt x="15640" y="21088"/>
                    <a:pt x="15716" y="20908"/>
                  </a:cubicBezTo>
                  <a:cubicBezTo>
                    <a:pt x="15730" y="20875"/>
                    <a:pt x="15769" y="20759"/>
                    <a:pt x="15773" y="20754"/>
                  </a:cubicBezTo>
                  <a:cubicBezTo>
                    <a:pt x="15823" y="20677"/>
                    <a:pt x="15874" y="20716"/>
                    <a:pt x="15888" y="20613"/>
                  </a:cubicBezTo>
                  <a:cubicBezTo>
                    <a:pt x="15901" y="20514"/>
                    <a:pt x="15809" y="20414"/>
                    <a:pt x="15911" y="20340"/>
                  </a:cubicBezTo>
                  <a:cubicBezTo>
                    <a:pt x="15902" y="20396"/>
                    <a:pt x="15893" y="20508"/>
                    <a:pt x="15922" y="20561"/>
                  </a:cubicBezTo>
                  <a:cubicBezTo>
                    <a:pt x="15969" y="20647"/>
                    <a:pt x="15940" y="20521"/>
                    <a:pt x="16002" y="20494"/>
                  </a:cubicBezTo>
                  <a:cubicBezTo>
                    <a:pt x="16070" y="20465"/>
                    <a:pt x="16102" y="20223"/>
                    <a:pt x="16166" y="20297"/>
                  </a:cubicBezTo>
                  <a:cubicBezTo>
                    <a:pt x="16168" y="20247"/>
                    <a:pt x="16288" y="20106"/>
                    <a:pt x="16281" y="20106"/>
                  </a:cubicBezTo>
                  <a:cubicBezTo>
                    <a:pt x="16327" y="20110"/>
                    <a:pt x="16305" y="20223"/>
                    <a:pt x="16361" y="20149"/>
                  </a:cubicBezTo>
                  <a:cubicBezTo>
                    <a:pt x="16391" y="20109"/>
                    <a:pt x="16437" y="20130"/>
                    <a:pt x="16471" y="20102"/>
                  </a:cubicBezTo>
                  <a:cubicBezTo>
                    <a:pt x="16497" y="20081"/>
                    <a:pt x="16448" y="20037"/>
                    <a:pt x="16489" y="20019"/>
                  </a:cubicBezTo>
                  <a:cubicBezTo>
                    <a:pt x="16570" y="19983"/>
                    <a:pt x="16574" y="20054"/>
                    <a:pt x="16633" y="19966"/>
                  </a:cubicBezTo>
                  <a:cubicBezTo>
                    <a:pt x="16651" y="19940"/>
                    <a:pt x="16638" y="19887"/>
                    <a:pt x="16653" y="19861"/>
                  </a:cubicBezTo>
                  <a:cubicBezTo>
                    <a:pt x="16677" y="19821"/>
                    <a:pt x="16713" y="19824"/>
                    <a:pt x="16744" y="19796"/>
                  </a:cubicBezTo>
                  <a:cubicBezTo>
                    <a:pt x="16769" y="19774"/>
                    <a:pt x="16829" y="19671"/>
                    <a:pt x="16846" y="19668"/>
                  </a:cubicBezTo>
                  <a:cubicBezTo>
                    <a:pt x="16863" y="19664"/>
                    <a:pt x="16863" y="19762"/>
                    <a:pt x="16897" y="19753"/>
                  </a:cubicBezTo>
                  <a:cubicBezTo>
                    <a:pt x="16932" y="19744"/>
                    <a:pt x="16931" y="19701"/>
                    <a:pt x="16952" y="19675"/>
                  </a:cubicBezTo>
                  <a:cubicBezTo>
                    <a:pt x="16988" y="19630"/>
                    <a:pt x="17033" y="19615"/>
                    <a:pt x="17001" y="19537"/>
                  </a:cubicBezTo>
                  <a:cubicBezTo>
                    <a:pt x="17088" y="19692"/>
                    <a:pt x="17173" y="19442"/>
                    <a:pt x="17274" y="19412"/>
                  </a:cubicBezTo>
                  <a:cubicBezTo>
                    <a:pt x="17323" y="19398"/>
                    <a:pt x="17448" y="19348"/>
                    <a:pt x="17457" y="19250"/>
                  </a:cubicBezTo>
                  <a:cubicBezTo>
                    <a:pt x="17464" y="19155"/>
                    <a:pt x="17398" y="19216"/>
                    <a:pt x="17361" y="19133"/>
                  </a:cubicBezTo>
                  <a:cubicBezTo>
                    <a:pt x="17409" y="19114"/>
                    <a:pt x="17458" y="19129"/>
                    <a:pt x="17504" y="19105"/>
                  </a:cubicBezTo>
                  <a:cubicBezTo>
                    <a:pt x="17491" y="19101"/>
                    <a:pt x="17445" y="19081"/>
                    <a:pt x="17426" y="19081"/>
                  </a:cubicBezTo>
                  <a:cubicBezTo>
                    <a:pt x="17505" y="18994"/>
                    <a:pt x="17635" y="18923"/>
                    <a:pt x="17704" y="18823"/>
                  </a:cubicBezTo>
                  <a:cubicBezTo>
                    <a:pt x="17806" y="18676"/>
                    <a:pt x="17672" y="18603"/>
                    <a:pt x="17639" y="18481"/>
                  </a:cubicBezTo>
                  <a:cubicBezTo>
                    <a:pt x="17701" y="18544"/>
                    <a:pt x="17735" y="18676"/>
                    <a:pt x="17799" y="18650"/>
                  </a:cubicBezTo>
                  <a:cubicBezTo>
                    <a:pt x="17840" y="18633"/>
                    <a:pt x="17800" y="18574"/>
                    <a:pt x="17811" y="18549"/>
                  </a:cubicBezTo>
                  <a:cubicBezTo>
                    <a:pt x="17826" y="18513"/>
                    <a:pt x="17846" y="18569"/>
                    <a:pt x="17860" y="18532"/>
                  </a:cubicBezTo>
                  <a:cubicBezTo>
                    <a:pt x="17848" y="18536"/>
                    <a:pt x="17831" y="18379"/>
                    <a:pt x="17839" y="18404"/>
                  </a:cubicBezTo>
                  <a:cubicBezTo>
                    <a:pt x="17830" y="18376"/>
                    <a:pt x="17803" y="18337"/>
                    <a:pt x="17794" y="18317"/>
                  </a:cubicBezTo>
                  <a:cubicBezTo>
                    <a:pt x="17764" y="18252"/>
                    <a:pt x="17745" y="18210"/>
                    <a:pt x="17693" y="18154"/>
                  </a:cubicBezTo>
                  <a:cubicBezTo>
                    <a:pt x="17743" y="18183"/>
                    <a:pt x="17846" y="18319"/>
                    <a:pt x="17827" y="18163"/>
                  </a:cubicBezTo>
                  <a:cubicBezTo>
                    <a:pt x="17848" y="18257"/>
                    <a:pt x="17856" y="18423"/>
                    <a:pt x="17904" y="18260"/>
                  </a:cubicBezTo>
                  <a:cubicBezTo>
                    <a:pt x="17915" y="18220"/>
                    <a:pt x="17896" y="18175"/>
                    <a:pt x="17905" y="18136"/>
                  </a:cubicBezTo>
                  <a:cubicBezTo>
                    <a:pt x="17916" y="18091"/>
                    <a:pt x="17947" y="18076"/>
                    <a:pt x="17959" y="18036"/>
                  </a:cubicBezTo>
                  <a:cubicBezTo>
                    <a:pt x="17996" y="17910"/>
                    <a:pt x="17960" y="17883"/>
                    <a:pt x="17936" y="17765"/>
                  </a:cubicBezTo>
                  <a:cubicBezTo>
                    <a:pt x="17924" y="17701"/>
                    <a:pt x="17943" y="17582"/>
                    <a:pt x="17898" y="17542"/>
                  </a:cubicBezTo>
                  <a:cubicBezTo>
                    <a:pt x="17968" y="17533"/>
                    <a:pt x="17965" y="17752"/>
                    <a:pt x="17989" y="17828"/>
                  </a:cubicBezTo>
                  <a:cubicBezTo>
                    <a:pt x="18008" y="17888"/>
                    <a:pt x="18037" y="17925"/>
                    <a:pt x="18045" y="18003"/>
                  </a:cubicBezTo>
                  <a:cubicBezTo>
                    <a:pt x="18049" y="18037"/>
                    <a:pt x="18038" y="18139"/>
                    <a:pt x="18044" y="18163"/>
                  </a:cubicBezTo>
                  <a:cubicBezTo>
                    <a:pt x="18135" y="18479"/>
                    <a:pt x="18227" y="18009"/>
                    <a:pt x="18287" y="17935"/>
                  </a:cubicBezTo>
                  <a:cubicBezTo>
                    <a:pt x="18271" y="18070"/>
                    <a:pt x="18211" y="18248"/>
                    <a:pt x="18167" y="18371"/>
                  </a:cubicBezTo>
                  <a:cubicBezTo>
                    <a:pt x="18133" y="18464"/>
                    <a:pt x="18043" y="18607"/>
                    <a:pt x="18024" y="18712"/>
                  </a:cubicBezTo>
                  <a:cubicBezTo>
                    <a:pt x="18009" y="18793"/>
                    <a:pt x="18032" y="18857"/>
                    <a:pt x="18095" y="18787"/>
                  </a:cubicBezTo>
                  <a:cubicBezTo>
                    <a:pt x="18110" y="18770"/>
                    <a:pt x="18147" y="18645"/>
                    <a:pt x="18157" y="18616"/>
                  </a:cubicBezTo>
                  <a:cubicBezTo>
                    <a:pt x="18202" y="18483"/>
                    <a:pt x="18248" y="18358"/>
                    <a:pt x="18279" y="18232"/>
                  </a:cubicBezTo>
                  <a:cubicBezTo>
                    <a:pt x="18287" y="18356"/>
                    <a:pt x="18244" y="18551"/>
                    <a:pt x="18274" y="18658"/>
                  </a:cubicBezTo>
                  <a:cubicBezTo>
                    <a:pt x="18276" y="18647"/>
                    <a:pt x="18290" y="18558"/>
                    <a:pt x="18294" y="18550"/>
                  </a:cubicBezTo>
                  <a:cubicBezTo>
                    <a:pt x="18303" y="18537"/>
                    <a:pt x="18347" y="18540"/>
                    <a:pt x="18348" y="18530"/>
                  </a:cubicBezTo>
                  <a:cubicBezTo>
                    <a:pt x="18360" y="18457"/>
                    <a:pt x="18322" y="18404"/>
                    <a:pt x="18318" y="18325"/>
                  </a:cubicBezTo>
                  <a:cubicBezTo>
                    <a:pt x="18351" y="18359"/>
                    <a:pt x="18375" y="18408"/>
                    <a:pt x="18410" y="18438"/>
                  </a:cubicBezTo>
                  <a:cubicBezTo>
                    <a:pt x="18411" y="18358"/>
                    <a:pt x="18422" y="18294"/>
                    <a:pt x="18452" y="18232"/>
                  </a:cubicBezTo>
                  <a:cubicBezTo>
                    <a:pt x="18423" y="18292"/>
                    <a:pt x="18431" y="18096"/>
                    <a:pt x="18472" y="18187"/>
                  </a:cubicBezTo>
                  <a:cubicBezTo>
                    <a:pt x="18500" y="18248"/>
                    <a:pt x="18493" y="18335"/>
                    <a:pt x="18506" y="18405"/>
                  </a:cubicBezTo>
                  <a:cubicBezTo>
                    <a:pt x="18530" y="18300"/>
                    <a:pt x="18567" y="18319"/>
                    <a:pt x="18601" y="18407"/>
                  </a:cubicBezTo>
                  <a:cubicBezTo>
                    <a:pt x="18587" y="18240"/>
                    <a:pt x="18685" y="18175"/>
                    <a:pt x="18660" y="18029"/>
                  </a:cubicBezTo>
                  <a:cubicBezTo>
                    <a:pt x="18651" y="17974"/>
                    <a:pt x="18568" y="17899"/>
                    <a:pt x="18568" y="17899"/>
                  </a:cubicBezTo>
                  <a:cubicBezTo>
                    <a:pt x="18534" y="17850"/>
                    <a:pt x="18514" y="17742"/>
                    <a:pt x="18497" y="17876"/>
                  </a:cubicBezTo>
                  <a:cubicBezTo>
                    <a:pt x="18478" y="17838"/>
                    <a:pt x="18448" y="17739"/>
                    <a:pt x="18447" y="17694"/>
                  </a:cubicBezTo>
                  <a:cubicBezTo>
                    <a:pt x="18447" y="17632"/>
                    <a:pt x="18501" y="17674"/>
                    <a:pt x="18482" y="17573"/>
                  </a:cubicBezTo>
                  <a:cubicBezTo>
                    <a:pt x="18582" y="17689"/>
                    <a:pt x="18524" y="17696"/>
                    <a:pt x="18617" y="17618"/>
                  </a:cubicBezTo>
                  <a:cubicBezTo>
                    <a:pt x="18662" y="17581"/>
                    <a:pt x="18742" y="17575"/>
                    <a:pt x="18744" y="17480"/>
                  </a:cubicBezTo>
                  <a:cubicBezTo>
                    <a:pt x="18753" y="17512"/>
                    <a:pt x="18791" y="17649"/>
                    <a:pt x="18831" y="17603"/>
                  </a:cubicBezTo>
                  <a:cubicBezTo>
                    <a:pt x="18850" y="17582"/>
                    <a:pt x="18812" y="17449"/>
                    <a:pt x="18805" y="17411"/>
                  </a:cubicBezTo>
                  <a:cubicBezTo>
                    <a:pt x="18786" y="17295"/>
                    <a:pt x="18789" y="17179"/>
                    <a:pt x="18782" y="17057"/>
                  </a:cubicBezTo>
                  <a:cubicBezTo>
                    <a:pt x="18819" y="17202"/>
                    <a:pt x="18810" y="17362"/>
                    <a:pt x="18838" y="17508"/>
                  </a:cubicBezTo>
                  <a:cubicBezTo>
                    <a:pt x="18849" y="17566"/>
                    <a:pt x="18911" y="17471"/>
                    <a:pt x="18929" y="17437"/>
                  </a:cubicBezTo>
                  <a:cubicBezTo>
                    <a:pt x="18991" y="17321"/>
                    <a:pt x="19009" y="17096"/>
                    <a:pt x="19087" y="17023"/>
                  </a:cubicBezTo>
                  <a:cubicBezTo>
                    <a:pt x="19088" y="17087"/>
                    <a:pt x="19055" y="17142"/>
                    <a:pt x="19049" y="17210"/>
                  </a:cubicBezTo>
                  <a:cubicBezTo>
                    <a:pt x="19045" y="17259"/>
                    <a:pt x="19065" y="17343"/>
                    <a:pt x="19065" y="17333"/>
                  </a:cubicBezTo>
                  <a:cubicBezTo>
                    <a:pt x="19067" y="17409"/>
                    <a:pt x="19037" y="17575"/>
                    <a:pt x="19001" y="17671"/>
                  </a:cubicBezTo>
                  <a:cubicBezTo>
                    <a:pt x="18962" y="17772"/>
                    <a:pt x="18898" y="17820"/>
                    <a:pt x="18899" y="17950"/>
                  </a:cubicBezTo>
                  <a:cubicBezTo>
                    <a:pt x="18900" y="18124"/>
                    <a:pt x="18959" y="18203"/>
                    <a:pt x="18980" y="18347"/>
                  </a:cubicBezTo>
                  <a:cubicBezTo>
                    <a:pt x="19004" y="18506"/>
                    <a:pt x="18926" y="18878"/>
                    <a:pt x="18864" y="19008"/>
                  </a:cubicBezTo>
                  <a:cubicBezTo>
                    <a:pt x="18827" y="19083"/>
                    <a:pt x="18744" y="19109"/>
                    <a:pt x="18727" y="19198"/>
                  </a:cubicBezTo>
                  <a:cubicBezTo>
                    <a:pt x="18684" y="19438"/>
                    <a:pt x="18619" y="19619"/>
                    <a:pt x="18820" y="19720"/>
                  </a:cubicBezTo>
                  <a:cubicBezTo>
                    <a:pt x="18883" y="19686"/>
                    <a:pt x="18950" y="19633"/>
                    <a:pt x="19007" y="19608"/>
                  </a:cubicBezTo>
                  <a:cubicBezTo>
                    <a:pt x="19016" y="19535"/>
                    <a:pt x="19057" y="19547"/>
                    <a:pt x="19086" y="19476"/>
                  </a:cubicBezTo>
                  <a:cubicBezTo>
                    <a:pt x="19110" y="19416"/>
                    <a:pt x="19064" y="19323"/>
                    <a:pt x="19129" y="19342"/>
                  </a:cubicBezTo>
                  <a:cubicBezTo>
                    <a:pt x="19123" y="19319"/>
                    <a:pt x="19123" y="19264"/>
                    <a:pt x="19114" y="19237"/>
                  </a:cubicBezTo>
                  <a:cubicBezTo>
                    <a:pt x="19166" y="19237"/>
                    <a:pt x="19126" y="19252"/>
                    <a:pt x="19164" y="19210"/>
                  </a:cubicBezTo>
                  <a:cubicBezTo>
                    <a:pt x="19259" y="19363"/>
                    <a:pt x="19315" y="19191"/>
                    <a:pt x="19342" y="19082"/>
                  </a:cubicBezTo>
                  <a:cubicBezTo>
                    <a:pt x="19383" y="18915"/>
                    <a:pt x="19355" y="18843"/>
                    <a:pt x="19313" y="18669"/>
                  </a:cubicBezTo>
                  <a:cubicBezTo>
                    <a:pt x="19327" y="18691"/>
                    <a:pt x="19342" y="18705"/>
                    <a:pt x="19357" y="18724"/>
                  </a:cubicBezTo>
                  <a:cubicBezTo>
                    <a:pt x="19327" y="18590"/>
                    <a:pt x="19413" y="18475"/>
                    <a:pt x="19272" y="18392"/>
                  </a:cubicBezTo>
                  <a:cubicBezTo>
                    <a:pt x="19253" y="18380"/>
                    <a:pt x="19179" y="18346"/>
                    <a:pt x="19237" y="18285"/>
                  </a:cubicBezTo>
                  <a:cubicBezTo>
                    <a:pt x="19265" y="18256"/>
                    <a:pt x="19324" y="18410"/>
                    <a:pt x="19322" y="18275"/>
                  </a:cubicBezTo>
                  <a:cubicBezTo>
                    <a:pt x="19321" y="18226"/>
                    <a:pt x="19272" y="18249"/>
                    <a:pt x="19264" y="18218"/>
                  </a:cubicBezTo>
                  <a:cubicBezTo>
                    <a:pt x="19255" y="18182"/>
                    <a:pt x="19256" y="18148"/>
                    <a:pt x="19251" y="18110"/>
                  </a:cubicBezTo>
                  <a:cubicBezTo>
                    <a:pt x="19244" y="18048"/>
                    <a:pt x="19259" y="18020"/>
                    <a:pt x="19259" y="17963"/>
                  </a:cubicBezTo>
                  <a:cubicBezTo>
                    <a:pt x="19261" y="17855"/>
                    <a:pt x="19247" y="17735"/>
                    <a:pt x="19239" y="17622"/>
                  </a:cubicBezTo>
                  <a:cubicBezTo>
                    <a:pt x="19248" y="17647"/>
                    <a:pt x="19263" y="17673"/>
                    <a:pt x="19272" y="17697"/>
                  </a:cubicBezTo>
                  <a:cubicBezTo>
                    <a:pt x="19269" y="17670"/>
                    <a:pt x="19274" y="17614"/>
                    <a:pt x="19269" y="17581"/>
                  </a:cubicBezTo>
                  <a:cubicBezTo>
                    <a:pt x="19276" y="17610"/>
                    <a:pt x="19299" y="17649"/>
                    <a:pt x="19304" y="17688"/>
                  </a:cubicBezTo>
                  <a:cubicBezTo>
                    <a:pt x="19354" y="17640"/>
                    <a:pt x="19432" y="17634"/>
                    <a:pt x="19395" y="17515"/>
                  </a:cubicBezTo>
                  <a:cubicBezTo>
                    <a:pt x="19401" y="17520"/>
                    <a:pt x="19413" y="17529"/>
                    <a:pt x="19421" y="17536"/>
                  </a:cubicBezTo>
                  <a:cubicBezTo>
                    <a:pt x="19482" y="17321"/>
                    <a:pt x="19386" y="17088"/>
                    <a:pt x="19409" y="16854"/>
                  </a:cubicBezTo>
                  <a:cubicBezTo>
                    <a:pt x="19467" y="16966"/>
                    <a:pt x="19469" y="17208"/>
                    <a:pt x="19476" y="17351"/>
                  </a:cubicBezTo>
                  <a:cubicBezTo>
                    <a:pt x="19481" y="17441"/>
                    <a:pt x="19463" y="17524"/>
                    <a:pt x="19519" y="17462"/>
                  </a:cubicBezTo>
                  <a:cubicBezTo>
                    <a:pt x="19539" y="17440"/>
                    <a:pt x="19563" y="17339"/>
                    <a:pt x="19560" y="17301"/>
                  </a:cubicBezTo>
                  <a:cubicBezTo>
                    <a:pt x="19522" y="17303"/>
                    <a:pt x="19528" y="17220"/>
                    <a:pt x="19532" y="17159"/>
                  </a:cubicBezTo>
                  <a:cubicBezTo>
                    <a:pt x="19532" y="17165"/>
                    <a:pt x="19588" y="17213"/>
                    <a:pt x="19573" y="17164"/>
                  </a:cubicBezTo>
                  <a:cubicBezTo>
                    <a:pt x="19561" y="17123"/>
                    <a:pt x="19530" y="17124"/>
                    <a:pt x="19520" y="17094"/>
                  </a:cubicBezTo>
                  <a:cubicBezTo>
                    <a:pt x="19518" y="17090"/>
                    <a:pt x="19500" y="17081"/>
                    <a:pt x="19490" y="17053"/>
                  </a:cubicBezTo>
                  <a:cubicBezTo>
                    <a:pt x="19483" y="17034"/>
                    <a:pt x="19486" y="16983"/>
                    <a:pt x="19484" y="16961"/>
                  </a:cubicBezTo>
                  <a:cubicBezTo>
                    <a:pt x="19476" y="16898"/>
                    <a:pt x="19470" y="16835"/>
                    <a:pt x="19461" y="16772"/>
                  </a:cubicBezTo>
                  <a:cubicBezTo>
                    <a:pt x="19463" y="16770"/>
                    <a:pt x="19429" y="16479"/>
                    <a:pt x="19419" y="16403"/>
                  </a:cubicBezTo>
                  <a:cubicBezTo>
                    <a:pt x="19400" y="16256"/>
                    <a:pt x="19362" y="16153"/>
                    <a:pt x="19254" y="16148"/>
                  </a:cubicBezTo>
                  <a:cubicBezTo>
                    <a:pt x="19315" y="16098"/>
                    <a:pt x="19498" y="16173"/>
                    <a:pt x="19431" y="16018"/>
                  </a:cubicBezTo>
                  <a:cubicBezTo>
                    <a:pt x="19479" y="16051"/>
                    <a:pt x="19543" y="16179"/>
                    <a:pt x="19542" y="16035"/>
                  </a:cubicBezTo>
                  <a:cubicBezTo>
                    <a:pt x="19575" y="16117"/>
                    <a:pt x="19634" y="16134"/>
                    <a:pt x="19680" y="16173"/>
                  </a:cubicBezTo>
                  <a:cubicBezTo>
                    <a:pt x="19716" y="16204"/>
                    <a:pt x="19748" y="16239"/>
                    <a:pt x="19777" y="16283"/>
                  </a:cubicBezTo>
                  <a:cubicBezTo>
                    <a:pt x="19806" y="16328"/>
                    <a:pt x="19841" y="16306"/>
                    <a:pt x="19843" y="16308"/>
                  </a:cubicBezTo>
                  <a:cubicBezTo>
                    <a:pt x="19902" y="16376"/>
                    <a:pt x="19924" y="16474"/>
                    <a:pt x="19971" y="16551"/>
                  </a:cubicBezTo>
                  <a:cubicBezTo>
                    <a:pt x="19988" y="16578"/>
                    <a:pt x="19966" y="16608"/>
                    <a:pt x="19994" y="16629"/>
                  </a:cubicBezTo>
                  <a:cubicBezTo>
                    <a:pt x="20026" y="16653"/>
                    <a:pt x="20039" y="16598"/>
                    <a:pt x="20044" y="16599"/>
                  </a:cubicBezTo>
                  <a:cubicBezTo>
                    <a:pt x="20055" y="16600"/>
                    <a:pt x="20087" y="16569"/>
                    <a:pt x="20104" y="16566"/>
                  </a:cubicBezTo>
                  <a:cubicBezTo>
                    <a:pt x="20088" y="16620"/>
                    <a:pt x="20034" y="16836"/>
                    <a:pt x="20111" y="16769"/>
                  </a:cubicBezTo>
                  <a:cubicBezTo>
                    <a:pt x="20119" y="16845"/>
                    <a:pt x="20144" y="16968"/>
                    <a:pt x="20065" y="16959"/>
                  </a:cubicBezTo>
                  <a:cubicBezTo>
                    <a:pt x="20081" y="17056"/>
                    <a:pt x="20149" y="17036"/>
                    <a:pt x="20194" y="17060"/>
                  </a:cubicBezTo>
                  <a:cubicBezTo>
                    <a:pt x="20077" y="17118"/>
                    <a:pt x="20221" y="17541"/>
                    <a:pt x="20247" y="17681"/>
                  </a:cubicBezTo>
                  <a:cubicBezTo>
                    <a:pt x="20275" y="17827"/>
                    <a:pt x="20352" y="18214"/>
                    <a:pt x="20496" y="18022"/>
                  </a:cubicBezTo>
                  <a:cubicBezTo>
                    <a:pt x="20568" y="17926"/>
                    <a:pt x="20570" y="17631"/>
                    <a:pt x="20564" y="17489"/>
                  </a:cubicBezTo>
                  <a:cubicBezTo>
                    <a:pt x="20560" y="17389"/>
                    <a:pt x="20561" y="17294"/>
                    <a:pt x="20563" y="17207"/>
                  </a:cubicBezTo>
                  <a:cubicBezTo>
                    <a:pt x="20566" y="17100"/>
                    <a:pt x="20532" y="17001"/>
                    <a:pt x="20534" y="16903"/>
                  </a:cubicBezTo>
                  <a:cubicBezTo>
                    <a:pt x="20542" y="16930"/>
                    <a:pt x="20562" y="16958"/>
                    <a:pt x="20572" y="16983"/>
                  </a:cubicBezTo>
                  <a:cubicBezTo>
                    <a:pt x="20601" y="16907"/>
                    <a:pt x="20558" y="16811"/>
                    <a:pt x="20548" y="16726"/>
                  </a:cubicBezTo>
                  <a:cubicBezTo>
                    <a:pt x="20562" y="16807"/>
                    <a:pt x="20596" y="16845"/>
                    <a:pt x="20611" y="16752"/>
                  </a:cubicBezTo>
                  <a:cubicBezTo>
                    <a:pt x="20702" y="16796"/>
                    <a:pt x="20643" y="17076"/>
                    <a:pt x="20699" y="17197"/>
                  </a:cubicBezTo>
                  <a:cubicBezTo>
                    <a:pt x="20726" y="17159"/>
                    <a:pt x="20747" y="17195"/>
                    <a:pt x="20766" y="17241"/>
                  </a:cubicBezTo>
                  <a:cubicBezTo>
                    <a:pt x="20765" y="17221"/>
                    <a:pt x="20772" y="17189"/>
                    <a:pt x="20770" y="17164"/>
                  </a:cubicBezTo>
                  <a:cubicBezTo>
                    <a:pt x="20821" y="17180"/>
                    <a:pt x="20801" y="17180"/>
                    <a:pt x="20831" y="17145"/>
                  </a:cubicBezTo>
                  <a:cubicBezTo>
                    <a:pt x="20870" y="17245"/>
                    <a:pt x="20790" y="17409"/>
                    <a:pt x="20865" y="17525"/>
                  </a:cubicBezTo>
                  <a:cubicBezTo>
                    <a:pt x="20925" y="17615"/>
                    <a:pt x="20890" y="17443"/>
                    <a:pt x="20891" y="17397"/>
                  </a:cubicBezTo>
                  <a:cubicBezTo>
                    <a:pt x="20892" y="17325"/>
                    <a:pt x="20876" y="17280"/>
                    <a:pt x="20918" y="17223"/>
                  </a:cubicBezTo>
                  <a:cubicBezTo>
                    <a:pt x="20894" y="17397"/>
                    <a:pt x="20927" y="17677"/>
                    <a:pt x="21033" y="17782"/>
                  </a:cubicBezTo>
                  <a:cubicBezTo>
                    <a:pt x="21222" y="17968"/>
                    <a:pt x="21174" y="17532"/>
                    <a:pt x="21192" y="17388"/>
                  </a:cubicBezTo>
                  <a:cubicBezTo>
                    <a:pt x="21198" y="17419"/>
                    <a:pt x="21214" y="17458"/>
                    <a:pt x="21219" y="17492"/>
                  </a:cubicBezTo>
                  <a:cubicBezTo>
                    <a:pt x="21212" y="17422"/>
                    <a:pt x="21246" y="17427"/>
                    <a:pt x="21247" y="17422"/>
                  </a:cubicBezTo>
                  <a:cubicBezTo>
                    <a:pt x="21232" y="17463"/>
                    <a:pt x="21299" y="17329"/>
                    <a:pt x="21268" y="17350"/>
                  </a:cubicBezTo>
                  <a:cubicBezTo>
                    <a:pt x="21309" y="17323"/>
                    <a:pt x="21241" y="17320"/>
                    <a:pt x="21308" y="17333"/>
                  </a:cubicBezTo>
                  <a:cubicBezTo>
                    <a:pt x="21330" y="17337"/>
                    <a:pt x="21346" y="17380"/>
                    <a:pt x="21368" y="17392"/>
                  </a:cubicBezTo>
                  <a:cubicBezTo>
                    <a:pt x="21530" y="17479"/>
                    <a:pt x="21509" y="17244"/>
                    <a:pt x="21495" y="17089"/>
                  </a:cubicBezTo>
                  <a:close/>
                  <a:moveTo>
                    <a:pt x="13787" y="9959"/>
                  </a:moveTo>
                  <a:cubicBezTo>
                    <a:pt x="13819" y="9953"/>
                    <a:pt x="13842" y="9932"/>
                    <a:pt x="13862" y="9899"/>
                  </a:cubicBezTo>
                  <a:cubicBezTo>
                    <a:pt x="13934" y="9778"/>
                    <a:pt x="13852" y="9789"/>
                    <a:pt x="13856" y="9702"/>
                  </a:cubicBezTo>
                  <a:cubicBezTo>
                    <a:pt x="13862" y="9577"/>
                    <a:pt x="13951" y="9656"/>
                    <a:pt x="13863" y="9508"/>
                  </a:cubicBezTo>
                  <a:cubicBezTo>
                    <a:pt x="13820" y="9436"/>
                    <a:pt x="13809" y="9413"/>
                    <a:pt x="13743" y="9434"/>
                  </a:cubicBezTo>
                  <a:cubicBezTo>
                    <a:pt x="13776" y="9377"/>
                    <a:pt x="13816" y="9330"/>
                    <a:pt x="13855" y="9281"/>
                  </a:cubicBezTo>
                  <a:cubicBezTo>
                    <a:pt x="13818" y="9281"/>
                    <a:pt x="13745" y="9331"/>
                    <a:pt x="13729" y="9331"/>
                  </a:cubicBezTo>
                  <a:cubicBezTo>
                    <a:pt x="13724" y="9331"/>
                    <a:pt x="13708" y="9420"/>
                    <a:pt x="13698" y="9359"/>
                  </a:cubicBezTo>
                  <a:cubicBezTo>
                    <a:pt x="13697" y="9350"/>
                    <a:pt x="13709" y="9282"/>
                    <a:pt x="13714" y="9291"/>
                  </a:cubicBezTo>
                  <a:cubicBezTo>
                    <a:pt x="13709" y="9281"/>
                    <a:pt x="13706" y="9273"/>
                    <a:pt x="13704" y="9267"/>
                  </a:cubicBezTo>
                  <a:cubicBezTo>
                    <a:pt x="13700" y="9269"/>
                    <a:pt x="13696" y="9270"/>
                    <a:pt x="13690" y="9272"/>
                  </a:cubicBezTo>
                  <a:cubicBezTo>
                    <a:pt x="13664" y="9276"/>
                    <a:pt x="13624" y="9306"/>
                    <a:pt x="13595" y="9313"/>
                  </a:cubicBezTo>
                  <a:cubicBezTo>
                    <a:pt x="13594" y="9299"/>
                    <a:pt x="13590" y="9276"/>
                    <a:pt x="13590" y="9260"/>
                  </a:cubicBezTo>
                  <a:cubicBezTo>
                    <a:pt x="13517" y="9307"/>
                    <a:pt x="13464" y="9291"/>
                    <a:pt x="13392" y="9310"/>
                  </a:cubicBezTo>
                  <a:cubicBezTo>
                    <a:pt x="13328" y="9328"/>
                    <a:pt x="13271" y="9412"/>
                    <a:pt x="13206" y="9365"/>
                  </a:cubicBezTo>
                  <a:cubicBezTo>
                    <a:pt x="13271" y="9298"/>
                    <a:pt x="13378" y="9285"/>
                    <a:pt x="13456" y="9258"/>
                  </a:cubicBezTo>
                  <a:cubicBezTo>
                    <a:pt x="13502" y="9242"/>
                    <a:pt x="13680" y="9207"/>
                    <a:pt x="13576" y="9128"/>
                  </a:cubicBezTo>
                  <a:cubicBezTo>
                    <a:pt x="13519" y="9085"/>
                    <a:pt x="13633" y="9071"/>
                    <a:pt x="13641" y="9063"/>
                  </a:cubicBezTo>
                  <a:cubicBezTo>
                    <a:pt x="13682" y="9013"/>
                    <a:pt x="13689" y="9089"/>
                    <a:pt x="13682" y="8994"/>
                  </a:cubicBezTo>
                  <a:cubicBezTo>
                    <a:pt x="13683" y="9008"/>
                    <a:pt x="13608" y="8883"/>
                    <a:pt x="13622" y="8887"/>
                  </a:cubicBezTo>
                  <a:cubicBezTo>
                    <a:pt x="13584" y="8877"/>
                    <a:pt x="13559" y="8957"/>
                    <a:pt x="13523" y="8954"/>
                  </a:cubicBezTo>
                  <a:cubicBezTo>
                    <a:pt x="13493" y="8951"/>
                    <a:pt x="13537" y="8839"/>
                    <a:pt x="13469" y="8874"/>
                  </a:cubicBezTo>
                  <a:cubicBezTo>
                    <a:pt x="13449" y="8885"/>
                    <a:pt x="13418" y="8960"/>
                    <a:pt x="13407" y="8924"/>
                  </a:cubicBezTo>
                  <a:cubicBezTo>
                    <a:pt x="13397" y="8887"/>
                    <a:pt x="13316" y="9032"/>
                    <a:pt x="13284" y="9048"/>
                  </a:cubicBezTo>
                  <a:cubicBezTo>
                    <a:pt x="13215" y="9085"/>
                    <a:pt x="13187" y="9052"/>
                    <a:pt x="13131" y="9122"/>
                  </a:cubicBezTo>
                  <a:cubicBezTo>
                    <a:pt x="13069" y="9199"/>
                    <a:pt x="13053" y="9207"/>
                    <a:pt x="12978" y="9249"/>
                  </a:cubicBezTo>
                  <a:cubicBezTo>
                    <a:pt x="12923" y="9281"/>
                    <a:pt x="12872" y="9364"/>
                    <a:pt x="12809" y="9325"/>
                  </a:cubicBezTo>
                  <a:cubicBezTo>
                    <a:pt x="12877" y="9279"/>
                    <a:pt x="12948" y="9253"/>
                    <a:pt x="13016" y="9211"/>
                  </a:cubicBezTo>
                  <a:cubicBezTo>
                    <a:pt x="13094" y="9164"/>
                    <a:pt x="13096" y="9076"/>
                    <a:pt x="13157" y="9001"/>
                  </a:cubicBezTo>
                  <a:cubicBezTo>
                    <a:pt x="13182" y="8972"/>
                    <a:pt x="13219" y="9014"/>
                    <a:pt x="13237" y="8966"/>
                  </a:cubicBezTo>
                  <a:cubicBezTo>
                    <a:pt x="13256" y="8917"/>
                    <a:pt x="13173" y="8984"/>
                    <a:pt x="13175" y="8943"/>
                  </a:cubicBezTo>
                  <a:cubicBezTo>
                    <a:pt x="13176" y="8897"/>
                    <a:pt x="13221" y="8816"/>
                    <a:pt x="13159" y="8831"/>
                  </a:cubicBezTo>
                  <a:cubicBezTo>
                    <a:pt x="13119" y="8842"/>
                    <a:pt x="13083" y="8856"/>
                    <a:pt x="13054" y="8891"/>
                  </a:cubicBezTo>
                  <a:cubicBezTo>
                    <a:pt x="13067" y="8820"/>
                    <a:pt x="13137" y="8786"/>
                    <a:pt x="13183" y="8766"/>
                  </a:cubicBezTo>
                  <a:cubicBezTo>
                    <a:pt x="13216" y="8752"/>
                    <a:pt x="13246" y="8756"/>
                    <a:pt x="13276" y="8740"/>
                  </a:cubicBezTo>
                  <a:cubicBezTo>
                    <a:pt x="13303" y="8725"/>
                    <a:pt x="13311" y="8696"/>
                    <a:pt x="13348" y="8710"/>
                  </a:cubicBezTo>
                  <a:cubicBezTo>
                    <a:pt x="13364" y="8563"/>
                    <a:pt x="13315" y="8522"/>
                    <a:pt x="13228" y="8592"/>
                  </a:cubicBezTo>
                  <a:cubicBezTo>
                    <a:pt x="13140" y="8663"/>
                    <a:pt x="13152" y="8680"/>
                    <a:pt x="13038" y="8670"/>
                  </a:cubicBezTo>
                  <a:cubicBezTo>
                    <a:pt x="12943" y="8662"/>
                    <a:pt x="12801" y="8661"/>
                    <a:pt x="12939" y="8565"/>
                  </a:cubicBezTo>
                  <a:cubicBezTo>
                    <a:pt x="12991" y="8528"/>
                    <a:pt x="13037" y="8570"/>
                    <a:pt x="13055" y="8456"/>
                  </a:cubicBezTo>
                  <a:cubicBezTo>
                    <a:pt x="12937" y="8620"/>
                    <a:pt x="13096" y="8308"/>
                    <a:pt x="13097" y="8291"/>
                  </a:cubicBezTo>
                  <a:cubicBezTo>
                    <a:pt x="13100" y="8238"/>
                    <a:pt x="13084" y="8195"/>
                    <a:pt x="13037" y="8161"/>
                  </a:cubicBezTo>
                  <a:cubicBezTo>
                    <a:pt x="13007" y="8140"/>
                    <a:pt x="12928" y="8087"/>
                    <a:pt x="12914" y="8086"/>
                  </a:cubicBezTo>
                  <a:cubicBezTo>
                    <a:pt x="12874" y="8083"/>
                    <a:pt x="12818" y="8089"/>
                    <a:pt x="12786" y="8129"/>
                  </a:cubicBezTo>
                  <a:cubicBezTo>
                    <a:pt x="12775" y="8143"/>
                    <a:pt x="12747" y="8221"/>
                    <a:pt x="12749" y="8219"/>
                  </a:cubicBezTo>
                  <a:cubicBezTo>
                    <a:pt x="12745" y="8223"/>
                    <a:pt x="12761" y="8263"/>
                    <a:pt x="12751" y="8267"/>
                  </a:cubicBezTo>
                  <a:cubicBezTo>
                    <a:pt x="12719" y="8280"/>
                    <a:pt x="12729" y="8222"/>
                    <a:pt x="12721" y="8221"/>
                  </a:cubicBezTo>
                  <a:cubicBezTo>
                    <a:pt x="12714" y="8221"/>
                    <a:pt x="12696" y="8158"/>
                    <a:pt x="12650" y="8203"/>
                  </a:cubicBezTo>
                  <a:cubicBezTo>
                    <a:pt x="12689" y="8115"/>
                    <a:pt x="12968" y="7926"/>
                    <a:pt x="12767" y="7823"/>
                  </a:cubicBezTo>
                  <a:cubicBezTo>
                    <a:pt x="12881" y="7808"/>
                    <a:pt x="12878" y="7558"/>
                    <a:pt x="12741" y="7596"/>
                  </a:cubicBezTo>
                  <a:cubicBezTo>
                    <a:pt x="12758" y="7562"/>
                    <a:pt x="12770" y="7502"/>
                    <a:pt x="12756" y="7454"/>
                  </a:cubicBezTo>
                  <a:cubicBezTo>
                    <a:pt x="12729" y="7362"/>
                    <a:pt x="12724" y="7501"/>
                    <a:pt x="12724" y="7501"/>
                  </a:cubicBezTo>
                  <a:cubicBezTo>
                    <a:pt x="12712" y="7496"/>
                    <a:pt x="12687" y="7519"/>
                    <a:pt x="12669" y="7511"/>
                  </a:cubicBezTo>
                  <a:cubicBezTo>
                    <a:pt x="12668" y="7511"/>
                    <a:pt x="12689" y="7443"/>
                    <a:pt x="12680" y="7438"/>
                  </a:cubicBezTo>
                  <a:cubicBezTo>
                    <a:pt x="12641" y="7417"/>
                    <a:pt x="12624" y="7402"/>
                    <a:pt x="12577" y="7456"/>
                  </a:cubicBezTo>
                  <a:cubicBezTo>
                    <a:pt x="12618" y="7332"/>
                    <a:pt x="12622" y="7311"/>
                    <a:pt x="12551" y="7316"/>
                  </a:cubicBezTo>
                  <a:cubicBezTo>
                    <a:pt x="12520" y="7318"/>
                    <a:pt x="12496" y="7298"/>
                    <a:pt x="12460" y="7327"/>
                  </a:cubicBezTo>
                  <a:cubicBezTo>
                    <a:pt x="12445" y="7339"/>
                    <a:pt x="12454" y="7397"/>
                    <a:pt x="12445" y="7400"/>
                  </a:cubicBezTo>
                  <a:cubicBezTo>
                    <a:pt x="12389" y="7422"/>
                    <a:pt x="12453" y="7411"/>
                    <a:pt x="12415" y="7383"/>
                  </a:cubicBezTo>
                  <a:cubicBezTo>
                    <a:pt x="12406" y="7377"/>
                    <a:pt x="12437" y="7332"/>
                    <a:pt x="12369" y="7317"/>
                  </a:cubicBezTo>
                  <a:cubicBezTo>
                    <a:pt x="12319" y="7307"/>
                    <a:pt x="12291" y="7267"/>
                    <a:pt x="12231" y="7279"/>
                  </a:cubicBezTo>
                  <a:cubicBezTo>
                    <a:pt x="12188" y="7288"/>
                    <a:pt x="12024" y="7343"/>
                    <a:pt x="12087" y="7238"/>
                  </a:cubicBezTo>
                  <a:cubicBezTo>
                    <a:pt x="12113" y="7195"/>
                    <a:pt x="12165" y="7191"/>
                    <a:pt x="12198" y="7179"/>
                  </a:cubicBezTo>
                  <a:cubicBezTo>
                    <a:pt x="12195" y="7181"/>
                    <a:pt x="12308" y="7135"/>
                    <a:pt x="12295" y="7156"/>
                  </a:cubicBezTo>
                  <a:cubicBezTo>
                    <a:pt x="12353" y="7058"/>
                    <a:pt x="12193" y="7070"/>
                    <a:pt x="12159" y="7085"/>
                  </a:cubicBezTo>
                  <a:cubicBezTo>
                    <a:pt x="12095" y="7114"/>
                    <a:pt x="12080" y="7181"/>
                    <a:pt x="12028" y="7227"/>
                  </a:cubicBezTo>
                  <a:cubicBezTo>
                    <a:pt x="11959" y="7288"/>
                    <a:pt x="11939" y="7256"/>
                    <a:pt x="12012" y="7202"/>
                  </a:cubicBezTo>
                  <a:cubicBezTo>
                    <a:pt x="11927" y="7162"/>
                    <a:pt x="11875" y="7312"/>
                    <a:pt x="11802" y="7362"/>
                  </a:cubicBezTo>
                  <a:cubicBezTo>
                    <a:pt x="11737" y="7405"/>
                    <a:pt x="11651" y="7394"/>
                    <a:pt x="11593" y="7439"/>
                  </a:cubicBezTo>
                  <a:cubicBezTo>
                    <a:pt x="11616" y="7389"/>
                    <a:pt x="11665" y="7360"/>
                    <a:pt x="11688" y="7314"/>
                  </a:cubicBezTo>
                  <a:cubicBezTo>
                    <a:pt x="11693" y="7303"/>
                    <a:pt x="11690" y="7237"/>
                    <a:pt x="11701" y="7211"/>
                  </a:cubicBezTo>
                  <a:cubicBezTo>
                    <a:pt x="11711" y="7187"/>
                    <a:pt x="11766" y="7144"/>
                    <a:pt x="11768" y="7128"/>
                  </a:cubicBezTo>
                  <a:cubicBezTo>
                    <a:pt x="11781" y="7027"/>
                    <a:pt x="11705" y="7028"/>
                    <a:pt x="11656" y="7073"/>
                  </a:cubicBezTo>
                  <a:cubicBezTo>
                    <a:pt x="11615" y="7110"/>
                    <a:pt x="11638" y="7163"/>
                    <a:pt x="11590" y="7190"/>
                  </a:cubicBezTo>
                  <a:cubicBezTo>
                    <a:pt x="11599" y="7234"/>
                    <a:pt x="11609" y="7258"/>
                    <a:pt x="11647" y="7278"/>
                  </a:cubicBezTo>
                  <a:cubicBezTo>
                    <a:pt x="11602" y="7318"/>
                    <a:pt x="11532" y="7318"/>
                    <a:pt x="11507" y="7341"/>
                  </a:cubicBezTo>
                  <a:cubicBezTo>
                    <a:pt x="11520" y="7329"/>
                    <a:pt x="11462" y="7422"/>
                    <a:pt x="11446" y="7438"/>
                  </a:cubicBezTo>
                  <a:cubicBezTo>
                    <a:pt x="11438" y="7446"/>
                    <a:pt x="11409" y="7506"/>
                    <a:pt x="11403" y="7516"/>
                  </a:cubicBezTo>
                  <a:cubicBezTo>
                    <a:pt x="11388" y="7538"/>
                    <a:pt x="11369" y="7528"/>
                    <a:pt x="11352" y="7567"/>
                  </a:cubicBezTo>
                  <a:cubicBezTo>
                    <a:pt x="11330" y="7614"/>
                    <a:pt x="11339" y="7664"/>
                    <a:pt x="11341" y="7715"/>
                  </a:cubicBezTo>
                  <a:cubicBezTo>
                    <a:pt x="11342" y="7756"/>
                    <a:pt x="11358" y="7777"/>
                    <a:pt x="11358" y="7817"/>
                  </a:cubicBezTo>
                  <a:cubicBezTo>
                    <a:pt x="11359" y="7855"/>
                    <a:pt x="11332" y="7881"/>
                    <a:pt x="11335" y="7914"/>
                  </a:cubicBezTo>
                  <a:cubicBezTo>
                    <a:pt x="11343" y="7985"/>
                    <a:pt x="11391" y="8034"/>
                    <a:pt x="11389" y="8113"/>
                  </a:cubicBezTo>
                  <a:cubicBezTo>
                    <a:pt x="11388" y="8180"/>
                    <a:pt x="11360" y="8266"/>
                    <a:pt x="11350" y="8330"/>
                  </a:cubicBezTo>
                  <a:cubicBezTo>
                    <a:pt x="11345" y="8361"/>
                    <a:pt x="11379" y="8361"/>
                    <a:pt x="11367" y="8410"/>
                  </a:cubicBezTo>
                  <a:cubicBezTo>
                    <a:pt x="11369" y="8403"/>
                    <a:pt x="11324" y="8464"/>
                    <a:pt x="11324" y="8464"/>
                  </a:cubicBezTo>
                  <a:cubicBezTo>
                    <a:pt x="11334" y="8339"/>
                    <a:pt x="11306" y="8234"/>
                    <a:pt x="11237" y="8175"/>
                  </a:cubicBezTo>
                  <a:cubicBezTo>
                    <a:pt x="11175" y="8120"/>
                    <a:pt x="11053" y="8172"/>
                    <a:pt x="11046" y="8312"/>
                  </a:cubicBezTo>
                  <a:cubicBezTo>
                    <a:pt x="11005" y="8188"/>
                    <a:pt x="11116" y="8004"/>
                    <a:pt x="11150" y="7890"/>
                  </a:cubicBezTo>
                  <a:cubicBezTo>
                    <a:pt x="11166" y="7839"/>
                    <a:pt x="11217" y="7716"/>
                    <a:pt x="11219" y="7667"/>
                  </a:cubicBezTo>
                  <a:cubicBezTo>
                    <a:pt x="11218" y="7681"/>
                    <a:pt x="11179" y="7537"/>
                    <a:pt x="11183" y="7547"/>
                  </a:cubicBezTo>
                  <a:cubicBezTo>
                    <a:pt x="11163" y="7495"/>
                    <a:pt x="11174" y="7513"/>
                    <a:pt x="11179" y="7470"/>
                  </a:cubicBezTo>
                  <a:cubicBezTo>
                    <a:pt x="11124" y="7474"/>
                    <a:pt x="11047" y="7509"/>
                    <a:pt x="11002" y="7439"/>
                  </a:cubicBezTo>
                  <a:cubicBezTo>
                    <a:pt x="10965" y="7382"/>
                    <a:pt x="10972" y="7335"/>
                    <a:pt x="11021" y="7303"/>
                  </a:cubicBezTo>
                  <a:cubicBezTo>
                    <a:pt x="10927" y="7301"/>
                    <a:pt x="10889" y="7335"/>
                    <a:pt x="10796" y="7256"/>
                  </a:cubicBezTo>
                  <a:cubicBezTo>
                    <a:pt x="10733" y="7202"/>
                    <a:pt x="10679" y="7131"/>
                    <a:pt x="10630" y="7105"/>
                  </a:cubicBezTo>
                  <a:cubicBezTo>
                    <a:pt x="10536" y="7053"/>
                    <a:pt x="10539" y="7107"/>
                    <a:pt x="10485" y="7165"/>
                  </a:cubicBezTo>
                  <a:cubicBezTo>
                    <a:pt x="10470" y="7182"/>
                    <a:pt x="10466" y="7238"/>
                    <a:pt x="10451" y="7248"/>
                  </a:cubicBezTo>
                  <a:cubicBezTo>
                    <a:pt x="10449" y="7249"/>
                    <a:pt x="10394" y="7223"/>
                    <a:pt x="10370" y="7234"/>
                  </a:cubicBezTo>
                  <a:cubicBezTo>
                    <a:pt x="10306" y="7263"/>
                    <a:pt x="10277" y="7356"/>
                    <a:pt x="10229" y="7387"/>
                  </a:cubicBezTo>
                  <a:cubicBezTo>
                    <a:pt x="10184" y="7416"/>
                    <a:pt x="10120" y="7408"/>
                    <a:pt x="10077" y="7439"/>
                  </a:cubicBezTo>
                  <a:cubicBezTo>
                    <a:pt x="10046" y="7461"/>
                    <a:pt x="9963" y="7545"/>
                    <a:pt x="9941" y="7580"/>
                  </a:cubicBezTo>
                  <a:cubicBezTo>
                    <a:pt x="9913" y="7623"/>
                    <a:pt x="9936" y="7666"/>
                    <a:pt x="9922" y="7691"/>
                  </a:cubicBezTo>
                  <a:cubicBezTo>
                    <a:pt x="9904" y="7725"/>
                    <a:pt x="9861" y="7719"/>
                    <a:pt x="9844" y="7767"/>
                  </a:cubicBezTo>
                  <a:cubicBezTo>
                    <a:pt x="9783" y="7933"/>
                    <a:pt x="9895" y="7943"/>
                    <a:pt x="9965" y="7967"/>
                  </a:cubicBezTo>
                  <a:cubicBezTo>
                    <a:pt x="10009" y="7982"/>
                    <a:pt x="10014" y="7819"/>
                    <a:pt x="10044" y="7770"/>
                  </a:cubicBezTo>
                  <a:cubicBezTo>
                    <a:pt x="10071" y="7725"/>
                    <a:pt x="10358" y="7529"/>
                    <a:pt x="10381" y="7563"/>
                  </a:cubicBezTo>
                  <a:cubicBezTo>
                    <a:pt x="10416" y="7614"/>
                    <a:pt x="10118" y="7802"/>
                    <a:pt x="10094" y="7842"/>
                  </a:cubicBezTo>
                  <a:cubicBezTo>
                    <a:pt x="10077" y="7870"/>
                    <a:pt x="10078" y="7930"/>
                    <a:pt x="10063" y="7963"/>
                  </a:cubicBezTo>
                  <a:cubicBezTo>
                    <a:pt x="10049" y="7995"/>
                    <a:pt x="10022" y="8016"/>
                    <a:pt x="10006" y="8048"/>
                  </a:cubicBezTo>
                  <a:cubicBezTo>
                    <a:pt x="9973" y="8114"/>
                    <a:pt x="9942" y="8183"/>
                    <a:pt x="9911" y="8250"/>
                  </a:cubicBezTo>
                  <a:cubicBezTo>
                    <a:pt x="9855" y="8374"/>
                    <a:pt x="9797" y="8499"/>
                    <a:pt x="9745" y="8629"/>
                  </a:cubicBezTo>
                  <a:cubicBezTo>
                    <a:pt x="9704" y="8730"/>
                    <a:pt x="9726" y="8732"/>
                    <a:pt x="9723" y="8845"/>
                  </a:cubicBezTo>
                  <a:cubicBezTo>
                    <a:pt x="9721" y="8916"/>
                    <a:pt x="9666" y="9020"/>
                    <a:pt x="9670" y="9092"/>
                  </a:cubicBezTo>
                  <a:cubicBezTo>
                    <a:pt x="9675" y="9179"/>
                    <a:pt x="9705" y="9156"/>
                    <a:pt x="9731" y="9223"/>
                  </a:cubicBezTo>
                  <a:cubicBezTo>
                    <a:pt x="9750" y="9273"/>
                    <a:pt x="9752" y="9266"/>
                    <a:pt x="9756" y="9303"/>
                  </a:cubicBezTo>
                  <a:cubicBezTo>
                    <a:pt x="9761" y="9352"/>
                    <a:pt x="9752" y="9409"/>
                    <a:pt x="9711" y="9471"/>
                  </a:cubicBezTo>
                  <a:cubicBezTo>
                    <a:pt x="9677" y="9523"/>
                    <a:pt x="9600" y="9545"/>
                    <a:pt x="9582" y="9604"/>
                  </a:cubicBezTo>
                  <a:cubicBezTo>
                    <a:pt x="9565" y="9660"/>
                    <a:pt x="9558" y="9772"/>
                    <a:pt x="9550" y="9845"/>
                  </a:cubicBezTo>
                  <a:cubicBezTo>
                    <a:pt x="9525" y="10082"/>
                    <a:pt x="9451" y="10158"/>
                    <a:pt x="9334" y="10280"/>
                  </a:cubicBezTo>
                  <a:cubicBezTo>
                    <a:pt x="9318" y="10298"/>
                    <a:pt x="9256" y="10297"/>
                    <a:pt x="9261" y="10352"/>
                  </a:cubicBezTo>
                  <a:cubicBezTo>
                    <a:pt x="9270" y="10439"/>
                    <a:pt x="9345" y="10343"/>
                    <a:pt x="9361" y="10355"/>
                  </a:cubicBezTo>
                  <a:cubicBezTo>
                    <a:pt x="9406" y="10388"/>
                    <a:pt x="9272" y="10406"/>
                    <a:pt x="9351" y="10509"/>
                  </a:cubicBezTo>
                  <a:cubicBezTo>
                    <a:pt x="9295" y="10508"/>
                    <a:pt x="9321" y="10678"/>
                    <a:pt x="9308" y="10758"/>
                  </a:cubicBezTo>
                  <a:cubicBezTo>
                    <a:pt x="9301" y="10800"/>
                    <a:pt x="9279" y="10860"/>
                    <a:pt x="9274" y="10898"/>
                  </a:cubicBezTo>
                  <a:cubicBezTo>
                    <a:pt x="9271" y="10919"/>
                    <a:pt x="9237" y="10930"/>
                    <a:pt x="9240" y="10956"/>
                  </a:cubicBezTo>
                  <a:cubicBezTo>
                    <a:pt x="9242" y="10988"/>
                    <a:pt x="9279" y="10965"/>
                    <a:pt x="9279" y="10968"/>
                  </a:cubicBezTo>
                  <a:cubicBezTo>
                    <a:pt x="9279" y="10969"/>
                    <a:pt x="9330" y="10976"/>
                    <a:pt x="9316" y="11031"/>
                  </a:cubicBezTo>
                  <a:cubicBezTo>
                    <a:pt x="9306" y="11074"/>
                    <a:pt x="9266" y="11004"/>
                    <a:pt x="9256" y="11020"/>
                  </a:cubicBezTo>
                  <a:cubicBezTo>
                    <a:pt x="9245" y="11039"/>
                    <a:pt x="9236" y="11095"/>
                    <a:pt x="9217" y="11126"/>
                  </a:cubicBezTo>
                  <a:cubicBezTo>
                    <a:pt x="9174" y="11194"/>
                    <a:pt x="9138" y="11245"/>
                    <a:pt x="9079" y="11283"/>
                  </a:cubicBezTo>
                  <a:cubicBezTo>
                    <a:pt x="9096" y="11243"/>
                    <a:pt x="9254" y="11017"/>
                    <a:pt x="9206" y="10955"/>
                  </a:cubicBezTo>
                  <a:cubicBezTo>
                    <a:pt x="9159" y="10896"/>
                    <a:pt x="9031" y="11271"/>
                    <a:pt x="9014" y="11076"/>
                  </a:cubicBezTo>
                  <a:cubicBezTo>
                    <a:pt x="9078" y="11084"/>
                    <a:pt x="9069" y="10603"/>
                    <a:pt x="9224" y="10640"/>
                  </a:cubicBezTo>
                  <a:cubicBezTo>
                    <a:pt x="9193" y="10545"/>
                    <a:pt x="9086" y="10546"/>
                    <a:pt x="9017" y="10555"/>
                  </a:cubicBezTo>
                  <a:cubicBezTo>
                    <a:pt x="8959" y="10561"/>
                    <a:pt x="8920" y="10588"/>
                    <a:pt x="8856" y="10581"/>
                  </a:cubicBezTo>
                  <a:cubicBezTo>
                    <a:pt x="8807" y="10576"/>
                    <a:pt x="8758" y="10561"/>
                    <a:pt x="8709" y="10561"/>
                  </a:cubicBezTo>
                  <a:cubicBezTo>
                    <a:pt x="8600" y="10561"/>
                    <a:pt x="8451" y="10615"/>
                    <a:pt x="8358" y="10691"/>
                  </a:cubicBezTo>
                  <a:cubicBezTo>
                    <a:pt x="8305" y="10735"/>
                    <a:pt x="8312" y="10845"/>
                    <a:pt x="8267" y="10747"/>
                  </a:cubicBezTo>
                  <a:cubicBezTo>
                    <a:pt x="8235" y="10679"/>
                    <a:pt x="8285" y="10588"/>
                    <a:pt x="8218" y="10516"/>
                  </a:cubicBezTo>
                  <a:cubicBezTo>
                    <a:pt x="8285" y="10540"/>
                    <a:pt x="8309" y="10576"/>
                    <a:pt x="8381" y="10573"/>
                  </a:cubicBezTo>
                  <a:cubicBezTo>
                    <a:pt x="8423" y="10571"/>
                    <a:pt x="8452" y="10556"/>
                    <a:pt x="8492" y="10541"/>
                  </a:cubicBezTo>
                  <a:cubicBezTo>
                    <a:pt x="8615" y="10496"/>
                    <a:pt x="8692" y="10487"/>
                    <a:pt x="8811" y="10514"/>
                  </a:cubicBezTo>
                  <a:cubicBezTo>
                    <a:pt x="8881" y="10529"/>
                    <a:pt x="9069" y="10558"/>
                    <a:pt x="9082" y="10480"/>
                  </a:cubicBezTo>
                  <a:cubicBezTo>
                    <a:pt x="9096" y="10400"/>
                    <a:pt x="9022" y="10372"/>
                    <a:pt x="8991" y="10289"/>
                  </a:cubicBezTo>
                  <a:cubicBezTo>
                    <a:pt x="8966" y="10225"/>
                    <a:pt x="8929" y="10133"/>
                    <a:pt x="9000" y="10104"/>
                  </a:cubicBezTo>
                  <a:cubicBezTo>
                    <a:pt x="8953" y="10092"/>
                    <a:pt x="8902" y="10073"/>
                    <a:pt x="8858" y="10056"/>
                  </a:cubicBezTo>
                  <a:cubicBezTo>
                    <a:pt x="8864" y="10056"/>
                    <a:pt x="8911" y="10036"/>
                    <a:pt x="8915" y="10028"/>
                  </a:cubicBezTo>
                  <a:cubicBezTo>
                    <a:pt x="8948" y="9957"/>
                    <a:pt x="8985" y="9895"/>
                    <a:pt x="9024" y="9828"/>
                  </a:cubicBezTo>
                  <a:cubicBezTo>
                    <a:pt x="9128" y="9649"/>
                    <a:pt x="8994" y="9846"/>
                    <a:pt x="9012" y="9707"/>
                  </a:cubicBezTo>
                  <a:cubicBezTo>
                    <a:pt x="9026" y="9597"/>
                    <a:pt x="9279" y="9523"/>
                    <a:pt x="9333" y="9389"/>
                  </a:cubicBezTo>
                  <a:cubicBezTo>
                    <a:pt x="9396" y="9233"/>
                    <a:pt x="9407" y="9051"/>
                    <a:pt x="9490" y="8903"/>
                  </a:cubicBezTo>
                  <a:cubicBezTo>
                    <a:pt x="9553" y="8790"/>
                    <a:pt x="9661" y="8554"/>
                    <a:pt x="9482" y="8690"/>
                  </a:cubicBezTo>
                  <a:cubicBezTo>
                    <a:pt x="9510" y="8612"/>
                    <a:pt x="9557" y="8532"/>
                    <a:pt x="9609" y="8485"/>
                  </a:cubicBezTo>
                  <a:cubicBezTo>
                    <a:pt x="9669" y="8431"/>
                    <a:pt x="9752" y="8436"/>
                    <a:pt x="9788" y="8326"/>
                  </a:cubicBezTo>
                  <a:cubicBezTo>
                    <a:pt x="9812" y="8248"/>
                    <a:pt x="9786" y="8124"/>
                    <a:pt x="9789" y="8048"/>
                  </a:cubicBezTo>
                  <a:cubicBezTo>
                    <a:pt x="9794" y="7973"/>
                    <a:pt x="9791" y="7839"/>
                    <a:pt x="9804" y="7758"/>
                  </a:cubicBezTo>
                  <a:cubicBezTo>
                    <a:pt x="9775" y="7776"/>
                    <a:pt x="9785" y="7785"/>
                    <a:pt x="9771" y="7811"/>
                  </a:cubicBezTo>
                  <a:cubicBezTo>
                    <a:pt x="9717" y="7909"/>
                    <a:pt x="9703" y="8090"/>
                    <a:pt x="9659" y="8196"/>
                  </a:cubicBezTo>
                  <a:cubicBezTo>
                    <a:pt x="9634" y="8255"/>
                    <a:pt x="9591" y="8310"/>
                    <a:pt x="9561" y="8384"/>
                  </a:cubicBezTo>
                  <a:cubicBezTo>
                    <a:pt x="9535" y="8445"/>
                    <a:pt x="9499" y="8522"/>
                    <a:pt x="9469" y="8579"/>
                  </a:cubicBezTo>
                  <a:cubicBezTo>
                    <a:pt x="9401" y="8708"/>
                    <a:pt x="9319" y="8861"/>
                    <a:pt x="9237" y="8974"/>
                  </a:cubicBezTo>
                  <a:cubicBezTo>
                    <a:pt x="9214" y="9006"/>
                    <a:pt x="9154" y="9111"/>
                    <a:pt x="9127" y="9120"/>
                  </a:cubicBezTo>
                  <a:cubicBezTo>
                    <a:pt x="8993" y="9165"/>
                    <a:pt x="9081" y="9020"/>
                    <a:pt x="9127" y="8972"/>
                  </a:cubicBezTo>
                  <a:cubicBezTo>
                    <a:pt x="9239" y="8855"/>
                    <a:pt x="9286" y="8699"/>
                    <a:pt x="9375" y="8545"/>
                  </a:cubicBezTo>
                  <a:cubicBezTo>
                    <a:pt x="9448" y="8419"/>
                    <a:pt x="9525" y="8326"/>
                    <a:pt x="9601" y="8210"/>
                  </a:cubicBezTo>
                  <a:cubicBezTo>
                    <a:pt x="9680" y="8090"/>
                    <a:pt x="9678" y="7904"/>
                    <a:pt x="9746" y="7773"/>
                  </a:cubicBezTo>
                  <a:cubicBezTo>
                    <a:pt x="9778" y="7710"/>
                    <a:pt x="9860" y="7662"/>
                    <a:pt x="9883" y="7589"/>
                  </a:cubicBezTo>
                  <a:cubicBezTo>
                    <a:pt x="9893" y="7555"/>
                    <a:pt x="9853" y="7538"/>
                    <a:pt x="9860" y="7509"/>
                  </a:cubicBezTo>
                  <a:cubicBezTo>
                    <a:pt x="9864" y="7495"/>
                    <a:pt x="9887" y="7464"/>
                    <a:pt x="9888" y="7457"/>
                  </a:cubicBezTo>
                  <a:cubicBezTo>
                    <a:pt x="9892" y="7420"/>
                    <a:pt x="9917" y="7381"/>
                    <a:pt x="9920" y="7344"/>
                  </a:cubicBezTo>
                  <a:cubicBezTo>
                    <a:pt x="9883" y="7388"/>
                    <a:pt x="9852" y="7447"/>
                    <a:pt x="9818" y="7490"/>
                  </a:cubicBezTo>
                  <a:cubicBezTo>
                    <a:pt x="9852" y="7254"/>
                    <a:pt x="9948" y="7172"/>
                    <a:pt x="10068" y="7031"/>
                  </a:cubicBezTo>
                  <a:cubicBezTo>
                    <a:pt x="10119" y="6972"/>
                    <a:pt x="10200" y="6901"/>
                    <a:pt x="10237" y="6809"/>
                  </a:cubicBezTo>
                  <a:cubicBezTo>
                    <a:pt x="10285" y="6691"/>
                    <a:pt x="10220" y="6567"/>
                    <a:pt x="10316" y="6541"/>
                  </a:cubicBezTo>
                  <a:cubicBezTo>
                    <a:pt x="10245" y="6508"/>
                    <a:pt x="10157" y="6674"/>
                    <a:pt x="10106" y="6739"/>
                  </a:cubicBezTo>
                  <a:cubicBezTo>
                    <a:pt x="10089" y="6642"/>
                    <a:pt x="10194" y="6592"/>
                    <a:pt x="10236" y="6532"/>
                  </a:cubicBezTo>
                  <a:cubicBezTo>
                    <a:pt x="10275" y="6477"/>
                    <a:pt x="10339" y="6274"/>
                    <a:pt x="10225" y="6348"/>
                  </a:cubicBezTo>
                  <a:cubicBezTo>
                    <a:pt x="10260" y="6301"/>
                    <a:pt x="10262" y="6272"/>
                    <a:pt x="10246" y="6235"/>
                  </a:cubicBezTo>
                  <a:cubicBezTo>
                    <a:pt x="10270" y="6290"/>
                    <a:pt x="10119" y="6192"/>
                    <a:pt x="10141" y="6195"/>
                  </a:cubicBezTo>
                  <a:cubicBezTo>
                    <a:pt x="10037" y="6181"/>
                    <a:pt x="10059" y="6244"/>
                    <a:pt x="10008" y="6320"/>
                  </a:cubicBezTo>
                  <a:cubicBezTo>
                    <a:pt x="9941" y="6421"/>
                    <a:pt x="9933" y="6374"/>
                    <a:pt x="9855" y="6357"/>
                  </a:cubicBezTo>
                  <a:cubicBezTo>
                    <a:pt x="9786" y="6343"/>
                    <a:pt x="9711" y="6362"/>
                    <a:pt x="9648" y="6420"/>
                  </a:cubicBezTo>
                  <a:cubicBezTo>
                    <a:pt x="9636" y="6432"/>
                    <a:pt x="9656" y="6474"/>
                    <a:pt x="9644" y="6486"/>
                  </a:cubicBezTo>
                  <a:cubicBezTo>
                    <a:pt x="9630" y="6503"/>
                    <a:pt x="9607" y="6479"/>
                    <a:pt x="9597" y="6490"/>
                  </a:cubicBezTo>
                  <a:cubicBezTo>
                    <a:pt x="9583" y="6503"/>
                    <a:pt x="9521" y="6562"/>
                    <a:pt x="9502" y="6563"/>
                  </a:cubicBezTo>
                  <a:cubicBezTo>
                    <a:pt x="9417" y="6569"/>
                    <a:pt x="9412" y="6481"/>
                    <a:pt x="9330" y="6597"/>
                  </a:cubicBezTo>
                  <a:cubicBezTo>
                    <a:pt x="9314" y="6620"/>
                    <a:pt x="9281" y="6635"/>
                    <a:pt x="9273" y="6669"/>
                  </a:cubicBezTo>
                  <a:cubicBezTo>
                    <a:pt x="9265" y="6699"/>
                    <a:pt x="9323" y="6738"/>
                    <a:pt x="9317" y="6749"/>
                  </a:cubicBezTo>
                  <a:cubicBezTo>
                    <a:pt x="9277" y="6829"/>
                    <a:pt x="9196" y="6717"/>
                    <a:pt x="9165" y="6841"/>
                  </a:cubicBezTo>
                  <a:cubicBezTo>
                    <a:pt x="9168" y="6820"/>
                    <a:pt x="9162" y="6780"/>
                    <a:pt x="9165" y="6751"/>
                  </a:cubicBezTo>
                  <a:cubicBezTo>
                    <a:pt x="9117" y="6782"/>
                    <a:pt x="9075" y="6815"/>
                    <a:pt x="9025" y="6846"/>
                  </a:cubicBezTo>
                  <a:cubicBezTo>
                    <a:pt x="8998" y="6864"/>
                    <a:pt x="8930" y="6798"/>
                    <a:pt x="8989" y="6932"/>
                  </a:cubicBezTo>
                  <a:cubicBezTo>
                    <a:pt x="8934" y="6792"/>
                    <a:pt x="8918" y="6923"/>
                    <a:pt x="8895" y="6931"/>
                  </a:cubicBezTo>
                  <a:cubicBezTo>
                    <a:pt x="8808" y="6962"/>
                    <a:pt x="8857" y="6935"/>
                    <a:pt x="8798" y="6886"/>
                  </a:cubicBezTo>
                  <a:cubicBezTo>
                    <a:pt x="8753" y="6850"/>
                    <a:pt x="8811" y="6822"/>
                    <a:pt x="8751" y="6860"/>
                  </a:cubicBezTo>
                  <a:cubicBezTo>
                    <a:pt x="8760" y="6854"/>
                    <a:pt x="8736" y="6942"/>
                    <a:pt x="8717" y="6957"/>
                  </a:cubicBezTo>
                  <a:cubicBezTo>
                    <a:pt x="8695" y="6853"/>
                    <a:pt x="8757" y="6802"/>
                    <a:pt x="8712" y="6736"/>
                  </a:cubicBezTo>
                  <a:cubicBezTo>
                    <a:pt x="8669" y="6674"/>
                    <a:pt x="8589" y="6698"/>
                    <a:pt x="8592" y="6772"/>
                  </a:cubicBezTo>
                  <a:cubicBezTo>
                    <a:pt x="8577" y="6686"/>
                    <a:pt x="8590" y="6501"/>
                    <a:pt x="8528" y="6448"/>
                  </a:cubicBezTo>
                  <a:cubicBezTo>
                    <a:pt x="8543" y="6461"/>
                    <a:pt x="8433" y="6515"/>
                    <a:pt x="8436" y="6505"/>
                  </a:cubicBezTo>
                  <a:cubicBezTo>
                    <a:pt x="8430" y="6528"/>
                    <a:pt x="8474" y="6609"/>
                    <a:pt x="8467" y="6657"/>
                  </a:cubicBezTo>
                  <a:cubicBezTo>
                    <a:pt x="8409" y="6483"/>
                    <a:pt x="8430" y="6700"/>
                    <a:pt x="8433" y="6693"/>
                  </a:cubicBezTo>
                  <a:cubicBezTo>
                    <a:pt x="8420" y="6722"/>
                    <a:pt x="8388" y="6705"/>
                    <a:pt x="8368" y="6774"/>
                  </a:cubicBezTo>
                  <a:cubicBezTo>
                    <a:pt x="8369" y="6771"/>
                    <a:pt x="8373" y="6930"/>
                    <a:pt x="8371" y="6954"/>
                  </a:cubicBezTo>
                  <a:cubicBezTo>
                    <a:pt x="8366" y="7003"/>
                    <a:pt x="8332" y="7010"/>
                    <a:pt x="8354" y="7080"/>
                  </a:cubicBezTo>
                  <a:cubicBezTo>
                    <a:pt x="8305" y="7027"/>
                    <a:pt x="8334" y="6759"/>
                    <a:pt x="8340" y="6672"/>
                  </a:cubicBezTo>
                  <a:cubicBezTo>
                    <a:pt x="8345" y="6599"/>
                    <a:pt x="8405" y="6518"/>
                    <a:pt x="8341" y="6446"/>
                  </a:cubicBezTo>
                  <a:cubicBezTo>
                    <a:pt x="8279" y="6376"/>
                    <a:pt x="8292" y="6518"/>
                    <a:pt x="8297" y="6567"/>
                  </a:cubicBezTo>
                  <a:cubicBezTo>
                    <a:pt x="8255" y="6372"/>
                    <a:pt x="8235" y="6599"/>
                    <a:pt x="8241" y="6674"/>
                  </a:cubicBezTo>
                  <a:cubicBezTo>
                    <a:pt x="8249" y="6781"/>
                    <a:pt x="8261" y="6889"/>
                    <a:pt x="8283" y="6991"/>
                  </a:cubicBezTo>
                  <a:cubicBezTo>
                    <a:pt x="8201" y="6942"/>
                    <a:pt x="8200" y="7275"/>
                    <a:pt x="8178" y="7377"/>
                  </a:cubicBezTo>
                  <a:cubicBezTo>
                    <a:pt x="8159" y="7469"/>
                    <a:pt x="8117" y="7545"/>
                    <a:pt x="8140" y="7648"/>
                  </a:cubicBezTo>
                  <a:cubicBezTo>
                    <a:pt x="8165" y="7761"/>
                    <a:pt x="8229" y="7767"/>
                    <a:pt x="8179" y="7896"/>
                  </a:cubicBezTo>
                  <a:cubicBezTo>
                    <a:pt x="8114" y="8068"/>
                    <a:pt x="8155" y="7863"/>
                    <a:pt x="8149" y="7796"/>
                  </a:cubicBezTo>
                  <a:cubicBezTo>
                    <a:pt x="8136" y="7663"/>
                    <a:pt x="8092" y="7700"/>
                    <a:pt x="8101" y="7541"/>
                  </a:cubicBezTo>
                  <a:cubicBezTo>
                    <a:pt x="8110" y="7380"/>
                    <a:pt x="8117" y="7308"/>
                    <a:pt x="8140" y="7187"/>
                  </a:cubicBezTo>
                  <a:cubicBezTo>
                    <a:pt x="8160" y="7082"/>
                    <a:pt x="8152" y="7034"/>
                    <a:pt x="8158" y="6937"/>
                  </a:cubicBezTo>
                  <a:cubicBezTo>
                    <a:pt x="8163" y="6870"/>
                    <a:pt x="8158" y="6701"/>
                    <a:pt x="8114" y="6841"/>
                  </a:cubicBezTo>
                  <a:cubicBezTo>
                    <a:pt x="7986" y="6488"/>
                    <a:pt x="8097" y="7024"/>
                    <a:pt x="7980" y="6984"/>
                  </a:cubicBezTo>
                  <a:cubicBezTo>
                    <a:pt x="7905" y="6959"/>
                    <a:pt x="7923" y="7122"/>
                    <a:pt x="7893" y="7153"/>
                  </a:cubicBezTo>
                  <a:cubicBezTo>
                    <a:pt x="7851" y="7197"/>
                    <a:pt x="7763" y="7116"/>
                    <a:pt x="7790" y="7254"/>
                  </a:cubicBezTo>
                  <a:cubicBezTo>
                    <a:pt x="7675" y="7178"/>
                    <a:pt x="7795" y="7144"/>
                    <a:pt x="7829" y="7082"/>
                  </a:cubicBezTo>
                  <a:cubicBezTo>
                    <a:pt x="7855" y="7031"/>
                    <a:pt x="7870" y="6924"/>
                    <a:pt x="7869" y="6889"/>
                  </a:cubicBezTo>
                  <a:cubicBezTo>
                    <a:pt x="7865" y="6825"/>
                    <a:pt x="7820" y="6783"/>
                    <a:pt x="7804" y="6763"/>
                  </a:cubicBezTo>
                  <a:cubicBezTo>
                    <a:pt x="7736" y="6681"/>
                    <a:pt x="7706" y="6702"/>
                    <a:pt x="7694" y="6834"/>
                  </a:cubicBezTo>
                  <a:cubicBezTo>
                    <a:pt x="7690" y="6877"/>
                    <a:pt x="7694" y="6907"/>
                    <a:pt x="7687" y="6944"/>
                  </a:cubicBezTo>
                  <a:cubicBezTo>
                    <a:pt x="7683" y="6962"/>
                    <a:pt x="7706" y="6967"/>
                    <a:pt x="7698" y="6998"/>
                  </a:cubicBezTo>
                  <a:cubicBezTo>
                    <a:pt x="7694" y="7012"/>
                    <a:pt x="7668" y="7010"/>
                    <a:pt x="7665" y="7024"/>
                  </a:cubicBezTo>
                  <a:cubicBezTo>
                    <a:pt x="7650" y="7082"/>
                    <a:pt x="7631" y="7082"/>
                    <a:pt x="7636" y="7177"/>
                  </a:cubicBezTo>
                  <a:cubicBezTo>
                    <a:pt x="7646" y="7360"/>
                    <a:pt x="7616" y="7507"/>
                    <a:pt x="7611" y="7685"/>
                  </a:cubicBezTo>
                  <a:cubicBezTo>
                    <a:pt x="7580" y="7626"/>
                    <a:pt x="7579" y="7477"/>
                    <a:pt x="7621" y="7461"/>
                  </a:cubicBezTo>
                  <a:cubicBezTo>
                    <a:pt x="7609" y="7344"/>
                    <a:pt x="7581" y="7117"/>
                    <a:pt x="7597" y="7006"/>
                  </a:cubicBezTo>
                  <a:cubicBezTo>
                    <a:pt x="7554" y="7064"/>
                    <a:pt x="7538" y="7181"/>
                    <a:pt x="7541" y="7271"/>
                  </a:cubicBezTo>
                  <a:cubicBezTo>
                    <a:pt x="7523" y="7211"/>
                    <a:pt x="7503" y="7141"/>
                    <a:pt x="7498" y="7070"/>
                  </a:cubicBezTo>
                  <a:cubicBezTo>
                    <a:pt x="7468" y="7141"/>
                    <a:pt x="7446" y="7220"/>
                    <a:pt x="7432" y="7314"/>
                  </a:cubicBezTo>
                  <a:cubicBezTo>
                    <a:pt x="7425" y="7354"/>
                    <a:pt x="7431" y="7420"/>
                    <a:pt x="7422" y="7454"/>
                  </a:cubicBezTo>
                  <a:cubicBezTo>
                    <a:pt x="7412" y="7495"/>
                    <a:pt x="7380" y="7505"/>
                    <a:pt x="7376" y="7533"/>
                  </a:cubicBezTo>
                  <a:cubicBezTo>
                    <a:pt x="7369" y="7586"/>
                    <a:pt x="7394" y="7627"/>
                    <a:pt x="7390" y="7673"/>
                  </a:cubicBezTo>
                  <a:cubicBezTo>
                    <a:pt x="7386" y="7716"/>
                    <a:pt x="7361" y="7749"/>
                    <a:pt x="7356" y="7792"/>
                  </a:cubicBezTo>
                  <a:cubicBezTo>
                    <a:pt x="7346" y="7875"/>
                    <a:pt x="7352" y="7949"/>
                    <a:pt x="7336" y="8033"/>
                  </a:cubicBezTo>
                  <a:cubicBezTo>
                    <a:pt x="7293" y="7909"/>
                    <a:pt x="7326" y="7866"/>
                    <a:pt x="7340" y="7747"/>
                  </a:cubicBezTo>
                  <a:cubicBezTo>
                    <a:pt x="7353" y="7638"/>
                    <a:pt x="7343" y="7522"/>
                    <a:pt x="7346" y="7414"/>
                  </a:cubicBezTo>
                  <a:cubicBezTo>
                    <a:pt x="7350" y="7234"/>
                    <a:pt x="7346" y="7308"/>
                    <a:pt x="7317" y="7410"/>
                  </a:cubicBezTo>
                  <a:cubicBezTo>
                    <a:pt x="7319" y="7402"/>
                    <a:pt x="7287" y="7403"/>
                    <a:pt x="7279" y="7435"/>
                  </a:cubicBezTo>
                  <a:cubicBezTo>
                    <a:pt x="7272" y="7458"/>
                    <a:pt x="7285" y="7492"/>
                    <a:pt x="7277" y="7515"/>
                  </a:cubicBezTo>
                  <a:cubicBezTo>
                    <a:pt x="7261" y="7560"/>
                    <a:pt x="7266" y="7604"/>
                    <a:pt x="7242" y="7639"/>
                  </a:cubicBezTo>
                  <a:cubicBezTo>
                    <a:pt x="7275" y="7515"/>
                    <a:pt x="7236" y="7390"/>
                    <a:pt x="7246" y="7274"/>
                  </a:cubicBezTo>
                  <a:cubicBezTo>
                    <a:pt x="7245" y="7284"/>
                    <a:pt x="7288" y="7288"/>
                    <a:pt x="7290" y="7242"/>
                  </a:cubicBezTo>
                  <a:cubicBezTo>
                    <a:pt x="7290" y="7221"/>
                    <a:pt x="7266" y="7168"/>
                    <a:pt x="7261" y="7142"/>
                  </a:cubicBezTo>
                  <a:cubicBezTo>
                    <a:pt x="7245" y="7056"/>
                    <a:pt x="7242" y="7044"/>
                    <a:pt x="7253" y="6975"/>
                  </a:cubicBezTo>
                  <a:cubicBezTo>
                    <a:pt x="7260" y="6932"/>
                    <a:pt x="7384" y="6701"/>
                    <a:pt x="7249" y="6713"/>
                  </a:cubicBezTo>
                  <a:cubicBezTo>
                    <a:pt x="7151" y="6721"/>
                    <a:pt x="7274" y="6853"/>
                    <a:pt x="7199" y="6925"/>
                  </a:cubicBezTo>
                  <a:cubicBezTo>
                    <a:pt x="7191" y="6877"/>
                    <a:pt x="7188" y="6822"/>
                    <a:pt x="7179" y="6782"/>
                  </a:cubicBezTo>
                  <a:cubicBezTo>
                    <a:pt x="7122" y="6929"/>
                    <a:pt x="7224" y="7048"/>
                    <a:pt x="7183" y="7174"/>
                  </a:cubicBezTo>
                  <a:cubicBezTo>
                    <a:pt x="7173" y="7087"/>
                    <a:pt x="7139" y="7011"/>
                    <a:pt x="7132" y="6935"/>
                  </a:cubicBezTo>
                  <a:cubicBezTo>
                    <a:pt x="7127" y="6873"/>
                    <a:pt x="7136" y="6809"/>
                    <a:pt x="7133" y="6744"/>
                  </a:cubicBezTo>
                  <a:cubicBezTo>
                    <a:pt x="7131" y="6719"/>
                    <a:pt x="7178" y="6767"/>
                    <a:pt x="7143" y="6693"/>
                  </a:cubicBezTo>
                  <a:cubicBezTo>
                    <a:pt x="7125" y="6656"/>
                    <a:pt x="7101" y="6606"/>
                    <a:pt x="7075" y="6640"/>
                  </a:cubicBezTo>
                  <a:cubicBezTo>
                    <a:pt x="7058" y="6660"/>
                    <a:pt x="7075" y="6818"/>
                    <a:pt x="7067" y="6856"/>
                  </a:cubicBezTo>
                  <a:cubicBezTo>
                    <a:pt x="7056" y="6797"/>
                    <a:pt x="7054" y="6659"/>
                    <a:pt x="7017" y="6623"/>
                  </a:cubicBezTo>
                  <a:cubicBezTo>
                    <a:pt x="6955" y="6560"/>
                    <a:pt x="6911" y="6638"/>
                    <a:pt x="6922" y="6726"/>
                  </a:cubicBezTo>
                  <a:cubicBezTo>
                    <a:pt x="6869" y="6574"/>
                    <a:pt x="6934" y="6588"/>
                    <a:pt x="6948" y="6470"/>
                  </a:cubicBezTo>
                  <a:cubicBezTo>
                    <a:pt x="6953" y="6428"/>
                    <a:pt x="6926" y="6264"/>
                    <a:pt x="6905" y="6220"/>
                  </a:cubicBezTo>
                  <a:cubicBezTo>
                    <a:pt x="6899" y="6237"/>
                    <a:pt x="6903" y="6251"/>
                    <a:pt x="6898" y="6267"/>
                  </a:cubicBezTo>
                  <a:cubicBezTo>
                    <a:pt x="6889" y="6265"/>
                    <a:pt x="6774" y="6286"/>
                    <a:pt x="6775" y="6286"/>
                  </a:cubicBezTo>
                  <a:cubicBezTo>
                    <a:pt x="6749" y="6345"/>
                    <a:pt x="6778" y="6404"/>
                    <a:pt x="6793" y="6478"/>
                  </a:cubicBezTo>
                  <a:cubicBezTo>
                    <a:pt x="6823" y="6621"/>
                    <a:pt x="6829" y="6751"/>
                    <a:pt x="6838" y="6896"/>
                  </a:cubicBezTo>
                  <a:cubicBezTo>
                    <a:pt x="6791" y="6791"/>
                    <a:pt x="6779" y="6625"/>
                    <a:pt x="6741" y="6513"/>
                  </a:cubicBezTo>
                  <a:cubicBezTo>
                    <a:pt x="6737" y="6501"/>
                    <a:pt x="6673" y="6359"/>
                    <a:pt x="6681" y="6363"/>
                  </a:cubicBezTo>
                  <a:cubicBezTo>
                    <a:pt x="6606" y="6324"/>
                    <a:pt x="6645" y="6440"/>
                    <a:pt x="6639" y="6504"/>
                  </a:cubicBezTo>
                  <a:cubicBezTo>
                    <a:pt x="6629" y="6612"/>
                    <a:pt x="6591" y="6692"/>
                    <a:pt x="6515" y="6738"/>
                  </a:cubicBezTo>
                  <a:cubicBezTo>
                    <a:pt x="6405" y="6802"/>
                    <a:pt x="6570" y="6622"/>
                    <a:pt x="6579" y="6547"/>
                  </a:cubicBezTo>
                  <a:cubicBezTo>
                    <a:pt x="6598" y="6367"/>
                    <a:pt x="6497" y="6405"/>
                    <a:pt x="6425" y="6467"/>
                  </a:cubicBezTo>
                  <a:cubicBezTo>
                    <a:pt x="6376" y="6509"/>
                    <a:pt x="6334" y="6594"/>
                    <a:pt x="6291" y="6629"/>
                  </a:cubicBezTo>
                  <a:cubicBezTo>
                    <a:pt x="6268" y="6648"/>
                    <a:pt x="6226" y="6672"/>
                    <a:pt x="6198" y="6656"/>
                  </a:cubicBezTo>
                  <a:cubicBezTo>
                    <a:pt x="6126" y="6616"/>
                    <a:pt x="6202" y="6623"/>
                    <a:pt x="6203" y="6577"/>
                  </a:cubicBezTo>
                  <a:cubicBezTo>
                    <a:pt x="6205" y="6517"/>
                    <a:pt x="6261" y="6558"/>
                    <a:pt x="6211" y="6476"/>
                  </a:cubicBezTo>
                  <a:cubicBezTo>
                    <a:pt x="6165" y="6399"/>
                    <a:pt x="6129" y="6463"/>
                    <a:pt x="6099" y="6478"/>
                  </a:cubicBezTo>
                  <a:cubicBezTo>
                    <a:pt x="6108" y="6474"/>
                    <a:pt x="6047" y="6523"/>
                    <a:pt x="6039" y="6531"/>
                  </a:cubicBezTo>
                  <a:cubicBezTo>
                    <a:pt x="6016" y="6557"/>
                    <a:pt x="5985" y="6605"/>
                    <a:pt x="5958" y="6619"/>
                  </a:cubicBezTo>
                  <a:cubicBezTo>
                    <a:pt x="5898" y="6649"/>
                    <a:pt x="5881" y="6614"/>
                    <a:pt x="5889" y="6595"/>
                  </a:cubicBezTo>
                  <a:cubicBezTo>
                    <a:pt x="5857" y="6598"/>
                    <a:pt x="5824" y="6606"/>
                    <a:pt x="5826" y="6588"/>
                  </a:cubicBezTo>
                  <a:cubicBezTo>
                    <a:pt x="5837" y="6504"/>
                    <a:pt x="5947" y="6484"/>
                    <a:pt x="5982" y="6422"/>
                  </a:cubicBezTo>
                  <a:cubicBezTo>
                    <a:pt x="5970" y="6425"/>
                    <a:pt x="5951" y="6427"/>
                    <a:pt x="5943" y="6429"/>
                  </a:cubicBezTo>
                  <a:cubicBezTo>
                    <a:pt x="5957" y="6411"/>
                    <a:pt x="5968" y="6383"/>
                    <a:pt x="5985" y="6366"/>
                  </a:cubicBezTo>
                  <a:cubicBezTo>
                    <a:pt x="5919" y="6351"/>
                    <a:pt x="5848" y="6523"/>
                    <a:pt x="5823" y="6486"/>
                  </a:cubicBezTo>
                  <a:cubicBezTo>
                    <a:pt x="5779" y="6420"/>
                    <a:pt x="5867" y="6369"/>
                    <a:pt x="5864" y="6327"/>
                  </a:cubicBezTo>
                  <a:cubicBezTo>
                    <a:pt x="5858" y="6243"/>
                    <a:pt x="5810" y="6234"/>
                    <a:pt x="5798" y="6314"/>
                  </a:cubicBezTo>
                  <a:cubicBezTo>
                    <a:pt x="5769" y="6274"/>
                    <a:pt x="5818" y="6058"/>
                    <a:pt x="5741" y="6095"/>
                  </a:cubicBezTo>
                  <a:cubicBezTo>
                    <a:pt x="5700" y="6115"/>
                    <a:pt x="5674" y="6233"/>
                    <a:pt x="5632" y="6265"/>
                  </a:cubicBezTo>
                  <a:cubicBezTo>
                    <a:pt x="5591" y="6297"/>
                    <a:pt x="5541" y="6310"/>
                    <a:pt x="5497" y="6343"/>
                  </a:cubicBezTo>
                  <a:cubicBezTo>
                    <a:pt x="5462" y="6370"/>
                    <a:pt x="5435" y="6401"/>
                    <a:pt x="5401" y="6429"/>
                  </a:cubicBezTo>
                  <a:cubicBezTo>
                    <a:pt x="5358" y="6462"/>
                    <a:pt x="5333" y="6503"/>
                    <a:pt x="5284" y="6518"/>
                  </a:cubicBezTo>
                  <a:cubicBezTo>
                    <a:pt x="5232" y="6534"/>
                    <a:pt x="5128" y="6497"/>
                    <a:pt x="5168" y="6402"/>
                  </a:cubicBezTo>
                  <a:cubicBezTo>
                    <a:pt x="5175" y="6383"/>
                    <a:pt x="5231" y="6402"/>
                    <a:pt x="5246" y="6389"/>
                  </a:cubicBezTo>
                  <a:cubicBezTo>
                    <a:pt x="5265" y="6373"/>
                    <a:pt x="5268" y="6324"/>
                    <a:pt x="5294" y="6303"/>
                  </a:cubicBezTo>
                  <a:cubicBezTo>
                    <a:pt x="5342" y="6262"/>
                    <a:pt x="5438" y="6247"/>
                    <a:pt x="5358" y="6331"/>
                  </a:cubicBezTo>
                  <a:cubicBezTo>
                    <a:pt x="5407" y="6328"/>
                    <a:pt x="5438" y="6272"/>
                    <a:pt x="5474" y="6222"/>
                  </a:cubicBezTo>
                  <a:cubicBezTo>
                    <a:pt x="5431" y="6205"/>
                    <a:pt x="5381" y="6239"/>
                    <a:pt x="5336" y="6253"/>
                  </a:cubicBezTo>
                  <a:cubicBezTo>
                    <a:pt x="5378" y="6175"/>
                    <a:pt x="5458" y="6169"/>
                    <a:pt x="5513" y="6127"/>
                  </a:cubicBezTo>
                  <a:cubicBezTo>
                    <a:pt x="5455" y="6063"/>
                    <a:pt x="5380" y="6183"/>
                    <a:pt x="5371" y="6115"/>
                  </a:cubicBezTo>
                  <a:cubicBezTo>
                    <a:pt x="5337" y="6150"/>
                    <a:pt x="5220" y="6152"/>
                    <a:pt x="5269" y="6063"/>
                  </a:cubicBezTo>
                  <a:cubicBezTo>
                    <a:pt x="5240" y="6065"/>
                    <a:pt x="5194" y="6076"/>
                    <a:pt x="5164" y="6093"/>
                  </a:cubicBezTo>
                  <a:cubicBezTo>
                    <a:pt x="5152" y="6099"/>
                    <a:pt x="5137" y="6060"/>
                    <a:pt x="5122" y="6069"/>
                  </a:cubicBezTo>
                  <a:cubicBezTo>
                    <a:pt x="5112" y="6074"/>
                    <a:pt x="5124" y="6115"/>
                    <a:pt x="5117" y="6120"/>
                  </a:cubicBezTo>
                  <a:cubicBezTo>
                    <a:pt x="5083" y="6143"/>
                    <a:pt x="5042" y="6217"/>
                    <a:pt x="4997" y="6199"/>
                  </a:cubicBezTo>
                  <a:cubicBezTo>
                    <a:pt x="4901" y="6160"/>
                    <a:pt x="5059" y="6110"/>
                    <a:pt x="5074" y="6069"/>
                  </a:cubicBezTo>
                  <a:cubicBezTo>
                    <a:pt x="5114" y="5958"/>
                    <a:pt x="5007" y="6032"/>
                    <a:pt x="4980" y="6078"/>
                  </a:cubicBezTo>
                  <a:cubicBezTo>
                    <a:pt x="4951" y="5937"/>
                    <a:pt x="5170" y="5900"/>
                    <a:pt x="5222" y="5831"/>
                  </a:cubicBezTo>
                  <a:cubicBezTo>
                    <a:pt x="5349" y="5660"/>
                    <a:pt x="5148" y="5646"/>
                    <a:pt x="5068" y="5708"/>
                  </a:cubicBezTo>
                  <a:cubicBezTo>
                    <a:pt x="4991" y="5769"/>
                    <a:pt x="4884" y="5904"/>
                    <a:pt x="4788" y="5912"/>
                  </a:cubicBezTo>
                  <a:cubicBezTo>
                    <a:pt x="4701" y="5919"/>
                    <a:pt x="4799" y="5846"/>
                    <a:pt x="4833" y="5815"/>
                  </a:cubicBezTo>
                  <a:cubicBezTo>
                    <a:pt x="4880" y="5771"/>
                    <a:pt x="4934" y="5737"/>
                    <a:pt x="4983" y="5700"/>
                  </a:cubicBezTo>
                  <a:cubicBezTo>
                    <a:pt x="4933" y="5674"/>
                    <a:pt x="4926" y="5737"/>
                    <a:pt x="4882" y="5748"/>
                  </a:cubicBezTo>
                  <a:cubicBezTo>
                    <a:pt x="4830" y="5762"/>
                    <a:pt x="4771" y="5747"/>
                    <a:pt x="4717" y="5757"/>
                  </a:cubicBezTo>
                  <a:cubicBezTo>
                    <a:pt x="4618" y="5775"/>
                    <a:pt x="4501" y="5818"/>
                    <a:pt x="4402" y="5795"/>
                  </a:cubicBezTo>
                  <a:cubicBezTo>
                    <a:pt x="4360" y="5786"/>
                    <a:pt x="4298" y="5794"/>
                    <a:pt x="4326" y="5682"/>
                  </a:cubicBezTo>
                  <a:cubicBezTo>
                    <a:pt x="4346" y="5600"/>
                    <a:pt x="4404" y="5620"/>
                    <a:pt x="4451" y="5583"/>
                  </a:cubicBezTo>
                  <a:cubicBezTo>
                    <a:pt x="4531" y="5520"/>
                    <a:pt x="4608" y="5409"/>
                    <a:pt x="4696" y="5351"/>
                  </a:cubicBezTo>
                  <a:cubicBezTo>
                    <a:pt x="4682" y="5438"/>
                    <a:pt x="4633" y="5450"/>
                    <a:pt x="4586" y="5496"/>
                  </a:cubicBezTo>
                  <a:cubicBezTo>
                    <a:pt x="4540" y="5542"/>
                    <a:pt x="4517" y="5563"/>
                    <a:pt x="4475" y="5630"/>
                  </a:cubicBezTo>
                  <a:cubicBezTo>
                    <a:pt x="4407" y="5739"/>
                    <a:pt x="4366" y="5756"/>
                    <a:pt x="4489" y="5746"/>
                  </a:cubicBezTo>
                  <a:cubicBezTo>
                    <a:pt x="4562" y="5740"/>
                    <a:pt x="4631" y="5712"/>
                    <a:pt x="4700" y="5692"/>
                  </a:cubicBezTo>
                  <a:cubicBezTo>
                    <a:pt x="4760" y="5675"/>
                    <a:pt x="4836" y="5683"/>
                    <a:pt x="4893" y="5649"/>
                  </a:cubicBezTo>
                  <a:cubicBezTo>
                    <a:pt x="4924" y="5630"/>
                    <a:pt x="4918" y="5574"/>
                    <a:pt x="4948" y="5563"/>
                  </a:cubicBezTo>
                  <a:cubicBezTo>
                    <a:pt x="4954" y="5560"/>
                    <a:pt x="4945" y="5629"/>
                    <a:pt x="4957" y="5628"/>
                  </a:cubicBezTo>
                  <a:cubicBezTo>
                    <a:pt x="4978" y="5626"/>
                    <a:pt x="4999" y="5609"/>
                    <a:pt x="5019" y="5603"/>
                  </a:cubicBezTo>
                  <a:cubicBezTo>
                    <a:pt x="5063" y="5591"/>
                    <a:pt x="5194" y="5510"/>
                    <a:pt x="5149" y="5451"/>
                  </a:cubicBezTo>
                  <a:cubicBezTo>
                    <a:pt x="5136" y="5434"/>
                    <a:pt x="5055" y="5458"/>
                    <a:pt x="5034" y="5451"/>
                  </a:cubicBezTo>
                  <a:cubicBezTo>
                    <a:pt x="4979" y="5434"/>
                    <a:pt x="5006" y="5477"/>
                    <a:pt x="5008" y="5415"/>
                  </a:cubicBezTo>
                  <a:cubicBezTo>
                    <a:pt x="5008" y="5397"/>
                    <a:pt x="5086" y="5397"/>
                    <a:pt x="5051" y="5326"/>
                  </a:cubicBezTo>
                  <a:cubicBezTo>
                    <a:pt x="5033" y="5291"/>
                    <a:pt x="4977" y="5300"/>
                    <a:pt x="4954" y="5319"/>
                  </a:cubicBezTo>
                  <a:cubicBezTo>
                    <a:pt x="4893" y="5372"/>
                    <a:pt x="4926" y="5422"/>
                    <a:pt x="4931" y="5503"/>
                  </a:cubicBezTo>
                  <a:cubicBezTo>
                    <a:pt x="4922" y="5483"/>
                    <a:pt x="4846" y="5361"/>
                    <a:pt x="4846" y="5343"/>
                  </a:cubicBezTo>
                  <a:cubicBezTo>
                    <a:pt x="4847" y="5277"/>
                    <a:pt x="4864" y="5335"/>
                    <a:pt x="4892" y="5284"/>
                  </a:cubicBezTo>
                  <a:cubicBezTo>
                    <a:pt x="4915" y="5240"/>
                    <a:pt x="4953" y="5218"/>
                    <a:pt x="4973" y="5161"/>
                  </a:cubicBezTo>
                  <a:cubicBezTo>
                    <a:pt x="5002" y="5078"/>
                    <a:pt x="4985" y="5124"/>
                    <a:pt x="4982" y="5038"/>
                  </a:cubicBezTo>
                  <a:cubicBezTo>
                    <a:pt x="4978" y="4949"/>
                    <a:pt x="4950" y="4803"/>
                    <a:pt x="4970" y="4712"/>
                  </a:cubicBezTo>
                  <a:cubicBezTo>
                    <a:pt x="4987" y="4632"/>
                    <a:pt x="5064" y="4540"/>
                    <a:pt x="5116" y="4605"/>
                  </a:cubicBezTo>
                  <a:cubicBezTo>
                    <a:pt x="5074" y="4510"/>
                    <a:pt x="5019" y="4378"/>
                    <a:pt x="4952" y="4322"/>
                  </a:cubicBezTo>
                  <a:cubicBezTo>
                    <a:pt x="4831" y="4220"/>
                    <a:pt x="4831" y="4344"/>
                    <a:pt x="4738" y="4400"/>
                  </a:cubicBezTo>
                  <a:cubicBezTo>
                    <a:pt x="4714" y="4415"/>
                    <a:pt x="4718" y="4470"/>
                    <a:pt x="4682" y="4433"/>
                  </a:cubicBezTo>
                  <a:cubicBezTo>
                    <a:pt x="4656" y="4406"/>
                    <a:pt x="4681" y="4285"/>
                    <a:pt x="4678" y="4280"/>
                  </a:cubicBezTo>
                  <a:cubicBezTo>
                    <a:pt x="4639" y="4216"/>
                    <a:pt x="4629" y="4460"/>
                    <a:pt x="4626" y="4512"/>
                  </a:cubicBezTo>
                  <a:cubicBezTo>
                    <a:pt x="4588" y="4332"/>
                    <a:pt x="4582" y="4553"/>
                    <a:pt x="4536" y="4520"/>
                  </a:cubicBezTo>
                  <a:cubicBezTo>
                    <a:pt x="4496" y="4491"/>
                    <a:pt x="4410" y="4521"/>
                    <a:pt x="4386" y="4494"/>
                  </a:cubicBezTo>
                  <a:cubicBezTo>
                    <a:pt x="4365" y="4470"/>
                    <a:pt x="4532" y="4197"/>
                    <a:pt x="4344" y="4186"/>
                  </a:cubicBezTo>
                  <a:cubicBezTo>
                    <a:pt x="4459" y="4068"/>
                    <a:pt x="4382" y="4070"/>
                    <a:pt x="4268" y="4069"/>
                  </a:cubicBezTo>
                  <a:cubicBezTo>
                    <a:pt x="4208" y="4068"/>
                    <a:pt x="4127" y="4085"/>
                    <a:pt x="4078" y="4140"/>
                  </a:cubicBezTo>
                  <a:cubicBezTo>
                    <a:pt x="4028" y="4197"/>
                    <a:pt x="4016" y="4332"/>
                    <a:pt x="3954" y="4374"/>
                  </a:cubicBezTo>
                  <a:cubicBezTo>
                    <a:pt x="3913" y="4401"/>
                    <a:pt x="3807" y="4349"/>
                    <a:pt x="3761" y="4331"/>
                  </a:cubicBezTo>
                  <a:cubicBezTo>
                    <a:pt x="3793" y="4312"/>
                    <a:pt x="3931" y="4311"/>
                    <a:pt x="3945" y="4285"/>
                  </a:cubicBezTo>
                  <a:cubicBezTo>
                    <a:pt x="3975" y="4231"/>
                    <a:pt x="3917" y="4122"/>
                    <a:pt x="3947" y="4054"/>
                  </a:cubicBezTo>
                  <a:cubicBezTo>
                    <a:pt x="3984" y="3969"/>
                    <a:pt x="4032" y="4036"/>
                    <a:pt x="4061" y="3904"/>
                  </a:cubicBezTo>
                  <a:cubicBezTo>
                    <a:pt x="4067" y="3879"/>
                    <a:pt x="4045" y="3830"/>
                    <a:pt x="4055" y="3782"/>
                  </a:cubicBezTo>
                  <a:cubicBezTo>
                    <a:pt x="4064" y="3738"/>
                    <a:pt x="4093" y="3742"/>
                    <a:pt x="4104" y="3707"/>
                  </a:cubicBezTo>
                  <a:cubicBezTo>
                    <a:pt x="4109" y="3691"/>
                    <a:pt x="4136" y="3649"/>
                    <a:pt x="4134" y="3631"/>
                  </a:cubicBezTo>
                  <a:cubicBezTo>
                    <a:pt x="4126" y="3544"/>
                    <a:pt x="4081" y="3589"/>
                    <a:pt x="4062" y="3566"/>
                  </a:cubicBezTo>
                  <a:cubicBezTo>
                    <a:pt x="3996" y="3489"/>
                    <a:pt x="3966" y="3456"/>
                    <a:pt x="3872" y="3427"/>
                  </a:cubicBezTo>
                  <a:cubicBezTo>
                    <a:pt x="3788" y="3401"/>
                    <a:pt x="3809" y="3389"/>
                    <a:pt x="3777" y="3259"/>
                  </a:cubicBezTo>
                  <a:cubicBezTo>
                    <a:pt x="3753" y="3162"/>
                    <a:pt x="3738" y="3094"/>
                    <a:pt x="3644" y="3097"/>
                  </a:cubicBezTo>
                  <a:cubicBezTo>
                    <a:pt x="3645" y="3159"/>
                    <a:pt x="3644" y="3213"/>
                    <a:pt x="3656" y="3268"/>
                  </a:cubicBezTo>
                  <a:cubicBezTo>
                    <a:pt x="3569" y="3202"/>
                    <a:pt x="3581" y="3258"/>
                    <a:pt x="3567" y="3354"/>
                  </a:cubicBezTo>
                  <a:cubicBezTo>
                    <a:pt x="3536" y="3244"/>
                    <a:pt x="3498" y="3190"/>
                    <a:pt x="3511" y="3340"/>
                  </a:cubicBezTo>
                  <a:cubicBezTo>
                    <a:pt x="3516" y="3403"/>
                    <a:pt x="3534" y="3442"/>
                    <a:pt x="3542" y="3457"/>
                  </a:cubicBezTo>
                  <a:cubicBezTo>
                    <a:pt x="3536" y="3448"/>
                    <a:pt x="3522" y="3430"/>
                    <a:pt x="3497" y="3401"/>
                  </a:cubicBezTo>
                  <a:cubicBezTo>
                    <a:pt x="3444" y="3342"/>
                    <a:pt x="3426" y="3280"/>
                    <a:pt x="3360" y="3376"/>
                  </a:cubicBezTo>
                  <a:cubicBezTo>
                    <a:pt x="3333" y="3416"/>
                    <a:pt x="3320" y="3490"/>
                    <a:pt x="3306" y="3539"/>
                  </a:cubicBezTo>
                  <a:cubicBezTo>
                    <a:pt x="3271" y="3435"/>
                    <a:pt x="3347" y="3307"/>
                    <a:pt x="3392" y="3246"/>
                  </a:cubicBezTo>
                  <a:cubicBezTo>
                    <a:pt x="3421" y="3207"/>
                    <a:pt x="3450" y="3242"/>
                    <a:pt x="3467" y="3165"/>
                  </a:cubicBezTo>
                  <a:cubicBezTo>
                    <a:pt x="3486" y="3076"/>
                    <a:pt x="3449" y="3041"/>
                    <a:pt x="3415" y="3114"/>
                  </a:cubicBezTo>
                  <a:cubicBezTo>
                    <a:pt x="3404" y="3107"/>
                    <a:pt x="3369" y="3070"/>
                    <a:pt x="3360" y="3057"/>
                  </a:cubicBezTo>
                  <a:cubicBezTo>
                    <a:pt x="3407" y="2964"/>
                    <a:pt x="3340" y="2962"/>
                    <a:pt x="3314" y="3032"/>
                  </a:cubicBezTo>
                  <a:cubicBezTo>
                    <a:pt x="3297" y="3078"/>
                    <a:pt x="3301" y="3120"/>
                    <a:pt x="3317" y="3168"/>
                  </a:cubicBezTo>
                  <a:cubicBezTo>
                    <a:pt x="3230" y="3092"/>
                    <a:pt x="3306" y="2967"/>
                    <a:pt x="3264" y="2913"/>
                  </a:cubicBezTo>
                  <a:cubicBezTo>
                    <a:pt x="3203" y="2833"/>
                    <a:pt x="3220" y="3067"/>
                    <a:pt x="3220" y="3075"/>
                  </a:cubicBezTo>
                  <a:cubicBezTo>
                    <a:pt x="3211" y="3050"/>
                    <a:pt x="3192" y="3028"/>
                    <a:pt x="3182" y="3008"/>
                  </a:cubicBezTo>
                  <a:cubicBezTo>
                    <a:pt x="3158" y="3164"/>
                    <a:pt x="3148" y="3094"/>
                    <a:pt x="3084" y="3158"/>
                  </a:cubicBezTo>
                  <a:cubicBezTo>
                    <a:pt x="3067" y="3174"/>
                    <a:pt x="3027" y="3316"/>
                    <a:pt x="3001" y="3222"/>
                  </a:cubicBezTo>
                  <a:cubicBezTo>
                    <a:pt x="2939" y="3293"/>
                    <a:pt x="2901" y="3487"/>
                    <a:pt x="2893" y="3595"/>
                  </a:cubicBezTo>
                  <a:cubicBezTo>
                    <a:pt x="2887" y="3677"/>
                    <a:pt x="2923" y="3655"/>
                    <a:pt x="2882" y="3744"/>
                  </a:cubicBezTo>
                  <a:cubicBezTo>
                    <a:pt x="2866" y="3781"/>
                    <a:pt x="2803" y="3847"/>
                    <a:pt x="2776" y="3880"/>
                  </a:cubicBezTo>
                  <a:cubicBezTo>
                    <a:pt x="2785" y="3770"/>
                    <a:pt x="2900" y="3713"/>
                    <a:pt x="2855" y="3598"/>
                  </a:cubicBezTo>
                  <a:cubicBezTo>
                    <a:pt x="2841" y="3614"/>
                    <a:pt x="2817" y="3624"/>
                    <a:pt x="2806" y="3636"/>
                  </a:cubicBezTo>
                  <a:cubicBezTo>
                    <a:pt x="2826" y="3573"/>
                    <a:pt x="2943" y="3320"/>
                    <a:pt x="2830" y="3364"/>
                  </a:cubicBezTo>
                  <a:cubicBezTo>
                    <a:pt x="2875" y="3232"/>
                    <a:pt x="3164" y="3074"/>
                    <a:pt x="3118" y="2909"/>
                  </a:cubicBezTo>
                  <a:cubicBezTo>
                    <a:pt x="3079" y="2772"/>
                    <a:pt x="3006" y="2875"/>
                    <a:pt x="2968" y="2941"/>
                  </a:cubicBezTo>
                  <a:cubicBezTo>
                    <a:pt x="2916" y="3032"/>
                    <a:pt x="2908" y="2997"/>
                    <a:pt x="2913" y="3138"/>
                  </a:cubicBezTo>
                  <a:cubicBezTo>
                    <a:pt x="2834" y="3008"/>
                    <a:pt x="2939" y="2932"/>
                    <a:pt x="2977" y="2852"/>
                  </a:cubicBezTo>
                  <a:cubicBezTo>
                    <a:pt x="3028" y="2748"/>
                    <a:pt x="2999" y="2711"/>
                    <a:pt x="2956" y="2591"/>
                  </a:cubicBezTo>
                  <a:cubicBezTo>
                    <a:pt x="2915" y="2477"/>
                    <a:pt x="2931" y="2311"/>
                    <a:pt x="2842" y="2353"/>
                  </a:cubicBezTo>
                  <a:cubicBezTo>
                    <a:pt x="2795" y="2374"/>
                    <a:pt x="2761" y="2481"/>
                    <a:pt x="2781" y="2547"/>
                  </a:cubicBezTo>
                  <a:cubicBezTo>
                    <a:pt x="2772" y="2525"/>
                    <a:pt x="2754" y="2499"/>
                    <a:pt x="2743" y="2477"/>
                  </a:cubicBezTo>
                  <a:cubicBezTo>
                    <a:pt x="2742" y="2560"/>
                    <a:pt x="2711" y="2532"/>
                    <a:pt x="2687" y="2593"/>
                  </a:cubicBezTo>
                  <a:cubicBezTo>
                    <a:pt x="2684" y="2603"/>
                    <a:pt x="2649" y="2695"/>
                    <a:pt x="2649" y="2697"/>
                  </a:cubicBezTo>
                  <a:cubicBezTo>
                    <a:pt x="2624" y="2735"/>
                    <a:pt x="2595" y="2756"/>
                    <a:pt x="2582" y="2799"/>
                  </a:cubicBezTo>
                  <a:cubicBezTo>
                    <a:pt x="2572" y="2833"/>
                    <a:pt x="2582" y="2925"/>
                    <a:pt x="2576" y="2966"/>
                  </a:cubicBezTo>
                  <a:cubicBezTo>
                    <a:pt x="2552" y="2879"/>
                    <a:pt x="2592" y="2716"/>
                    <a:pt x="2496" y="2741"/>
                  </a:cubicBezTo>
                  <a:cubicBezTo>
                    <a:pt x="2450" y="2753"/>
                    <a:pt x="2419" y="2867"/>
                    <a:pt x="2408" y="2921"/>
                  </a:cubicBezTo>
                  <a:cubicBezTo>
                    <a:pt x="2378" y="3067"/>
                    <a:pt x="2396" y="3263"/>
                    <a:pt x="2331" y="3389"/>
                  </a:cubicBezTo>
                  <a:cubicBezTo>
                    <a:pt x="2313" y="3236"/>
                    <a:pt x="2443" y="2652"/>
                    <a:pt x="2232" y="2992"/>
                  </a:cubicBezTo>
                  <a:cubicBezTo>
                    <a:pt x="2255" y="2947"/>
                    <a:pt x="2264" y="2895"/>
                    <a:pt x="2252" y="2847"/>
                  </a:cubicBezTo>
                  <a:cubicBezTo>
                    <a:pt x="2328" y="2891"/>
                    <a:pt x="2427" y="2742"/>
                    <a:pt x="2458" y="2659"/>
                  </a:cubicBezTo>
                  <a:cubicBezTo>
                    <a:pt x="2479" y="2600"/>
                    <a:pt x="2507" y="2517"/>
                    <a:pt x="2525" y="2454"/>
                  </a:cubicBezTo>
                  <a:cubicBezTo>
                    <a:pt x="2543" y="2391"/>
                    <a:pt x="2565" y="2262"/>
                    <a:pt x="2556" y="2216"/>
                  </a:cubicBezTo>
                  <a:cubicBezTo>
                    <a:pt x="2546" y="2161"/>
                    <a:pt x="2560" y="2113"/>
                    <a:pt x="2503" y="2105"/>
                  </a:cubicBezTo>
                  <a:cubicBezTo>
                    <a:pt x="2453" y="2098"/>
                    <a:pt x="2472" y="2170"/>
                    <a:pt x="2442" y="2176"/>
                  </a:cubicBezTo>
                  <a:cubicBezTo>
                    <a:pt x="2348" y="2196"/>
                    <a:pt x="2416" y="2165"/>
                    <a:pt x="2419" y="2077"/>
                  </a:cubicBezTo>
                  <a:cubicBezTo>
                    <a:pt x="2422" y="1965"/>
                    <a:pt x="2408" y="1918"/>
                    <a:pt x="2319" y="1895"/>
                  </a:cubicBezTo>
                  <a:cubicBezTo>
                    <a:pt x="2267" y="1881"/>
                    <a:pt x="2219" y="1899"/>
                    <a:pt x="2271" y="1813"/>
                  </a:cubicBezTo>
                  <a:cubicBezTo>
                    <a:pt x="2169" y="1771"/>
                    <a:pt x="2212" y="1862"/>
                    <a:pt x="2195" y="1927"/>
                  </a:cubicBezTo>
                  <a:cubicBezTo>
                    <a:pt x="2183" y="1973"/>
                    <a:pt x="2187" y="2115"/>
                    <a:pt x="2160" y="1946"/>
                  </a:cubicBezTo>
                  <a:cubicBezTo>
                    <a:pt x="2146" y="2016"/>
                    <a:pt x="2098" y="2038"/>
                    <a:pt x="2054" y="2073"/>
                  </a:cubicBezTo>
                  <a:cubicBezTo>
                    <a:pt x="2088" y="2004"/>
                    <a:pt x="2147" y="1814"/>
                    <a:pt x="2056" y="1830"/>
                  </a:cubicBezTo>
                  <a:cubicBezTo>
                    <a:pt x="2112" y="1703"/>
                    <a:pt x="2016" y="1759"/>
                    <a:pt x="1998" y="1882"/>
                  </a:cubicBezTo>
                  <a:cubicBezTo>
                    <a:pt x="1980" y="1832"/>
                    <a:pt x="1984" y="1767"/>
                    <a:pt x="2002" y="1717"/>
                  </a:cubicBezTo>
                  <a:cubicBezTo>
                    <a:pt x="1976" y="1727"/>
                    <a:pt x="1934" y="1725"/>
                    <a:pt x="1913" y="1733"/>
                  </a:cubicBezTo>
                  <a:cubicBezTo>
                    <a:pt x="1938" y="1682"/>
                    <a:pt x="2023" y="1651"/>
                    <a:pt x="2030" y="1589"/>
                  </a:cubicBezTo>
                  <a:cubicBezTo>
                    <a:pt x="2036" y="1534"/>
                    <a:pt x="1948" y="1574"/>
                    <a:pt x="1916" y="1582"/>
                  </a:cubicBezTo>
                  <a:cubicBezTo>
                    <a:pt x="1806" y="1608"/>
                    <a:pt x="1824" y="1650"/>
                    <a:pt x="1761" y="1776"/>
                  </a:cubicBezTo>
                  <a:cubicBezTo>
                    <a:pt x="1749" y="1800"/>
                    <a:pt x="1771" y="1827"/>
                    <a:pt x="1756" y="1850"/>
                  </a:cubicBezTo>
                  <a:cubicBezTo>
                    <a:pt x="1741" y="1874"/>
                    <a:pt x="1706" y="1867"/>
                    <a:pt x="1689" y="1892"/>
                  </a:cubicBezTo>
                  <a:cubicBezTo>
                    <a:pt x="1662" y="1931"/>
                    <a:pt x="1641" y="2005"/>
                    <a:pt x="1609" y="2034"/>
                  </a:cubicBezTo>
                  <a:cubicBezTo>
                    <a:pt x="1573" y="2066"/>
                    <a:pt x="1521" y="1972"/>
                    <a:pt x="1523" y="2098"/>
                  </a:cubicBezTo>
                  <a:cubicBezTo>
                    <a:pt x="1524" y="2126"/>
                    <a:pt x="1574" y="2197"/>
                    <a:pt x="1581" y="2224"/>
                  </a:cubicBezTo>
                  <a:cubicBezTo>
                    <a:pt x="1542" y="2190"/>
                    <a:pt x="1496" y="2006"/>
                    <a:pt x="1441" y="2056"/>
                  </a:cubicBezTo>
                  <a:cubicBezTo>
                    <a:pt x="1437" y="2060"/>
                    <a:pt x="1433" y="2175"/>
                    <a:pt x="1416" y="2203"/>
                  </a:cubicBezTo>
                  <a:cubicBezTo>
                    <a:pt x="1356" y="1940"/>
                    <a:pt x="1603" y="1983"/>
                    <a:pt x="1692" y="1804"/>
                  </a:cubicBezTo>
                  <a:cubicBezTo>
                    <a:pt x="1718" y="1752"/>
                    <a:pt x="1748" y="1613"/>
                    <a:pt x="1752" y="1545"/>
                  </a:cubicBezTo>
                  <a:cubicBezTo>
                    <a:pt x="1759" y="1430"/>
                    <a:pt x="1674" y="1322"/>
                    <a:pt x="1684" y="1479"/>
                  </a:cubicBezTo>
                  <a:cubicBezTo>
                    <a:pt x="1666" y="1421"/>
                    <a:pt x="1665" y="1150"/>
                    <a:pt x="1606" y="1290"/>
                  </a:cubicBezTo>
                  <a:cubicBezTo>
                    <a:pt x="1572" y="1369"/>
                    <a:pt x="1630" y="1514"/>
                    <a:pt x="1534" y="1531"/>
                  </a:cubicBezTo>
                  <a:cubicBezTo>
                    <a:pt x="1572" y="1416"/>
                    <a:pt x="1526" y="1092"/>
                    <a:pt x="1413" y="1240"/>
                  </a:cubicBezTo>
                  <a:cubicBezTo>
                    <a:pt x="1356" y="1316"/>
                    <a:pt x="1482" y="1537"/>
                    <a:pt x="1378" y="1589"/>
                  </a:cubicBezTo>
                  <a:cubicBezTo>
                    <a:pt x="1419" y="1495"/>
                    <a:pt x="1368" y="1383"/>
                    <a:pt x="1352" y="1285"/>
                  </a:cubicBezTo>
                  <a:cubicBezTo>
                    <a:pt x="1307" y="1276"/>
                    <a:pt x="1240" y="1332"/>
                    <a:pt x="1162" y="1383"/>
                  </a:cubicBezTo>
                  <a:cubicBezTo>
                    <a:pt x="1137" y="1400"/>
                    <a:pt x="1093" y="1494"/>
                    <a:pt x="1090" y="1414"/>
                  </a:cubicBezTo>
                  <a:cubicBezTo>
                    <a:pt x="1087" y="1360"/>
                    <a:pt x="1136" y="1317"/>
                    <a:pt x="1160" y="1289"/>
                  </a:cubicBezTo>
                  <a:cubicBezTo>
                    <a:pt x="1220" y="1220"/>
                    <a:pt x="1228" y="1260"/>
                    <a:pt x="1240" y="1159"/>
                  </a:cubicBezTo>
                  <a:cubicBezTo>
                    <a:pt x="1243" y="1132"/>
                    <a:pt x="1229" y="989"/>
                    <a:pt x="1211" y="975"/>
                  </a:cubicBezTo>
                  <a:cubicBezTo>
                    <a:pt x="1076" y="871"/>
                    <a:pt x="1069" y="1003"/>
                    <a:pt x="1051" y="1149"/>
                  </a:cubicBezTo>
                  <a:cubicBezTo>
                    <a:pt x="995" y="1018"/>
                    <a:pt x="1106" y="812"/>
                    <a:pt x="981" y="917"/>
                  </a:cubicBezTo>
                  <a:cubicBezTo>
                    <a:pt x="913" y="975"/>
                    <a:pt x="947" y="873"/>
                    <a:pt x="941" y="1015"/>
                  </a:cubicBezTo>
                  <a:cubicBezTo>
                    <a:pt x="938" y="1086"/>
                    <a:pt x="960" y="1126"/>
                    <a:pt x="940" y="1212"/>
                  </a:cubicBezTo>
                  <a:cubicBezTo>
                    <a:pt x="931" y="1162"/>
                    <a:pt x="895" y="1027"/>
                    <a:pt x="898" y="979"/>
                  </a:cubicBezTo>
                  <a:cubicBezTo>
                    <a:pt x="903" y="898"/>
                    <a:pt x="965" y="875"/>
                    <a:pt x="964" y="831"/>
                  </a:cubicBezTo>
                  <a:cubicBezTo>
                    <a:pt x="962" y="732"/>
                    <a:pt x="789" y="897"/>
                    <a:pt x="735" y="878"/>
                  </a:cubicBezTo>
                  <a:cubicBezTo>
                    <a:pt x="720" y="873"/>
                    <a:pt x="672" y="838"/>
                    <a:pt x="663" y="818"/>
                  </a:cubicBezTo>
                  <a:cubicBezTo>
                    <a:pt x="641" y="767"/>
                    <a:pt x="664" y="750"/>
                    <a:pt x="662" y="739"/>
                  </a:cubicBezTo>
                  <a:cubicBezTo>
                    <a:pt x="656" y="702"/>
                    <a:pt x="649" y="629"/>
                    <a:pt x="634" y="568"/>
                  </a:cubicBezTo>
                  <a:cubicBezTo>
                    <a:pt x="578" y="343"/>
                    <a:pt x="649" y="505"/>
                    <a:pt x="552" y="561"/>
                  </a:cubicBezTo>
                  <a:cubicBezTo>
                    <a:pt x="601" y="472"/>
                    <a:pt x="561" y="459"/>
                    <a:pt x="524" y="412"/>
                  </a:cubicBezTo>
                  <a:cubicBezTo>
                    <a:pt x="504" y="387"/>
                    <a:pt x="495" y="397"/>
                    <a:pt x="490" y="409"/>
                  </a:cubicBezTo>
                  <a:cubicBezTo>
                    <a:pt x="491" y="398"/>
                    <a:pt x="492" y="382"/>
                    <a:pt x="493" y="357"/>
                  </a:cubicBezTo>
                  <a:cubicBezTo>
                    <a:pt x="496" y="274"/>
                    <a:pt x="582" y="269"/>
                    <a:pt x="455" y="219"/>
                  </a:cubicBezTo>
                  <a:cubicBezTo>
                    <a:pt x="416" y="203"/>
                    <a:pt x="387" y="215"/>
                    <a:pt x="354" y="226"/>
                  </a:cubicBezTo>
                  <a:cubicBezTo>
                    <a:pt x="363" y="317"/>
                    <a:pt x="418" y="319"/>
                    <a:pt x="465" y="279"/>
                  </a:cubicBezTo>
                  <a:cubicBezTo>
                    <a:pt x="430" y="348"/>
                    <a:pt x="424" y="367"/>
                    <a:pt x="409" y="461"/>
                  </a:cubicBezTo>
                  <a:cubicBezTo>
                    <a:pt x="406" y="478"/>
                    <a:pt x="436" y="499"/>
                    <a:pt x="433" y="518"/>
                  </a:cubicBezTo>
                  <a:cubicBezTo>
                    <a:pt x="430" y="548"/>
                    <a:pt x="408" y="546"/>
                    <a:pt x="403" y="566"/>
                  </a:cubicBezTo>
                  <a:cubicBezTo>
                    <a:pt x="396" y="596"/>
                    <a:pt x="371" y="638"/>
                    <a:pt x="364" y="671"/>
                  </a:cubicBezTo>
                  <a:cubicBezTo>
                    <a:pt x="339" y="578"/>
                    <a:pt x="457" y="438"/>
                    <a:pt x="301" y="440"/>
                  </a:cubicBezTo>
                  <a:cubicBezTo>
                    <a:pt x="292" y="440"/>
                    <a:pt x="283" y="445"/>
                    <a:pt x="274" y="449"/>
                  </a:cubicBezTo>
                  <a:cubicBezTo>
                    <a:pt x="300" y="430"/>
                    <a:pt x="326" y="409"/>
                    <a:pt x="332" y="386"/>
                  </a:cubicBezTo>
                  <a:cubicBezTo>
                    <a:pt x="357" y="295"/>
                    <a:pt x="258" y="266"/>
                    <a:pt x="304" y="226"/>
                  </a:cubicBezTo>
                  <a:cubicBezTo>
                    <a:pt x="289" y="194"/>
                    <a:pt x="271" y="168"/>
                    <a:pt x="247" y="149"/>
                  </a:cubicBezTo>
                  <a:cubicBezTo>
                    <a:pt x="285" y="323"/>
                    <a:pt x="219" y="294"/>
                    <a:pt x="161" y="406"/>
                  </a:cubicBezTo>
                  <a:cubicBezTo>
                    <a:pt x="119" y="487"/>
                    <a:pt x="118" y="612"/>
                    <a:pt x="69" y="683"/>
                  </a:cubicBezTo>
                  <a:cubicBezTo>
                    <a:pt x="74" y="571"/>
                    <a:pt x="116" y="427"/>
                    <a:pt x="160" y="339"/>
                  </a:cubicBezTo>
                  <a:cubicBezTo>
                    <a:pt x="218" y="222"/>
                    <a:pt x="210" y="317"/>
                    <a:pt x="203" y="158"/>
                  </a:cubicBezTo>
                  <a:cubicBezTo>
                    <a:pt x="201" y="113"/>
                    <a:pt x="234" y="26"/>
                    <a:pt x="207" y="0"/>
                  </a:cubicBezTo>
                  <a:cubicBezTo>
                    <a:pt x="174" y="102"/>
                    <a:pt x="140" y="197"/>
                    <a:pt x="116" y="234"/>
                  </a:cubicBezTo>
                  <a:cubicBezTo>
                    <a:pt x="53" y="327"/>
                    <a:pt x="-70" y="763"/>
                    <a:pt x="53" y="763"/>
                  </a:cubicBezTo>
                  <a:cubicBezTo>
                    <a:pt x="175" y="763"/>
                    <a:pt x="268" y="820"/>
                    <a:pt x="328" y="1113"/>
                  </a:cubicBezTo>
                  <a:cubicBezTo>
                    <a:pt x="388" y="1407"/>
                    <a:pt x="235" y="1480"/>
                    <a:pt x="437" y="1480"/>
                  </a:cubicBezTo>
                  <a:cubicBezTo>
                    <a:pt x="639" y="1480"/>
                    <a:pt x="732" y="1496"/>
                    <a:pt x="732" y="1496"/>
                  </a:cubicBezTo>
                  <a:cubicBezTo>
                    <a:pt x="732" y="1496"/>
                    <a:pt x="813" y="1830"/>
                    <a:pt x="944" y="1887"/>
                  </a:cubicBezTo>
                  <a:cubicBezTo>
                    <a:pt x="1075" y="1944"/>
                    <a:pt x="1430" y="2156"/>
                    <a:pt x="1239" y="2156"/>
                  </a:cubicBezTo>
                  <a:cubicBezTo>
                    <a:pt x="1048" y="2156"/>
                    <a:pt x="947" y="2276"/>
                    <a:pt x="1108" y="2387"/>
                  </a:cubicBezTo>
                  <a:cubicBezTo>
                    <a:pt x="1269" y="2498"/>
                    <a:pt x="1300" y="2692"/>
                    <a:pt x="1300" y="2692"/>
                  </a:cubicBezTo>
                  <a:cubicBezTo>
                    <a:pt x="1300" y="2692"/>
                    <a:pt x="687" y="2932"/>
                    <a:pt x="935" y="2932"/>
                  </a:cubicBezTo>
                  <a:cubicBezTo>
                    <a:pt x="1183" y="2932"/>
                    <a:pt x="1399" y="3090"/>
                    <a:pt x="1473" y="2840"/>
                  </a:cubicBezTo>
                  <a:cubicBezTo>
                    <a:pt x="1548" y="2590"/>
                    <a:pt x="1727" y="2137"/>
                    <a:pt x="1777" y="2211"/>
                  </a:cubicBezTo>
                  <a:cubicBezTo>
                    <a:pt x="1826" y="2285"/>
                    <a:pt x="1535" y="2627"/>
                    <a:pt x="1696" y="2627"/>
                  </a:cubicBezTo>
                  <a:cubicBezTo>
                    <a:pt x="1857" y="2627"/>
                    <a:pt x="1860" y="2623"/>
                    <a:pt x="1770" y="2757"/>
                  </a:cubicBezTo>
                  <a:cubicBezTo>
                    <a:pt x="1681" y="2891"/>
                    <a:pt x="1597" y="3191"/>
                    <a:pt x="1715" y="3191"/>
                  </a:cubicBezTo>
                  <a:cubicBezTo>
                    <a:pt x="1832" y="3191"/>
                    <a:pt x="2170" y="3020"/>
                    <a:pt x="2012" y="3256"/>
                  </a:cubicBezTo>
                  <a:cubicBezTo>
                    <a:pt x="1854" y="3492"/>
                    <a:pt x="1854" y="3764"/>
                    <a:pt x="1854" y="3764"/>
                  </a:cubicBezTo>
                  <a:cubicBezTo>
                    <a:pt x="1854" y="3764"/>
                    <a:pt x="1969" y="3931"/>
                    <a:pt x="1907" y="4171"/>
                  </a:cubicBezTo>
                  <a:cubicBezTo>
                    <a:pt x="1845" y="4412"/>
                    <a:pt x="1727" y="4356"/>
                    <a:pt x="1956" y="4356"/>
                  </a:cubicBezTo>
                  <a:cubicBezTo>
                    <a:pt x="2185" y="4356"/>
                    <a:pt x="2173" y="4597"/>
                    <a:pt x="2315" y="4597"/>
                  </a:cubicBezTo>
                  <a:cubicBezTo>
                    <a:pt x="2457" y="4597"/>
                    <a:pt x="2587" y="4375"/>
                    <a:pt x="2631" y="4597"/>
                  </a:cubicBezTo>
                  <a:cubicBezTo>
                    <a:pt x="2674" y="4819"/>
                    <a:pt x="2532" y="4754"/>
                    <a:pt x="2758" y="4694"/>
                  </a:cubicBezTo>
                  <a:cubicBezTo>
                    <a:pt x="2984" y="4634"/>
                    <a:pt x="3101" y="4884"/>
                    <a:pt x="3101" y="4884"/>
                  </a:cubicBezTo>
                  <a:cubicBezTo>
                    <a:pt x="3101" y="4884"/>
                    <a:pt x="3120" y="5069"/>
                    <a:pt x="3039" y="5191"/>
                  </a:cubicBezTo>
                  <a:cubicBezTo>
                    <a:pt x="2958" y="5311"/>
                    <a:pt x="2783" y="5483"/>
                    <a:pt x="2919" y="5547"/>
                  </a:cubicBezTo>
                  <a:cubicBezTo>
                    <a:pt x="3056" y="5611"/>
                    <a:pt x="3226" y="5649"/>
                    <a:pt x="3158" y="5866"/>
                  </a:cubicBezTo>
                  <a:cubicBezTo>
                    <a:pt x="3090" y="6082"/>
                    <a:pt x="3158" y="6235"/>
                    <a:pt x="3158" y="6235"/>
                  </a:cubicBezTo>
                  <a:cubicBezTo>
                    <a:pt x="3158" y="6235"/>
                    <a:pt x="3371" y="6312"/>
                    <a:pt x="3277" y="6452"/>
                  </a:cubicBezTo>
                  <a:cubicBezTo>
                    <a:pt x="3184" y="6592"/>
                    <a:pt x="3269" y="6834"/>
                    <a:pt x="3363" y="6974"/>
                  </a:cubicBezTo>
                  <a:cubicBezTo>
                    <a:pt x="3457" y="7114"/>
                    <a:pt x="3755" y="7229"/>
                    <a:pt x="3670" y="7356"/>
                  </a:cubicBezTo>
                  <a:cubicBezTo>
                    <a:pt x="3584" y="7484"/>
                    <a:pt x="3439" y="7573"/>
                    <a:pt x="3584" y="7637"/>
                  </a:cubicBezTo>
                  <a:cubicBezTo>
                    <a:pt x="3730" y="7700"/>
                    <a:pt x="3823" y="7879"/>
                    <a:pt x="3823" y="7879"/>
                  </a:cubicBezTo>
                  <a:cubicBezTo>
                    <a:pt x="3823" y="7879"/>
                    <a:pt x="3678" y="8121"/>
                    <a:pt x="3875" y="8121"/>
                  </a:cubicBezTo>
                  <a:cubicBezTo>
                    <a:pt x="4071" y="8121"/>
                    <a:pt x="4164" y="8261"/>
                    <a:pt x="4164" y="8261"/>
                  </a:cubicBezTo>
                  <a:cubicBezTo>
                    <a:pt x="4164" y="8261"/>
                    <a:pt x="4079" y="8376"/>
                    <a:pt x="4258" y="8440"/>
                  </a:cubicBezTo>
                  <a:cubicBezTo>
                    <a:pt x="4437" y="8503"/>
                    <a:pt x="4497" y="8720"/>
                    <a:pt x="4497" y="8720"/>
                  </a:cubicBezTo>
                  <a:cubicBezTo>
                    <a:pt x="4497" y="8720"/>
                    <a:pt x="4335" y="9140"/>
                    <a:pt x="4565" y="9140"/>
                  </a:cubicBezTo>
                  <a:cubicBezTo>
                    <a:pt x="4796" y="9140"/>
                    <a:pt x="4804" y="9306"/>
                    <a:pt x="4804" y="9472"/>
                  </a:cubicBezTo>
                  <a:cubicBezTo>
                    <a:pt x="4804" y="9637"/>
                    <a:pt x="4834" y="9503"/>
                    <a:pt x="4915" y="9625"/>
                  </a:cubicBezTo>
                  <a:cubicBezTo>
                    <a:pt x="4996" y="9745"/>
                    <a:pt x="4962" y="9936"/>
                    <a:pt x="5068" y="10096"/>
                  </a:cubicBezTo>
                  <a:cubicBezTo>
                    <a:pt x="5175" y="10255"/>
                    <a:pt x="4800" y="10141"/>
                    <a:pt x="4949" y="10363"/>
                  </a:cubicBezTo>
                  <a:cubicBezTo>
                    <a:pt x="5098" y="10586"/>
                    <a:pt x="5367" y="10707"/>
                    <a:pt x="5273" y="10847"/>
                  </a:cubicBezTo>
                  <a:cubicBezTo>
                    <a:pt x="5179" y="10988"/>
                    <a:pt x="5145" y="11421"/>
                    <a:pt x="4949" y="11128"/>
                  </a:cubicBezTo>
                  <a:cubicBezTo>
                    <a:pt x="4753" y="10835"/>
                    <a:pt x="4599" y="10899"/>
                    <a:pt x="4599" y="10899"/>
                  </a:cubicBezTo>
                  <a:lnTo>
                    <a:pt x="4369" y="11332"/>
                  </a:lnTo>
                  <a:cubicBezTo>
                    <a:pt x="4369" y="11332"/>
                    <a:pt x="3994" y="10924"/>
                    <a:pt x="3994" y="11179"/>
                  </a:cubicBezTo>
                  <a:cubicBezTo>
                    <a:pt x="3994" y="11434"/>
                    <a:pt x="4036" y="11587"/>
                    <a:pt x="3951" y="11714"/>
                  </a:cubicBezTo>
                  <a:cubicBezTo>
                    <a:pt x="3866" y="11841"/>
                    <a:pt x="3798" y="12262"/>
                    <a:pt x="3755" y="12083"/>
                  </a:cubicBezTo>
                  <a:cubicBezTo>
                    <a:pt x="3712" y="11905"/>
                    <a:pt x="3593" y="11905"/>
                    <a:pt x="3593" y="11905"/>
                  </a:cubicBezTo>
                  <a:cubicBezTo>
                    <a:pt x="3593" y="11905"/>
                    <a:pt x="3405" y="12313"/>
                    <a:pt x="3286" y="12134"/>
                  </a:cubicBezTo>
                  <a:cubicBezTo>
                    <a:pt x="3166" y="11956"/>
                    <a:pt x="3030" y="11548"/>
                    <a:pt x="3030" y="11548"/>
                  </a:cubicBezTo>
                  <a:lnTo>
                    <a:pt x="2706" y="12147"/>
                  </a:lnTo>
                  <a:cubicBezTo>
                    <a:pt x="2706" y="12147"/>
                    <a:pt x="2382" y="11293"/>
                    <a:pt x="2271" y="11459"/>
                  </a:cubicBezTo>
                  <a:cubicBezTo>
                    <a:pt x="2160" y="11625"/>
                    <a:pt x="1913" y="12020"/>
                    <a:pt x="1913" y="12020"/>
                  </a:cubicBezTo>
                  <a:cubicBezTo>
                    <a:pt x="1913" y="12020"/>
                    <a:pt x="1862" y="11892"/>
                    <a:pt x="1964" y="12364"/>
                  </a:cubicBezTo>
                  <a:cubicBezTo>
                    <a:pt x="2066" y="12835"/>
                    <a:pt x="2211" y="12963"/>
                    <a:pt x="2297" y="12835"/>
                  </a:cubicBezTo>
                  <a:cubicBezTo>
                    <a:pt x="2382" y="12708"/>
                    <a:pt x="2578" y="12695"/>
                    <a:pt x="2663" y="12695"/>
                  </a:cubicBezTo>
                  <a:cubicBezTo>
                    <a:pt x="2749" y="12695"/>
                    <a:pt x="2817" y="13001"/>
                    <a:pt x="2552" y="13128"/>
                  </a:cubicBezTo>
                  <a:cubicBezTo>
                    <a:pt x="2288" y="13256"/>
                    <a:pt x="2284" y="13249"/>
                    <a:pt x="2420" y="13453"/>
                  </a:cubicBezTo>
                  <a:cubicBezTo>
                    <a:pt x="2557" y="13657"/>
                    <a:pt x="2467" y="13587"/>
                    <a:pt x="2348" y="13765"/>
                  </a:cubicBezTo>
                  <a:cubicBezTo>
                    <a:pt x="2228" y="13944"/>
                    <a:pt x="2228" y="14045"/>
                    <a:pt x="2228" y="14045"/>
                  </a:cubicBezTo>
                  <a:cubicBezTo>
                    <a:pt x="2228" y="14045"/>
                    <a:pt x="2484" y="14122"/>
                    <a:pt x="2433" y="14428"/>
                  </a:cubicBezTo>
                  <a:cubicBezTo>
                    <a:pt x="2382" y="14733"/>
                    <a:pt x="2501" y="14912"/>
                    <a:pt x="2501" y="14912"/>
                  </a:cubicBezTo>
                  <a:cubicBezTo>
                    <a:pt x="2501" y="14912"/>
                    <a:pt x="2876" y="15192"/>
                    <a:pt x="3039" y="15435"/>
                  </a:cubicBezTo>
                  <a:cubicBezTo>
                    <a:pt x="3201" y="15677"/>
                    <a:pt x="3239" y="15798"/>
                    <a:pt x="3320" y="15677"/>
                  </a:cubicBezTo>
                  <a:cubicBezTo>
                    <a:pt x="3401" y="15555"/>
                    <a:pt x="3350" y="15313"/>
                    <a:pt x="3559" y="15626"/>
                  </a:cubicBezTo>
                  <a:cubicBezTo>
                    <a:pt x="3768" y="15938"/>
                    <a:pt x="4011" y="16199"/>
                    <a:pt x="3768" y="16250"/>
                  </a:cubicBezTo>
                  <a:cubicBezTo>
                    <a:pt x="3525" y="16301"/>
                    <a:pt x="3218" y="16454"/>
                    <a:pt x="3525" y="16721"/>
                  </a:cubicBezTo>
                  <a:cubicBezTo>
                    <a:pt x="3832" y="16989"/>
                    <a:pt x="3746" y="16670"/>
                    <a:pt x="3960" y="16989"/>
                  </a:cubicBezTo>
                  <a:cubicBezTo>
                    <a:pt x="4173" y="17308"/>
                    <a:pt x="4314" y="17320"/>
                    <a:pt x="4314" y="17097"/>
                  </a:cubicBezTo>
                  <a:cubicBezTo>
                    <a:pt x="4314" y="16874"/>
                    <a:pt x="4467" y="16740"/>
                    <a:pt x="4369" y="16594"/>
                  </a:cubicBezTo>
                  <a:cubicBezTo>
                    <a:pt x="4271" y="16448"/>
                    <a:pt x="4224" y="16237"/>
                    <a:pt x="4224" y="16237"/>
                  </a:cubicBezTo>
                  <a:cubicBezTo>
                    <a:pt x="4224" y="16237"/>
                    <a:pt x="4412" y="15944"/>
                    <a:pt x="4548" y="16339"/>
                  </a:cubicBezTo>
                  <a:cubicBezTo>
                    <a:pt x="4685" y="16734"/>
                    <a:pt x="4872" y="16798"/>
                    <a:pt x="4838" y="17155"/>
                  </a:cubicBezTo>
                  <a:cubicBezTo>
                    <a:pt x="4804" y="17511"/>
                    <a:pt x="4804" y="17652"/>
                    <a:pt x="4804" y="17652"/>
                  </a:cubicBezTo>
                  <a:cubicBezTo>
                    <a:pt x="4804" y="17652"/>
                    <a:pt x="5085" y="17995"/>
                    <a:pt x="5085" y="17715"/>
                  </a:cubicBezTo>
                  <a:cubicBezTo>
                    <a:pt x="5085" y="17435"/>
                    <a:pt x="5150" y="17530"/>
                    <a:pt x="5231" y="17652"/>
                  </a:cubicBezTo>
                  <a:cubicBezTo>
                    <a:pt x="5312" y="17772"/>
                    <a:pt x="5171" y="17779"/>
                    <a:pt x="5478" y="17779"/>
                  </a:cubicBezTo>
                  <a:cubicBezTo>
                    <a:pt x="5785" y="17779"/>
                    <a:pt x="5798" y="17301"/>
                    <a:pt x="5896" y="17447"/>
                  </a:cubicBezTo>
                  <a:cubicBezTo>
                    <a:pt x="5994" y="17594"/>
                    <a:pt x="5913" y="17702"/>
                    <a:pt x="6237" y="17817"/>
                  </a:cubicBezTo>
                  <a:cubicBezTo>
                    <a:pt x="6561" y="17932"/>
                    <a:pt x="6582" y="17403"/>
                    <a:pt x="6774" y="17690"/>
                  </a:cubicBezTo>
                  <a:cubicBezTo>
                    <a:pt x="6966" y="17977"/>
                    <a:pt x="7124" y="18403"/>
                    <a:pt x="7124" y="17977"/>
                  </a:cubicBezTo>
                  <a:cubicBezTo>
                    <a:pt x="7124" y="17549"/>
                    <a:pt x="7064" y="17549"/>
                    <a:pt x="7192" y="17549"/>
                  </a:cubicBezTo>
                  <a:cubicBezTo>
                    <a:pt x="7320" y="17549"/>
                    <a:pt x="7380" y="17397"/>
                    <a:pt x="7226" y="17167"/>
                  </a:cubicBezTo>
                  <a:cubicBezTo>
                    <a:pt x="7073" y="16938"/>
                    <a:pt x="6936" y="16772"/>
                    <a:pt x="6936" y="16530"/>
                  </a:cubicBezTo>
                  <a:cubicBezTo>
                    <a:pt x="6936" y="16288"/>
                    <a:pt x="6638" y="15664"/>
                    <a:pt x="6817" y="15740"/>
                  </a:cubicBezTo>
                  <a:cubicBezTo>
                    <a:pt x="6996" y="15817"/>
                    <a:pt x="7295" y="15715"/>
                    <a:pt x="7295" y="16097"/>
                  </a:cubicBezTo>
                  <a:cubicBezTo>
                    <a:pt x="7295" y="16479"/>
                    <a:pt x="7294" y="16594"/>
                    <a:pt x="7431" y="16390"/>
                  </a:cubicBezTo>
                  <a:cubicBezTo>
                    <a:pt x="7567" y="16186"/>
                    <a:pt x="12815" y="10759"/>
                    <a:pt x="12815" y="10759"/>
                  </a:cubicBezTo>
                  <a:lnTo>
                    <a:pt x="13541" y="12012"/>
                  </a:lnTo>
                  <a:cubicBezTo>
                    <a:pt x="13556" y="11956"/>
                    <a:pt x="13519" y="11920"/>
                    <a:pt x="13525" y="11892"/>
                  </a:cubicBezTo>
                  <a:cubicBezTo>
                    <a:pt x="13534" y="11842"/>
                    <a:pt x="13562" y="11849"/>
                    <a:pt x="13572" y="11810"/>
                  </a:cubicBezTo>
                  <a:cubicBezTo>
                    <a:pt x="13584" y="11759"/>
                    <a:pt x="13583" y="11690"/>
                    <a:pt x="13586" y="11609"/>
                  </a:cubicBezTo>
                  <a:cubicBezTo>
                    <a:pt x="13588" y="11534"/>
                    <a:pt x="13563" y="11336"/>
                    <a:pt x="13590" y="11296"/>
                  </a:cubicBezTo>
                  <a:cubicBezTo>
                    <a:pt x="13636" y="11230"/>
                    <a:pt x="13655" y="11166"/>
                    <a:pt x="13673" y="11072"/>
                  </a:cubicBezTo>
                  <a:cubicBezTo>
                    <a:pt x="13719" y="10840"/>
                    <a:pt x="14026" y="9996"/>
                    <a:pt x="13787" y="9959"/>
                  </a:cubicBezTo>
                  <a:close/>
                  <a:moveTo>
                    <a:pt x="13704" y="9267"/>
                  </a:moveTo>
                  <a:cubicBezTo>
                    <a:pt x="13741" y="9253"/>
                    <a:pt x="13694" y="9229"/>
                    <a:pt x="13704" y="9267"/>
                  </a:cubicBezTo>
                  <a:cubicBezTo>
                    <a:pt x="13704" y="9267"/>
                    <a:pt x="13704" y="9267"/>
                    <a:pt x="13704" y="9267"/>
                  </a:cubicBezTo>
                  <a:close/>
                  <a:moveTo>
                    <a:pt x="5940" y="6602"/>
                  </a:moveTo>
                  <a:cubicBezTo>
                    <a:pt x="5913" y="6575"/>
                    <a:pt x="5895" y="6582"/>
                    <a:pt x="5889" y="6595"/>
                  </a:cubicBezTo>
                  <a:cubicBezTo>
                    <a:pt x="5910" y="6593"/>
                    <a:pt x="5930" y="6592"/>
                    <a:pt x="5940" y="6602"/>
                  </a:cubicBezTo>
                  <a:close/>
                  <a:moveTo>
                    <a:pt x="5940" y="6602"/>
                  </a:moveTo>
                </a:path>
              </a:pathLst>
            </a:custGeom>
            <a:grpFill/>
            <a:ln w="12700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1" name="AutoShape 14"/>
            <p:cNvSpPr>
              <a:spLocks/>
            </p:cNvSpPr>
            <p:nvPr/>
          </p:nvSpPr>
          <p:spPr bwMode="auto">
            <a:xfrm>
              <a:off x="3408927" y="1785673"/>
              <a:ext cx="311150" cy="496888"/>
            </a:xfrm>
            <a:custGeom>
              <a:avLst/>
              <a:gdLst/>
              <a:ahLst/>
              <a:cxnLst/>
              <a:rect l="0" t="0" r="r" b="b"/>
              <a:pathLst>
                <a:path w="21503" h="21383">
                  <a:moveTo>
                    <a:pt x="21046" y="3438"/>
                  </a:moveTo>
                  <a:cubicBezTo>
                    <a:pt x="20928" y="3172"/>
                    <a:pt x="21562" y="2960"/>
                    <a:pt x="21499" y="2800"/>
                  </a:cubicBezTo>
                  <a:cubicBezTo>
                    <a:pt x="21443" y="2659"/>
                    <a:pt x="21152" y="2725"/>
                    <a:pt x="21054" y="2734"/>
                  </a:cubicBezTo>
                  <a:cubicBezTo>
                    <a:pt x="20889" y="2748"/>
                    <a:pt x="20871" y="2937"/>
                    <a:pt x="20675" y="2809"/>
                  </a:cubicBezTo>
                  <a:cubicBezTo>
                    <a:pt x="20619" y="2773"/>
                    <a:pt x="20840" y="2364"/>
                    <a:pt x="20835" y="2258"/>
                  </a:cubicBezTo>
                  <a:cubicBezTo>
                    <a:pt x="20643" y="2542"/>
                    <a:pt x="20512" y="2229"/>
                    <a:pt x="20604" y="2070"/>
                  </a:cubicBezTo>
                  <a:cubicBezTo>
                    <a:pt x="20511" y="2081"/>
                    <a:pt x="20390" y="2140"/>
                    <a:pt x="20294" y="2146"/>
                  </a:cubicBezTo>
                  <a:cubicBezTo>
                    <a:pt x="20243" y="2148"/>
                    <a:pt x="20256" y="2222"/>
                    <a:pt x="20204" y="2230"/>
                  </a:cubicBezTo>
                  <a:cubicBezTo>
                    <a:pt x="20115" y="2243"/>
                    <a:pt x="20022" y="2145"/>
                    <a:pt x="19939" y="2161"/>
                  </a:cubicBezTo>
                  <a:cubicBezTo>
                    <a:pt x="19739" y="2201"/>
                    <a:pt x="19599" y="2326"/>
                    <a:pt x="19398" y="2347"/>
                  </a:cubicBezTo>
                  <a:cubicBezTo>
                    <a:pt x="19595" y="2148"/>
                    <a:pt x="18992" y="2230"/>
                    <a:pt x="18960" y="2459"/>
                  </a:cubicBezTo>
                  <a:cubicBezTo>
                    <a:pt x="18948" y="2542"/>
                    <a:pt x="19159" y="2697"/>
                    <a:pt x="19146" y="2728"/>
                  </a:cubicBezTo>
                  <a:cubicBezTo>
                    <a:pt x="19122" y="2787"/>
                    <a:pt x="18853" y="2724"/>
                    <a:pt x="18787" y="2860"/>
                  </a:cubicBezTo>
                  <a:cubicBezTo>
                    <a:pt x="18751" y="2702"/>
                    <a:pt x="18910" y="2579"/>
                    <a:pt x="18695" y="2436"/>
                  </a:cubicBezTo>
                  <a:cubicBezTo>
                    <a:pt x="18384" y="2230"/>
                    <a:pt x="18022" y="2317"/>
                    <a:pt x="17873" y="2527"/>
                  </a:cubicBezTo>
                  <a:cubicBezTo>
                    <a:pt x="17692" y="2783"/>
                    <a:pt x="17743" y="3125"/>
                    <a:pt x="17683" y="3396"/>
                  </a:cubicBezTo>
                  <a:cubicBezTo>
                    <a:pt x="17664" y="3477"/>
                    <a:pt x="17558" y="3816"/>
                    <a:pt x="17720" y="3791"/>
                  </a:cubicBezTo>
                  <a:cubicBezTo>
                    <a:pt x="17836" y="3772"/>
                    <a:pt x="17917" y="3467"/>
                    <a:pt x="17943" y="3406"/>
                  </a:cubicBezTo>
                  <a:cubicBezTo>
                    <a:pt x="18086" y="3065"/>
                    <a:pt x="18101" y="2887"/>
                    <a:pt x="18454" y="2634"/>
                  </a:cubicBezTo>
                  <a:cubicBezTo>
                    <a:pt x="18521" y="2747"/>
                    <a:pt x="18309" y="2897"/>
                    <a:pt x="18256" y="3018"/>
                  </a:cubicBezTo>
                  <a:cubicBezTo>
                    <a:pt x="18198" y="3150"/>
                    <a:pt x="18243" y="3320"/>
                    <a:pt x="18182" y="3460"/>
                  </a:cubicBezTo>
                  <a:cubicBezTo>
                    <a:pt x="18073" y="3706"/>
                    <a:pt x="17878" y="3941"/>
                    <a:pt x="17726" y="4173"/>
                  </a:cubicBezTo>
                  <a:cubicBezTo>
                    <a:pt x="17635" y="4310"/>
                    <a:pt x="17558" y="4439"/>
                    <a:pt x="17689" y="4510"/>
                  </a:cubicBezTo>
                  <a:cubicBezTo>
                    <a:pt x="17619" y="4472"/>
                    <a:pt x="18114" y="4514"/>
                    <a:pt x="18069" y="4528"/>
                  </a:cubicBezTo>
                  <a:cubicBezTo>
                    <a:pt x="18247" y="4476"/>
                    <a:pt x="18180" y="4459"/>
                    <a:pt x="18296" y="4373"/>
                  </a:cubicBezTo>
                  <a:cubicBezTo>
                    <a:pt x="18558" y="4175"/>
                    <a:pt x="18661" y="3879"/>
                    <a:pt x="18946" y="3676"/>
                  </a:cubicBezTo>
                  <a:cubicBezTo>
                    <a:pt x="18934" y="4011"/>
                    <a:pt x="18685" y="4407"/>
                    <a:pt x="18572" y="4750"/>
                  </a:cubicBezTo>
                  <a:cubicBezTo>
                    <a:pt x="18531" y="4876"/>
                    <a:pt x="18412" y="4912"/>
                    <a:pt x="18464" y="5055"/>
                  </a:cubicBezTo>
                  <a:cubicBezTo>
                    <a:pt x="18506" y="5169"/>
                    <a:pt x="18689" y="5156"/>
                    <a:pt x="18712" y="5262"/>
                  </a:cubicBezTo>
                  <a:cubicBezTo>
                    <a:pt x="18723" y="5315"/>
                    <a:pt x="18628" y="5471"/>
                    <a:pt x="18550" y="5535"/>
                  </a:cubicBezTo>
                  <a:cubicBezTo>
                    <a:pt x="18524" y="5556"/>
                    <a:pt x="18521" y="5564"/>
                    <a:pt x="18508" y="5577"/>
                  </a:cubicBezTo>
                  <a:cubicBezTo>
                    <a:pt x="18510" y="5555"/>
                    <a:pt x="18500" y="5527"/>
                    <a:pt x="18464" y="5498"/>
                  </a:cubicBezTo>
                  <a:cubicBezTo>
                    <a:pt x="18340" y="5392"/>
                    <a:pt x="18536" y="5372"/>
                    <a:pt x="18258" y="5319"/>
                  </a:cubicBezTo>
                  <a:cubicBezTo>
                    <a:pt x="18094" y="5288"/>
                    <a:pt x="17784" y="5379"/>
                    <a:pt x="17670" y="5445"/>
                  </a:cubicBezTo>
                  <a:cubicBezTo>
                    <a:pt x="17572" y="5502"/>
                    <a:pt x="17536" y="5631"/>
                    <a:pt x="17457" y="5700"/>
                  </a:cubicBezTo>
                  <a:cubicBezTo>
                    <a:pt x="17348" y="5794"/>
                    <a:pt x="17281" y="5862"/>
                    <a:pt x="17099" y="5906"/>
                  </a:cubicBezTo>
                  <a:cubicBezTo>
                    <a:pt x="16973" y="5938"/>
                    <a:pt x="17078" y="5832"/>
                    <a:pt x="17045" y="5797"/>
                  </a:cubicBezTo>
                  <a:cubicBezTo>
                    <a:pt x="16838" y="5587"/>
                    <a:pt x="17062" y="5494"/>
                    <a:pt x="17221" y="5296"/>
                  </a:cubicBezTo>
                  <a:cubicBezTo>
                    <a:pt x="17339" y="5150"/>
                    <a:pt x="17544" y="4893"/>
                    <a:pt x="17011" y="5022"/>
                  </a:cubicBezTo>
                  <a:cubicBezTo>
                    <a:pt x="16973" y="5100"/>
                    <a:pt x="16810" y="5229"/>
                    <a:pt x="16664" y="5301"/>
                  </a:cubicBezTo>
                  <a:cubicBezTo>
                    <a:pt x="16697" y="5260"/>
                    <a:pt x="16680" y="5094"/>
                    <a:pt x="16656" y="5128"/>
                  </a:cubicBezTo>
                  <a:cubicBezTo>
                    <a:pt x="16705" y="5057"/>
                    <a:pt x="16839" y="5043"/>
                    <a:pt x="16936" y="4984"/>
                  </a:cubicBezTo>
                  <a:cubicBezTo>
                    <a:pt x="17087" y="4892"/>
                    <a:pt x="17480" y="4707"/>
                    <a:pt x="17510" y="4566"/>
                  </a:cubicBezTo>
                  <a:cubicBezTo>
                    <a:pt x="17520" y="4518"/>
                    <a:pt x="17429" y="4222"/>
                    <a:pt x="17393" y="4158"/>
                  </a:cubicBezTo>
                  <a:cubicBezTo>
                    <a:pt x="17263" y="3930"/>
                    <a:pt x="17030" y="4103"/>
                    <a:pt x="16853" y="4304"/>
                  </a:cubicBezTo>
                  <a:cubicBezTo>
                    <a:pt x="16790" y="4375"/>
                    <a:pt x="16758" y="4590"/>
                    <a:pt x="16699" y="4690"/>
                  </a:cubicBezTo>
                  <a:cubicBezTo>
                    <a:pt x="16651" y="4771"/>
                    <a:pt x="16743" y="4791"/>
                    <a:pt x="16666" y="4874"/>
                  </a:cubicBezTo>
                  <a:cubicBezTo>
                    <a:pt x="16598" y="4946"/>
                    <a:pt x="16206" y="5165"/>
                    <a:pt x="16230" y="4972"/>
                  </a:cubicBezTo>
                  <a:cubicBezTo>
                    <a:pt x="16238" y="4911"/>
                    <a:pt x="16598" y="4686"/>
                    <a:pt x="16648" y="4578"/>
                  </a:cubicBezTo>
                  <a:cubicBezTo>
                    <a:pt x="16718" y="4423"/>
                    <a:pt x="16596" y="4206"/>
                    <a:pt x="16803" y="4096"/>
                  </a:cubicBezTo>
                  <a:cubicBezTo>
                    <a:pt x="16804" y="4132"/>
                    <a:pt x="16820" y="4173"/>
                    <a:pt x="16828" y="4205"/>
                  </a:cubicBezTo>
                  <a:cubicBezTo>
                    <a:pt x="17389" y="3896"/>
                    <a:pt x="17605" y="3593"/>
                    <a:pt x="17654" y="3110"/>
                  </a:cubicBezTo>
                  <a:cubicBezTo>
                    <a:pt x="17664" y="3003"/>
                    <a:pt x="17851" y="2428"/>
                    <a:pt x="17508" y="2512"/>
                  </a:cubicBezTo>
                  <a:cubicBezTo>
                    <a:pt x="17213" y="2583"/>
                    <a:pt x="17414" y="3115"/>
                    <a:pt x="17326" y="3238"/>
                  </a:cubicBezTo>
                  <a:cubicBezTo>
                    <a:pt x="17109" y="2994"/>
                    <a:pt x="17185" y="2633"/>
                    <a:pt x="17105" y="2360"/>
                  </a:cubicBezTo>
                  <a:cubicBezTo>
                    <a:pt x="17030" y="2102"/>
                    <a:pt x="16939" y="1714"/>
                    <a:pt x="16803" y="1475"/>
                  </a:cubicBezTo>
                  <a:cubicBezTo>
                    <a:pt x="16703" y="1300"/>
                    <a:pt x="16493" y="1253"/>
                    <a:pt x="16449" y="1143"/>
                  </a:cubicBezTo>
                  <a:cubicBezTo>
                    <a:pt x="16391" y="996"/>
                    <a:pt x="16372" y="858"/>
                    <a:pt x="16247" y="701"/>
                  </a:cubicBezTo>
                  <a:cubicBezTo>
                    <a:pt x="16180" y="617"/>
                    <a:pt x="16127" y="517"/>
                    <a:pt x="16025" y="447"/>
                  </a:cubicBezTo>
                  <a:cubicBezTo>
                    <a:pt x="15873" y="344"/>
                    <a:pt x="15872" y="474"/>
                    <a:pt x="15767" y="478"/>
                  </a:cubicBezTo>
                  <a:cubicBezTo>
                    <a:pt x="15644" y="482"/>
                    <a:pt x="15583" y="610"/>
                    <a:pt x="15436" y="560"/>
                  </a:cubicBezTo>
                  <a:cubicBezTo>
                    <a:pt x="15289" y="510"/>
                    <a:pt x="15262" y="492"/>
                    <a:pt x="15119" y="556"/>
                  </a:cubicBezTo>
                  <a:cubicBezTo>
                    <a:pt x="15123" y="463"/>
                    <a:pt x="15171" y="230"/>
                    <a:pt x="15110" y="136"/>
                  </a:cubicBezTo>
                  <a:cubicBezTo>
                    <a:pt x="14915" y="-166"/>
                    <a:pt x="14980" y="121"/>
                    <a:pt x="14803" y="182"/>
                  </a:cubicBezTo>
                  <a:cubicBezTo>
                    <a:pt x="14637" y="241"/>
                    <a:pt x="14390" y="166"/>
                    <a:pt x="14237" y="245"/>
                  </a:cubicBezTo>
                  <a:cubicBezTo>
                    <a:pt x="14045" y="344"/>
                    <a:pt x="14166" y="551"/>
                    <a:pt x="14204" y="677"/>
                  </a:cubicBezTo>
                  <a:cubicBezTo>
                    <a:pt x="14313" y="1046"/>
                    <a:pt x="14104" y="1204"/>
                    <a:pt x="14003" y="1536"/>
                  </a:cubicBezTo>
                  <a:cubicBezTo>
                    <a:pt x="13918" y="1813"/>
                    <a:pt x="14086" y="2224"/>
                    <a:pt x="14109" y="2497"/>
                  </a:cubicBezTo>
                  <a:cubicBezTo>
                    <a:pt x="14081" y="2460"/>
                    <a:pt x="14023" y="2412"/>
                    <a:pt x="13998" y="2379"/>
                  </a:cubicBezTo>
                  <a:cubicBezTo>
                    <a:pt x="13918" y="2532"/>
                    <a:pt x="14112" y="2515"/>
                    <a:pt x="14151" y="2584"/>
                  </a:cubicBezTo>
                  <a:cubicBezTo>
                    <a:pt x="14208" y="2683"/>
                    <a:pt x="14219" y="2770"/>
                    <a:pt x="14261" y="2878"/>
                  </a:cubicBezTo>
                  <a:cubicBezTo>
                    <a:pt x="14336" y="3071"/>
                    <a:pt x="14345" y="3174"/>
                    <a:pt x="14344" y="3365"/>
                  </a:cubicBezTo>
                  <a:cubicBezTo>
                    <a:pt x="14342" y="3575"/>
                    <a:pt x="14375" y="3790"/>
                    <a:pt x="14387" y="3997"/>
                  </a:cubicBezTo>
                  <a:cubicBezTo>
                    <a:pt x="14399" y="4246"/>
                    <a:pt x="14362" y="4295"/>
                    <a:pt x="14223" y="4528"/>
                  </a:cubicBezTo>
                  <a:cubicBezTo>
                    <a:pt x="14076" y="4772"/>
                    <a:pt x="14256" y="4883"/>
                    <a:pt x="14279" y="5113"/>
                  </a:cubicBezTo>
                  <a:cubicBezTo>
                    <a:pt x="14305" y="5370"/>
                    <a:pt x="14219" y="5364"/>
                    <a:pt x="14458" y="5565"/>
                  </a:cubicBezTo>
                  <a:cubicBezTo>
                    <a:pt x="14807" y="5858"/>
                    <a:pt x="15333" y="6207"/>
                    <a:pt x="15797" y="6440"/>
                  </a:cubicBezTo>
                  <a:cubicBezTo>
                    <a:pt x="16009" y="6546"/>
                    <a:pt x="16397" y="6637"/>
                    <a:pt x="16653" y="6690"/>
                  </a:cubicBezTo>
                  <a:cubicBezTo>
                    <a:pt x="17077" y="6780"/>
                    <a:pt x="17201" y="6665"/>
                    <a:pt x="17126" y="6403"/>
                  </a:cubicBezTo>
                  <a:cubicBezTo>
                    <a:pt x="17480" y="6423"/>
                    <a:pt x="17513" y="6552"/>
                    <a:pt x="17782" y="6326"/>
                  </a:cubicBezTo>
                  <a:cubicBezTo>
                    <a:pt x="17826" y="6290"/>
                    <a:pt x="17952" y="6124"/>
                    <a:pt x="17937" y="6102"/>
                  </a:cubicBezTo>
                  <a:cubicBezTo>
                    <a:pt x="17866" y="6008"/>
                    <a:pt x="18072" y="6044"/>
                    <a:pt x="18129" y="6002"/>
                  </a:cubicBezTo>
                  <a:cubicBezTo>
                    <a:pt x="18198" y="5952"/>
                    <a:pt x="18437" y="5610"/>
                    <a:pt x="18573" y="5750"/>
                  </a:cubicBezTo>
                  <a:cubicBezTo>
                    <a:pt x="18625" y="5804"/>
                    <a:pt x="19381" y="5704"/>
                    <a:pt x="19480" y="5646"/>
                  </a:cubicBezTo>
                  <a:cubicBezTo>
                    <a:pt x="19606" y="5569"/>
                    <a:pt x="19721" y="5318"/>
                    <a:pt x="19868" y="5210"/>
                  </a:cubicBezTo>
                  <a:cubicBezTo>
                    <a:pt x="20020" y="5097"/>
                    <a:pt x="20246" y="5007"/>
                    <a:pt x="20381" y="4848"/>
                  </a:cubicBezTo>
                  <a:cubicBezTo>
                    <a:pt x="20453" y="4764"/>
                    <a:pt x="20415" y="4670"/>
                    <a:pt x="20480" y="4589"/>
                  </a:cubicBezTo>
                  <a:cubicBezTo>
                    <a:pt x="20556" y="4493"/>
                    <a:pt x="20679" y="4484"/>
                    <a:pt x="20738" y="4370"/>
                  </a:cubicBezTo>
                  <a:cubicBezTo>
                    <a:pt x="20781" y="4285"/>
                    <a:pt x="20697" y="4174"/>
                    <a:pt x="20752" y="4077"/>
                  </a:cubicBezTo>
                  <a:cubicBezTo>
                    <a:pt x="20803" y="3987"/>
                    <a:pt x="21068" y="3915"/>
                    <a:pt x="21014" y="3810"/>
                  </a:cubicBezTo>
                  <a:cubicBezTo>
                    <a:pt x="20942" y="3673"/>
                    <a:pt x="20450" y="3940"/>
                    <a:pt x="20502" y="3695"/>
                  </a:cubicBezTo>
                  <a:cubicBezTo>
                    <a:pt x="20525" y="3586"/>
                    <a:pt x="20911" y="3516"/>
                    <a:pt x="21046" y="3438"/>
                  </a:cubicBezTo>
                  <a:close/>
                  <a:moveTo>
                    <a:pt x="642" y="7573"/>
                  </a:moveTo>
                  <a:cubicBezTo>
                    <a:pt x="824" y="7526"/>
                    <a:pt x="1014" y="7443"/>
                    <a:pt x="1210" y="7402"/>
                  </a:cubicBezTo>
                  <a:cubicBezTo>
                    <a:pt x="1568" y="7328"/>
                    <a:pt x="1521" y="7426"/>
                    <a:pt x="1675" y="7178"/>
                  </a:cubicBezTo>
                  <a:cubicBezTo>
                    <a:pt x="1701" y="7286"/>
                    <a:pt x="1901" y="7301"/>
                    <a:pt x="1926" y="7357"/>
                  </a:cubicBezTo>
                  <a:cubicBezTo>
                    <a:pt x="1972" y="7462"/>
                    <a:pt x="1859" y="7545"/>
                    <a:pt x="1922" y="7669"/>
                  </a:cubicBezTo>
                  <a:cubicBezTo>
                    <a:pt x="2006" y="7835"/>
                    <a:pt x="2188" y="8033"/>
                    <a:pt x="2362" y="8041"/>
                  </a:cubicBezTo>
                  <a:cubicBezTo>
                    <a:pt x="2784" y="8059"/>
                    <a:pt x="2827" y="7793"/>
                    <a:pt x="3027" y="7707"/>
                  </a:cubicBezTo>
                  <a:cubicBezTo>
                    <a:pt x="3031" y="7705"/>
                    <a:pt x="3342" y="7693"/>
                    <a:pt x="3407" y="7680"/>
                  </a:cubicBezTo>
                  <a:cubicBezTo>
                    <a:pt x="3576" y="7646"/>
                    <a:pt x="3723" y="7579"/>
                    <a:pt x="3880" y="7554"/>
                  </a:cubicBezTo>
                  <a:cubicBezTo>
                    <a:pt x="3939" y="7597"/>
                    <a:pt x="3917" y="7597"/>
                    <a:pt x="4033" y="7657"/>
                  </a:cubicBezTo>
                  <a:cubicBezTo>
                    <a:pt x="3839" y="7670"/>
                    <a:pt x="3597" y="7753"/>
                    <a:pt x="3831" y="7877"/>
                  </a:cubicBezTo>
                  <a:cubicBezTo>
                    <a:pt x="3884" y="7905"/>
                    <a:pt x="4245" y="7894"/>
                    <a:pt x="4353" y="7907"/>
                  </a:cubicBezTo>
                  <a:cubicBezTo>
                    <a:pt x="4795" y="7960"/>
                    <a:pt x="4924" y="8003"/>
                    <a:pt x="5379" y="7901"/>
                  </a:cubicBezTo>
                  <a:cubicBezTo>
                    <a:pt x="5580" y="7856"/>
                    <a:pt x="5560" y="7852"/>
                    <a:pt x="5769" y="7826"/>
                  </a:cubicBezTo>
                  <a:cubicBezTo>
                    <a:pt x="5949" y="7803"/>
                    <a:pt x="6141" y="7799"/>
                    <a:pt x="6329" y="7781"/>
                  </a:cubicBezTo>
                  <a:cubicBezTo>
                    <a:pt x="6787" y="7741"/>
                    <a:pt x="7000" y="7644"/>
                    <a:pt x="7071" y="7350"/>
                  </a:cubicBezTo>
                  <a:cubicBezTo>
                    <a:pt x="6894" y="7417"/>
                    <a:pt x="6767" y="7547"/>
                    <a:pt x="6530" y="7522"/>
                  </a:cubicBezTo>
                  <a:cubicBezTo>
                    <a:pt x="6723" y="7424"/>
                    <a:pt x="6940" y="7241"/>
                    <a:pt x="6593" y="7159"/>
                  </a:cubicBezTo>
                  <a:cubicBezTo>
                    <a:pt x="7187" y="7192"/>
                    <a:pt x="6922" y="6844"/>
                    <a:pt x="7330" y="6619"/>
                  </a:cubicBezTo>
                  <a:cubicBezTo>
                    <a:pt x="7181" y="6882"/>
                    <a:pt x="6832" y="7407"/>
                    <a:pt x="7593" y="7192"/>
                  </a:cubicBezTo>
                  <a:cubicBezTo>
                    <a:pt x="7853" y="7117"/>
                    <a:pt x="7708" y="7086"/>
                    <a:pt x="7956" y="7118"/>
                  </a:cubicBezTo>
                  <a:cubicBezTo>
                    <a:pt x="8040" y="7129"/>
                    <a:pt x="8089" y="7442"/>
                    <a:pt x="8215" y="7105"/>
                  </a:cubicBezTo>
                  <a:cubicBezTo>
                    <a:pt x="8420" y="7288"/>
                    <a:pt x="8223" y="7493"/>
                    <a:pt x="8050" y="7651"/>
                  </a:cubicBezTo>
                  <a:cubicBezTo>
                    <a:pt x="8119" y="7631"/>
                    <a:pt x="8253" y="7531"/>
                    <a:pt x="8332" y="7521"/>
                  </a:cubicBezTo>
                  <a:cubicBezTo>
                    <a:pt x="8786" y="7462"/>
                    <a:pt x="8317" y="7505"/>
                    <a:pt x="8533" y="7596"/>
                  </a:cubicBezTo>
                  <a:cubicBezTo>
                    <a:pt x="8914" y="7757"/>
                    <a:pt x="9286" y="7660"/>
                    <a:pt x="9562" y="7561"/>
                  </a:cubicBezTo>
                  <a:cubicBezTo>
                    <a:pt x="9825" y="7466"/>
                    <a:pt x="10192" y="7352"/>
                    <a:pt x="10372" y="7186"/>
                  </a:cubicBezTo>
                  <a:cubicBezTo>
                    <a:pt x="10753" y="6836"/>
                    <a:pt x="10347" y="7007"/>
                    <a:pt x="9988" y="7030"/>
                  </a:cubicBezTo>
                  <a:cubicBezTo>
                    <a:pt x="10049" y="6879"/>
                    <a:pt x="10345" y="6828"/>
                    <a:pt x="10289" y="6657"/>
                  </a:cubicBezTo>
                  <a:cubicBezTo>
                    <a:pt x="10250" y="6537"/>
                    <a:pt x="9693" y="6381"/>
                    <a:pt x="9996" y="6580"/>
                  </a:cubicBezTo>
                  <a:cubicBezTo>
                    <a:pt x="9669" y="6791"/>
                    <a:pt x="9737" y="6366"/>
                    <a:pt x="9334" y="6554"/>
                  </a:cubicBezTo>
                  <a:cubicBezTo>
                    <a:pt x="9325" y="6536"/>
                    <a:pt x="9300" y="6451"/>
                    <a:pt x="9298" y="6438"/>
                  </a:cubicBezTo>
                  <a:cubicBezTo>
                    <a:pt x="9902" y="6425"/>
                    <a:pt x="9616" y="6358"/>
                    <a:pt x="9232" y="6316"/>
                  </a:cubicBezTo>
                  <a:cubicBezTo>
                    <a:pt x="9349" y="6295"/>
                    <a:pt x="9795" y="6259"/>
                    <a:pt x="9856" y="6164"/>
                  </a:cubicBezTo>
                  <a:cubicBezTo>
                    <a:pt x="9946" y="6024"/>
                    <a:pt x="9628" y="6008"/>
                    <a:pt x="9449" y="6043"/>
                  </a:cubicBezTo>
                  <a:cubicBezTo>
                    <a:pt x="9547" y="5977"/>
                    <a:pt x="10284" y="5819"/>
                    <a:pt x="9729" y="5769"/>
                  </a:cubicBezTo>
                  <a:cubicBezTo>
                    <a:pt x="10136" y="5630"/>
                    <a:pt x="9395" y="5522"/>
                    <a:pt x="10080" y="5432"/>
                  </a:cubicBezTo>
                  <a:cubicBezTo>
                    <a:pt x="10033" y="5409"/>
                    <a:pt x="9996" y="5375"/>
                    <a:pt x="9938" y="5352"/>
                  </a:cubicBezTo>
                  <a:cubicBezTo>
                    <a:pt x="10328" y="5345"/>
                    <a:pt x="10466" y="5231"/>
                    <a:pt x="10621" y="5026"/>
                  </a:cubicBezTo>
                  <a:cubicBezTo>
                    <a:pt x="10708" y="4911"/>
                    <a:pt x="10957" y="4603"/>
                    <a:pt x="10782" y="4554"/>
                  </a:cubicBezTo>
                  <a:cubicBezTo>
                    <a:pt x="10402" y="4446"/>
                    <a:pt x="9515" y="4979"/>
                    <a:pt x="9230" y="5096"/>
                  </a:cubicBezTo>
                  <a:cubicBezTo>
                    <a:pt x="8801" y="5291"/>
                    <a:pt x="8331" y="5471"/>
                    <a:pt x="7945" y="5701"/>
                  </a:cubicBezTo>
                  <a:cubicBezTo>
                    <a:pt x="8086" y="5675"/>
                    <a:pt x="8267" y="5635"/>
                    <a:pt x="8427" y="5646"/>
                  </a:cubicBezTo>
                  <a:cubicBezTo>
                    <a:pt x="8241" y="5701"/>
                    <a:pt x="7992" y="5736"/>
                    <a:pt x="7819" y="5812"/>
                  </a:cubicBezTo>
                  <a:cubicBezTo>
                    <a:pt x="7647" y="5885"/>
                    <a:pt x="7590" y="6016"/>
                    <a:pt x="7457" y="6066"/>
                  </a:cubicBezTo>
                  <a:cubicBezTo>
                    <a:pt x="7071" y="6213"/>
                    <a:pt x="6020" y="6443"/>
                    <a:pt x="5892" y="6717"/>
                  </a:cubicBezTo>
                  <a:cubicBezTo>
                    <a:pt x="5462" y="6611"/>
                    <a:pt x="5149" y="6520"/>
                    <a:pt x="4661" y="6699"/>
                  </a:cubicBezTo>
                  <a:cubicBezTo>
                    <a:pt x="4892" y="6673"/>
                    <a:pt x="4836" y="6827"/>
                    <a:pt x="4721" y="6818"/>
                  </a:cubicBezTo>
                  <a:cubicBezTo>
                    <a:pt x="4488" y="6800"/>
                    <a:pt x="4506" y="6695"/>
                    <a:pt x="4353" y="6678"/>
                  </a:cubicBezTo>
                  <a:cubicBezTo>
                    <a:pt x="4193" y="6660"/>
                    <a:pt x="3674" y="6729"/>
                    <a:pt x="3563" y="6795"/>
                  </a:cubicBezTo>
                  <a:cubicBezTo>
                    <a:pt x="3304" y="6951"/>
                    <a:pt x="3536" y="6933"/>
                    <a:pt x="3593" y="7027"/>
                  </a:cubicBezTo>
                  <a:cubicBezTo>
                    <a:pt x="3609" y="7052"/>
                    <a:pt x="3470" y="7100"/>
                    <a:pt x="3509" y="7135"/>
                  </a:cubicBezTo>
                  <a:cubicBezTo>
                    <a:pt x="3533" y="7156"/>
                    <a:pt x="3680" y="7183"/>
                    <a:pt x="3683" y="7193"/>
                  </a:cubicBezTo>
                  <a:cubicBezTo>
                    <a:pt x="3709" y="7294"/>
                    <a:pt x="3870" y="7400"/>
                    <a:pt x="3456" y="7409"/>
                  </a:cubicBezTo>
                  <a:cubicBezTo>
                    <a:pt x="3150" y="7416"/>
                    <a:pt x="3282" y="7235"/>
                    <a:pt x="3108" y="7246"/>
                  </a:cubicBezTo>
                  <a:cubicBezTo>
                    <a:pt x="2975" y="7254"/>
                    <a:pt x="2788" y="7462"/>
                    <a:pt x="2728" y="7509"/>
                  </a:cubicBezTo>
                  <a:cubicBezTo>
                    <a:pt x="2695" y="7375"/>
                    <a:pt x="2841" y="7290"/>
                    <a:pt x="2833" y="7145"/>
                  </a:cubicBezTo>
                  <a:cubicBezTo>
                    <a:pt x="2825" y="6987"/>
                    <a:pt x="2620" y="6755"/>
                    <a:pt x="2435" y="7000"/>
                  </a:cubicBezTo>
                  <a:cubicBezTo>
                    <a:pt x="2647" y="6848"/>
                    <a:pt x="2133" y="6756"/>
                    <a:pt x="1901" y="6729"/>
                  </a:cubicBezTo>
                  <a:cubicBezTo>
                    <a:pt x="1324" y="6666"/>
                    <a:pt x="1168" y="6804"/>
                    <a:pt x="1130" y="6458"/>
                  </a:cubicBezTo>
                  <a:cubicBezTo>
                    <a:pt x="1121" y="6382"/>
                    <a:pt x="1166" y="6263"/>
                    <a:pt x="1136" y="6172"/>
                  </a:cubicBezTo>
                  <a:cubicBezTo>
                    <a:pt x="1092" y="6037"/>
                    <a:pt x="1102" y="6071"/>
                    <a:pt x="998" y="5956"/>
                  </a:cubicBezTo>
                  <a:cubicBezTo>
                    <a:pt x="881" y="5830"/>
                    <a:pt x="663" y="5574"/>
                    <a:pt x="470" y="5486"/>
                  </a:cubicBezTo>
                  <a:cubicBezTo>
                    <a:pt x="414" y="5740"/>
                    <a:pt x="223" y="5936"/>
                    <a:pt x="115" y="6172"/>
                  </a:cubicBezTo>
                  <a:cubicBezTo>
                    <a:pt x="41" y="6339"/>
                    <a:pt x="124" y="6479"/>
                    <a:pt x="142" y="6642"/>
                  </a:cubicBezTo>
                  <a:cubicBezTo>
                    <a:pt x="162" y="6825"/>
                    <a:pt x="85" y="6920"/>
                    <a:pt x="34" y="7096"/>
                  </a:cubicBezTo>
                  <a:cubicBezTo>
                    <a:pt x="-10" y="7245"/>
                    <a:pt x="-38" y="7408"/>
                    <a:pt x="130" y="7536"/>
                  </a:cubicBezTo>
                  <a:cubicBezTo>
                    <a:pt x="352" y="7704"/>
                    <a:pt x="402" y="7633"/>
                    <a:pt x="642" y="7573"/>
                  </a:cubicBezTo>
                  <a:close/>
                  <a:moveTo>
                    <a:pt x="17882" y="7468"/>
                  </a:moveTo>
                  <a:cubicBezTo>
                    <a:pt x="17783" y="7506"/>
                    <a:pt x="17231" y="7735"/>
                    <a:pt x="17132" y="7724"/>
                  </a:cubicBezTo>
                  <a:cubicBezTo>
                    <a:pt x="16586" y="7666"/>
                    <a:pt x="17630" y="7126"/>
                    <a:pt x="17594" y="6961"/>
                  </a:cubicBezTo>
                  <a:cubicBezTo>
                    <a:pt x="17546" y="6735"/>
                    <a:pt x="17321" y="6844"/>
                    <a:pt x="17087" y="6824"/>
                  </a:cubicBezTo>
                  <a:cubicBezTo>
                    <a:pt x="16800" y="6801"/>
                    <a:pt x="16688" y="6717"/>
                    <a:pt x="16460" y="6658"/>
                  </a:cubicBezTo>
                  <a:cubicBezTo>
                    <a:pt x="15800" y="6488"/>
                    <a:pt x="15506" y="6589"/>
                    <a:pt x="15426" y="7011"/>
                  </a:cubicBezTo>
                  <a:cubicBezTo>
                    <a:pt x="15232" y="7012"/>
                    <a:pt x="15230" y="7114"/>
                    <a:pt x="15040" y="7156"/>
                  </a:cubicBezTo>
                  <a:cubicBezTo>
                    <a:pt x="14842" y="7201"/>
                    <a:pt x="14536" y="7119"/>
                    <a:pt x="14374" y="7166"/>
                  </a:cubicBezTo>
                  <a:cubicBezTo>
                    <a:pt x="14081" y="7250"/>
                    <a:pt x="14324" y="7225"/>
                    <a:pt x="14195" y="7373"/>
                  </a:cubicBezTo>
                  <a:cubicBezTo>
                    <a:pt x="14224" y="7339"/>
                    <a:pt x="14238" y="7682"/>
                    <a:pt x="14069" y="7433"/>
                  </a:cubicBezTo>
                  <a:cubicBezTo>
                    <a:pt x="14050" y="7406"/>
                    <a:pt x="14097" y="7254"/>
                    <a:pt x="14072" y="7210"/>
                  </a:cubicBezTo>
                  <a:cubicBezTo>
                    <a:pt x="14047" y="7166"/>
                    <a:pt x="13966" y="7083"/>
                    <a:pt x="13916" y="7040"/>
                  </a:cubicBezTo>
                  <a:cubicBezTo>
                    <a:pt x="13786" y="6928"/>
                    <a:pt x="13502" y="6783"/>
                    <a:pt x="13333" y="6684"/>
                  </a:cubicBezTo>
                  <a:cubicBezTo>
                    <a:pt x="13226" y="6621"/>
                    <a:pt x="13368" y="6416"/>
                    <a:pt x="13088" y="6654"/>
                  </a:cubicBezTo>
                  <a:cubicBezTo>
                    <a:pt x="13033" y="6701"/>
                    <a:pt x="13024" y="6787"/>
                    <a:pt x="12998" y="6846"/>
                  </a:cubicBezTo>
                  <a:cubicBezTo>
                    <a:pt x="12917" y="7032"/>
                    <a:pt x="12864" y="7155"/>
                    <a:pt x="12731" y="7329"/>
                  </a:cubicBezTo>
                  <a:cubicBezTo>
                    <a:pt x="12615" y="7481"/>
                    <a:pt x="12557" y="7658"/>
                    <a:pt x="12411" y="7801"/>
                  </a:cubicBezTo>
                  <a:cubicBezTo>
                    <a:pt x="12272" y="7936"/>
                    <a:pt x="11950" y="8028"/>
                    <a:pt x="11911" y="8175"/>
                  </a:cubicBezTo>
                  <a:cubicBezTo>
                    <a:pt x="11955" y="8125"/>
                    <a:pt x="12083" y="8059"/>
                    <a:pt x="12134" y="8015"/>
                  </a:cubicBezTo>
                  <a:cubicBezTo>
                    <a:pt x="12172" y="8166"/>
                    <a:pt x="11759" y="8651"/>
                    <a:pt x="11780" y="8285"/>
                  </a:cubicBezTo>
                  <a:cubicBezTo>
                    <a:pt x="11547" y="8305"/>
                    <a:pt x="11336" y="8382"/>
                    <a:pt x="11124" y="8443"/>
                  </a:cubicBezTo>
                  <a:cubicBezTo>
                    <a:pt x="10864" y="8517"/>
                    <a:pt x="11015" y="8551"/>
                    <a:pt x="10969" y="8596"/>
                  </a:cubicBezTo>
                  <a:cubicBezTo>
                    <a:pt x="10965" y="8599"/>
                    <a:pt x="11265" y="8605"/>
                    <a:pt x="11054" y="8675"/>
                  </a:cubicBezTo>
                  <a:cubicBezTo>
                    <a:pt x="10903" y="8725"/>
                    <a:pt x="10860" y="8725"/>
                    <a:pt x="10814" y="8822"/>
                  </a:cubicBezTo>
                  <a:cubicBezTo>
                    <a:pt x="10741" y="8712"/>
                    <a:pt x="10641" y="8685"/>
                    <a:pt x="10521" y="8788"/>
                  </a:cubicBezTo>
                  <a:cubicBezTo>
                    <a:pt x="10326" y="8512"/>
                    <a:pt x="11418" y="8277"/>
                    <a:pt x="10352" y="8304"/>
                  </a:cubicBezTo>
                  <a:cubicBezTo>
                    <a:pt x="10413" y="8274"/>
                    <a:pt x="10461" y="8237"/>
                    <a:pt x="10515" y="8208"/>
                  </a:cubicBezTo>
                  <a:cubicBezTo>
                    <a:pt x="9962" y="8342"/>
                    <a:pt x="9073" y="8540"/>
                    <a:pt x="8600" y="8741"/>
                  </a:cubicBezTo>
                  <a:cubicBezTo>
                    <a:pt x="9244" y="8680"/>
                    <a:pt x="8553" y="9154"/>
                    <a:pt x="8442" y="8993"/>
                  </a:cubicBezTo>
                  <a:cubicBezTo>
                    <a:pt x="8358" y="9078"/>
                    <a:pt x="8119" y="9450"/>
                    <a:pt x="7863" y="9258"/>
                  </a:cubicBezTo>
                  <a:cubicBezTo>
                    <a:pt x="7785" y="9200"/>
                    <a:pt x="8017" y="9022"/>
                    <a:pt x="8097" y="8939"/>
                  </a:cubicBezTo>
                  <a:cubicBezTo>
                    <a:pt x="7694" y="8995"/>
                    <a:pt x="7363" y="9284"/>
                    <a:pt x="6934" y="9326"/>
                  </a:cubicBezTo>
                  <a:cubicBezTo>
                    <a:pt x="7099" y="9219"/>
                    <a:pt x="7347" y="9082"/>
                    <a:pt x="6888" y="9112"/>
                  </a:cubicBezTo>
                  <a:cubicBezTo>
                    <a:pt x="6994" y="9089"/>
                    <a:pt x="7101" y="9034"/>
                    <a:pt x="7186" y="9008"/>
                  </a:cubicBezTo>
                  <a:cubicBezTo>
                    <a:pt x="6742" y="9021"/>
                    <a:pt x="6517" y="9257"/>
                    <a:pt x="6175" y="9356"/>
                  </a:cubicBezTo>
                  <a:cubicBezTo>
                    <a:pt x="6010" y="9403"/>
                    <a:pt x="6360" y="9439"/>
                    <a:pt x="6266" y="9505"/>
                  </a:cubicBezTo>
                  <a:cubicBezTo>
                    <a:pt x="6205" y="9548"/>
                    <a:pt x="5982" y="9531"/>
                    <a:pt x="5868" y="9589"/>
                  </a:cubicBezTo>
                  <a:cubicBezTo>
                    <a:pt x="5878" y="9535"/>
                    <a:pt x="5830" y="9525"/>
                    <a:pt x="5867" y="9462"/>
                  </a:cubicBezTo>
                  <a:cubicBezTo>
                    <a:pt x="5210" y="9368"/>
                    <a:pt x="4783" y="9368"/>
                    <a:pt x="4155" y="9472"/>
                  </a:cubicBezTo>
                  <a:cubicBezTo>
                    <a:pt x="4082" y="9558"/>
                    <a:pt x="4019" y="9641"/>
                    <a:pt x="3988" y="9717"/>
                  </a:cubicBezTo>
                  <a:cubicBezTo>
                    <a:pt x="3865" y="10024"/>
                    <a:pt x="3647" y="10107"/>
                    <a:pt x="3473" y="10410"/>
                  </a:cubicBezTo>
                  <a:cubicBezTo>
                    <a:pt x="3533" y="10413"/>
                    <a:pt x="3593" y="10416"/>
                    <a:pt x="3654" y="10418"/>
                  </a:cubicBezTo>
                  <a:cubicBezTo>
                    <a:pt x="3745" y="10493"/>
                    <a:pt x="3785" y="10581"/>
                    <a:pt x="3769" y="10672"/>
                  </a:cubicBezTo>
                  <a:cubicBezTo>
                    <a:pt x="3825" y="10666"/>
                    <a:pt x="3871" y="10669"/>
                    <a:pt x="3908" y="10669"/>
                  </a:cubicBezTo>
                  <a:cubicBezTo>
                    <a:pt x="3619" y="11012"/>
                    <a:pt x="3711" y="10541"/>
                    <a:pt x="3646" y="10529"/>
                  </a:cubicBezTo>
                  <a:cubicBezTo>
                    <a:pt x="3359" y="10468"/>
                    <a:pt x="3397" y="10947"/>
                    <a:pt x="3401" y="11002"/>
                  </a:cubicBezTo>
                  <a:cubicBezTo>
                    <a:pt x="3425" y="11440"/>
                    <a:pt x="3087" y="11910"/>
                    <a:pt x="2797" y="12317"/>
                  </a:cubicBezTo>
                  <a:cubicBezTo>
                    <a:pt x="2737" y="12402"/>
                    <a:pt x="2647" y="12496"/>
                    <a:pt x="2607" y="12565"/>
                  </a:cubicBezTo>
                  <a:cubicBezTo>
                    <a:pt x="2617" y="12550"/>
                    <a:pt x="2605" y="12684"/>
                    <a:pt x="2539" y="12764"/>
                  </a:cubicBezTo>
                  <a:cubicBezTo>
                    <a:pt x="2455" y="12868"/>
                    <a:pt x="2470" y="13010"/>
                    <a:pt x="2525" y="13118"/>
                  </a:cubicBezTo>
                  <a:cubicBezTo>
                    <a:pt x="2672" y="13414"/>
                    <a:pt x="2592" y="13234"/>
                    <a:pt x="2836" y="13162"/>
                  </a:cubicBezTo>
                  <a:cubicBezTo>
                    <a:pt x="3065" y="13095"/>
                    <a:pt x="3168" y="13101"/>
                    <a:pt x="3376" y="13087"/>
                  </a:cubicBezTo>
                  <a:cubicBezTo>
                    <a:pt x="3497" y="13080"/>
                    <a:pt x="3501" y="13282"/>
                    <a:pt x="3597" y="12985"/>
                  </a:cubicBezTo>
                  <a:cubicBezTo>
                    <a:pt x="3613" y="12935"/>
                    <a:pt x="3493" y="12882"/>
                    <a:pt x="3518" y="12813"/>
                  </a:cubicBezTo>
                  <a:cubicBezTo>
                    <a:pt x="3546" y="12733"/>
                    <a:pt x="3657" y="12651"/>
                    <a:pt x="3728" y="12583"/>
                  </a:cubicBezTo>
                  <a:cubicBezTo>
                    <a:pt x="3922" y="12398"/>
                    <a:pt x="4239" y="12388"/>
                    <a:pt x="4520" y="12337"/>
                  </a:cubicBezTo>
                  <a:cubicBezTo>
                    <a:pt x="4838" y="12280"/>
                    <a:pt x="5039" y="12215"/>
                    <a:pt x="5317" y="12066"/>
                  </a:cubicBezTo>
                  <a:cubicBezTo>
                    <a:pt x="5545" y="11946"/>
                    <a:pt x="5737" y="11745"/>
                    <a:pt x="6050" y="11675"/>
                  </a:cubicBezTo>
                  <a:cubicBezTo>
                    <a:pt x="6120" y="11659"/>
                    <a:pt x="6331" y="11663"/>
                    <a:pt x="6443" y="11646"/>
                  </a:cubicBezTo>
                  <a:cubicBezTo>
                    <a:pt x="6490" y="11639"/>
                    <a:pt x="6520" y="11559"/>
                    <a:pt x="6612" y="11547"/>
                  </a:cubicBezTo>
                  <a:cubicBezTo>
                    <a:pt x="6655" y="11540"/>
                    <a:pt x="6835" y="11577"/>
                    <a:pt x="6811" y="11584"/>
                  </a:cubicBezTo>
                  <a:cubicBezTo>
                    <a:pt x="6820" y="11582"/>
                    <a:pt x="6916" y="11626"/>
                    <a:pt x="7001" y="11594"/>
                  </a:cubicBezTo>
                  <a:cubicBezTo>
                    <a:pt x="7082" y="11564"/>
                    <a:pt x="7058" y="11446"/>
                    <a:pt x="7116" y="11401"/>
                  </a:cubicBezTo>
                  <a:cubicBezTo>
                    <a:pt x="7205" y="11331"/>
                    <a:pt x="7295" y="11281"/>
                    <a:pt x="7412" y="11229"/>
                  </a:cubicBezTo>
                  <a:cubicBezTo>
                    <a:pt x="7894" y="11010"/>
                    <a:pt x="8673" y="11022"/>
                    <a:pt x="9088" y="10771"/>
                  </a:cubicBezTo>
                  <a:cubicBezTo>
                    <a:pt x="9091" y="10882"/>
                    <a:pt x="9025" y="10980"/>
                    <a:pt x="8971" y="11085"/>
                  </a:cubicBezTo>
                  <a:cubicBezTo>
                    <a:pt x="8907" y="11212"/>
                    <a:pt x="8884" y="11099"/>
                    <a:pt x="8798" y="11133"/>
                  </a:cubicBezTo>
                  <a:cubicBezTo>
                    <a:pt x="8771" y="11144"/>
                    <a:pt x="8598" y="11129"/>
                    <a:pt x="8538" y="11145"/>
                  </a:cubicBezTo>
                  <a:cubicBezTo>
                    <a:pt x="8441" y="11171"/>
                    <a:pt x="8401" y="11254"/>
                    <a:pt x="8316" y="11290"/>
                  </a:cubicBezTo>
                  <a:cubicBezTo>
                    <a:pt x="7999" y="11430"/>
                    <a:pt x="7650" y="11519"/>
                    <a:pt x="7421" y="11722"/>
                  </a:cubicBezTo>
                  <a:cubicBezTo>
                    <a:pt x="7039" y="12063"/>
                    <a:pt x="5702" y="13056"/>
                    <a:pt x="7128" y="13050"/>
                  </a:cubicBezTo>
                  <a:cubicBezTo>
                    <a:pt x="7140" y="13145"/>
                    <a:pt x="7196" y="13205"/>
                    <a:pt x="7302" y="13270"/>
                  </a:cubicBezTo>
                  <a:cubicBezTo>
                    <a:pt x="7104" y="13393"/>
                    <a:pt x="6891" y="13138"/>
                    <a:pt x="6618" y="13084"/>
                  </a:cubicBezTo>
                  <a:cubicBezTo>
                    <a:pt x="6344" y="13030"/>
                    <a:pt x="5776" y="12946"/>
                    <a:pt x="5923" y="13253"/>
                  </a:cubicBezTo>
                  <a:cubicBezTo>
                    <a:pt x="5621" y="13232"/>
                    <a:pt x="5512" y="12903"/>
                    <a:pt x="5413" y="12729"/>
                  </a:cubicBezTo>
                  <a:cubicBezTo>
                    <a:pt x="5322" y="12569"/>
                    <a:pt x="5514" y="12510"/>
                    <a:pt x="5150" y="12473"/>
                  </a:cubicBezTo>
                  <a:cubicBezTo>
                    <a:pt x="5004" y="12459"/>
                    <a:pt x="4685" y="12556"/>
                    <a:pt x="4557" y="12596"/>
                  </a:cubicBezTo>
                  <a:cubicBezTo>
                    <a:pt x="5433" y="12543"/>
                    <a:pt x="4917" y="12947"/>
                    <a:pt x="4501" y="13253"/>
                  </a:cubicBezTo>
                  <a:cubicBezTo>
                    <a:pt x="4257" y="13433"/>
                    <a:pt x="3958" y="13577"/>
                    <a:pt x="3745" y="13775"/>
                  </a:cubicBezTo>
                  <a:cubicBezTo>
                    <a:pt x="3224" y="14257"/>
                    <a:pt x="2860" y="14840"/>
                    <a:pt x="2440" y="15361"/>
                  </a:cubicBezTo>
                  <a:cubicBezTo>
                    <a:pt x="2085" y="15801"/>
                    <a:pt x="1269" y="16493"/>
                    <a:pt x="1482" y="17008"/>
                  </a:cubicBezTo>
                  <a:cubicBezTo>
                    <a:pt x="1827" y="16769"/>
                    <a:pt x="2147" y="16453"/>
                    <a:pt x="2409" y="16171"/>
                  </a:cubicBezTo>
                  <a:cubicBezTo>
                    <a:pt x="2294" y="16466"/>
                    <a:pt x="2105" y="16828"/>
                    <a:pt x="1874" y="17094"/>
                  </a:cubicBezTo>
                  <a:cubicBezTo>
                    <a:pt x="1620" y="17387"/>
                    <a:pt x="1589" y="17081"/>
                    <a:pt x="1385" y="17051"/>
                  </a:cubicBezTo>
                  <a:cubicBezTo>
                    <a:pt x="770" y="16964"/>
                    <a:pt x="463" y="18416"/>
                    <a:pt x="367" y="18691"/>
                  </a:cubicBezTo>
                  <a:cubicBezTo>
                    <a:pt x="392" y="18707"/>
                    <a:pt x="417" y="18723"/>
                    <a:pt x="442" y="18739"/>
                  </a:cubicBezTo>
                  <a:cubicBezTo>
                    <a:pt x="550" y="18562"/>
                    <a:pt x="724" y="17483"/>
                    <a:pt x="1242" y="17559"/>
                  </a:cubicBezTo>
                  <a:cubicBezTo>
                    <a:pt x="1426" y="17586"/>
                    <a:pt x="1068" y="18311"/>
                    <a:pt x="1036" y="18494"/>
                  </a:cubicBezTo>
                  <a:cubicBezTo>
                    <a:pt x="971" y="18848"/>
                    <a:pt x="1174" y="19106"/>
                    <a:pt x="1248" y="19458"/>
                  </a:cubicBezTo>
                  <a:cubicBezTo>
                    <a:pt x="1270" y="19571"/>
                    <a:pt x="1253" y="19654"/>
                    <a:pt x="1338" y="19765"/>
                  </a:cubicBezTo>
                  <a:cubicBezTo>
                    <a:pt x="1444" y="19904"/>
                    <a:pt x="1414" y="19837"/>
                    <a:pt x="1563" y="19929"/>
                  </a:cubicBezTo>
                  <a:cubicBezTo>
                    <a:pt x="1768" y="20057"/>
                    <a:pt x="1839" y="20143"/>
                    <a:pt x="1978" y="20276"/>
                  </a:cubicBezTo>
                  <a:cubicBezTo>
                    <a:pt x="2326" y="20606"/>
                    <a:pt x="2551" y="20807"/>
                    <a:pt x="2951" y="21078"/>
                  </a:cubicBezTo>
                  <a:cubicBezTo>
                    <a:pt x="3018" y="20943"/>
                    <a:pt x="3156" y="21006"/>
                    <a:pt x="3286" y="21086"/>
                  </a:cubicBezTo>
                  <a:cubicBezTo>
                    <a:pt x="3280" y="21054"/>
                    <a:pt x="3285" y="21004"/>
                    <a:pt x="3281" y="20974"/>
                  </a:cubicBezTo>
                  <a:cubicBezTo>
                    <a:pt x="3364" y="21023"/>
                    <a:pt x="3471" y="21046"/>
                    <a:pt x="3536" y="21118"/>
                  </a:cubicBezTo>
                  <a:cubicBezTo>
                    <a:pt x="3532" y="21084"/>
                    <a:pt x="3569" y="20996"/>
                    <a:pt x="3557" y="20947"/>
                  </a:cubicBezTo>
                  <a:cubicBezTo>
                    <a:pt x="3591" y="20969"/>
                    <a:pt x="3640" y="20992"/>
                    <a:pt x="3677" y="21021"/>
                  </a:cubicBezTo>
                  <a:cubicBezTo>
                    <a:pt x="3742" y="20781"/>
                    <a:pt x="3211" y="20740"/>
                    <a:pt x="3139" y="20518"/>
                  </a:cubicBezTo>
                  <a:cubicBezTo>
                    <a:pt x="3300" y="20576"/>
                    <a:pt x="3787" y="20847"/>
                    <a:pt x="3494" y="20504"/>
                  </a:cubicBezTo>
                  <a:cubicBezTo>
                    <a:pt x="3661" y="20499"/>
                    <a:pt x="3827" y="20562"/>
                    <a:pt x="3956" y="20617"/>
                  </a:cubicBezTo>
                  <a:cubicBezTo>
                    <a:pt x="3937" y="20588"/>
                    <a:pt x="3916" y="20541"/>
                    <a:pt x="3886" y="20503"/>
                  </a:cubicBezTo>
                  <a:cubicBezTo>
                    <a:pt x="4251" y="20623"/>
                    <a:pt x="4454" y="20996"/>
                    <a:pt x="4799" y="21089"/>
                  </a:cubicBezTo>
                  <a:cubicBezTo>
                    <a:pt x="4749" y="20987"/>
                    <a:pt x="4599" y="20901"/>
                    <a:pt x="4630" y="20788"/>
                  </a:cubicBezTo>
                  <a:cubicBezTo>
                    <a:pt x="4797" y="20840"/>
                    <a:pt x="5169" y="21434"/>
                    <a:pt x="5188" y="21158"/>
                  </a:cubicBezTo>
                  <a:cubicBezTo>
                    <a:pt x="5353" y="21214"/>
                    <a:pt x="5382" y="21369"/>
                    <a:pt x="5570" y="21382"/>
                  </a:cubicBezTo>
                  <a:cubicBezTo>
                    <a:pt x="5891" y="21403"/>
                    <a:pt x="5844" y="21119"/>
                    <a:pt x="5943" y="21025"/>
                  </a:cubicBezTo>
                  <a:cubicBezTo>
                    <a:pt x="6105" y="20871"/>
                    <a:pt x="6079" y="20957"/>
                    <a:pt x="6365" y="21035"/>
                  </a:cubicBezTo>
                  <a:cubicBezTo>
                    <a:pt x="6486" y="21068"/>
                    <a:pt x="6620" y="21093"/>
                    <a:pt x="6711" y="21136"/>
                  </a:cubicBezTo>
                  <a:cubicBezTo>
                    <a:pt x="6577" y="20938"/>
                    <a:pt x="6575" y="20561"/>
                    <a:pt x="6891" y="20923"/>
                  </a:cubicBezTo>
                  <a:cubicBezTo>
                    <a:pt x="6916" y="20717"/>
                    <a:pt x="6550" y="20749"/>
                    <a:pt x="6411" y="20616"/>
                  </a:cubicBezTo>
                  <a:cubicBezTo>
                    <a:pt x="6628" y="20668"/>
                    <a:pt x="6817" y="20634"/>
                    <a:pt x="7011" y="20619"/>
                  </a:cubicBezTo>
                  <a:cubicBezTo>
                    <a:pt x="6878" y="20414"/>
                    <a:pt x="6697" y="20237"/>
                    <a:pt x="6508" y="20055"/>
                  </a:cubicBezTo>
                  <a:cubicBezTo>
                    <a:pt x="6463" y="20011"/>
                    <a:pt x="6110" y="19755"/>
                    <a:pt x="6447" y="19825"/>
                  </a:cubicBezTo>
                  <a:cubicBezTo>
                    <a:pt x="6640" y="19866"/>
                    <a:pt x="6490" y="20048"/>
                    <a:pt x="6772" y="20063"/>
                  </a:cubicBezTo>
                  <a:cubicBezTo>
                    <a:pt x="7446" y="20099"/>
                    <a:pt x="6646" y="19646"/>
                    <a:pt x="6658" y="19599"/>
                  </a:cubicBezTo>
                  <a:cubicBezTo>
                    <a:pt x="6721" y="19378"/>
                    <a:pt x="7323" y="20024"/>
                    <a:pt x="7267" y="19607"/>
                  </a:cubicBezTo>
                  <a:cubicBezTo>
                    <a:pt x="7480" y="19961"/>
                    <a:pt x="7539" y="19732"/>
                    <a:pt x="7491" y="19480"/>
                  </a:cubicBezTo>
                  <a:cubicBezTo>
                    <a:pt x="7655" y="19641"/>
                    <a:pt x="7931" y="19625"/>
                    <a:pt x="7843" y="19385"/>
                  </a:cubicBezTo>
                  <a:cubicBezTo>
                    <a:pt x="7806" y="19282"/>
                    <a:pt x="7563" y="19192"/>
                    <a:pt x="7448" y="19123"/>
                  </a:cubicBezTo>
                  <a:cubicBezTo>
                    <a:pt x="7577" y="19131"/>
                    <a:pt x="7973" y="19370"/>
                    <a:pt x="7983" y="19184"/>
                  </a:cubicBezTo>
                  <a:cubicBezTo>
                    <a:pt x="7995" y="18945"/>
                    <a:pt x="7751" y="18975"/>
                    <a:pt x="7587" y="18828"/>
                  </a:cubicBezTo>
                  <a:cubicBezTo>
                    <a:pt x="7649" y="18842"/>
                    <a:pt x="8029" y="19005"/>
                    <a:pt x="8088" y="18983"/>
                  </a:cubicBezTo>
                  <a:cubicBezTo>
                    <a:pt x="8282" y="18912"/>
                    <a:pt x="7927" y="18752"/>
                    <a:pt x="7820" y="18736"/>
                  </a:cubicBezTo>
                  <a:cubicBezTo>
                    <a:pt x="8095" y="18607"/>
                    <a:pt x="8270" y="18928"/>
                    <a:pt x="8260" y="18644"/>
                  </a:cubicBezTo>
                  <a:cubicBezTo>
                    <a:pt x="8251" y="18392"/>
                    <a:pt x="7999" y="18557"/>
                    <a:pt x="7937" y="18440"/>
                  </a:cubicBezTo>
                  <a:cubicBezTo>
                    <a:pt x="7898" y="18367"/>
                    <a:pt x="8863" y="17598"/>
                    <a:pt x="8063" y="17758"/>
                  </a:cubicBezTo>
                  <a:cubicBezTo>
                    <a:pt x="8311" y="17660"/>
                    <a:pt x="8839" y="17412"/>
                    <a:pt x="8500" y="17217"/>
                  </a:cubicBezTo>
                  <a:cubicBezTo>
                    <a:pt x="8406" y="17164"/>
                    <a:pt x="8151" y="17374"/>
                    <a:pt x="8172" y="17230"/>
                  </a:cubicBezTo>
                  <a:cubicBezTo>
                    <a:pt x="8184" y="17147"/>
                    <a:pt x="8556" y="17124"/>
                    <a:pt x="8634" y="17062"/>
                  </a:cubicBezTo>
                  <a:cubicBezTo>
                    <a:pt x="8739" y="16978"/>
                    <a:pt x="8740" y="16620"/>
                    <a:pt x="8732" y="16517"/>
                  </a:cubicBezTo>
                  <a:cubicBezTo>
                    <a:pt x="8712" y="16258"/>
                    <a:pt x="8735" y="16325"/>
                    <a:pt x="8315" y="16244"/>
                  </a:cubicBezTo>
                  <a:cubicBezTo>
                    <a:pt x="8613" y="16237"/>
                    <a:pt x="9316" y="16438"/>
                    <a:pt x="9227" y="16107"/>
                  </a:cubicBezTo>
                  <a:cubicBezTo>
                    <a:pt x="8881" y="16257"/>
                    <a:pt x="9157" y="15976"/>
                    <a:pt x="8830" y="16024"/>
                  </a:cubicBezTo>
                  <a:cubicBezTo>
                    <a:pt x="8846" y="16148"/>
                    <a:pt x="8703" y="16095"/>
                    <a:pt x="8568" y="16024"/>
                  </a:cubicBezTo>
                  <a:cubicBezTo>
                    <a:pt x="8700" y="15934"/>
                    <a:pt x="8918" y="15904"/>
                    <a:pt x="9076" y="15834"/>
                  </a:cubicBezTo>
                  <a:cubicBezTo>
                    <a:pt x="8945" y="15798"/>
                    <a:pt x="8778" y="15823"/>
                    <a:pt x="8654" y="15873"/>
                  </a:cubicBezTo>
                  <a:cubicBezTo>
                    <a:pt x="8670" y="15841"/>
                    <a:pt x="8660" y="15751"/>
                    <a:pt x="8677" y="15719"/>
                  </a:cubicBezTo>
                  <a:cubicBezTo>
                    <a:pt x="8263" y="15973"/>
                    <a:pt x="8307" y="15583"/>
                    <a:pt x="8257" y="15446"/>
                  </a:cubicBezTo>
                  <a:cubicBezTo>
                    <a:pt x="8233" y="15383"/>
                    <a:pt x="8039" y="15289"/>
                    <a:pt x="8072" y="15234"/>
                  </a:cubicBezTo>
                  <a:cubicBezTo>
                    <a:pt x="8105" y="15181"/>
                    <a:pt x="8351" y="15190"/>
                    <a:pt x="8454" y="15137"/>
                  </a:cubicBezTo>
                  <a:cubicBezTo>
                    <a:pt x="8571" y="15076"/>
                    <a:pt x="8268" y="14889"/>
                    <a:pt x="8694" y="14932"/>
                  </a:cubicBezTo>
                  <a:cubicBezTo>
                    <a:pt x="8908" y="14955"/>
                    <a:pt x="8863" y="15078"/>
                    <a:pt x="9014" y="15129"/>
                  </a:cubicBezTo>
                  <a:cubicBezTo>
                    <a:pt x="9416" y="15265"/>
                    <a:pt x="9116" y="15044"/>
                    <a:pt x="9383" y="14920"/>
                  </a:cubicBezTo>
                  <a:cubicBezTo>
                    <a:pt x="9270" y="14773"/>
                    <a:pt x="9016" y="14775"/>
                    <a:pt x="8918" y="14652"/>
                  </a:cubicBezTo>
                  <a:cubicBezTo>
                    <a:pt x="8760" y="14454"/>
                    <a:pt x="9077" y="14279"/>
                    <a:pt x="9332" y="14109"/>
                  </a:cubicBezTo>
                  <a:cubicBezTo>
                    <a:pt x="9336" y="14273"/>
                    <a:pt x="9544" y="14874"/>
                    <a:pt x="9994" y="14814"/>
                  </a:cubicBezTo>
                  <a:cubicBezTo>
                    <a:pt x="10172" y="14791"/>
                    <a:pt x="10147" y="14660"/>
                    <a:pt x="10325" y="14612"/>
                  </a:cubicBezTo>
                  <a:cubicBezTo>
                    <a:pt x="10411" y="14590"/>
                    <a:pt x="10380" y="14738"/>
                    <a:pt x="10512" y="14741"/>
                  </a:cubicBezTo>
                  <a:cubicBezTo>
                    <a:pt x="10616" y="14744"/>
                    <a:pt x="10488" y="14616"/>
                    <a:pt x="10602" y="14632"/>
                  </a:cubicBezTo>
                  <a:cubicBezTo>
                    <a:pt x="10692" y="14645"/>
                    <a:pt x="10758" y="14657"/>
                    <a:pt x="10847" y="14632"/>
                  </a:cubicBezTo>
                  <a:cubicBezTo>
                    <a:pt x="10961" y="14601"/>
                    <a:pt x="11202" y="14533"/>
                    <a:pt x="11284" y="14595"/>
                  </a:cubicBezTo>
                  <a:cubicBezTo>
                    <a:pt x="11285" y="14547"/>
                    <a:pt x="11332" y="14450"/>
                    <a:pt x="11322" y="14385"/>
                  </a:cubicBezTo>
                  <a:cubicBezTo>
                    <a:pt x="11555" y="14454"/>
                    <a:pt x="11603" y="14260"/>
                    <a:pt x="11537" y="14142"/>
                  </a:cubicBezTo>
                  <a:cubicBezTo>
                    <a:pt x="11529" y="14129"/>
                    <a:pt x="11212" y="13921"/>
                    <a:pt x="11186" y="13905"/>
                  </a:cubicBezTo>
                  <a:cubicBezTo>
                    <a:pt x="11077" y="13841"/>
                    <a:pt x="10939" y="13753"/>
                    <a:pt x="10790" y="13721"/>
                  </a:cubicBezTo>
                  <a:cubicBezTo>
                    <a:pt x="10621" y="13686"/>
                    <a:pt x="10526" y="13767"/>
                    <a:pt x="10370" y="13704"/>
                  </a:cubicBezTo>
                  <a:cubicBezTo>
                    <a:pt x="10048" y="13573"/>
                    <a:pt x="10897" y="13675"/>
                    <a:pt x="11042" y="13686"/>
                  </a:cubicBezTo>
                  <a:cubicBezTo>
                    <a:pt x="11184" y="13695"/>
                    <a:pt x="11493" y="13781"/>
                    <a:pt x="11585" y="13682"/>
                  </a:cubicBezTo>
                  <a:cubicBezTo>
                    <a:pt x="11698" y="13559"/>
                    <a:pt x="11468" y="13456"/>
                    <a:pt x="11307" y="13455"/>
                  </a:cubicBezTo>
                  <a:cubicBezTo>
                    <a:pt x="11605" y="13473"/>
                    <a:pt x="12118" y="13421"/>
                    <a:pt x="12142" y="13176"/>
                  </a:cubicBezTo>
                  <a:cubicBezTo>
                    <a:pt x="12150" y="13102"/>
                    <a:pt x="11911" y="12964"/>
                    <a:pt x="11934" y="12938"/>
                  </a:cubicBezTo>
                  <a:cubicBezTo>
                    <a:pt x="12005" y="12858"/>
                    <a:pt x="12190" y="12981"/>
                    <a:pt x="12241" y="13037"/>
                  </a:cubicBezTo>
                  <a:cubicBezTo>
                    <a:pt x="12258" y="12977"/>
                    <a:pt x="12311" y="12893"/>
                    <a:pt x="12293" y="12815"/>
                  </a:cubicBezTo>
                  <a:cubicBezTo>
                    <a:pt x="12621" y="13006"/>
                    <a:pt x="12393" y="12605"/>
                    <a:pt x="12273" y="12513"/>
                  </a:cubicBezTo>
                  <a:cubicBezTo>
                    <a:pt x="12386" y="12562"/>
                    <a:pt x="13208" y="12900"/>
                    <a:pt x="12959" y="12603"/>
                  </a:cubicBezTo>
                  <a:cubicBezTo>
                    <a:pt x="12902" y="12534"/>
                    <a:pt x="12532" y="12537"/>
                    <a:pt x="12627" y="12439"/>
                  </a:cubicBezTo>
                  <a:cubicBezTo>
                    <a:pt x="12776" y="12287"/>
                    <a:pt x="12905" y="12532"/>
                    <a:pt x="13009" y="12538"/>
                  </a:cubicBezTo>
                  <a:cubicBezTo>
                    <a:pt x="13166" y="12544"/>
                    <a:pt x="13417" y="12429"/>
                    <a:pt x="13574" y="12290"/>
                  </a:cubicBezTo>
                  <a:cubicBezTo>
                    <a:pt x="13604" y="12264"/>
                    <a:pt x="13620" y="12278"/>
                    <a:pt x="13675" y="12209"/>
                  </a:cubicBezTo>
                  <a:cubicBezTo>
                    <a:pt x="13703" y="12174"/>
                    <a:pt x="13646" y="12075"/>
                    <a:pt x="13668" y="12036"/>
                  </a:cubicBezTo>
                  <a:cubicBezTo>
                    <a:pt x="13785" y="11828"/>
                    <a:pt x="14127" y="11775"/>
                    <a:pt x="14209" y="11541"/>
                  </a:cubicBezTo>
                  <a:cubicBezTo>
                    <a:pt x="14252" y="11418"/>
                    <a:pt x="14525" y="11485"/>
                    <a:pt x="14625" y="11507"/>
                  </a:cubicBezTo>
                  <a:cubicBezTo>
                    <a:pt x="14264" y="11346"/>
                    <a:pt x="14449" y="10952"/>
                    <a:pt x="14836" y="11242"/>
                  </a:cubicBezTo>
                  <a:cubicBezTo>
                    <a:pt x="14858" y="11094"/>
                    <a:pt x="14851" y="10953"/>
                    <a:pt x="14929" y="10837"/>
                  </a:cubicBezTo>
                  <a:cubicBezTo>
                    <a:pt x="14935" y="10829"/>
                    <a:pt x="15082" y="10853"/>
                    <a:pt x="15116" y="10821"/>
                  </a:cubicBezTo>
                  <a:cubicBezTo>
                    <a:pt x="15148" y="10788"/>
                    <a:pt x="15085" y="10712"/>
                    <a:pt x="15132" y="10669"/>
                  </a:cubicBezTo>
                  <a:cubicBezTo>
                    <a:pt x="15293" y="10523"/>
                    <a:pt x="15418" y="10431"/>
                    <a:pt x="15625" y="10309"/>
                  </a:cubicBezTo>
                  <a:cubicBezTo>
                    <a:pt x="15771" y="10222"/>
                    <a:pt x="16578" y="9743"/>
                    <a:pt x="15955" y="9937"/>
                  </a:cubicBezTo>
                  <a:cubicBezTo>
                    <a:pt x="15992" y="9751"/>
                    <a:pt x="16294" y="9764"/>
                    <a:pt x="16444" y="9635"/>
                  </a:cubicBezTo>
                  <a:cubicBezTo>
                    <a:pt x="16546" y="9548"/>
                    <a:pt x="16432" y="9437"/>
                    <a:pt x="16494" y="9340"/>
                  </a:cubicBezTo>
                  <a:cubicBezTo>
                    <a:pt x="16608" y="9166"/>
                    <a:pt x="17031" y="9136"/>
                    <a:pt x="17274" y="8985"/>
                  </a:cubicBezTo>
                  <a:cubicBezTo>
                    <a:pt x="17105" y="8893"/>
                    <a:pt x="17027" y="8806"/>
                    <a:pt x="16776" y="8764"/>
                  </a:cubicBezTo>
                  <a:cubicBezTo>
                    <a:pt x="17267" y="8771"/>
                    <a:pt x="17830" y="8558"/>
                    <a:pt x="17966" y="8257"/>
                  </a:cubicBezTo>
                  <a:cubicBezTo>
                    <a:pt x="18073" y="8019"/>
                    <a:pt x="18284" y="7541"/>
                    <a:pt x="18797" y="7778"/>
                  </a:cubicBezTo>
                  <a:cubicBezTo>
                    <a:pt x="18416" y="7541"/>
                    <a:pt x="18932" y="7714"/>
                    <a:pt x="19068" y="7632"/>
                  </a:cubicBezTo>
                  <a:cubicBezTo>
                    <a:pt x="19216" y="7543"/>
                    <a:pt x="19058" y="7376"/>
                    <a:pt x="19090" y="7268"/>
                  </a:cubicBezTo>
                  <a:cubicBezTo>
                    <a:pt x="19133" y="7130"/>
                    <a:pt x="19529" y="7295"/>
                    <a:pt x="19256" y="7039"/>
                  </a:cubicBezTo>
                  <a:cubicBezTo>
                    <a:pt x="18759" y="7169"/>
                    <a:pt x="18318" y="7306"/>
                    <a:pt x="17882" y="7468"/>
                  </a:cubicBezTo>
                  <a:close/>
                  <a:moveTo>
                    <a:pt x="17882" y="7468"/>
                  </a:moveTo>
                </a:path>
              </a:pathLst>
            </a:custGeom>
            <a:grpFill/>
            <a:ln w="12700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2" name="AutoShape 15"/>
            <p:cNvSpPr>
              <a:spLocks/>
            </p:cNvSpPr>
            <p:nvPr/>
          </p:nvSpPr>
          <p:spPr bwMode="auto">
            <a:xfrm>
              <a:off x="3104127" y="1861873"/>
              <a:ext cx="384175" cy="336550"/>
            </a:xfrm>
            <a:custGeom>
              <a:avLst/>
              <a:gdLst/>
              <a:ahLst/>
              <a:cxnLst/>
              <a:rect l="0" t="0" r="r" b="b"/>
              <a:pathLst>
                <a:path w="21600" h="21371">
                  <a:moveTo>
                    <a:pt x="20825" y="8301"/>
                  </a:moveTo>
                  <a:cubicBezTo>
                    <a:pt x="20561" y="8381"/>
                    <a:pt x="20356" y="8309"/>
                    <a:pt x="20119" y="8512"/>
                  </a:cubicBezTo>
                  <a:cubicBezTo>
                    <a:pt x="20012" y="8603"/>
                    <a:pt x="20106" y="8752"/>
                    <a:pt x="19887" y="8802"/>
                  </a:cubicBezTo>
                  <a:cubicBezTo>
                    <a:pt x="19725" y="8839"/>
                    <a:pt x="19491" y="8639"/>
                    <a:pt x="19270" y="8711"/>
                  </a:cubicBezTo>
                  <a:cubicBezTo>
                    <a:pt x="19108" y="8765"/>
                    <a:pt x="18887" y="8969"/>
                    <a:pt x="18723" y="9044"/>
                  </a:cubicBezTo>
                  <a:cubicBezTo>
                    <a:pt x="18459" y="9166"/>
                    <a:pt x="18358" y="9477"/>
                    <a:pt x="18185" y="9237"/>
                  </a:cubicBezTo>
                  <a:cubicBezTo>
                    <a:pt x="18068" y="9074"/>
                    <a:pt x="18233" y="8606"/>
                    <a:pt x="17911" y="8674"/>
                  </a:cubicBezTo>
                  <a:cubicBezTo>
                    <a:pt x="17976" y="8660"/>
                    <a:pt x="17792" y="8956"/>
                    <a:pt x="17781" y="8970"/>
                  </a:cubicBezTo>
                  <a:cubicBezTo>
                    <a:pt x="17713" y="9067"/>
                    <a:pt x="17668" y="9121"/>
                    <a:pt x="17565" y="9154"/>
                  </a:cubicBezTo>
                  <a:cubicBezTo>
                    <a:pt x="17773" y="8992"/>
                    <a:pt x="17735" y="8688"/>
                    <a:pt x="17559" y="8500"/>
                  </a:cubicBezTo>
                  <a:cubicBezTo>
                    <a:pt x="17477" y="8410"/>
                    <a:pt x="17356" y="8409"/>
                    <a:pt x="17275" y="8343"/>
                  </a:cubicBezTo>
                  <a:cubicBezTo>
                    <a:pt x="17212" y="8291"/>
                    <a:pt x="17152" y="8185"/>
                    <a:pt x="17110" y="8147"/>
                  </a:cubicBezTo>
                  <a:cubicBezTo>
                    <a:pt x="16905" y="7967"/>
                    <a:pt x="16812" y="7873"/>
                    <a:pt x="16682" y="7642"/>
                  </a:cubicBezTo>
                  <a:cubicBezTo>
                    <a:pt x="16622" y="7534"/>
                    <a:pt x="16311" y="6976"/>
                    <a:pt x="16388" y="7412"/>
                  </a:cubicBezTo>
                  <a:cubicBezTo>
                    <a:pt x="16226" y="7396"/>
                    <a:pt x="16046" y="7354"/>
                    <a:pt x="16031" y="7570"/>
                  </a:cubicBezTo>
                  <a:cubicBezTo>
                    <a:pt x="15892" y="7423"/>
                    <a:pt x="16072" y="7316"/>
                    <a:pt x="16036" y="7244"/>
                  </a:cubicBezTo>
                  <a:cubicBezTo>
                    <a:pt x="15992" y="7155"/>
                    <a:pt x="15837" y="7101"/>
                    <a:pt x="15697" y="7039"/>
                  </a:cubicBezTo>
                  <a:cubicBezTo>
                    <a:pt x="15536" y="6966"/>
                    <a:pt x="15352" y="6766"/>
                    <a:pt x="15275" y="6590"/>
                  </a:cubicBezTo>
                  <a:cubicBezTo>
                    <a:pt x="15077" y="6137"/>
                    <a:pt x="15477" y="5789"/>
                    <a:pt x="15047" y="5449"/>
                  </a:cubicBezTo>
                  <a:cubicBezTo>
                    <a:pt x="14945" y="5367"/>
                    <a:pt x="15060" y="5243"/>
                    <a:pt x="14815" y="5394"/>
                  </a:cubicBezTo>
                  <a:cubicBezTo>
                    <a:pt x="14727" y="5449"/>
                    <a:pt x="14661" y="5535"/>
                    <a:pt x="14598" y="5588"/>
                  </a:cubicBezTo>
                  <a:cubicBezTo>
                    <a:pt x="14490" y="5679"/>
                    <a:pt x="14614" y="5784"/>
                    <a:pt x="14359" y="5787"/>
                  </a:cubicBezTo>
                  <a:cubicBezTo>
                    <a:pt x="14212" y="5789"/>
                    <a:pt x="14160" y="5858"/>
                    <a:pt x="14058" y="5957"/>
                  </a:cubicBezTo>
                  <a:cubicBezTo>
                    <a:pt x="13982" y="6029"/>
                    <a:pt x="14019" y="6184"/>
                    <a:pt x="13907" y="6247"/>
                  </a:cubicBezTo>
                  <a:cubicBezTo>
                    <a:pt x="13732" y="6345"/>
                    <a:pt x="13759" y="6142"/>
                    <a:pt x="13727" y="6151"/>
                  </a:cubicBezTo>
                  <a:cubicBezTo>
                    <a:pt x="13511" y="6220"/>
                    <a:pt x="13448" y="6436"/>
                    <a:pt x="13192" y="6424"/>
                  </a:cubicBezTo>
                  <a:cubicBezTo>
                    <a:pt x="13325" y="5936"/>
                    <a:pt x="13573" y="5489"/>
                    <a:pt x="13684" y="4992"/>
                  </a:cubicBezTo>
                  <a:cubicBezTo>
                    <a:pt x="13734" y="4773"/>
                    <a:pt x="13900" y="4553"/>
                    <a:pt x="13907" y="4368"/>
                  </a:cubicBezTo>
                  <a:cubicBezTo>
                    <a:pt x="13908" y="4335"/>
                    <a:pt x="13685" y="3424"/>
                    <a:pt x="13903" y="3967"/>
                  </a:cubicBezTo>
                  <a:cubicBezTo>
                    <a:pt x="13871" y="3801"/>
                    <a:pt x="13695" y="2923"/>
                    <a:pt x="13602" y="3465"/>
                  </a:cubicBezTo>
                  <a:cubicBezTo>
                    <a:pt x="13597" y="3388"/>
                    <a:pt x="13641" y="3239"/>
                    <a:pt x="13607" y="3148"/>
                  </a:cubicBezTo>
                  <a:cubicBezTo>
                    <a:pt x="13578" y="3072"/>
                    <a:pt x="13438" y="2946"/>
                    <a:pt x="13427" y="2882"/>
                  </a:cubicBezTo>
                  <a:cubicBezTo>
                    <a:pt x="13406" y="2763"/>
                    <a:pt x="13493" y="2628"/>
                    <a:pt x="13492" y="2507"/>
                  </a:cubicBezTo>
                  <a:cubicBezTo>
                    <a:pt x="13491" y="2380"/>
                    <a:pt x="13420" y="2239"/>
                    <a:pt x="13418" y="2145"/>
                  </a:cubicBezTo>
                  <a:cubicBezTo>
                    <a:pt x="13415" y="1957"/>
                    <a:pt x="13656" y="1737"/>
                    <a:pt x="13636" y="1570"/>
                  </a:cubicBezTo>
                  <a:cubicBezTo>
                    <a:pt x="13595" y="1212"/>
                    <a:pt x="13172" y="1477"/>
                    <a:pt x="13431" y="1720"/>
                  </a:cubicBezTo>
                  <a:cubicBezTo>
                    <a:pt x="13320" y="1659"/>
                    <a:pt x="13143" y="1609"/>
                    <a:pt x="13007" y="1675"/>
                  </a:cubicBezTo>
                  <a:cubicBezTo>
                    <a:pt x="13284" y="1524"/>
                    <a:pt x="13107" y="1181"/>
                    <a:pt x="12805" y="1424"/>
                  </a:cubicBezTo>
                  <a:cubicBezTo>
                    <a:pt x="12595" y="1593"/>
                    <a:pt x="12453" y="1855"/>
                    <a:pt x="12229" y="1993"/>
                  </a:cubicBezTo>
                  <a:cubicBezTo>
                    <a:pt x="12188" y="1827"/>
                    <a:pt x="12282" y="1657"/>
                    <a:pt x="12337" y="1504"/>
                  </a:cubicBezTo>
                  <a:cubicBezTo>
                    <a:pt x="12160" y="1591"/>
                    <a:pt x="11994" y="1736"/>
                    <a:pt x="11850" y="1883"/>
                  </a:cubicBezTo>
                  <a:cubicBezTo>
                    <a:pt x="11478" y="2264"/>
                    <a:pt x="11399" y="2739"/>
                    <a:pt x="11201" y="3232"/>
                  </a:cubicBezTo>
                  <a:cubicBezTo>
                    <a:pt x="11107" y="3467"/>
                    <a:pt x="10940" y="3661"/>
                    <a:pt x="10780" y="3834"/>
                  </a:cubicBezTo>
                  <a:cubicBezTo>
                    <a:pt x="10733" y="3884"/>
                    <a:pt x="10882" y="4006"/>
                    <a:pt x="10752" y="4033"/>
                  </a:cubicBezTo>
                  <a:cubicBezTo>
                    <a:pt x="10629" y="4058"/>
                    <a:pt x="10667" y="3854"/>
                    <a:pt x="10649" y="3843"/>
                  </a:cubicBezTo>
                  <a:cubicBezTo>
                    <a:pt x="10647" y="3843"/>
                    <a:pt x="10454" y="3733"/>
                    <a:pt x="10413" y="3691"/>
                  </a:cubicBezTo>
                  <a:cubicBezTo>
                    <a:pt x="9921" y="3203"/>
                    <a:pt x="9758" y="2805"/>
                    <a:pt x="9024" y="3021"/>
                  </a:cubicBezTo>
                  <a:cubicBezTo>
                    <a:pt x="8767" y="3098"/>
                    <a:pt x="7280" y="3589"/>
                    <a:pt x="7224" y="3114"/>
                  </a:cubicBezTo>
                  <a:cubicBezTo>
                    <a:pt x="6678" y="3511"/>
                    <a:pt x="6445" y="4334"/>
                    <a:pt x="5783" y="4489"/>
                  </a:cubicBezTo>
                  <a:cubicBezTo>
                    <a:pt x="5783" y="4489"/>
                    <a:pt x="5740" y="4680"/>
                    <a:pt x="5548" y="4897"/>
                  </a:cubicBezTo>
                  <a:cubicBezTo>
                    <a:pt x="5356" y="5113"/>
                    <a:pt x="4818" y="5651"/>
                    <a:pt x="4299" y="6237"/>
                  </a:cubicBezTo>
                  <a:cubicBezTo>
                    <a:pt x="3779" y="6824"/>
                    <a:pt x="2873" y="6151"/>
                    <a:pt x="2102" y="6367"/>
                  </a:cubicBezTo>
                  <a:cubicBezTo>
                    <a:pt x="1332" y="6585"/>
                    <a:pt x="1679" y="7498"/>
                    <a:pt x="1255" y="7498"/>
                  </a:cubicBezTo>
                  <a:cubicBezTo>
                    <a:pt x="832" y="7498"/>
                    <a:pt x="1255" y="8410"/>
                    <a:pt x="1756" y="9627"/>
                  </a:cubicBezTo>
                  <a:cubicBezTo>
                    <a:pt x="2202" y="10712"/>
                    <a:pt x="936" y="11728"/>
                    <a:pt x="0" y="12335"/>
                  </a:cubicBezTo>
                  <a:cubicBezTo>
                    <a:pt x="65" y="12484"/>
                    <a:pt x="113" y="12660"/>
                    <a:pt x="185" y="12799"/>
                  </a:cubicBezTo>
                  <a:cubicBezTo>
                    <a:pt x="914" y="13534"/>
                    <a:pt x="1437" y="12507"/>
                    <a:pt x="1861" y="11990"/>
                  </a:cubicBezTo>
                  <a:cubicBezTo>
                    <a:pt x="2010" y="11808"/>
                    <a:pt x="2296" y="11719"/>
                    <a:pt x="2414" y="11510"/>
                  </a:cubicBezTo>
                  <a:cubicBezTo>
                    <a:pt x="2509" y="11343"/>
                    <a:pt x="2358" y="11217"/>
                    <a:pt x="2580" y="11015"/>
                  </a:cubicBezTo>
                  <a:cubicBezTo>
                    <a:pt x="2829" y="10789"/>
                    <a:pt x="3068" y="10919"/>
                    <a:pt x="3327" y="10994"/>
                  </a:cubicBezTo>
                  <a:cubicBezTo>
                    <a:pt x="3753" y="11118"/>
                    <a:pt x="4124" y="11250"/>
                    <a:pt x="4519" y="11421"/>
                  </a:cubicBezTo>
                  <a:cubicBezTo>
                    <a:pt x="4840" y="11560"/>
                    <a:pt x="5041" y="11592"/>
                    <a:pt x="5228" y="11967"/>
                  </a:cubicBezTo>
                  <a:cubicBezTo>
                    <a:pt x="5390" y="12286"/>
                    <a:pt x="5541" y="12616"/>
                    <a:pt x="5697" y="12942"/>
                  </a:cubicBezTo>
                  <a:cubicBezTo>
                    <a:pt x="6327" y="14249"/>
                    <a:pt x="6957" y="15557"/>
                    <a:pt x="7588" y="16863"/>
                  </a:cubicBezTo>
                  <a:cubicBezTo>
                    <a:pt x="7718" y="17133"/>
                    <a:pt x="7832" y="17495"/>
                    <a:pt x="8017" y="17721"/>
                  </a:cubicBezTo>
                  <a:cubicBezTo>
                    <a:pt x="8148" y="17882"/>
                    <a:pt x="8106" y="17955"/>
                    <a:pt x="8176" y="18091"/>
                  </a:cubicBezTo>
                  <a:cubicBezTo>
                    <a:pt x="8233" y="18204"/>
                    <a:pt x="8362" y="18376"/>
                    <a:pt x="8408" y="18513"/>
                  </a:cubicBezTo>
                  <a:cubicBezTo>
                    <a:pt x="8437" y="18602"/>
                    <a:pt x="8379" y="18770"/>
                    <a:pt x="8409" y="18884"/>
                  </a:cubicBezTo>
                  <a:cubicBezTo>
                    <a:pt x="8428" y="18960"/>
                    <a:pt x="8578" y="19204"/>
                    <a:pt x="8624" y="19250"/>
                  </a:cubicBezTo>
                  <a:cubicBezTo>
                    <a:pt x="8770" y="19392"/>
                    <a:pt x="9284" y="19334"/>
                    <a:pt x="9479" y="19311"/>
                  </a:cubicBezTo>
                  <a:cubicBezTo>
                    <a:pt x="9771" y="19275"/>
                    <a:pt x="10220" y="18894"/>
                    <a:pt x="10339" y="19317"/>
                  </a:cubicBezTo>
                  <a:cubicBezTo>
                    <a:pt x="10397" y="19526"/>
                    <a:pt x="10214" y="19530"/>
                    <a:pt x="10240" y="19701"/>
                  </a:cubicBezTo>
                  <a:cubicBezTo>
                    <a:pt x="10276" y="19944"/>
                    <a:pt x="10640" y="19988"/>
                    <a:pt x="10745" y="20197"/>
                  </a:cubicBezTo>
                  <a:cubicBezTo>
                    <a:pt x="10831" y="20368"/>
                    <a:pt x="10770" y="20528"/>
                    <a:pt x="10830" y="20695"/>
                  </a:cubicBezTo>
                  <a:cubicBezTo>
                    <a:pt x="10921" y="20943"/>
                    <a:pt x="11159" y="21202"/>
                    <a:pt x="11376" y="21305"/>
                  </a:cubicBezTo>
                  <a:cubicBezTo>
                    <a:pt x="11988" y="21600"/>
                    <a:pt x="11526" y="20807"/>
                    <a:pt x="12039" y="20927"/>
                  </a:cubicBezTo>
                  <a:cubicBezTo>
                    <a:pt x="12045" y="20689"/>
                    <a:pt x="11905" y="20587"/>
                    <a:pt x="12074" y="20576"/>
                  </a:cubicBezTo>
                  <a:cubicBezTo>
                    <a:pt x="12227" y="20567"/>
                    <a:pt x="12223" y="20697"/>
                    <a:pt x="12314" y="20771"/>
                  </a:cubicBezTo>
                  <a:cubicBezTo>
                    <a:pt x="12475" y="20904"/>
                    <a:pt x="12634" y="21119"/>
                    <a:pt x="12861" y="21094"/>
                  </a:cubicBezTo>
                  <a:cubicBezTo>
                    <a:pt x="12576" y="20724"/>
                    <a:pt x="12874" y="20310"/>
                    <a:pt x="13261" y="20487"/>
                  </a:cubicBezTo>
                  <a:cubicBezTo>
                    <a:pt x="13431" y="20564"/>
                    <a:pt x="13321" y="20408"/>
                    <a:pt x="13408" y="20553"/>
                  </a:cubicBezTo>
                  <a:cubicBezTo>
                    <a:pt x="13438" y="20603"/>
                    <a:pt x="13294" y="20725"/>
                    <a:pt x="13340" y="20805"/>
                  </a:cubicBezTo>
                  <a:cubicBezTo>
                    <a:pt x="13457" y="21006"/>
                    <a:pt x="13721" y="20818"/>
                    <a:pt x="13815" y="20744"/>
                  </a:cubicBezTo>
                  <a:cubicBezTo>
                    <a:pt x="13947" y="20640"/>
                    <a:pt x="14121" y="20502"/>
                    <a:pt x="14224" y="20335"/>
                  </a:cubicBezTo>
                  <a:cubicBezTo>
                    <a:pt x="14378" y="20089"/>
                    <a:pt x="14384" y="19684"/>
                    <a:pt x="14695" y="19646"/>
                  </a:cubicBezTo>
                  <a:cubicBezTo>
                    <a:pt x="14869" y="19626"/>
                    <a:pt x="14917" y="20067"/>
                    <a:pt x="15030" y="19820"/>
                  </a:cubicBezTo>
                  <a:cubicBezTo>
                    <a:pt x="15141" y="19579"/>
                    <a:pt x="15317" y="19112"/>
                    <a:pt x="15348" y="18847"/>
                  </a:cubicBezTo>
                  <a:cubicBezTo>
                    <a:pt x="15290" y="18908"/>
                    <a:pt x="15172" y="18963"/>
                    <a:pt x="15121" y="19008"/>
                  </a:cubicBezTo>
                  <a:cubicBezTo>
                    <a:pt x="15206" y="18831"/>
                    <a:pt x="15414" y="18685"/>
                    <a:pt x="15524" y="18902"/>
                  </a:cubicBezTo>
                  <a:cubicBezTo>
                    <a:pt x="15583" y="18826"/>
                    <a:pt x="15769" y="18342"/>
                    <a:pt x="15770" y="18212"/>
                  </a:cubicBezTo>
                  <a:cubicBezTo>
                    <a:pt x="15774" y="17870"/>
                    <a:pt x="15793" y="18125"/>
                    <a:pt x="15603" y="18074"/>
                  </a:cubicBezTo>
                  <a:cubicBezTo>
                    <a:pt x="15505" y="18049"/>
                    <a:pt x="15260" y="18125"/>
                    <a:pt x="15192" y="17940"/>
                  </a:cubicBezTo>
                  <a:cubicBezTo>
                    <a:pt x="15147" y="17818"/>
                    <a:pt x="15380" y="17362"/>
                    <a:pt x="15421" y="17203"/>
                  </a:cubicBezTo>
                  <a:cubicBezTo>
                    <a:pt x="15468" y="17026"/>
                    <a:pt x="15394" y="16697"/>
                    <a:pt x="15594" y="16965"/>
                  </a:cubicBezTo>
                  <a:cubicBezTo>
                    <a:pt x="15701" y="17109"/>
                    <a:pt x="15667" y="17321"/>
                    <a:pt x="15631" y="17484"/>
                  </a:cubicBezTo>
                  <a:cubicBezTo>
                    <a:pt x="15583" y="17702"/>
                    <a:pt x="15371" y="17824"/>
                    <a:pt x="15579" y="17951"/>
                  </a:cubicBezTo>
                  <a:cubicBezTo>
                    <a:pt x="15658" y="18000"/>
                    <a:pt x="15840" y="17865"/>
                    <a:pt x="15932" y="17886"/>
                  </a:cubicBezTo>
                  <a:cubicBezTo>
                    <a:pt x="16143" y="17931"/>
                    <a:pt x="16195" y="18205"/>
                    <a:pt x="16473" y="18022"/>
                  </a:cubicBezTo>
                  <a:cubicBezTo>
                    <a:pt x="16691" y="17878"/>
                    <a:pt x="16832" y="17423"/>
                    <a:pt x="16956" y="17169"/>
                  </a:cubicBezTo>
                  <a:cubicBezTo>
                    <a:pt x="17154" y="16766"/>
                    <a:pt x="17354" y="16365"/>
                    <a:pt x="17546" y="15960"/>
                  </a:cubicBezTo>
                  <a:cubicBezTo>
                    <a:pt x="17847" y="15325"/>
                    <a:pt x="18159" y="14706"/>
                    <a:pt x="18486" y="14085"/>
                  </a:cubicBezTo>
                  <a:cubicBezTo>
                    <a:pt x="18671" y="13735"/>
                    <a:pt x="18840" y="13517"/>
                    <a:pt x="19095" y="13254"/>
                  </a:cubicBezTo>
                  <a:cubicBezTo>
                    <a:pt x="19238" y="13105"/>
                    <a:pt x="19221" y="13335"/>
                    <a:pt x="19293" y="12979"/>
                  </a:cubicBezTo>
                  <a:cubicBezTo>
                    <a:pt x="19355" y="12674"/>
                    <a:pt x="19253" y="12362"/>
                    <a:pt x="19271" y="12095"/>
                  </a:cubicBezTo>
                  <a:cubicBezTo>
                    <a:pt x="19298" y="11702"/>
                    <a:pt x="19377" y="11615"/>
                    <a:pt x="19104" y="11353"/>
                  </a:cubicBezTo>
                  <a:cubicBezTo>
                    <a:pt x="18915" y="11173"/>
                    <a:pt x="18685" y="11162"/>
                    <a:pt x="18492" y="11015"/>
                  </a:cubicBezTo>
                  <a:cubicBezTo>
                    <a:pt x="18299" y="10871"/>
                    <a:pt x="18281" y="10728"/>
                    <a:pt x="18005" y="10640"/>
                  </a:cubicBezTo>
                  <a:cubicBezTo>
                    <a:pt x="18242" y="10657"/>
                    <a:pt x="19209" y="11474"/>
                    <a:pt x="19311" y="11205"/>
                  </a:cubicBezTo>
                  <a:cubicBezTo>
                    <a:pt x="19396" y="11438"/>
                    <a:pt x="19586" y="11366"/>
                    <a:pt x="19690" y="11523"/>
                  </a:cubicBezTo>
                  <a:cubicBezTo>
                    <a:pt x="19777" y="11655"/>
                    <a:pt x="19770" y="11941"/>
                    <a:pt x="19776" y="12089"/>
                  </a:cubicBezTo>
                  <a:cubicBezTo>
                    <a:pt x="19974" y="12031"/>
                    <a:pt x="20031" y="11148"/>
                    <a:pt x="20040" y="10903"/>
                  </a:cubicBezTo>
                  <a:cubicBezTo>
                    <a:pt x="20007" y="10903"/>
                    <a:pt x="19974" y="10913"/>
                    <a:pt x="19942" y="10913"/>
                  </a:cubicBezTo>
                  <a:cubicBezTo>
                    <a:pt x="20028" y="10880"/>
                    <a:pt x="20116" y="10883"/>
                    <a:pt x="20206" y="10889"/>
                  </a:cubicBezTo>
                  <a:cubicBezTo>
                    <a:pt x="20347" y="10443"/>
                    <a:pt x="20524" y="10320"/>
                    <a:pt x="20624" y="9869"/>
                  </a:cubicBezTo>
                  <a:cubicBezTo>
                    <a:pt x="20649" y="9757"/>
                    <a:pt x="20699" y="9635"/>
                    <a:pt x="20757" y="9511"/>
                  </a:cubicBezTo>
                  <a:cubicBezTo>
                    <a:pt x="20732" y="9519"/>
                    <a:pt x="20711" y="9519"/>
                    <a:pt x="20685" y="9528"/>
                  </a:cubicBezTo>
                  <a:cubicBezTo>
                    <a:pt x="20397" y="9310"/>
                    <a:pt x="20422" y="9340"/>
                    <a:pt x="20545" y="9152"/>
                  </a:cubicBezTo>
                  <a:cubicBezTo>
                    <a:pt x="20656" y="8980"/>
                    <a:pt x="20913" y="8859"/>
                    <a:pt x="21039" y="8672"/>
                  </a:cubicBezTo>
                  <a:cubicBezTo>
                    <a:pt x="21260" y="8346"/>
                    <a:pt x="21339" y="8145"/>
                    <a:pt x="20825" y="8301"/>
                  </a:cubicBezTo>
                  <a:close/>
                  <a:moveTo>
                    <a:pt x="13355" y="1038"/>
                  </a:moveTo>
                  <a:cubicBezTo>
                    <a:pt x="13419" y="1087"/>
                    <a:pt x="13517" y="1066"/>
                    <a:pt x="13557" y="1107"/>
                  </a:cubicBezTo>
                  <a:cubicBezTo>
                    <a:pt x="13594" y="1146"/>
                    <a:pt x="13448" y="1283"/>
                    <a:pt x="13518" y="1312"/>
                  </a:cubicBezTo>
                  <a:cubicBezTo>
                    <a:pt x="13655" y="1370"/>
                    <a:pt x="13705" y="1355"/>
                    <a:pt x="13778" y="1268"/>
                  </a:cubicBezTo>
                  <a:cubicBezTo>
                    <a:pt x="14016" y="993"/>
                    <a:pt x="13807" y="287"/>
                    <a:pt x="13736" y="0"/>
                  </a:cubicBezTo>
                  <a:cubicBezTo>
                    <a:pt x="13607" y="66"/>
                    <a:pt x="13826" y="202"/>
                    <a:pt x="13750" y="345"/>
                  </a:cubicBezTo>
                  <a:cubicBezTo>
                    <a:pt x="13658" y="516"/>
                    <a:pt x="13532" y="373"/>
                    <a:pt x="13475" y="423"/>
                  </a:cubicBezTo>
                  <a:cubicBezTo>
                    <a:pt x="13343" y="539"/>
                    <a:pt x="13123" y="859"/>
                    <a:pt x="13355" y="1038"/>
                  </a:cubicBezTo>
                  <a:close/>
                  <a:moveTo>
                    <a:pt x="21589" y="9401"/>
                  </a:moveTo>
                  <a:cubicBezTo>
                    <a:pt x="21592" y="9401"/>
                    <a:pt x="21596" y="9401"/>
                    <a:pt x="21599" y="9401"/>
                  </a:cubicBezTo>
                  <a:lnTo>
                    <a:pt x="21600" y="9400"/>
                  </a:lnTo>
                  <a:cubicBezTo>
                    <a:pt x="21597" y="9400"/>
                    <a:pt x="21593" y="9401"/>
                    <a:pt x="21589" y="9401"/>
                  </a:cubicBezTo>
                  <a:close/>
                  <a:moveTo>
                    <a:pt x="21589" y="9401"/>
                  </a:moveTo>
                </a:path>
              </a:pathLst>
            </a:custGeom>
            <a:grpFill/>
            <a:ln w="12700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3" name="AutoShape 16"/>
            <p:cNvSpPr>
              <a:spLocks/>
            </p:cNvSpPr>
            <p:nvPr/>
          </p:nvSpPr>
          <p:spPr bwMode="auto">
            <a:xfrm>
              <a:off x="-83573" y="1201473"/>
              <a:ext cx="649288" cy="1168400"/>
            </a:xfrm>
            <a:custGeom>
              <a:avLst/>
              <a:gdLst/>
              <a:ahLst/>
              <a:cxnLst/>
              <a:rect l="0" t="0" r="r" b="b"/>
              <a:pathLst>
                <a:path w="21379" h="21600">
                  <a:moveTo>
                    <a:pt x="4328" y="0"/>
                  </a:moveTo>
                  <a:lnTo>
                    <a:pt x="131" y="10781"/>
                  </a:lnTo>
                  <a:cubicBezTo>
                    <a:pt x="131" y="10781"/>
                    <a:pt x="567" y="11270"/>
                    <a:pt x="366" y="11270"/>
                  </a:cubicBezTo>
                  <a:cubicBezTo>
                    <a:pt x="165" y="11270"/>
                    <a:pt x="-221" y="11393"/>
                    <a:pt x="165" y="11609"/>
                  </a:cubicBezTo>
                  <a:cubicBezTo>
                    <a:pt x="550" y="11825"/>
                    <a:pt x="1070" y="12455"/>
                    <a:pt x="1304" y="12324"/>
                  </a:cubicBezTo>
                  <a:cubicBezTo>
                    <a:pt x="1539" y="12192"/>
                    <a:pt x="1874" y="12154"/>
                    <a:pt x="1874" y="12380"/>
                  </a:cubicBezTo>
                  <a:cubicBezTo>
                    <a:pt x="1874" y="12606"/>
                    <a:pt x="2176" y="12916"/>
                    <a:pt x="2427" y="12916"/>
                  </a:cubicBezTo>
                  <a:cubicBezTo>
                    <a:pt x="2678" y="12916"/>
                    <a:pt x="2678" y="12963"/>
                    <a:pt x="2678" y="13189"/>
                  </a:cubicBezTo>
                  <a:lnTo>
                    <a:pt x="2678" y="13735"/>
                  </a:lnTo>
                  <a:cubicBezTo>
                    <a:pt x="2678" y="13922"/>
                    <a:pt x="3114" y="13772"/>
                    <a:pt x="3382" y="13922"/>
                  </a:cubicBezTo>
                  <a:cubicBezTo>
                    <a:pt x="3650" y="14073"/>
                    <a:pt x="3097" y="14252"/>
                    <a:pt x="3416" y="14430"/>
                  </a:cubicBezTo>
                  <a:cubicBezTo>
                    <a:pt x="3734" y="14609"/>
                    <a:pt x="4422" y="14355"/>
                    <a:pt x="4422" y="14609"/>
                  </a:cubicBezTo>
                  <a:cubicBezTo>
                    <a:pt x="4422" y="14863"/>
                    <a:pt x="4975" y="14995"/>
                    <a:pt x="4975" y="15174"/>
                  </a:cubicBezTo>
                  <a:cubicBezTo>
                    <a:pt x="4975" y="15352"/>
                    <a:pt x="5192" y="15352"/>
                    <a:pt x="5360" y="15446"/>
                  </a:cubicBezTo>
                  <a:cubicBezTo>
                    <a:pt x="5528" y="15540"/>
                    <a:pt x="5796" y="15465"/>
                    <a:pt x="5796" y="15766"/>
                  </a:cubicBezTo>
                  <a:cubicBezTo>
                    <a:pt x="5796" y="16067"/>
                    <a:pt x="5846" y="16189"/>
                    <a:pt x="6198" y="16387"/>
                  </a:cubicBezTo>
                  <a:cubicBezTo>
                    <a:pt x="6550" y="16585"/>
                    <a:pt x="6181" y="16716"/>
                    <a:pt x="6734" y="16857"/>
                  </a:cubicBezTo>
                  <a:cubicBezTo>
                    <a:pt x="7287" y="16998"/>
                    <a:pt x="7111" y="17172"/>
                    <a:pt x="7287" y="17271"/>
                  </a:cubicBezTo>
                  <a:cubicBezTo>
                    <a:pt x="7463" y="17370"/>
                    <a:pt x="7136" y="17440"/>
                    <a:pt x="7471" y="17628"/>
                  </a:cubicBezTo>
                  <a:cubicBezTo>
                    <a:pt x="7807" y="17817"/>
                    <a:pt x="7806" y="18005"/>
                    <a:pt x="8142" y="18005"/>
                  </a:cubicBezTo>
                  <a:cubicBezTo>
                    <a:pt x="8477" y="18005"/>
                    <a:pt x="8879" y="18249"/>
                    <a:pt x="8879" y="18437"/>
                  </a:cubicBezTo>
                  <a:cubicBezTo>
                    <a:pt x="8879" y="18626"/>
                    <a:pt x="8879" y="18588"/>
                    <a:pt x="8879" y="18870"/>
                  </a:cubicBezTo>
                  <a:cubicBezTo>
                    <a:pt x="8879" y="19152"/>
                    <a:pt x="8394" y="19293"/>
                    <a:pt x="8511" y="19359"/>
                  </a:cubicBezTo>
                  <a:cubicBezTo>
                    <a:pt x="8628" y="19425"/>
                    <a:pt x="8930" y="19726"/>
                    <a:pt x="8678" y="19867"/>
                  </a:cubicBezTo>
                  <a:cubicBezTo>
                    <a:pt x="8427" y="20008"/>
                    <a:pt x="8184" y="20107"/>
                    <a:pt x="8427" y="20243"/>
                  </a:cubicBezTo>
                  <a:cubicBezTo>
                    <a:pt x="8670" y="20380"/>
                    <a:pt x="9122" y="20441"/>
                    <a:pt x="9122" y="20634"/>
                  </a:cubicBezTo>
                  <a:cubicBezTo>
                    <a:pt x="9122" y="20740"/>
                    <a:pt x="9251" y="20868"/>
                    <a:pt x="9367" y="21011"/>
                  </a:cubicBezTo>
                  <a:lnTo>
                    <a:pt x="16288" y="21565"/>
                  </a:lnTo>
                  <a:lnTo>
                    <a:pt x="17078" y="21600"/>
                  </a:lnTo>
                  <a:lnTo>
                    <a:pt x="21379" y="1525"/>
                  </a:lnTo>
                  <a:cubicBezTo>
                    <a:pt x="15197" y="1264"/>
                    <a:pt x="9488" y="714"/>
                    <a:pt x="4328" y="0"/>
                  </a:cubicBezTo>
                  <a:close/>
                  <a:moveTo>
                    <a:pt x="4328" y="0"/>
                  </a:moveTo>
                </a:path>
              </a:pathLst>
            </a:custGeom>
            <a:grpFill/>
            <a:ln w="12700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4" name="AutoShape 17"/>
            <p:cNvSpPr>
              <a:spLocks/>
            </p:cNvSpPr>
            <p:nvPr/>
          </p:nvSpPr>
          <p:spPr bwMode="auto">
            <a:xfrm>
              <a:off x="970527" y="1252273"/>
              <a:ext cx="660400" cy="1143000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3570" y="20486"/>
                  </a:moveTo>
                  <a:lnTo>
                    <a:pt x="13570" y="20486"/>
                  </a:lnTo>
                  <a:lnTo>
                    <a:pt x="12332" y="13155"/>
                  </a:lnTo>
                  <a:lnTo>
                    <a:pt x="13413" y="12443"/>
                  </a:lnTo>
                  <a:cubicBezTo>
                    <a:pt x="15306" y="11059"/>
                    <a:pt x="19573" y="7362"/>
                    <a:pt x="21600" y="5589"/>
                  </a:cubicBezTo>
                  <a:lnTo>
                    <a:pt x="20238" y="5481"/>
                  </a:lnTo>
                  <a:cubicBezTo>
                    <a:pt x="19666" y="5322"/>
                    <a:pt x="19187" y="5175"/>
                    <a:pt x="18560" y="5185"/>
                  </a:cubicBezTo>
                  <a:cubicBezTo>
                    <a:pt x="18246" y="5191"/>
                    <a:pt x="18005" y="5286"/>
                    <a:pt x="17745" y="5379"/>
                  </a:cubicBezTo>
                  <a:cubicBezTo>
                    <a:pt x="17523" y="5458"/>
                    <a:pt x="17296" y="5531"/>
                    <a:pt x="17076" y="5611"/>
                  </a:cubicBezTo>
                  <a:cubicBezTo>
                    <a:pt x="16864" y="5689"/>
                    <a:pt x="16549" y="5727"/>
                    <a:pt x="16366" y="5815"/>
                  </a:cubicBezTo>
                  <a:cubicBezTo>
                    <a:pt x="16201" y="5893"/>
                    <a:pt x="16168" y="5963"/>
                    <a:pt x="15941" y="6017"/>
                  </a:cubicBezTo>
                  <a:cubicBezTo>
                    <a:pt x="15998" y="5953"/>
                    <a:pt x="16120" y="5931"/>
                    <a:pt x="16191" y="5872"/>
                  </a:cubicBezTo>
                  <a:cubicBezTo>
                    <a:pt x="16336" y="5754"/>
                    <a:pt x="16218" y="5737"/>
                    <a:pt x="16022" y="5786"/>
                  </a:cubicBezTo>
                  <a:cubicBezTo>
                    <a:pt x="15900" y="5816"/>
                    <a:pt x="15822" y="5858"/>
                    <a:pt x="15737" y="5916"/>
                  </a:cubicBezTo>
                  <a:cubicBezTo>
                    <a:pt x="15580" y="6023"/>
                    <a:pt x="15479" y="6070"/>
                    <a:pt x="15233" y="6119"/>
                  </a:cubicBezTo>
                  <a:cubicBezTo>
                    <a:pt x="15334" y="6065"/>
                    <a:pt x="15452" y="6052"/>
                    <a:pt x="15533" y="5988"/>
                  </a:cubicBezTo>
                  <a:cubicBezTo>
                    <a:pt x="15607" y="5931"/>
                    <a:pt x="15685" y="5826"/>
                    <a:pt x="15725" y="5758"/>
                  </a:cubicBezTo>
                  <a:cubicBezTo>
                    <a:pt x="15810" y="5615"/>
                    <a:pt x="15904" y="5419"/>
                    <a:pt x="15853" y="5269"/>
                  </a:cubicBezTo>
                  <a:cubicBezTo>
                    <a:pt x="15799" y="5106"/>
                    <a:pt x="15638" y="4989"/>
                    <a:pt x="15513" y="4854"/>
                  </a:cubicBezTo>
                  <a:cubicBezTo>
                    <a:pt x="15392" y="4723"/>
                    <a:pt x="15289" y="4583"/>
                    <a:pt x="15142" y="4459"/>
                  </a:cubicBezTo>
                  <a:cubicBezTo>
                    <a:pt x="15017" y="4352"/>
                    <a:pt x="14959" y="4189"/>
                    <a:pt x="14890" y="4042"/>
                  </a:cubicBezTo>
                  <a:cubicBezTo>
                    <a:pt x="14815" y="3883"/>
                    <a:pt x="14649" y="3770"/>
                    <a:pt x="14530" y="3621"/>
                  </a:cubicBezTo>
                  <a:cubicBezTo>
                    <a:pt x="14421" y="3485"/>
                    <a:pt x="14311" y="3353"/>
                    <a:pt x="14197" y="3220"/>
                  </a:cubicBezTo>
                  <a:cubicBezTo>
                    <a:pt x="14087" y="3092"/>
                    <a:pt x="14126" y="2934"/>
                    <a:pt x="14031" y="2813"/>
                  </a:cubicBezTo>
                  <a:cubicBezTo>
                    <a:pt x="13984" y="2752"/>
                    <a:pt x="13902" y="2704"/>
                    <a:pt x="13805" y="2707"/>
                  </a:cubicBezTo>
                  <a:cubicBezTo>
                    <a:pt x="13680" y="2711"/>
                    <a:pt x="13705" y="2774"/>
                    <a:pt x="13636" y="2792"/>
                  </a:cubicBezTo>
                  <a:cubicBezTo>
                    <a:pt x="13532" y="2820"/>
                    <a:pt x="13491" y="2823"/>
                    <a:pt x="13435" y="2749"/>
                  </a:cubicBezTo>
                  <a:cubicBezTo>
                    <a:pt x="13407" y="2712"/>
                    <a:pt x="13275" y="2728"/>
                    <a:pt x="13200" y="2729"/>
                  </a:cubicBezTo>
                  <a:cubicBezTo>
                    <a:pt x="12903" y="2736"/>
                    <a:pt x="12593" y="2830"/>
                    <a:pt x="12271" y="2796"/>
                  </a:cubicBezTo>
                  <a:lnTo>
                    <a:pt x="12192" y="2804"/>
                  </a:lnTo>
                  <a:cubicBezTo>
                    <a:pt x="12196" y="2782"/>
                    <a:pt x="12165" y="2771"/>
                    <a:pt x="12192" y="2743"/>
                  </a:cubicBezTo>
                  <a:cubicBezTo>
                    <a:pt x="12016" y="2762"/>
                    <a:pt x="12053" y="3037"/>
                    <a:pt x="11804" y="2860"/>
                  </a:cubicBezTo>
                  <a:cubicBezTo>
                    <a:pt x="11682" y="2773"/>
                    <a:pt x="11484" y="2497"/>
                    <a:pt x="11300" y="2723"/>
                  </a:cubicBezTo>
                  <a:cubicBezTo>
                    <a:pt x="11265" y="2656"/>
                    <a:pt x="11363" y="2622"/>
                    <a:pt x="11360" y="2559"/>
                  </a:cubicBezTo>
                  <a:cubicBezTo>
                    <a:pt x="11358" y="2476"/>
                    <a:pt x="11217" y="2412"/>
                    <a:pt x="11121" y="2370"/>
                  </a:cubicBezTo>
                  <a:cubicBezTo>
                    <a:pt x="11052" y="2339"/>
                    <a:pt x="11109" y="2328"/>
                    <a:pt x="11019" y="2313"/>
                  </a:cubicBezTo>
                  <a:cubicBezTo>
                    <a:pt x="10990" y="2309"/>
                    <a:pt x="10922" y="2333"/>
                    <a:pt x="10890" y="2328"/>
                  </a:cubicBezTo>
                  <a:cubicBezTo>
                    <a:pt x="10748" y="2311"/>
                    <a:pt x="10807" y="2316"/>
                    <a:pt x="10934" y="2281"/>
                  </a:cubicBezTo>
                  <a:cubicBezTo>
                    <a:pt x="11074" y="2243"/>
                    <a:pt x="11071" y="2298"/>
                    <a:pt x="11115" y="2206"/>
                  </a:cubicBezTo>
                  <a:cubicBezTo>
                    <a:pt x="11139" y="2156"/>
                    <a:pt x="11111" y="2081"/>
                    <a:pt x="11106" y="2035"/>
                  </a:cubicBezTo>
                  <a:cubicBezTo>
                    <a:pt x="11090" y="1893"/>
                    <a:pt x="11122" y="1861"/>
                    <a:pt x="11230" y="1744"/>
                  </a:cubicBezTo>
                  <a:cubicBezTo>
                    <a:pt x="11208" y="1755"/>
                    <a:pt x="11156" y="1766"/>
                    <a:pt x="11135" y="1774"/>
                  </a:cubicBezTo>
                  <a:cubicBezTo>
                    <a:pt x="11208" y="1674"/>
                    <a:pt x="11035" y="1549"/>
                    <a:pt x="10985" y="1458"/>
                  </a:cubicBezTo>
                  <a:cubicBezTo>
                    <a:pt x="10934" y="1363"/>
                    <a:pt x="10928" y="1260"/>
                    <a:pt x="10921" y="1164"/>
                  </a:cubicBezTo>
                  <a:cubicBezTo>
                    <a:pt x="10915" y="1072"/>
                    <a:pt x="10918" y="978"/>
                    <a:pt x="10886" y="886"/>
                  </a:cubicBezTo>
                  <a:cubicBezTo>
                    <a:pt x="10851" y="785"/>
                    <a:pt x="10751" y="650"/>
                    <a:pt x="10801" y="548"/>
                  </a:cubicBezTo>
                  <a:cubicBezTo>
                    <a:pt x="10868" y="502"/>
                    <a:pt x="10926" y="363"/>
                    <a:pt x="10926" y="300"/>
                  </a:cubicBezTo>
                  <a:cubicBezTo>
                    <a:pt x="10928" y="201"/>
                    <a:pt x="10879" y="109"/>
                    <a:pt x="10881" y="15"/>
                  </a:cubicBezTo>
                  <a:cubicBezTo>
                    <a:pt x="10881" y="10"/>
                    <a:pt x="10883" y="6"/>
                    <a:pt x="10884" y="0"/>
                  </a:cubicBezTo>
                  <a:cubicBezTo>
                    <a:pt x="7357" y="314"/>
                    <a:pt x="3928" y="517"/>
                    <a:pt x="601" y="625"/>
                  </a:cubicBezTo>
                  <a:lnTo>
                    <a:pt x="598" y="626"/>
                  </a:lnTo>
                  <a:lnTo>
                    <a:pt x="0" y="21598"/>
                  </a:lnTo>
                  <a:lnTo>
                    <a:pt x="382" y="21600"/>
                  </a:lnTo>
                  <a:lnTo>
                    <a:pt x="383" y="21600"/>
                  </a:lnTo>
                  <a:lnTo>
                    <a:pt x="9273" y="21403"/>
                  </a:lnTo>
                  <a:cubicBezTo>
                    <a:pt x="10744" y="21333"/>
                    <a:pt x="12215" y="21263"/>
                    <a:pt x="13685" y="21193"/>
                  </a:cubicBezTo>
                  <a:cubicBezTo>
                    <a:pt x="13649" y="20957"/>
                    <a:pt x="13599" y="20722"/>
                    <a:pt x="13570" y="20486"/>
                  </a:cubicBezTo>
                  <a:cubicBezTo>
                    <a:pt x="13570" y="20486"/>
                    <a:pt x="13570" y="20486"/>
                    <a:pt x="13570" y="20486"/>
                  </a:cubicBezTo>
                  <a:close/>
                  <a:moveTo>
                    <a:pt x="13570" y="20486"/>
                  </a:moveTo>
                </a:path>
              </a:pathLst>
            </a:custGeom>
            <a:grpFill/>
            <a:ln w="12700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5" name="AutoShape 18"/>
            <p:cNvSpPr>
              <a:spLocks/>
            </p:cNvSpPr>
            <p:nvPr/>
          </p:nvSpPr>
          <p:spPr bwMode="auto">
            <a:xfrm>
              <a:off x="1326127" y="-195527"/>
              <a:ext cx="1254125" cy="909638"/>
            </a:xfrm>
            <a:custGeom>
              <a:avLst/>
              <a:gdLst/>
              <a:ahLst/>
              <a:cxnLst/>
              <a:rect l="0" t="0" r="r" b="b"/>
              <a:pathLst>
                <a:path w="21581" h="21575">
                  <a:moveTo>
                    <a:pt x="21535" y="18804"/>
                  </a:moveTo>
                  <a:cubicBezTo>
                    <a:pt x="21454" y="18693"/>
                    <a:pt x="21363" y="18637"/>
                    <a:pt x="21272" y="18551"/>
                  </a:cubicBezTo>
                  <a:cubicBezTo>
                    <a:pt x="21222" y="18503"/>
                    <a:pt x="21213" y="18472"/>
                    <a:pt x="21174" y="18415"/>
                  </a:cubicBezTo>
                  <a:cubicBezTo>
                    <a:pt x="21132" y="18353"/>
                    <a:pt x="21058" y="18409"/>
                    <a:pt x="21057" y="18288"/>
                  </a:cubicBezTo>
                  <a:cubicBezTo>
                    <a:pt x="21100" y="18378"/>
                    <a:pt x="21156" y="18337"/>
                    <a:pt x="21217" y="18376"/>
                  </a:cubicBezTo>
                  <a:cubicBezTo>
                    <a:pt x="21198" y="18327"/>
                    <a:pt x="21174" y="18282"/>
                    <a:pt x="21157" y="18232"/>
                  </a:cubicBezTo>
                  <a:cubicBezTo>
                    <a:pt x="21233" y="18313"/>
                    <a:pt x="21390" y="18417"/>
                    <a:pt x="21483" y="18320"/>
                  </a:cubicBezTo>
                  <a:cubicBezTo>
                    <a:pt x="21492" y="18311"/>
                    <a:pt x="21572" y="18151"/>
                    <a:pt x="21575" y="18168"/>
                  </a:cubicBezTo>
                  <a:cubicBezTo>
                    <a:pt x="21540" y="17987"/>
                    <a:pt x="21458" y="18162"/>
                    <a:pt x="21494" y="18157"/>
                  </a:cubicBezTo>
                  <a:cubicBezTo>
                    <a:pt x="21475" y="18160"/>
                    <a:pt x="21443" y="18134"/>
                    <a:pt x="21424" y="18122"/>
                  </a:cubicBezTo>
                  <a:cubicBezTo>
                    <a:pt x="21414" y="18114"/>
                    <a:pt x="21388" y="18145"/>
                    <a:pt x="21378" y="18130"/>
                  </a:cubicBezTo>
                  <a:cubicBezTo>
                    <a:pt x="21367" y="18112"/>
                    <a:pt x="21402" y="18078"/>
                    <a:pt x="21400" y="18075"/>
                  </a:cubicBezTo>
                  <a:cubicBezTo>
                    <a:pt x="21367" y="18021"/>
                    <a:pt x="21361" y="17908"/>
                    <a:pt x="21329" y="17895"/>
                  </a:cubicBezTo>
                  <a:cubicBezTo>
                    <a:pt x="21189" y="17838"/>
                    <a:pt x="21358" y="17886"/>
                    <a:pt x="21293" y="17801"/>
                  </a:cubicBezTo>
                  <a:cubicBezTo>
                    <a:pt x="21239" y="17731"/>
                    <a:pt x="21168" y="17838"/>
                    <a:pt x="21191" y="17737"/>
                  </a:cubicBezTo>
                  <a:cubicBezTo>
                    <a:pt x="21118" y="17717"/>
                    <a:pt x="21064" y="17856"/>
                    <a:pt x="21015" y="17771"/>
                  </a:cubicBezTo>
                  <a:cubicBezTo>
                    <a:pt x="20989" y="17726"/>
                    <a:pt x="21150" y="17728"/>
                    <a:pt x="21029" y="17663"/>
                  </a:cubicBezTo>
                  <a:cubicBezTo>
                    <a:pt x="21031" y="17664"/>
                    <a:pt x="20858" y="17736"/>
                    <a:pt x="20919" y="17622"/>
                  </a:cubicBezTo>
                  <a:cubicBezTo>
                    <a:pt x="20917" y="17627"/>
                    <a:pt x="21105" y="17641"/>
                    <a:pt x="20930" y="17544"/>
                  </a:cubicBezTo>
                  <a:cubicBezTo>
                    <a:pt x="20997" y="17516"/>
                    <a:pt x="21123" y="17712"/>
                    <a:pt x="21055" y="17532"/>
                  </a:cubicBezTo>
                  <a:cubicBezTo>
                    <a:pt x="21017" y="17431"/>
                    <a:pt x="20886" y="17272"/>
                    <a:pt x="20815" y="17379"/>
                  </a:cubicBezTo>
                  <a:cubicBezTo>
                    <a:pt x="20821" y="17358"/>
                    <a:pt x="20822" y="17302"/>
                    <a:pt x="20826" y="17284"/>
                  </a:cubicBezTo>
                  <a:cubicBezTo>
                    <a:pt x="20813" y="17300"/>
                    <a:pt x="20787" y="17316"/>
                    <a:pt x="20774" y="17331"/>
                  </a:cubicBezTo>
                  <a:cubicBezTo>
                    <a:pt x="20857" y="17171"/>
                    <a:pt x="20714" y="17200"/>
                    <a:pt x="20697" y="17051"/>
                  </a:cubicBezTo>
                  <a:cubicBezTo>
                    <a:pt x="20679" y="16900"/>
                    <a:pt x="20777" y="16955"/>
                    <a:pt x="20633" y="16847"/>
                  </a:cubicBezTo>
                  <a:cubicBezTo>
                    <a:pt x="20560" y="16791"/>
                    <a:pt x="20485" y="16742"/>
                    <a:pt x="20414" y="16682"/>
                  </a:cubicBezTo>
                  <a:cubicBezTo>
                    <a:pt x="20366" y="16642"/>
                    <a:pt x="20343" y="16674"/>
                    <a:pt x="20364" y="16614"/>
                  </a:cubicBezTo>
                  <a:cubicBezTo>
                    <a:pt x="20377" y="16578"/>
                    <a:pt x="20438" y="16604"/>
                    <a:pt x="20456" y="16617"/>
                  </a:cubicBezTo>
                  <a:cubicBezTo>
                    <a:pt x="20442" y="16645"/>
                    <a:pt x="20573" y="16769"/>
                    <a:pt x="20624" y="16796"/>
                  </a:cubicBezTo>
                  <a:cubicBezTo>
                    <a:pt x="20659" y="16815"/>
                    <a:pt x="20694" y="16784"/>
                    <a:pt x="20733" y="16813"/>
                  </a:cubicBezTo>
                  <a:cubicBezTo>
                    <a:pt x="20756" y="16829"/>
                    <a:pt x="20791" y="16912"/>
                    <a:pt x="20815" y="16938"/>
                  </a:cubicBezTo>
                  <a:cubicBezTo>
                    <a:pt x="20899" y="17033"/>
                    <a:pt x="20990" y="17110"/>
                    <a:pt x="21064" y="17230"/>
                  </a:cubicBezTo>
                  <a:cubicBezTo>
                    <a:pt x="21109" y="17303"/>
                    <a:pt x="21168" y="17438"/>
                    <a:pt x="21253" y="17447"/>
                  </a:cubicBezTo>
                  <a:cubicBezTo>
                    <a:pt x="21258" y="17447"/>
                    <a:pt x="21379" y="17342"/>
                    <a:pt x="21339" y="17283"/>
                  </a:cubicBezTo>
                  <a:cubicBezTo>
                    <a:pt x="21318" y="17254"/>
                    <a:pt x="21255" y="17332"/>
                    <a:pt x="21224" y="17289"/>
                  </a:cubicBezTo>
                  <a:cubicBezTo>
                    <a:pt x="21219" y="17282"/>
                    <a:pt x="21291" y="17252"/>
                    <a:pt x="21294" y="17222"/>
                  </a:cubicBezTo>
                  <a:cubicBezTo>
                    <a:pt x="21307" y="17053"/>
                    <a:pt x="21149" y="17201"/>
                    <a:pt x="21141" y="17081"/>
                  </a:cubicBezTo>
                  <a:cubicBezTo>
                    <a:pt x="21142" y="17099"/>
                    <a:pt x="21205" y="17100"/>
                    <a:pt x="21208" y="17041"/>
                  </a:cubicBezTo>
                  <a:cubicBezTo>
                    <a:pt x="21214" y="16962"/>
                    <a:pt x="21165" y="16973"/>
                    <a:pt x="21141" y="16924"/>
                  </a:cubicBezTo>
                  <a:cubicBezTo>
                    <a:pt x="21098" y="16835"/>
                    <a:pt x="21083" y="16706"/>
                    <a:pt x="20994" y="16669"/>
                  </a:cubicBezTo>
                  <a:cubicBezTo>
                    <a:pt x="21101" y="16557"/>
                    <a:pt x="20889" y="16444"/>
                    <a:pt x="20819" y="16445"/>
                  </a:cubicBezTo>
                  <a:cubicBezTo>
                    <a:pt x="20773" y="16445"/>
                    <a:pt x="20618" y="16541"/>
                    <a:pt x="20569" y="16479"/>
                  </a:cubicBezTo>
                  <a:cubicBezTo>
                    <a:pt x="20504" y="16395"/>
                    <a:pt x="20542" y="16265"/>
                    <a:pt x="20557" y="16153"/>
                  </a:cubicBezTo>
                  <a:cubicBezTo>
                    <a:pt x="20572" y="16028"/>
                    <a:pt x="20703" y="15878"/>
                    <a:pt x="20531" y="15864"/>
                  </a:cubicBezTo>
                  <a:cubicBezTo>
                    <a:pt x="20546" y="15957"/>
                    <a:pt x="20490" y="15902"/>
                    <a:pt x="20453" y="15965"/>
                  </a:cubicBezTo>
                  <a:cubicBezTo>
                    <a:pt x="20432" y="16002"/>
                    <a:pt x="20457" y="16057"/>
                    <a:pt x="20424" y="16105"/>
                  </a:cubicBezTo>
                  <a:cubicBezTo>
                    <a:pt x="20450" y="15901"/>
                    <a:pt x="20276" y="16127"/>
                    <a:pt x="20233" y="16125"/>
                  </a:cubicBezTo>
                  <a:cubicBezTo>
                    <a:pt x="20149" y="16123"/>
                    <a:pt x="20259" y="16065"/>
                    <a:pt x="20262" y="16001"/>
                  </a:cubicBezTo>
                  <a:cubicBezTo>
                    <a:pt x="20267" y="15915"/>
                    <a:pt x="20214" y="15970"/>
                    <a:pt x="20184" y="16016"/>
                  </a:cubicBezTo>
                  <a:cubicBezTo>
                    <a:pt x="20212" y="15923"/>
                    <a:pt x="20103" y="15809"/>
                    <a:pt x="20029" y="15848"/>
                  </a:cubicBezTo>
                  <a:cubicBezTo>
                    <a:pt x="20030" y="15847"/>
                    <a:pt x="19987" y="16045"/>
                    <a:pt x="19986" y="15928"/>
                  </a:cubicBezTo>
                  <a:cubicBezTo>
                    <a:pt x="19986" y="15874"/>
                    <a:pt x="20001" y="15819"/>
                    <a:pt x="20027" y="15785"/>
                  </a:cubicBezTo>
                  <a:cubicBezTo>
                    <a:pt x="20012" y="15782"/>
                    <a:pt x="19916" y="15747"/>
                    <a:pt x="19930" y="15743"/>
                  </a:cubicBezTo>
                  <a:cubicBezTo>
                    <a:pt x="19890" y="15754"/>
                    <a:pt x="19866" y="15816"/>
                    <a:pt x="19834" y="15825"/>
                  </a:cubicBezTo>
                  <a:cubicBezTo>
                    <a:pt x="19742" y="15852"/>
                    <a:pt x="19847" y="15744"/>
                    <a:pt x="19844" y="15690"/>
                  </a:cubicBezTo>
                  <a:cubicBezTo>
                    <a:pt x="19775" y="15656"/>
                    <a:pt x="19740" y="15771"/>
                    <a:pt x="19676" y="15782"/>
                  </a:cubicBezTo>
                  <a:cubicBezTo>
                    <a:pt x="19743" y="15642"/>
                    <a:pt x="19791" y="15690"/>
                    <a:pt x="19891" y="15631"/>
                  </a:cubicBezTo>
                  <a:cubicBezTo>
                    <a:pt x="19923" y="15613"/>
                    <a:pt x="19971" y="15571"/>
                    <a:pt x="19968" y="15514"/>
                  </a:cubicBezTo>
                  <a:cubicBezTo>
                    <a:pt x="19963" y="15409"/>
                    <a:pt x="19876" y="15454"/>
                    <a:pt x="19862" y="15380"/>
                  </a:cubicBezTo>
                  <a:cubicBezTo>
                    <a:pt x="19851" y="15316"/>
                    <a:pt x="20006" y="15293"/>
                    <a:pt x="19903" y="15134"/>
                  </a:cubicBezTo>
                  <a:cubicBezTo>
                    <a:pt x="19939" y="15190"/>
                    <a:pt x="19768" y="15133"/>
                    <a:pt x="19848" y="15118"/>
                  </a:cubicBezTo>
                  <a:cubicBezTo>
                    <a:pt x="19902" y="15108"/>
                    <a:pt x="19790" y="15067"/>
                    <a:pt x="19823" y="15100"/>
                  </a:cubicBezTo>
                  <a:cubicBezTo>
                    <a:pt x="19827" y="15104"/>
                    <a:pt x="19801" y="15169"/>
                    <a:pt x="19800" y="15174"/>
                  </a:cubicBezTo>
                  <a:cubicBezTo>
                    <a:pt x="19787" y="15011"/>
                    <a:pt x="19730" y="15130"/>
                    <a:pt x="19784" y="15252"/>
                  </a:cubicBezTo>
                  <a:cubicBezTo>
                    <a:pt x="19730" y="15220"/>
                    <a:pt x="19713" y="15284"/>
                    <a:pt x="19718" y="15357"/>
                  </a:cubicBezTo>
                  <a:cubicBezTo>
                    <a:pt x="19702" y="15320"/>
                    <a:pt x="19720" y="15119"/>
                    <a:pt x="19659" y="15184"/>
                  </a:cubicBezTo>
                  <a:cubicBezTo>
                    <a:pt x="19631" y="15215"/>
                    <a:pt x="19641" y="15314"/>
                    <a:pt x="19615" y="15344"/>
                  </a:cubicBezTo>
                  <a:cubicBezTo>
                    <a:pt x="19649" y="15305"/>
                    <a:pt x="19451" y="15414"/>
                    <a:pt x="19482" y="15420"/>
                  </a:cubicBezTo>
                  <a:cubicBezTo>
                    <a:pt x="19434" y="15411"/>
                    <a:pt x="19434" y="15274"/>
                    <a:pt x="19390" y="15244"/>
                  </a:cubicBezTo>
                  <a:cubicBezTo>
                    <a:pt x="19399" y="15249"/>
                    <a:pt x="19434" y="14931"/>
                    <a:pt x="19373" y="14847"/>
                  </a:cubicBezTo>
                  <a:cubicBezTo>
                    <a:pt x="19261" y="14693"/>
                    <a:pt x="19239" y="14882"/>
                    <a:pt x="19309" y="14994"/>
                  </a:cubicBezTo>
                  <a:cubicBezTo>
                    <a:pt x="19218" y="14919"/>
                    <a:pt x="19276" y="14812"/>
                    <a:pt x="19238" y="14739"/>
                  </a:cubicBezTo>
                  <a:cubicBezTo>
                    <a:pt x="19178" y="14622"/>
                    <a:pt x="19147" y="14720"/>
                    <a:pt x="19165" y="14800"/>
                  </a:cubicBezTo>
                  <a:cubicBezTo>
                    <a:pt x="19148" y="14747"/>
                    <a:pt x="19034" y="14577"/>
                    <a:pt x="19061" y="14716"/>
                  </a:cubicBezTo>
                  <a:cubicBezTo>
                    <a:pt x="19055" y="14710"/>
                    <a:pt x="18989" y="14656"/>
                    <a:pt x="18985" y="14693"/>
                  </a:cubicBezTo>
                  <a:cubicBezTo>
                    <a:pt x="18977" y="14753"/>
                    <a:pt x="19037" y="14757"/>
                    <a:pt x="19058" y="14791"/>
                  </a:cubicBezTo>
                  <a:cubicBezTo>
                    <a:pt x="19077" y="14821"/>
                    <a:pt x="19091" y="14868"/>
                    <a:pt x="19105" y="14902"/>
                  </a:cubicBezTo>
                  <a:cubicBezTo>
                    <a:pt x="19111" y="14916"/>
                    <a:pt x="19140" y="14922"/>
                    <a:pt x="19150" y="14937"/>
                  </a:cubicBezTo>
                  <a:cubicBezTo>
                    <a:pt x="19156" y="14946"/>
                    <a:pt x="19131" y="14974"/>
                    <a:pt x="19147" y="14997"/>
                  </a:cubicBezTo>
                  <a:cubicBezTo>
                    <a:pt x="19177" y="15042"/>
                    <a:pt x="19329" y="15161"/>
                    <a:pt x="19251" y="15153"/>
                  </a:cubicBezTo>
                  <a:cubicBezTo>
                    <a:pt x="19179" y="15145"/>
                    <a:pt x="19120" y="15036"/>
                    <a:pt x="19060" y="14994"/>
                  </a:cubicBezTo>
                  <a:cubicBezTo>
                    <a:pt x="19062" y="15006"/>
                    <a:pt x="19113" y="15190"/>
                    <a:pt x="19075" y="15111"/>
                  </a:cubicBezTo>
                  <a:cubicBezTo>
                    <a:pt x="19031" y="15019"/>
                    <a:pt x="19021" y="14910"/>
                    <a:pt x="18972" y="14821"/>
                  </a:cubicBezTo>
                  <a:cubicBezTo>
                    <a:pt x="18916" y="14952"/>
                    <a:pt x="19014" y="15070"/>
                    <a:pt x="19008" y="15186"/>
                  </a:cubicBezTo>
                  <a:cubicBezTo>
                    <a:pt x="18999" y="15360"/>
                    <a:pt x="18928" y="15102"/>
                    <a:pt x="18842" y="15156"/>
                  </a:cubicBezTo>
                  <a:cubicBezTo>
                    <a:pt x="18863" y="15033"/>
                    <a:pt x="18962" y="15085"/>
                    <a:pt x="18876" y="14911"/>
                  </a:cubicBezTo>
                  <a:cubicBezTo>
                    <a:pt x="18852" y="14863"/>
                    <a:pt x="18866" y="14817"/>
                    <a:pt x="18804" y="14828"/>
                  </a:cubicBezTo>
                  <a:cubicBezTo>
                    <a:pt x="18780" y="14832"/>
                    <a:pt x="18744" y="14890"/>
                    <a:pt x="18771" y="14888"/>
                  </a:cubicBezTo>
                  <a:cubicBezTo>
                    <a:pt x="18761" y="14889"/>
                    <a:pt x="18788" y="14926"/>
                    <a:pt x="18754" y="14912"/>
                  </a:cubicBezTo>
                  <a:cubicBezTo>
                    <a:pt x="18732" y="14904"/>
                    <a:pt x="18727" y="14831"/>
                    <a:pt x="18706" y="14820"/>
                  </a:cubicBezTo>
                  <a:cubicBezTo>
                    <a:pt x="18634" y="14779"/>
                    <a:pt x="18704" y="14854"/>
                    <a:pt x="18679" y="14857"/>
                  </a:cubicBezTo>
                  <a:cubicBezTo>
                    <a:pt x="18634" y="14863"/>
                    <a:pt x="18553" y="14840"/>
                    <a:pt x="18542" y="14852"/>
                  </a:cubicBezTo>
                  <a:cubicBezTo>
                    <a:pt x="18519" y="14805"/>
                    <a:pt x="18456" y="14688"/>
                    <a:pt x="18400" y="14736"/>
                  </a:cubicBezTo>
                  <a:cubicBezTo>
                    <a:pt x="18354" y="14778"/>
                    <a:pt x="18398" y="14771"/>
                    <a:pt x="18420" y="14829"/>
                  </a:cubicBezTo>
                  <a:cubicBezTo>
                    <a:pt x="18456" y="14924"/>
                    <a:pt x="18493" y="15040"/>
                    <a:pt x="18531" y="15137"/>
                  </a:cubicBezTo>
                  <a:cubicBezTo>
                    <a:pt x="18545" y="15174"/>
                    <a:pt x="18619" y="15256"/>
                    <a:pt x="18621" y="15274"/>
                  </a:cubicBezTo>
                  <a:cubicBezTo>
                    <a:pt x="18639" y="15409"/>
                    <a:pt x="18545" y="15255"/>
                    <a:pt x="18531" y="15235"/>
                  </a:cubicBezTo>
                  <a:cubicBezTo>
                    <a:pt x="18484" y="15164"/>
                    <a:pt x="18456" y="14966"/>
                    <a:pt x="18370" y="15018"/>
                  </a:cubicBezTo>
                  <a:cubicBezTo>
                    <a:pt x="18441" y="14917"/>
                    <a:pt x="18326" y="14863"/>
                    <a:pt x="18302" y="14767"/>
                  </a:cubicBezTo>
                  <a:cubicBezTo>
                    <a:pt x="18299" y="14790"/>
                    <a:pt x="18281" y="14853"/>
                    <a:pt x="18255" y="14841"/>
                  </a:cubicBezTo>
                  <a:cubicBezTo>
                    <a:pt x="18190" y="14810"/>
                    <a:pt x="18267" y="14823"/>
                    <a:pt x="18261" y="14781"/>
                  </a:cubicBezTo>
                  <a:cubicBezTo>
                    <a:pt x="18253" y="14721"/>
                    <a:pt x="18273" y="14590"/>
                    <a:pt x="18231" y="14478"/>
                  </a:cubicBezTo>
                  <a:cubicBezTo>
                    <a:pt x="18196" y="14571"/>
                    <a:pt x="18224" y="14751"/>
                    <a:pt x="18186" y="14837"/>
                  </a:cubicBezTo>
                  <a:cubicBezTo>
                    <a:pt x="18131" y="14745"/>
                    <a:pt x="18111" y="14844"/>
                    <a:pt x="18090" y="14908"/>
                  </a:cubicBezTo>
                  <a:cubicBezTo>
                    <a:pt x="18052" y="14774"/>
                    <a:pt x="18138" y="14793"/>
                    <a:pt x="18141" y="14731"/>
                  </a:cubicBezTo>
                  <a:cubicBezTo>
                    <a:pt x="18145" y="14656"/>
                    <a:pt x="18081" y="14521"/>
                    <a:pt x="18053" y="14454"/>
                  </a:cubicBezTo>
                  <a:cubicBezTo>
                    <a:pt x="18062" y="14577"/>
                    <a:pt x="17956" y="14590"/>
                    <a:pt x="17914" y="14580"/>
                  </a:cubicBezTo>
                  <a:cubicBezTo>
                    <a:pt x="17946" y="14528"/>
                    <a:pt x="17949" y="14486"/>
                    <a:pt x="17902" y="14468"/>
                  </a:cubicBezTo>
                  <a:cubicBezTo>
                    <a:pt x="17874" y="14564"/>
                    <a:pt x="17865" y="14411"/>
                    <a:pt x="17821" y="14380"/>
                  </a:cubicBezTo>
                  <a:cubicBezTo>
                    <a:pt x="17781" y="14352"/>
                    <a:pt x="17747" y="14378"/>
                    <a:pt x="17724" y="14393"/>
                  </a:cubicBezTo>
                  <a:cubicBezTo>
                    <a:pt x="17752" y="14374"/>
                    <a:pt x="17699" y="14563"/>
                    <a:pt x="17666" y="14468"/>
                  </a:cubicBezTo>
                  <a:cubicBezTo>
                    <a:pt x="17641" y="14395"/>
                    <a:pt x="17755" y="14352"/>
                    <a:pt x="17780" y="14311"/>
                  </a:cubicBezTo>
                  <a:cubicBezTo>
                    <a:pt x="17814" y="14256"/>
                    <a:pt x="17823" y="14291"/>
                    <a:pt x="17827" y="14207"/>
                  </a:cubicBezTo>
                  <a:cubicBezTo>
                    <a:pt x="17830" y="14147"/>
                    <a:pt x="17770" y="14120"/>
                    <a:pt x="17781" y="14088"/>
                  </a:cubicBezTo>
                  <a:cubicBezTo>
                    <a:pt x="17818" y="13980"/>
                    <a:pt x="17696" y="14102"/>
                    <a:pt x="17683" y="14116"/>
                  </a:cubicBezTo>
                  <a:cubicBezTo>
                    <a:pt x="17667" y="14131"/>
                    <a:pt x="17647" y="14108"/>
                    <a:pt x="17630" y="14120"/>
                  </a:cubicBezTo>
                  <a:cubicBezTo>
                    <a:pt x="17614" y="14131"/>
                    <a:pt x="17638" y="14194"/>
                    <a:pt x="17617" y="14197"/>
                  </a:cubicBezTo>
                  <a:cubicBezTo>
                    <a:pt x="17604" y="14200"/>
                    <a:pt x="17527" y="14143"/>
                    <a:pt x="17497" y="14140"/>
                  </a:cubicBezTo>
                  <a:cubicBezTo>
                    <a:pt x="17587" y="14094"/>
                    <a:pt x="17533" y="14043"/>
                    <a:pt x="17529" y="14071"/>
                  </a:cubicBezTo>
                  <a:cubicBezTo>
                    <a:pt x="17531" y="14056"/>
                    <a:pt x="17506" y="13957"/>
                    <a:pt x="17592" y="13977"/>
                  </a:cubicBezTo>
                  <a:cubicBezTo>
                    <a:pt x="17591" y="13976"/>
                    <a:pt x="17540" y="13901"/>
                    <a:pt x="17542" y="13928"/>
                  </a:cubicBezTo>
                  <a:cubicBezTo>
                    <a:pt x="17546" y="13982"/>
                    <a:pt x="17513" y="13806"/>
                    <a:pt x="17533" y="13849"/>
                  </a:cubicBezTo>
                  <a:cubicBezTo>
                    <a:pt x="17512" y="13804"/>
                    <a:pt x="17515" y="13762"/>
                    <a:pt x="17463" y="13739"/>
                  </a:cubicBezTo>
                  <a:cubicBezTo>
                    <a:pt x="17375" y="13701"/>
                    <a:pt x="17346" y="13793"/>
                    <a:pt x="17310" y="13842"/>
                  </a:cubicBezTo>
                  <a:cubicBezTo>
                    <a:pt x="17179" y="14019"/>
                    <a:pt x="17164" y="14181"/>
                    <a:pt x="17147" y="14438"/>
                  </a:cubicBezTo>
                  <a:cubicBezTo>
                    <a:pt x="17123" y="14329"/>
                    <a:pt x="17145" y="14143"/>
                    <a:pt x="17057" y="14271"/>
                  </a:cubicBezTo>
                  <a:cubicBezTo>
                    <a:pt x="17139" y="14152"/>
                    <a:pt x="17053" y="14153"/>
                    <a:pt x="17058" y="14128"/>
                  </a:cubicBezTo>
                  <a:cubicBezTo>
                    <a:pt x="17069" y="14075"/>
                    <a:pt x="17115" y="14145"/>
                    <a:pt x="17103" y="14021"/>
                  </a:cubicBezTo>
                  <a:cubicBezTo>
                    <a:pt x="17086" y="13851"/>
                    <a:pt x="17019" y="13993"/>
                    <a:pt x="16994" y="13885"/>
                  </a:cubicBezTo>
                  <a:cubicBezTo>
                    <a:pt x="16975" y="13807"/>
                    <a:pt x="17034" y="13743"/>
                    <a:pt x="17009" y="13654"/>
                  </a:cubicBezTo>
                  <a:cubicBezTo>
                    <a:pt x="16982" y="13559"/>
                    <a:pt x="16986" y="13688"/>
                    <a:pt x="16977" y="13701"/>
                  </a:cubicBezTo>
                  <a:cubicBezTo>
                    <a:pt x="16956" y="13732"/>
                    <a:pt x="16918" y="13787"/>
                    <a:pt x="16885" y="13810"/>
                  </a:cubicBezTo>
                  <a:cubicBezTo>
                    <a:pt x="16849" y="13836"/>
                    <a:pt x="16817" y="13802"/>
                    <a:pt x="16784" y="13853"/>
                  </a:cubicBezTo>
                  <a:cubicBezTo>
                    <a:pt x="16794" y="13747"/>
                    <a:pt x="16746" y="13740"/>
                    <a:pt x="16739" y="13705"/>
                  </a:cubicBezTo>
                  <a:cubicBezTo>
                    <a:pt x="16725" y="13643"/>
                    <a:pt x="16742" y="13598"/>
                    <a:pt x="16707" y="13536"/>
                  </a:cubicBezTo>
                  <a:cubicBezTo>
                    <a:pt x="16701" y="13551"/>
                    <a:pt x="16704" y="13569"/>
                    <a:pt x="16701" y="13585"/>
                  </a:cubicBezTo>
                  <a:cubicBezTo>
                    <a:pt x="16667" y="13584"/>
                    <a:pt x="16643" y="13659"/>
                    <a:pt x="16620" y="13651"/>
                  </a:cubicBezTo>
                  <a:cubicBezTo>
                    <a:pt x="16528" y="13619"/>
                    <a:pt x="16614" y="13533"/>
                    <a:pt x="16614" y="13543"/>
                  </a:cubicBezTo>
                  <a:cubicBezTo>
                    <a:pt x="16612" y="13503"/>
                    <a:pt x="16660" y="13564"/>
                    <a:pt x="16612" y="13490"/>
                  </a:cubicBezTo>
                  <a:cubicBezTo>
                    <a:pt x="16602" y="13475"/>
                    <a:pt x="16573" y="13488"/>
                    <a:pt x="16562" y="13476"/>
                  </a:cubicBezTo>
                  <a:cubicBezTo>
                    <a:pt x="16534" y="13446"/>
                    <a:pt x="16507" y="13433"/>
                    <a:pt x="16493" y="13388"/>
                  </a:cubicBezTo>
                  <a:cubicBezTo>
                    <a:pt x="16545" y="13403"/>
                    <a:pt x="16668" y="13507"/>
                    <a:pt x="16674" y="13424"/>
                  </a:cubicBezTo>
                  <a:cubicBezTo>
                    <a:pt x="16677" y="13383"/>
                    <a:pt x="16586" y="13442"/>
                    <a:pt x="16597" y="13363"/>
                  </a:cubicBezTo>
                  <a:cubicBezTo>
                    <a:pt x="16609" y="13287"/>
                    <a:pt x="16683" y="13361"/>
                    <a:pt x="16695" y="13396"/>
                  </a:cubicBezTo>
                  <a:cubicBezTo>
                    <a:pt x="16720" y="13305"/>
                    <a:pt x="16646" y="13261"/>
                    <a:pt x="16661" y="13168"/>
                  </a:cubicBezTo>
                  <a:cubicBezTo>
                    <a:pt x="16632" y="13198"/>
                    <a:pt x="16394" y="13088"/>
                    <a:pt x="16540" y="13261"/>
                  </a:cubicBezTo>
                  <a:cubicBezTo>
                    <a:pt x="16421" y="13276"/>
                    <a:pt x="16360" y="13110"/>
                    <a:pt x="16251" y="13152"/>
                  </a:cubicBezTo>
                  <a:cubicBezTo>
                    <a:pt x="16234" y="13159"/>
                    <a:pt x="16189" y="13245"/>
                    <a:pt x="16159" y="13262"/>
                  </a:cubicBezTo>
                  <a:cubicBezTo>
                    <a:pt x="16128" y="13281"/>
                    <a:pt x="16085" y="13266"/>
                    <a:pt x="16051" y="13292"/>
                  </a:cubicBezTo>
                  <a:cubicBezTo>
                    <a:pt x="16095" y="13234"/>
                    <a:pt x="16254" y="13100"/>
                    <a:pt x="16246" y="13019"/>
                  </a:cubicBezTo>
                  <a:cubicBezTo>
                    <a:pt x="16243" y="12995"/>
                    <a:pt x="16182" y="12939"/>
                    <a:pt x="16169" y="12918"/>
                  </a:cubicBezTo>
                  <a:cubicBezTo>
                    <a:pt x="16256" y="12917"/>
                    <a:pt x="16252" y="13016"/>
                    <a:pt x="16312" y="13063"/>
                  </a:cubicBezTo>
                  <a:cubicBezTo>
                    <a:pt x="16425" y="13152"/>
                    <a:pt x="16324" y="13013"/>
                    <a:pt x="16354" y="12996"/>
                  </a:cubicBezTo>
                  <a:cubicBezTo>
                    <a:pt x="16418" y="12958"/>
                    <a:pt x="16447" y="13077"/>
                    <a:pt x="16503" y="13107"/>
                  </a:cubicBezTo>
                  <a:cubicBezTo>
                    <a:pt x="16542" y="13128"/>
                    <a:pt x="16643" y="13083"/>
                    <a:pt x="16675" y="13114"/>
                  </a:cubicBezTo>
                  <a:cubicBezTo>
                    <a:pt x="16681" y="13121"/>
                    <a:pt x="16695" y="13225"/>
                    <a:pt x="16710" y="13267"/>
                  </a:cubicBezTo>
                  <a:cubicBezTo>
                    <a:pt x="16733" y="13337"/>
                    <a:pt x="16740" y="13329"/>
                    <a:pt x="16776" y="13380"/>
                  </a:cubicBezTo>
                  <a:cubicBezTo>
                    <a:pt x="16810" y="13427"/>
                    <a:pt x="16859" y="13501"/>
                    <a:pt x="16910" y="13495"/>
                  </a:cubicBezTo>
                  <a:cubicBezTo>
                    <a:pt x="16994" y="13485"/>
                    <a:pt x="16982" y="13368"/>
                    <a:pt x="16939" y="13297"/>
                  </a:cubicBezTo>
                  <a:cubicBezTo>
                    <a:pt x="16998" y="13333"/>
                    <a:pt x="17046" y="13351"/>
                    <a:pt x="17106" y="13315"/>
                  </a:cubicBezTo>
                  <a:cubicBezTo>
                    <a:pt x="17141" y="13295"/>
                    <a:pt x="17179" y="13308"/>
                    <a:pt x="17170" y="13232"/>
                  </a:cubicBezTo>
                  <a:cubicBezTo>
                    <a:pt x="17158" y="13134"/>
                    <a:pt x="17183" y="13216"/>
                    <a:pt x="17216" y="13190"/>
                  </a:cubicBezTo>
                  <a:cubicBezTo>
                    <a:pt x="17292" y="13129"/>
                    <a:pt x="17334" y="13166"/>
                    <a:pt x="17258" y="13054"/>
                  </a:cubicBezTo>
                  <a:cubicBezTo>
                    <a:pt x="17237" y="13022"/>
                    <a:pt x="17186" y="13016"/>
                    <a:pt x="17185" y="12985"/>
                  </a:cubicBezTo>
                  <a:cubicBezTo>
                    <a:pt x="17181" y="12882"/>
                    <a:pt x="17188" y="12900"/>
                    <a:pt x="17142" y="12833"/>
                  </a:cubicBezTo>
                  <a:cubicBezTo>
                    <a:pt x="17070" y="12725"/>
                    <a:pt x="16929" y="12741"/>
                    <a:pt x="16849" y="12714"/>
                  </a:cubicBezTo>
                  <a:cubicBezTo>
                    <a:pt x="16827" y="12707"/>
                    <a:pt x="16716" y="12687"/>
                    <a:pt x="16707" y="12677"/>
                  </a:cubicBezTo>
                  <a:cubicBezTo>
                    <a:pt x="16680" y="12648"/>
                    <a:pt x="16714" y="12604"/>
                    <a:pt x="16695" y="12570"/>
                  </a:cubicBezTo>
                  <a:cubicBezTo>
                    <a:pt x="16681" y="12544"/>
                    <a:pt x="16655" y="12539"/>
                    <a:pt x="16640" y="12516"/>
                  </a:cubicBezTo>
                  <a:cubicBezTo>
                    <a:pt x="16559" y="12385"/>
                    <a:pt x="16446" y="12283"/>
                    <a:pt x="16337" y="12229"/>
                  </a:cubicBezTo>
                  <a:cubicBezTo>
                    <a:pt x="16396" y="12097"/>
                    <a:pt x="16438" y="12206"/>
                    <a:pt x="16501" y="12237"/>
                  </a:cubicBezTo>
                  <a:cubicBezTo>
                    <a:pt x="16568" y="12269"/>
                    <a:pt x="16644" y="12244"/>
                    <a:pt x="16712" y="12274"/>
                  </a:cubicBezTo>
                  <a:cubicBezTo>
                    <a:pt x="16778" y="12304"/>
                    <a:pt x="16803" y="12385"/>
                    <a:pt x="16861" y="12409"/>
                  </a:cubicBezTo>
                  <a:cubicBezTo>
                    <a:pt x="16847" y="12403"/>
                    <a:pt x="16948" y="12397"/>
                    <a:pt x="16945" y="12399"/>
                  </a:cubicBezTo>
                  <a:cubicBezTo>
                    <a:pt x="16973" y="12376"/>
                    <a:pt x="16995" y="12286"/>
                    <a:pt x="17033" y="12253"/>
                  </a:cubicBezTo>
                  <a:cubicBezTo>
                    <a:pt x="16953" y="12166"/>
                    <a:pt x="16825" y="12243"/>
                    <a:pt x="16763" y="12128"/>
                  </a:cubicBezTo>
                  <a:cubicBezTo>
                    <a:pt x="16846" y="12117"/>
                    <a:pt x="17041" y="12201"/>
                    <a:pt x="16918" y="12017"/>
                  </a:cubicBezTo>
                  <a:cubicBezTo>
                    <a:pt x="16890" y="11976"/>
                    <a:pt x="16869" y="11998"/>
                    <a:pt x="16832" y="11965"/>
                  </a:cubicBezTo>
                  <a:cubicBezTo>
                    <a:pt x="16814" y="11948"/>
                    <a:pt x="16792" y="11894"/>
                    <a:pt x="16772" y="11884"/>
                  </a:cubicBezTo>
                  <a:cubicBezTo>
                    <a:pt x="16675" y="11837"/>
                    <a:pt x="16618" y="11941"/>
                    <a:pt x="16520" y="11964"/>
                  </a:cubicBezTo>
                  <a:cubicBezTo>
                    <a:pt x="16379" y="11996"/>
                    <a:pt x="16475" y="11856"/>
                    <a:pt x="16549" y="11823"/>
                  </a:cubicBezTo>
                  <a:cubicBezTo>
                    <a:pt x="16537" y="11811"/>
                    <a:pt x="16524" y="11790"/>
                    <a:pt x="16515" y="11781"/>
                  </a:cubicBezTo>
                  <a:cubicBezTo>
                    <a:pt x="16582" y="11818"/>
                    <a:pt x="16633" y="11843"/>
                    <a:pt x="16661" y="11741"/>
                  </a:cubicBezTo>
                  <a:cubicBezTo>
                    <a:pt x="16684" y="11783"/>
                    <a:pt x="16795" y="11881"/>
                    <a:pt x="16829" y="11879"/>
                  </a:cubicBezTo>
                  <a:cubicBezTo>
                    <a:pt x="16898" y="11875"/>
                    <a:pt x="16928" y="11810"/>
                    <a:pt x="16855" y="11776"/>
                  </a:cubicBezTo>
                  <a:cubicBezTo>
                    <a:pt x="16882" y="11761"/>
                    <a:pt x="16972" y="11697"/>
                    <a:pt x="16965" y="11630"/>
                  </a:cubicBezTo>
                  <a:cubicBezTo>
                    <a:pt x="16956" y="11547"/>
                    <a:pt x="16853" y="11568"/>
                    <a:pt x="16802" y="11517"/>
                  </a:cubicBezTo>
                  <a:cubicBezTo>
                    <a:pt x="16850" y="11486"/>
                    <a:pt x="16878" y="11526"/>
                    <a:pt x="16926" y="11522"/>
                  </a:cubicBezTo>
                  <a:cubicBezTo>
                    <a:pt x="16933" y="11521"/>
                    <a:pt x="17014" y="11506"/>
                    <a:pt x="17008" y="11504"/>
                  </a:cubicBezTo>
                  <a:cubicBezTo>
                    <a:pt x="17022" y="11509"/>
                    <a:pt x="17028" y="11507"/>
                    <a:pt x="17031" y="11504"/>
                  </a:cubicBezTo>
                  <a:cubicBezTo>
                    <a:pt x="17032" y="11510"/>
                    <a:pt x="17034" y="11518"/>
                    <a:pt x="17040" y="11535"/>
                  </a:cubicBezTo>
                  <a:cubicBezTo>
                    <a:pt x="17051" y="11563"/>
                    <a:pt x="17020" y="11618"/>
                    <a:pt x="17011" y="11638"/>
                  </a:cubicBezTo>
                  <a:cubicBezTo>
                    <a:pt x="17045" y="11640"/>
                    <a:pt x="17189" y="11916"/>
                    <a:pt x="17179" y="11744"/>
                  </a:cubicBezTo>
                  <a:cubicBezTo>
                    <a:pt x="17209" y="11790"/>
                    <a:pt x="17242" y="11879"/>
                    <a:pt x="17202" y="11928"/>
                  </a:cubicBezTo>
                  <a:cubicBezTo>
                    <a:pt x="17325" y="11921"/>
                    <a:pt x="17291" y="11804"/>
                    <a:pt x="17370" y="11719"/>
                  </a:cubicBezTo>
                  <a:cubicBezTo>
                    <a:pt x="17370" y="11794"/>
                    <a:pt x="17337" y="11836"/>
                    <a:pt x="17351" y="11894"/>
                  </a:cubicBezTo>
                  <a:cubicBezTo>
                    <a:pt x="17352" y="11897"/>
                    <a:pt x="17399" y="11868"/>
                    <a:pt x="17407" y="11880"/>
                  </a:cubicBezTo>
                  <a:cubicBezTo>
                    <a:pt x="17417" y="11895"/>
                    <a:pt x="17398" y="11927"/>
                    <a:pt x="17410" y="11944"/>
                  </a:cubicBezTo>
                  <a:cubicBezTo>
                    <a:pt x="17429" y="11970"/>
                    <a:pt x="17451" y="12011"/>
                    <a:pt x="17468" y="12032"/>
                  </a:cubicBezTo>
                  <a:cubicBezTo>
                    <a:pt x="17405" y="12019"/>
                    <a:pt x="17422" y="12086"/>
                    <a:pt x="17462" y="12133"/>
                  </a:cubicBezTo>
                  <a:cubicBezTo>
                    <a:pt x="17492" y="12167"/>
                    <a:pt x="17524" y="12198"/>
                    <a:pt x="17559" y="12152"/>
                  </a:cubicBezTo>
                  <a:cubicBezTo>
                    <a:pt x="17606" y="12092"/>
                    <a:pt x="17506" y="12073"/>
                    <a:pt x="17509" y="11994"/>
                  </a:cubicBezTo>
                  <a:cubicBezTo>
                    <a:pt x="17604" y="11950"/>
                    <a:pt x="17632" y="12009"/>
                    <a:pt x="17659" y="11858"/>
                  </a:cubicBezTo>
                  <a:cubicBezTo>
                    <a:pt x="17705" y="11980"/>
                    <a:pt x="17615" y="11971"/>
                    <a:pt x="17698" y="12073"/>
                  </a:cubicBezTo>
                  <a:cubicBezTo>
                    <a:pt x="17810" y="12211"/>
                    <a:pt x="17922" y="12174"/>
                    <a:pt x="17979" y="12019"/>
                  </a:cubicBezTo>
                  <a:cubicBezTo>
                    <a:pt x="18068" y="11776"/>
                    <a:pt x="18007" y="11565"/>
                    <a:pt x="17987" y="11314"/>
                  </a:cubicBezTo>
                  <a:cubicBezTo>
                    <a:pt x="18087" y="11434"/>
                    <a:pt x="18073" y="11680"/>
                    <a:pt x="18052" y="11862"/>
                  </a:cubicBezTo>
                  <a:cubicBezTo>
                    <a:pt x="18027" y="12068"/>
                    <a:pt x="17926" y="12201"/>
                    <a:pt x="18049" y="12385"/>
                  </a:cubicBezTo>
                  <a:cubicBezTo>
                    <a:pt x="18088" y="12510"/>
                    <a:pt x="18469" y="12148"/>
                    <a:pt x="18412" y="11957"/>
                  </a:cubicBezTo>
                  <a:cubicBezTo>
                    <a:pt x="18476" y="11969"/>
                    <a:pt x="18574" y="11744"/>
                    <a:pt x="18591" y="11654"/>
                  </a:cubicBezTo>
                  <a:cubicBezTo>
                    <a:pt x="18611" y="11555"/>
                    <a:pt x="18568" y="11490"/>
                    <a:pt x="18557" y="11389"/>
                  </a:cubicBezTo>
                  <a:cubicBezTo>
                    <a:pt x="18543" y="11276"/>
                    <a:pt x="18556" y="11218"/>
                    <a:pt x="18587" y="11118"/>
                  </a:cubicBezTo>
                  <a:cubicBezTo>
                    <a:pt x="18606" y="11053"/>
                    <a:pt x="18696" y="10798"/>
                    <a:pt x="18696" y="10968"/>
                  </a:cubicBezTo>
                  <a:cubicBezTo>
                    <a:pt x="18696" y="11034"/>
                    <a:pt x="18633" y="11146"/>
                    <a:pt x="18624" y="11226"/>
                  </a:cubicBezTo>
                  <a:cubicBezTo>
                    <a:pt x="18610" y="11337"/>
                    <a:pt x="18617" y="11375"/>
                    <a:pt x="18645" y="11488"/>
                  </a:cubicBezTo>
                  <a:cubicBezTo>
                    <a:pt x="18661" y="11551"/>
                    <a:pt x="18667" y="11691"/>
                    <a:pt x="18689" y="11739"/>
                  </a:cubicBezTo>
                  <a:cubicBezTo>
                    <a:pt x="18716" y="11796"/>
                    <a:pt x="18768" y="11801"/>
                    <a:pt x="18810" y="11829"/>
                  </a:cubicBezTo>
                  <a:cubicBezTo>
                    <a:pt x="18713" y="11917"/>
                    <a:pt x="18683" y="11795"/>
                    <a:pt x="18615" y="11953"/>
                  </a:cubicBezTo>
                  <a:cubicBezTo>
                    <a:pt x="18577" y="12039"/>
                    <a:pt x="18499" y="12169"/>
                    <a:pt x="18482" y="12260"/>
                  </a:cubicBezTo>
                  <a:cubicBezTo>
                    <a:pt x="18468" y="12338"/>
                    <a:pt x="18484" y="12440"/>
                    <a:pt x="18496" y="12517"/>
                  </a:cubicBezTo>
                  <a:cubicBezTo>
                    <a:pt x="18512" y="12631"/>
                    <a:pt x="18572" y="12773"/>
                    <a:pt x="18563" y="12564"/>
                  </a:cubicBezTo>
                  <a:cubicBezTo>
                    <a:pt x="18658" y="12668"/>
                    <a:pt x="18555" y="12872"/>
                    <a:pt x="18731" y="12747"/>
                  </a:cubicBezTo>
                  <a:cubicBezTo>
                    <a:pt x="18819" y="12684"/>
                    <a:pt x="18788" y="12650"/>
                    <a:pt x="18836" y="12549"/>
                  </a:cubicBezTo>
                  <a:cubicBezTo>
                    <a:pt x="18854" y="12514"/>
                    <a:pt x="19007" y="12334"/>
                    <a:pt x="18989" y="12394"/>
                  </a:cubicBezTo>
                  <a:cubicBezTo>
                    <a:pt x="18963" y="12482"/>
                    <a:pt x="18890" y="12505"/>
                    <a:pt x="18862" y="12618"/>
                  </a:cubicBezTo>
                  <a:cubicBezTo>
                    <a:pt x="18855" y="12646"/>
                    <a:pt x="18875" y="12695"/>
                    <a:pt x="18869" y="12711"/>
                  </a:cubicBezTo>
                  <a:cubicBezTo>
                    <a:pt x="18852" y="12751"/>
                    <a:pt x="18801" y="12759"/>
                    <a:pt x="18787" y="12795"/>
                  </a:cubicBezTo>
                  <a:cubicBezTo>
                    <a:pt x="18752" y="12885"/>
                    <a:pt x="18774" y="13044"/>
                    <a:pt x="18864" y="12885"/>
                  </a:cubicBezTo>
                  <a:cubicBezTo>
                    <a:pt x="18873" y="13022"/>
                    <a:pt x="19005" y="12869"/>
                    <a:pt x="19022" y="12805"/>
                  </a:cubicBezTo>
                  <a:cubicBezTo>
                    <a:pt x="19055" y="12682"/>
                    <a:pt x="18954" y="12496"/>
                    <a:pt x="19109" y="12484"/>
                  </a:cubicBezTo>
                  <a:cubicBezTo>
                    <a:pt x="18995" y="12569"/>
                    <a:pt x="19101" y="12606"/>
                    <a:pt x="19105" y="12647"/>
                  </a:cubicBezTo>
                  <a:cubicBezTo>
                    <a:pt x="19107" y="12670"/>
                    <a:pt x="19088" y="12817"/>
                    <a:pt x="19078" y="12848"/>
                  </a:cubicBezTo>
                  <a:cubicBezTo>
                    <a:pt x="19036" y="12976"/>
                    <a:pt x="18922" y="13036"/>
                    <a:pt x="19027" y="13159"/>
                  </a:cubicBezTo>
                  <a:cubicBezTo>
                    <a:pt x="19043" y="13177"/>
                    <a:pt x="19129" y="13239"/>
                    <a:pt x="19147" y="13230"/>
                  </a:cubicBezTo>
                  <a:cubicBezTo>
                    <a:pt x="19191" y="13208"/>
                    <a:pt x="19145" y="13168"/>
                    <a:pt x="19169" y="13118"/>
                  </a:cubicBezTo>
                  <a:cubicBezTo>
                    <a:pt x="19196" y="13065"/>
                    <a:pt x="19232" y="13062"/>
                    <a:pt x="19257" y="13024"/>
                  </a:cubicBezTo>
                  <a:cubicBezTo>
                    <a:pt x="19286" y="12979"/>
                    <a:pt x="19396" y="12720"/>
                    <a:pt x="19421" y="12820"/>
                  </a:cubicBezTo>
                  <a:cubicBezTo>
                    <a:pt x="19442" y="12782"/>
                    <a:pt x="19448" y="12749"/>
                    <a:pt x="19431" y="12699"/>
                  </a:cubicBezTo>
                  <a:cubicBezTo>
                    <a:pt x="19567" y="12830"/>
                    <a:pt x="19379" y="12830"/>
                    <a:pt x="19368" y="12922"/>
                  </a:cubicBezTo>
                  <a:cubicBezTo>
                    <a:pt x="19355" y="13035"/>
                    <a:pt x="19286" y="13129"/>
                    <a:pt x="19259" y="13236"/>
                  </a:cubicBezTo>
                  <a:cubicBezTo>
                    <a:pt x="19299" y="13184"/>
                    <a:pt x="19352" y="13155"/>
                    <a:pt x="19399" y="13118"/>
                  </a:cubicBezTo>
                  <a:cubicBezTo>
                    <a:pt x="19396" y="13206"/>
                    <a:pt x="19349" y="13186"/>
                    <a:pt x="19334" y="13218"/>
                  </a:cubicBezTo>
                  <a:cubicBezTo>
                    <a:pt x="19301" y="13293"/>
                    <a:pt x="19309" y="13264"/>
                    <a:pt x="19321" y="13313"/>
                  </a:cubicBezTo>
                  <a:cubicBezTo>
                    <a:pt x="19360" y="13470"/>
                    <a:pt x="19424" y="13344"/>
                    <a:pt x="19502" y="13291"/>
                  </a:cubicBezTo>
                  <a:cubicBezTo>
                    <a:pt x="19460" y="13369"/>
                    <a:pt x="19522" y="13432"/>
                    <a:pt x="19535" y="13519"/>
                  </a:cubicBezTo>
                  <a:cubicBezTo>
                    <a:pt x="19545" y="13492"/>
                    <a:pt x="19578" y="13465"/>
                    <a:pt x="19587" y="13448"/>
                  </a:cubicBezTo>
                  <a:cubicBezTo>
                    <a:pt x="19599" y="13495"/>
                    <a:pt x="19613" y="13496"/>
                    <a:pt x="19621" y="13547"/>
                  </a:cubicBezTo>
                  <a:cubicBezTo>
                    <a:pt x="19671" y="13524"/>
                    <a:pt x="19653" y="13526"/>
                    <a:pt x="19693" y="13562"/>
                  </a:cubicBezTo>
                  <a:cubicBezTo>
                    <a:pt x="19709" y="13314"/>
                    <a:pt x="19561" y="13171"/>
                    <a:pt x="19576" y="12934"/>
                  </a:cubicBezTo>
                  <a:cubicBezTo>
                    <a:pt x="19582" y="12829"/>
                    <a:pt x="19593" y="12640"/>
                    <a:pt x="19628" y="12829"/>
                  </a:cubicBezTo>
                  <a:cubicBezTo>
                    <a:pt x="19645" y="12924"/>
                    <a:pt x="19596" y="13022"/>
                    <a:pt x="19636" y="13112"/>
                  </a:cubicBezTo>
                  <a:cubicBezTo>
                    <a:pt x="19645" y="13096"/>
                    <a:pt x="19661" y="13075"/>
                    <a:pt x="19668" y="13060"/>
                  </a:cubicBezTo>
                  <a:cubicBezTo>
                    <a:pt x="19654" y="13205"/>
                    <a:pt x="19717" y="13271"/>
                    <a:pt x="19793" y="13332"/>
                  </a:cubicBezTo>
                  <a:cubicBezTo>
                    <a:pt x="19826" y="13235"/>
                    <a:pt x="19838" y="13149"/>
                    <a:pt x="19906" y="13105"/>
                  </a:cubicBezTo>
                  <a:cubicBezTo>
                    <a:pt x="19888" y="13164"/>
                    <a:pt x="19841" y="13331"/>
                    <a:pt x="19873" y="13401"/>
                  </a:cubicBezTo>
                  <a:cubicBezTo>
                    <a:pt x="19884" y="13387"/>
                    <a:pt x="19995" y="13439"/>
                    <a:pt x="20004" y="13445"/>
                  </a:cubicBezTo>
                  <a:cubicBezTo>
                    <a:pt x="20011" y="13406"/>
                    <a:pt x="19978" y="13305"/>
                    <a:pt x="19985" y="13284"/>
                  </a:cubicBezTo>
                  <a:cubicBezTo>
                    <a:pt x="19999" y="13248"/>
                    <a:pt x="20037" y="13300"/>
                    <a:pt x="20047" y="13275"/>
                  </a:cubicBezTo>
                  <a:cubicBezTo>
                    <a:pt x="20085" y="13188"/>
                    <a:pt x="20073" y="13093"/>
                    <a:pt x="20098" y="12991"/>
                  </a:cubicBezTo>
                  <a:cubicBezTo>
                    <a:pt x="20152" y="13069"/>
                    <a:pt x="20094" y="13199"/>
                    <a:pt x="20160" y="13279"/>
                  </a:cubicBezTo>
                  <a:cubicBezTo>
                    <a:pt x="20251" y="13387"/>
                    <a:pt x="20226" y="13192"/>
                    <a:pt x="20318" y="13214"/>
                  </a:cubicBezTo>
                  <a:cubicBezTo>
                    <a:pt x="20262" y="13262"/>
                    <a:pt x="20285" y="13316"/>
                    <a:pt x="20238" y="13350"/>
                  </a:cubicBezTo>
                  <a:cubicBezTo>
                    <a:pt x="20250" y="13394"/>
                    <a:pt x="20297" y="13441"/>
                    <a:pt x="20336" y="13407"/>
                  </a:cubicBezTo>
                  <a:cubicBezTo>
                    <a:pt x="20401" y="13352"/>
                    <a:pt x="20351" y="13183"/>
                    <a:pt x="20421" y="13356"/>
                  </a:cubicBezTo>
                  <a:cubicBezTo>
                    <a:pt x="20432" y="13383"/>
                    <a:pt x="20404" y="13507"/>
                    <a:pt x="20479" y="13466"/>
                  </a:cubicBezTo>
                  <a:cubicBezTo>
                    <a:pt x="20531" y="13437"/>
                    <a:pt x="20501" y="13406"/>
                    <a:pt x="20481" y="13326"/>
                  </a:cubicBezTo>
                  <a:cubicBezTo>
                    <a:pt x="20465" y="13260"/>
                    <a:pt x="20485" y="13187"/>
                    <a:pt x="20447" y="13129"/>
                  </a:cubicBezTo>
                  <a:cubicBezTo>
                    <a:pt x="20505" y="13094"/>
                    <a:pt x="20479" y="13076"/>
                    <a:pt x="20428" y="13076"/>
                  </a:cubicBezTo>
                  <a:cubicBezTo>
                    <a:pt x="20514" y="12996"/>
                    <a:pt x="20423" y="13022"/>
                    <a:pt x="20409" y="12968"/>
                  </a:cubicBezTo>
                  <a:cubicBezTo>
                    <a:pt x="20397" y="12916"/>
                    <a:pt x="20450" y="12910"/>
                    <a:pt x="20410" y="12847"/>
                  </a:cubicBezTo>
                  <a:cubicBezTo>
                    <a:pt x="20409" y="12846"/>
                    <a:pt x="20330" y="12865"/>
                    <a:pt x="20322" y="12868"/>
                  </a:cubicBezTo>
                  <a:cubicBezTo>
                    <a:pt x="20308" y="12851"/>
                    <a:pt x="20317" y="12848"/>
                    <a:pt x="20281" y="12824"/>
                  </a:cubicBezTo>
                  <a:cubicBezTo>
                    <a:pt x="20282" y="12822"/>
                    <a:pt x="20390" y="12691"/>
                    <a:pt x="20382" y="12736"/>
                  </a:cubicBezTo>
                  <a:cubicBezTo>
                    <a:pt x="20398" y="12651"/>
                    <a:pt x="20313" y="12668"/>
                    <a:pt x="20270" y="12698"/>
                  </a:cubicBezTo>
                  <a:cubicBezTo>
                    <a:pt x="20338" y="12615"/>
                    <a:pt x="20272" y="12605"/>
                    <a:pt x="20272" y="12604"/>
                  </a:cubicBezTo>
                  <a:cubicBezTo>
                    <a:pt x="20273" y="12613"/>
                    <a:pt x="20235" y="12623"/>
                    <a:pt x="20230" y="12613"/>
                  </a:cubicBezTo>
                  <a:cubicBezTo>
                    <a:pt x="20205" y="12568"/>
                    <a:pt x="20268" y="12557"/>
                    <a:pt x="20267" y="12551"/>
                  </a:cubicBezTo>
                  <a:cubicBezTo>
                    <a:pt x="20241" y="12449"/>
                    <a:pt x="20173" y="12496"/>
                    <a:pt x="20096" y="12428"/>
                  </a:cubicBezTo>
                  <a:cubicBezTo>
                    <a:pt x="20116" y="12407"/>
                    <a:pt x="20138" y="12364"/>
                    <a:pt x="20157" y="12344"/>
                  </a:cubicBezTo>
                  <a:cubicBezTo>
                    <a:pt x="20089" y="12380"/>
                    <a:pt x="20001" y="12343"/>
                    <a:pt x="19932" y="12323"/>
                  </a:cubicBezTo>
                  <a:cubicBezTo>
                    <a:pt x="19981" y="12234"/>
                    <a:pt x="20030" y="12300"/>
                    <a:pt x="20093" y="12283"/>
                  </a:cubicBezTo>
                  <a:cubicBezTo>
                    <a:pt x="20137" y="12271"/>
                    <a:pt x="20149" y="12237"/>
                    <a:pt x="20189" y="12216"/>
                  </a:cubicBezTo>
                  <a:cubicBezTo>
                    <a:pt x="20160" y="12192"/>
                    <a:pt x="20117" y="12174"/>
                    <a:pt x="20080" y="12178"/>
                  </a:cubicBezTo>
                  <a:cubicBezTo>
                    <a:pt x="20045" y="12182"/>
                    <a:pt x="20023" y="12234"/>
                    <a:pt x="20002" y="12232"/>
                  </a:cubicBezTo>
                  <a:cubicBezTo>
                    <a:pt x="20029" y="12234"/>
                    <a:pt x="19888" y="12141"/>
                    <a:pt x="19908" y="12166"/>
                  </a:cubicBezTo>
                  <a:cubicBezTo>
                    <a:pt x="19883" y="12135"/>
                    <a:pt x="19894" y="12085"/>
                    <a:pt x="19854" y="12051"/>
                  </a:cubicBezTo>
                  <a:cubicBezTo>
                    <a:pt x="19912" y="11991"/>
                    <a:pt x="19935" y="12135"/>
                    <a:pt x="20000" y="12110"/>
                  </a:cubicBezTo>
                  <a:cubicBezTo>
                    <a:pt x="20071" y="12081"/>
                    <a:pt x="20050" y="11901"/>
                    <a:pt x="19996" y="11865"/>
                  </a:cubicBezTo>
                  <a:cubicBezTo>
                    <a:pt x="19906" y="11806"/>
                    <a:pt x="19793" y="12012"/>
                    <a:pt x="19705" y="11940"/>
                  </a:cubicBezTo>
                  <a:cubicBezTo>
                    <a:pt x="19777" y="11891"/>
                    <a:pt x="19845" y="11754"/>
                    <a:pt x="19937" y="11757"/>
                  </a:cubicBezTo>
                  <a:cubicBezTo>
                    <a:pt x="19891" y="11708"/>
                    <a:pt x="19856" y="11643"/>
                    <a:pt x="19813" y="11589"/>
                  </a:cubicBezTo>
                  <a:cubicBezTo>
                    <a:pt x="19770" y="11537"/>
                    <a:pt x="19717" y="11495"/>
                    <a:pt x="19677" y="11439"/>
                  </a:cubicBezTo>
                  <a:cubicBezTo>
                    <a:pt x="19657" y="11410"/>
                    <a:pt x="19556" y="11252"/>
                    <a:pt x="19645" y="11302"/>
                  </a:cubicBezTo>
                  <a:cubicBezTo>
                    <a:pt x="19687" y="11327"/>
                    <a:pt x="19752" y="11451"/>
                    <a:pt x="19795" y="11494"/>
                  </a:cubicBezTo>
                  <a:cubicBezTo>
                    <a:pt x="19847" y="11546"/>
                    <a:pt x="19902" y="11595"/>
                    <a:pt x="19953" y="11645"/>
                  </a:cubicBezTo>
                  <a:cubicBezTo>
                    <a:pt x="19964" y="11655"/>
                    <a:pt x="20029" y="11721"/>
                    <a:pt x="20037" y="11723"/>
                  </a:cubicBezTo>
                  <a:cubicBezTo>
                    <a:pt x="20099" y="11740"/>
                    <a:pt x="20059" y="11698"/>
                    <a:pt x="20109" y="11689"/>
                  </a:cubicBezTo>
                  <a:cubicBezTo>
                    <a:pt x="20138" y="11684"/>
                    <a:pt x="20190" y="11687"/>
                    <a:pt x="20202" y="11684"/>
                  </a:cubicBezTo>
                  <a:cubicBezTo>
                    <a:pt x="20208" y="11683"/>
                    <a:pt x="20252" y="11802"/>
                    <a:pt x="20246" y="11697"/>
                  </a:cubicBezTo>
                  <a:cubicBezTo>
                    <a:pt x="20240" y="11584"/>
                    <a:pt x="20195" y="11418"/>
                    <a:pt x="20109" y="11381"/>
                  </a:cubicBezTo>
                  <a:cubicBezTo>
                    <a:pt x="20191" y="11304"/>
                    <a:pt x="20385" y="11856"/>
                    <a:pt x="20409" y="11479"/>
                  </a:cubicBezTo>
                  <a:cubicBezTo>
                    <a:pt x="20417" y="11510"/>
                    <a:pt x="20432" y="11535"/>
                    <a:pt x="20439" y="11558"/>
                  </a:cubicBezTo>
                  <a:cubicBezTo>
                    <a:pt x="20401" y="11210"/>
                    <a:pt x="20283" y="11451"/>
                    <a:pt x="20169" y="11304"/>
                  </a:cubicBezTo>
                  <a:cubicBezTo>
                    <a:pt x="20222" y="11274"/>
                    <a:pt x="20297" y="11259"/>
                    <a:pt x="20358" y="11251"/>
                  </a:cubicBezTo>
                  <a:cubicBezTo>
                    <a:pt x="20325" y="11032"/>
                    <a:pt x="20152" y="11215"/>
                    <a:pt x="20094" y="11099"/>
                  </a:cubicBezTo>
                  <a:cubicBezTo>
                    <a:pt x="20081" y="11075"/>
                    <a:pt x="19984" y="11043"/>
                    <a:pt x="20042" y="11009"/>
                  </a:cubicBezTo>
                  <a:cubicBezTo>
                    <a:pt x="20062" y="10998"/>
                    <a:pt x="20111" y="11054"/>
                    <a:pt x="20129" y="11061"/>
                  </a:cubicBezTo>
                  <a:cubicBezTo>
                    <a:pt x="20229" y="11104"/>
                    <a:pt x="20231" y="11073"/>
                    <a:pt x="20310" y="11027"/>
                  </a:cubicBezTo>
                  <a:cubicBezTo>
                    <a:pt x="20320" y="11022"/>
                    <a:pt x="20346" y="11047"/>
                    <a:pt x="20387" y="11011"/>
                  </a:cubicBezTo>
                  <a:cubicBezTo>
                    <a:pt x="20393" y="11005"/>
                    <a:pt x="20447" y="10899"/>
                    <a:pt x="20447" y="10904"/>
                  </a:cubicBezTo>
                  <a:cubicBezTo>
                    <a:pt x="20444" y="10889"/>
                    <a:pt x="20360" y="10831"/>
                    <a:pt x="20348" y="10823"/>
                  </a:cubicBezTo>
                  <a:cubicBezTo>
                    <a:pt x="20354" y="10827"/>
                    <a:pt x="20262" y="10756"/>
                    <a:pt x="20281" y="10788"/>
                  </a:cubicBezTo>
                  <a:cubicBezTo>
                    <a:pt x="20250" y="10736"/>
                    <a:pt x="20298" y="10735"/>
                    <a:pt x="20272" y="10691"/>
                  </a:cubicBezTo>
                  <a:cubicBezTo>
                    <a:pt x="20230" y="10622"/>
                    <a:pt x="20223" y="10674"/>
                    <a:pt x="20175" y="10669"/>
                  </a:cubicBezTo>
                  <a:cubicBezTo>
                    <a:pt x="20117" y="10663"/>
                    <a:pt x="20085" y="10656"/>
                    <a:pt x="20016" y="10695"/>
                  </a:cubicBezTo>
                  <a:cubicBezTo>
                    <a:pt x="19920" y="10748"/>
                    <a:pt x="19944" y="10750"/>
                    <a:pt x="19846" y="10672"/>
                  </a:cubicBezTo>
                  <a:cubicBezTo>
                    <a:pt x="19777" y="10618"/>
                    <a:pt x="19774" y="10584"/>
                    <a:pt x="19707" y="10675"/>
                  </a:cubicBezTo>
                  <a:cubicBezTo>
                    <a:pt x="19806" y="10419"/>
                    <a:pt x="19823" y="10687"/>
                    <a:pt x="19936" y="10700"/>
                  </a:cubicBezTo>
                  <a:cubicBezTo>
                    <a:pt x="19985" y="10705"/>
                    <a:pt x="20101" y="10597"/>
                    <a:pt x="20156" y="10581"/>
                  </a:cubicBezTo>
                  <a:cubicBezTo>
                    <a:pt x="20176" y="10575"/>
                    <a:pt x="20245" y="10580"/>
                    <a:pt x="20255" y="10574"/>
                  </a:cubicBezTo>
                  <a:cubicBezTo>
                    <a:pt x="20303" y="10546"/>
                    <a:pt x="20285" y="10524"/>
                    <a:pt x="20322" y="10478"/>
                  </a:cubicBezTo>
                  <a:cubicBezTo>
                    <a:pt x="20350" y="10442"/>
                    <a:pt x="20422" y="10332"/>
                    <a:pt x="20460" y="10329"/>
                  </a:cubicBezTo>
                  <a:cubicBezTo>
                    <a:pt x="20435" y="10266"/>
                    <a:pt x="20389" y="10286"/>
                    <a:pt x="20349" y="10314"/>
                  </a:cubicBezTo>
                  <a:cubicBezTo>
                    <a:pt x="20358" y="10294"/>
                    <a:pt x="20364" y="10247"/>
                    <a:pt x="20373" y="10229"/>
                  </a:cubicBezTo>
                  <a:cubicBezTo>
                    <a:pt x="20362" y="10223"/>
                    <a:pt x="20346" y="10231"/>
                    <a:pt x="20335" y="10234"/>
                  </a:cubicBezTo>
                  <a:cubicBezTo>
                    <a:pt x="20339" y="10098"/>
                    <a:pt x="20298" y="10255"/>
                    <a:pt x="20276" y="10235"/>
                  </a:cubicBezTo>
                  <a:cubicBezTo>
                    <a:pt x="20215" y="10180"/>
                    <a:pt x="20288" y="10157"/>
                    <a:pt x="20200" y="10161"/>
                  </a:cubicBezTo>
                  <a:cubicBezTo>
                    <a:pt x="20167" y="10162"/>
                    <a:pt x="20116" y="10202"/>
                    <a:pt x="20081" y="10209"/>
                  </a:cubicBezTo>
                  <a:cubicBezTo>
                    <a:pt x="20056" y="10214"/>
                    <a:pt x="20004" y="10200"/>
                    <a:pt x="19975" y="10209"/>
                  </a:cubicBezTo>
                  <a:cubicBezTo>
                    <a:pt x="19960" y="10214"/>
                    <a:pt x="19950" y="10178"/>
                    <a:pt x="19929" y="10192"/>
                  </a:cubicBezTo>
                  <a:cubicBezTo>
                    <a:pt x="19914" y="10202"/>
                    <a:pt x="19917" y="10249"/>
                    <a:pt x="19901" y="10258"/>
                  </a:cubicBezTo>
                  <a:cubicBezTo>
                    <a:pt x="19848" y="10290"/>
                    <a:pt x="19869" y="10305"/>
                    <a:pt x="19812" y="10300"/>
                  </a:cubicBezTo>
                  <a:cubicBezTo>
                    <a:pt x="19723" y="10294"/>
                    <a:pt x="19707" y="10188"/>
                    <a:pt x="19624" y="10156"/>
                  </a:cubicBezTo>
                  <a:cubicBezTo>
                    <a:pt x="19695" y="10099"/>
                    <a:pt x="19776" y="10254"/>
                    <a:pt x="19841" y="10270"/>
                  </a:cubicBezTo>
                  <a:cubicBezTo>
                    <a:pt x="19878" y="10166"/>
                    <a:pt x="19914" y="10026"/>
                    <a:pt x="19913" y="9909"/>
                  </a:cubicBezTo>
                  <a:cubicBezTo>
                    <a:pt x="19913" y="9885"/>
                    <a:pt x="19852" y="9874"/>
                    <a:pt x="19830" y="9861"/>
                  </a:cubicBezTo>
                  <a:cubicBezTo>
                    <a:pt x="19780" y="9829"/>
                    <a:pt x="19816" y="9800"/>
                    <a:pt x="19760" y="9814"/>
                  </a:cubicBezTo>
                  <a:cubicBezTo>
                    <a:pt x="19743" y="9818"/>
                    <a:pt x="19733" y="9892"/>
                    <a:pt x="19703" y="9901"/>
                  </a:cubicBezTo>
                  <a:cubicBezTo>
                    <a:pt x="19646" y="9919"/>
                    <a:pt x="19635" y="9861"/>
                    <a:pt x="19679" y="9807"/>
                  </a:cubicBezTo>
                  <a:cubicBezTo>
                    <a:pt x="19726" y="9750"/>
                    <a:pt x="19815" y="9716"/>
                    <a:pt x="19877" y="9706"/>
                  </a:cubicBezTo>
                  <a:cubicBezTo>
                    <a:pt x="19948" y="9694"/>
                    <a:pt x="19926" y="9704"/>
                    <a:pt x="19975" y="9736"/>
                  </a:cubicBezTo>
                  <a:cubicBezTo>
                    <a:pt x="20001" y="9753"/>
                    <a:pt x="20009" y="9817"/>
                    <a:pt x="20038" y="9821"/>
                  </a:cubicBezTo>
                  <a:cubicBezTo>
                    <a:pt x="20068" y="9826"/>
                    <a:pt x="20113" y="9752"/>
                    <a:pt x="20140" y="9741"/>
                  </a:cubicBezTo>
                  <a:cubicBezTo>
                    <a:pt x="20166" y="9731"/>
                    <a:pt x="20195" y="9765"/>
                    <a:pt x="20224" y="9747"/>
                  </a:cubicBezTo>
                  <a:cubicBezTo>
                    <a:pt x="20279" y="9712"/>
                    <a:pt x="20249" y="9681"/>
                    <a:pt x="20278" y="9623"/>
                  </a:cubicBezTo>
                  <a:cubicBezTo>
                    <a:pt x="20283" y="9614"/>
                    <a:pt x="20281" y="9572"/>
                    <a:pt x="20287" y="9556"/>
                  </a:cubicBezTo>
                  <a:cubicBezTo>
                    <a:pt x="20293" y="9539"/>
                    <a:pt x="20328" y="9552"/>
                    <a:pt x="20336" y="9539"/>
                  </a:cubicBezTo>
                  <a:cubicBezTo>
                    <a:pt x="20354" y="9512"/>
                    <a:pt x="20434" y="9376"/>
                    <a:pt x="20423" y="9342"/>
                  </a:cubicBezTo>
                  <a:cubicBezTo>
                    <a:pt x="20370" y="9171"/>
                    <a:pt x="20116" y="9475"/>
                    <a:pt x="20076" y="9511"/>
                  </a:cubicBezTo>
                  <a:cubicBezTo>
                    <a:pt x="20112" y="9408"/>
                    <a:pt x="20148" y="9367"/>
                    <a:pt x="20193" y="9303"/>
                  </a:cubicBezTo>
                  <a:cubicBezTo>
                    <a:pt x="20284" y="9171"/>
                    <a:pt x="20240" y="9179"/>
                    <a:pt x="20142" y="9106"/>
                  </a:cubicBezTo>
                  <a:cubicBezTo>
                    <a:pt x="20075" y="9057"/>
                    <a:pt x="19967" y="8951"/>
                    <a:pt x="19884" y="9017"/>
                  </a:cubicBezTo>
                  <a:cubicBezTo>
                    <a:pt x="19827" y="9064"/>
                    <a:pt x="19854" y="9215"/>
                    <a:pt x="19765" y="9187"/>
                  </a:cubicBezTo>
                  <a:cubicBezTo>
                    <a:pt x="19790" y="9151"/>
                    <a:pt x="19803" y="9107"/>
                    <a:pt x="19818" y="9057"/>
                  </a:cubicBezTo>
                  <a:cubicBezTo>
                    <a:pt x="19822" y="9042"/>
                    <a:pt x="19811" y="8959"/>
                    <a:pt x="19810" y="8961"/>
                  </a:cubicBezTo>
                  <a:cubicBezTo>
                    <a:pt x="19829" y="8933"/>
                    <a:pt x="19830" y="8968"/>
                    <a:pt x="19849" y="8952"/>
                  </a:cubicBezTo>
                  <a:cubicBezTo>
                    <a:pt x="19887" y="8920"/>
                    <a:pt x="20018" y="8907"/>
                    <a:pt x="20063" y="8927"/>
                  </a:cubicBezTo>
                  <a:cubicBezTo>
                    <a:pt x="20135" y="8959"/>
                    <a:pt x="20167" y="9082"/>
                    <a:pt x="20247" y="8986"/>
                  </a:cubicBezTo>
                  <a:cubicBezTo>
                    <a:pt x="20271" y="8957"/>
                    <a:pt x="20310" y="8844"/>
                    <a:pt x="20311" y="8786"/>
                  </a:cubicBezTo>
                  <a:cubicBezTo>
                    <a:pt x="20314" y="8656"/>
                    <a:pt x="20227" y="8622"/>
                    <a:pt x="20155" y="8575"/>
                  </a:cubicBezTo>
                  <a:cubicBezTo>
                    <a:pt x="20071" y="8521"/>
                    <a:pt x="19982" y="8452"/>
                    <a:pt x="19888" y="8433"/>
                  </a:cubicBezTo>
                  <a:cubicBezTo>
                    <a:pt x="19809" y="8417"/>
                    <a:pt x="19759" y="8527"/>
                    <a:pt x="19673" y="8539"/>
                  </a:cubicBezTo>
                  <a:cubicBezTo>
                    <a:pt x="19653" y="8542"/>
                    <a:pt x="19590" y="8582"/>
                    <a:pt x="19645" y="8492"/>
                  </a:cubicBezTo>
                  <a:cubicBezTo>
                    <a:pt x="19678" y="8436"/>
                    <a:pt x="19825" y="8381"/>
                    <a:pt x="19707" y="8299"/>
                  </a:cubicBezTo>
                  <a:cubicBezTo>
                    <a:pt x="19551" y="8192"/>
                    <a:pt x="19623" y="8540"/>
                    <a:pt x="19536" y="8546"/>
                  </a:cubicBezTo>
                  <a:cubicBezTo>
                    <a:pt x="19535" y="8406"/>
                    <a:pt x="19484" y="8188"/>
                    <a:pt x="19373" y="8298"/>
                  </a:cubicBezTo>
                  <a:cubicBezTo>
                    <a:pt x="19249" y="8421"/>
                    <a:pt x="19395" y="8436"/>
                    <a:pt x="19404" y="8547"/>
                  </a:cubicBezTo>
                  <a:cubicBezTo>
                    <a:pt x="19414" y="8674"/>
                    <a:pt x="19293" y="8690"/>
                    <a:pt x="19405" y="8837"/>
                  </a:cubicBezTo>
                  <a:cubicBezTo>
                    <a:pt x="19457" y="8907"/>
                    <a:pt x="19573" y="8897"/>
                    <a:pt x="19588" y="9026"/>
                  </a:cubicBezTo>
                  <a:cubicBezTo>
                    <a:pt x="19503" y="9001"/>
                    <a:pt x="19097" y="8512"/>
                    <a:pt x="19150" y="8893"/>
                  </a:cubicBezTo>
                  <a:cubicBezTo>
                    <a:pt x="19165" y="8998"/>
                    <a:pt x="19256" y="9093"/>
                    <a:pt x="19277" y="9196"/>
                  </a:cubicBezTo>
                  <a:cubicBezTo>
                    <a:pt x="19297" y="9288"/>
                    <a:pt x="19351" y="9426"/>
                    <a:pt x="19320" y="9513"/>
                  </a:cubicBezTo>
                  <a:cubicBezTo>
                    <a:pt x="19257" y="9383"/>
                    <a:pt x="19246" y="9211"/>
                    <a:pt x="19186" y="9073"/>
                  </a:cubicBezTo>
                  <a:cubicBezTo>
                    <a:pt x="19162" y="9016"/>
                    <a:pt x="19127" y="8935"/>
                    <a:pt x="19089" y="8894"/>
                  </a:cubicBezTo>
                  <a:cubicBezTo>
                    <a:pt x="19019" y="8816"/>
                    <a:pt x="19038" y="8850"/>
                    <a:pt x="18982" y="8918"/>
                  </a:cubicBezTo>
                  <a:cubicBezTo>
                    <a:pt x="18943" y="8966"/>
                    <a:pt x="18929" y="9031"/>
                    <a:pt x="18907" y="9072"/>
                  </a:cubicBezTo>
                  <a:cubicBezTo>
                    <a:pt x="18884" y="9115"/>
                    <a:pt x="18826" y="9198"/>
                    <a:pt x="18829" y="9245"/>
                  </a:cubicBezTo>
                  <a:cubicBezTo>
                    <a:pt x="18832" y="9279"/>
                    <a:pt x="18905" y="9383"/>
                    <a:pt x="18919" y="9428"/>
                  </a:cubicBezTo>
                  <a:cubicBezTo>
                    <a:pt x="18939" y="9497"/>
                    <a:pt x="18959" y="9579"/>
                    <a:pt x="18953" y="9651"/>
                  </a:cubicBezTo>
                  <a:cubicBezTo>
                    <a:pt x="18890" y="9581"/>
                    <a:pt x="18873" y="9432"/>
                    <a:pt x="18820" y="9340"/>
                  </a:cubicBezTo>
                  <a:cubicBezTo>
                    <a:pt x="18806" y="9317"/>
                    <a:pt x="18766" y="9201"/>
                    <a:pt x="18746" y="9257"/>
                  </a:cubicBezTo>
                  <a:cubicBezTo>
                    <a:pt x="18719" y="9333"/>
                    <a:pt x="18789" y="9333"/>
                    <a:pt x="18791" y="9383"/>
                  </a:cubicBezTo>
                  <a:cubicBezTo>
                    <a:pt x="18795" y="9479"/>
                    <a:pt x="18755" y="9530"/>
                    <a:pt x="18692" y="9569"/>
                  </a:cubicBezTo>
                  <a:cubicBezTo>
                    <a:pt x="18548" y="9655"/>
                    <a:pt x="18674" y="9571"/>
                    <a:pt x="18704" y="9509"/>
                  </a:cubicBezTo>
                  <a:cubicBezTo>
                    <a:pt x="18760" y="9392"/>
                    <a:pt x="18685" y="9365"/>
                    <a:pt x="18710" y="9247"/>
                  </a:cubicBezTo>
                  <a:cubicBezTo>
                    <a:pt x="18730" y="9154"/>
                    <a:pt x="18823" y="9114"/>
                    <a:pt x="18820" y="9004"/>
                  </a:cubicBezTo>
                  <a:cubicBezTo>
                    <a:pt x="18818" y="8914"/>
                    <a:pt x="18747" y="8866"/>
                    <a:pt x="18713" y="8803"/>
                  </a:cubicBezTo>
                  <a:cubicBezTo>
                    <a:pt x="18653" y="8695"/>
                    <a:pt x="18669" y="8695"/>
                    <a:pt x="18709" y="8570"/>
                  </a:cubicBezTo>
                  <a:cubicBezTo>
                    <a:pt x="18759" y="8410"/>
                    <a:pt x="18698" y="8065"/>
                    <a:pt x="18520" y="8274"/>
                  </a:cubicBezTo>
                  <a:cubicBezTo>
                    <a:pt x="18584" y="8296"/>
                    <a:pt x="18580" y="8388"/>
                    <a:pt x="18541" y="8446"/>
                  </a:cubicBezTo>
                  <a:cubicBezTo>
                    <a:pt x="18549" y="8290"/>
                    <a:pt x="18487" y="8271"/>
                    <a:pt x="18476" y="8437"/>
                  </a:cubicBezTo>
                  <a:cubicBezTo>
                    <a:pt x="18467" y="8569"/>
                    <a:pt x="18536" y="8620"/>
                    <a:pt x="18558" y="8721"/>
                  </a:cubicBezTo>
                  <a:cubicBezTo>
                    <a:pt x="18605" y="8928"/>
                    <a:pt x="18400" y="9095"/>
                    <a:pt x="18502" y="9274"/>
                  </a:cubicBezTo>
                  <a:cubicBezTo>
                    <a:pt x="18376" y="9191"/>
                    <a:pt x="18508" y="8988"/>
                    <a:pt x="18518" y="8876"/>
                  </a:cubicBezTo>
                  <a:cubicBezTo>
                    <a:pt x="18525" y="8811"/>
                    <a:pt x="18510" y="8667"/>
                    <a:pt x="18473" y="8621"/>
                  </a:cubicBezTo>
                  <a:cubicBezTo>
                    <a:pt x="18411" y="8545"/>
                    <a:pt x="18364" y="8638"/>
                    <a:pt x="18308" y="8692"/>
                  </a:cubicBezTo>
                  <a:cubicBezTo>
                    <a:pt x="18294" y="8705"/>
                    <a:pt x="18227" y="8751"/>
                    <a:pt x="18218" y="8767"/>
                  </a:cubicBezTo>
                  <a:cubicBezTo>
                    <a:pt x="18192" y="8813"/>
                    <a:pt x="18226" y="8829"/>
                    <a:pt x="18204" y="8875"/>
                  </a:cubicBezTo>
                  <a:cubicBezTo>
                    <a:pt x="18169" y="8950"/>
                    <a:pt x="18121" y="8955"/>
                    <a:pt x="18077" y="9016"/>
                  </a:cubicBezTo>
                  <a:cubicBezTo>
                    <a:pt x="18019" y="9098"/>
                    <a:pt x="17892" y="9302"/>
                    <a:pt x="17900" y="9419"/>
                  </a:cubicBezTo>
                  <a:cubicBezTo>
                    <a:pt x="17905" y="9484"/>
                    <a:pt x="18001" y="9717"/>
                    <a:pt x="17896" y="9578"/>
                  </a:cubicBezTo>
                  <a:cubicBezTo>
                    <a:pt x="17839" y="9503"/>
                    <a:pt x="17841" y="9377"/>
                    <a:pt x="17868" y="9284"/>
                  </a:cubicBezTo>
                  <a:cubicBezTo>
                    <a:pt x="17896" y="9187"/>
                    <a:pt x="17958" y="9129"/>
                    <a:pt x="18004" y="9052"/>
                  </a:cubicBezTo>
                  <a:cubicBezTo>
                    <a:pt x="18027" y="9014"/>
                    <a:pt x="18035" y="8966"/>
                    <a:pt x="18059" y="8931"/>
                  </a:cubicBezTo>
                  <a:cubicBezTo>
                    <a:pt x="18085" y="8893"/>
                    <a:pt x="18119" y="8937"/>
                    <a:pt x="18137" y="8874"/>
                  </a:cubicBezTo>
                  <a:cubicBezTo>
                    <a:pt x="18183" y="8723"/>
                    <a:pt x="18072" y="8737"/>
                    <a:pt x="18018" y="8824"/>
                  </a:cubicBezTo>
                  <a:cubicBezTo>
                    <a:pt x="17971" y="8901"/>
                    <a:pt x="17955" y="8976"/>
                    <a:pt x="17888" y="9034"/>
                  </a:cubicBezTo>
                  <a:cubicBezTo>
                    <a:pt x="17852" y="9064"/>
                    <a:pt x="17808" y="9069"/>
                    <a:pt x="17778" y="9111"/>
                  </a:cubicBezTo>
                  <a:cubicBezTo>
                    <a:pt x="17755" y="9143"/>
                    <a:pt x="17757" y="9209"/>
                    <a:pt x="17733" y="9237"/>
                  </a:cubicBezTo>
                  <a:cubicBezTo>
                    <a:pt x="17641" y="9342"/>
                    <a:pt x="17709" y="9153"/>
                    <a:pt x="17751" y="9095"/>
                  </a:cubicBezTo>
                  <a:cubicBezTo>
                    <a:pt x="17804" y="9023"/>
                    <a:pt x="17890" y="9008"/>
                    <a:pt x="17920" y="8910"/>
                  </a:cubicBezTo>
                  <a:cubicBezTo>
                    <a:pt x="17970" y="8750"/>
                    <a:pt x="17845" y="8868"/>
                    <a:pt x="17782" y="8895"/>
                  </a:cubicBezTo>
                  <a:cubicBezTo>
                    <a:pt x="17750" y="8909"/>
                    <a:pt x="17549" y="8990"/>
                    <a:pt x="17569" y="8932"/>
                  </a:cubicBezTo>
                  <a:cubicBezTo>
                    <a:pt x="17588" y="8876"/>
                    <a:pt x="17770" y="8850"/>
                    <a:pt x="17808" y="8831"/>
                  </a:cubicBezTo>
                  <a:cubicBezTo>
                    <a:pt x="17875" y="8798"/>
                    <a:pt x="17938" y="8730"/>
                    <a:pt x="18006" y="8697"/>
                  </a:cubicBezTo>
                  <a:cubicBezTo>
                    <a:pt x="18120" y="8642"/>
                    <a:pt x="18122" y="8697"/>
                    <a:pt x="18057" y="8563"/>
                  </a:cubicBezTo>
                  <a:cubicBezTo>
                    <a:pt x="18019" y="8484"/>
                    <a:pt x="17977" y="8363"/>
                    <a:pt x="17903" y="8373"/>
                  </a:cubicBezTo>
                  <a:cubicBezTo>
                    <a:pt x="17817" y="8385"/>
                    <a:pt x="17782" y="8565"/>
                    <a:pt x="17689" y="8525"/>
                  </a:cubicBezTo>
                  <a:cubicBezTo>
                    <a:pt x="17751" y="8458"/>
                    <a:pt x="17837" y="8391"/>
                    <a:pt x="17826" y="8265"/>
                  </a:cubicBezTo>
                  <a:cubicBezTo>
                    <a:pt x="17824" y="8242"/>
                    <a:pt x="17793" y="8136"/>
                    <a:pt x="17761" y="8113"/>
                  </a:cubicBezTo>
                  <a:cubicBezTo>
                    <a:pt x="17743" y="8101"/>
                    <a:pt x="17762" y="8058"/>
                    <a:pt x="17726" y="8075"/>
                  </a:cubicBezTo>
                  <a:cubicBezTo>
                    <a:pt x="17719" y="8079"/>
                    <a:pt x="17664" y="8146"/>
                    <a:pt x="17660" y="8144"/>
                  </a:cubicBezTo>
                  <a:cubicBezTo>
                    <a:pt x="17632" y="8133"/>
                    <a:pt x="17594" y="7888"/>
                    <a:pt x="17504" y="7928"/>
                  </a:cubicBezTo>
                  <a:cubicBezTo>
                    <a:pt x="17503" y="7929"/>
                    <a:pt x="17481" y="7977"/>
                    <a:pt x="17455" y="8035"/>
                  </a:cubicBezTo>
                  <a:cubicBezTo>
                    <a:pt x="17457" y="8029"/>
                    <a:pt x="17460" y="8024"/>
                    <a:pt x="17461" y="8018"/>
                  </a:cubicBezTo>
                  <a:cubicBezTo>
                    <a:pt x="17481" y="7918"/>
                    <a:pt x="17388" y="7861"/>
                    <a:pt x="17332" y="7864"/>
                  </a:cubicBezTo>
                  <a:cubicBezTo>
                    <a:pt x="17015" y="7880"/>
                    <a:pt x="17343" y="8150"/>
                    <a:pt x="17225" y="8267"/>
                  </a:cubicBezTo>
                  <a:cubicBezTo>
                    <a:pt x="17217" y="8086"/>
                    <a:pt x="17129" y="8010"/>
                    <a:pt x="17064" y="8197"/>
                  </a:cubicBezTo>
                  <a:cubicBezTo>
                    <a:pt x="17064" y="8197"/>
                    <a:pt x="17072" y="8271"/>
                    <a:pt x="17070" y="8286"/>
                  </a:cubicBezTo>
                  <a:cubicBezTo>
                    <a:pt x="17066" y="8316"/>
                    <a:pt x="17037" y="8319"/>
                    <a:pt x="17036" y="8357"/>
                  </a:cubicBezTo>
                  <a:cubicBezTo>
                    <a:pt x="17034" y="8410"/>
                    <a:pt x="17069" y="8480"/>
                    <a:pt x="17082" y="8528"/>
                  </a:cubicBezTo>
                  <a:cubicBezTo>
                    <a:pt x="17043" y="8501"/>
                    <a:pt x="17015" y="8446"/>
                    <a:pt x="17008" y="8384"/>
                  </a:cubicBezTo>
                  <a:cubicBezTo>
                    <a:pt x="17000" y="8308"/>
                    <a:pt x="17039" y="8283"/>
                    <a:pt x="17041" y="8233"/>
                  </a:cubicBezTo>
                  <a:cubicBezTo>
                    <a:pt x="17046" y="8120"/>
                    <a:pt x="16966" y="8023"/>
                    <a:pt x="16964" y="8180"/>
                  </a:cubicBezTo>
                  <a:cubicBezTo>
                    <a:pt x="16958" y="8150"/>
                    <a:pt x="16930" y="8090"/>
                    <a:pt x="16931" y="8062"/>
                  </a:cubicBezTo>
                  <a:cubicBezTo>
                    <a:pt x="16933" y="8008"/>
                    <a:pt x="16964" y="8050"/>
                    <a:pt x="16970" y="7992"/>
                  </a:cubicBezTo>
                  <a:cubicBezTo>
                    <a:pt x="16978" y="7915"/>
                    <a:pt x="16981" y="7826"/>
                    <a:pt x="16913" y="7808"/>
                  </a:cubicBezTo>
                  <a:cubicBezTo>
                    <a:pt x="16972" y="7801"/>
                    <a:pt x="17026" y="7734"/>
                    <a:pt x="17027" y="7654"/>
                  </a:cubicBezTo>
                  <a:cubicBezTo>
                    <a:pt x="17027" y="7585"/>
                    <a:pt x="17046" y="7578"/>
                    <a:pt x="16972" y="7574"/>
                  </a:cubicBezTo>
                  <a:cubicBezTo>
                    <a:pt x="16943" y="7573"/>
                    <a:pt x="16882" y="7553"/>
                    <a:pt x="16854" y="7565"/>
                  </a:cubicBezTo>
                  <a:cubicBezTo>
                    <a:pt x="16791" y="7593"/>
                    <a:pt x="16765" y="7685"/>
                    <a:pt x="16763" y="7748"/>
                  </a:cubicBezTo>
                  <a:cubicBezTo>
                    <a:pt x="16762" y="7805"/>
                    <a:pt x="16794" y="7841"/>
                    <a:pt x="16761" y="7925"/>
                  </a:cubicBezTo>
                  <a:cubicBezTo>
                    <a:pt x="16714" y="8044"/>
                    <a:pt x="16700" y="7997"/>
                    <a:pt x="16715" y="8142"/>
                  </a:cubicBezTo>
                  <a:cubicBezTo>
                    <a:pt x="16722" y="8209"/>
                    <a:pt x="16714" y="8366"/>
                    <a:pt x="16742" y="8407"/>
                  </a:cubicBezTo>
                  <a:cubicBezTo>
                    <a:pt x="16777" y="8460"/>
                    <a:pt x="16872" y="8452"/>
                    <a:pt x="16917" y="8500"/>
                  </a:cubicBezTo>
                  <a:cubicBezTo>
                    <a:pt x="16956" y="8541"/>
                    <a:pt x="17001" y="8627"/>
                    <a:pt x="17024" y="8685"/>
                  </a:cubicBezTo>
                  <a:cubicBezTo>
                    <a:pt x="16945" y="8662"/>
                    <a:pt x="16927" y="8537"/>
                    <a:pt x="16853" y="8503"/>
                  </a:cubicBezTo>
                  <a:cubicBezTo>
                    <a:pt x="16711" y="8438"/>
                    <a:pt x="16715" y="8462"/>
                    <a:pt x="16698" y="8293"/>
                  </a:cubicBezTo>
                  <a:cubicBezTo>
                    <a:pt x="16678" y="8098"/>
                    <a:pt x="16630" y="7768"/>
                    <a:pt x="16468" y="8017"/>
                  </a:cubicBezTo>
                  <a:cubicBezTo>
                    <a:pt x="16394" y="8131"/>
                    <a:pt x="16466" y="8129"/>
                    <a:pt x="16486" y="8200"/>
                  </a:cubicBezTo>
                  <a:cubicBezTo>
                    <a:pt x="16521" y="8319"/>
                    <a:pt x="16473" y="8347"/>
                    <a:pt x="16472" y="8447"/>
                  </a:cubicBezTo>
                  <a:cubicBezTo>
                    <a:pt x="16470" y="8561"/>
                    <a:pt x="16562" y="8811"/>
                    <a:pt x="16601" y="8927"/>
                  </a:cubicBezTo>
                  <a:cubicBezTo>
                    <a:pt x="16541" y="8830"/>
                    <a:pt x="16514" y="8737"/>
                    <a:pt x="16479" y="8623"/>
                  </a:cubicBezTo>
                  <a:cubicBezTo>
                    <a:pt x="16451" y="8530"/>
                    <a:pt x="16434" y="8403"/>
                    <a:pt x="16393" y="8326"/>
                  </a:cubicBezTo>
                  <a:cubicBezTo>
                    <a:pt x="16325" y="8201"/>
                    <a:pt x="16309" y="8234"/>
                    <a:pt x="16309" y="8069"/>
                  </a:cubicBezTo>
                  <a:cubicBezTo>
                    <a:pt x="16309" y="7938"/>
                    <a:pt x="16287" y="7828"/>
                    <a:pt x="16198" y="7760"/>
                  </a:cubicBezTo>
                  <a:cubicBezTo>
                    <a:pt x="16162" y="7864"/>
                    <a:pt x="16270" y="7924"/>
                    <a:pt x="16273" y="8021"/>
                  </a:cubicBezTo>
                  <a:cubicBezTo>
                    <a:pt x="16274" y="8061"/>
                    <a:pt x="16237" y="8195"/>
                    <a:pt x="16223" y="8236"/>
                  </a:cubicBezTo>
                  <a:cubicBezTo>
                    <a:pt x="16180" y="8354"/>
                    <a:pt x="16151" y="8376"/>
                    <a:pt x="16177" y="8512"/>
                  </a:cubicBezTo>
                  <a:cubicBezTo>
                    <a:pt x="16192" y="8598"/>
                    <a:pt x="16243" y="8681"/>
                    <a:pt x="16250" y="8763"/>
                  </a:cubicBezTo>
                  <a:cubicBezTo>
                    <a:pt x="16204" y="8660"/>
                    <a:pt x="16124" y="8721"/>
                    <a:pt x="16050" y="8720"/>
                  </a:cubicBezTo>
                  <a:cubicBezTo>
                    <a:pt x="15925" y="8719"/>
                    <a:pt x="15971" y="8717"/>
                    <a:pt x="16063" y="8666"/>
                  </a:cubicBezTo>
                  <a:cubicBezTo>
                    <a:pt x="16163" y="8611"/>
                    <a:pt x="16143" y="8643"/>
                    <a:pt x="16129" y="8499"/>
                  </a:cubicBezTo>
                  <a:cubicBezTo>
                    <a:pt x="16120" y="8412"/>
                    <a:pt x="16125" y="8333"/>
                    <a:pt x="16126" y="8251"/>
                  </a:cubicBezTo>
                  <a:cubicBezTo>
                    <a:pt x="16127" y="8193"/>
                    <a:pt x="16166" y="8236"/>
                    <a:pt x="16140" y="8162"/>
                  </a:cubicBezTo>
                  <a:cubicBezTo>
                    <a:pt x="16103" y="8055"/>
                    <a:pt x="16061" y="8129"/>
                    <a:pt x="16018" y="8128"/>
                  </a:cubicBezTo>
                  <a:cubicBezTo>
                    <a:pt x="15959" y="8125"/>
                    <a:pt x="15998" y="8202"/>
                    <a:pt x="15975" y="8130"/>
                  </a:cubicBezTo>
                  <a:cubicBezTo>
                    <a:pt x="15977" y="8135"/>
                    <a:pt x="16017" y="8053"/>
                    <a:pt x="15997" y="8019"/>
                  </a:cubicBezTo>
                  <a:cubicBezTo>
                    <a:pt x="15974" y="7981"/>
                    <a:pt x="15878" y="8077"/>
                    <a:pt x="15860" y="8114"/>
                  </a:cubicBezTo>
                  <a:cubicBezTo>
                    <a:pt x="15819" y="8198"/>
                    <a:pt x="15838" y="8174"/>
                    <a:pt x="15851" y="8264"/>
                  </a:cubicBezTo>
                  <a:cubicBezTo>
                    <a:pt x="15862" y="8345"/>
                    <a:pt x="15910" y="8409"/>
                    <a:pt x="15871" y="8485"/>
                  </a:cubicBezTo>
                  <a:cubicBezTo>
                    <a:pt x="15859" y="8431"/>
                    <a:pt x="15823" y="8169"/>
                    <a:pt x="15771" y="8176"/>
                  </a:cubicBezTo>
                  <a:cubicBezTo>
                    <a:pt x="15693" y="8187"/>
                    <a:pt x="15700" y="8456"/>
                    <a:pt x="15720" y="8513"/>
                  </a:cubicBezTo>
                  <a:cubicBezTo>
                    <a:pt x="15638" y="8475"/>
                    <a:pt x="15720" y="8273"/>
                    <a:pt x="15663" y="8190"/>
                  </a:cubicBezTo>
                  <a:cubicBezTo>
                    <a:pt x="15613" y="8076"/>
                    <a:pt x="15688" y="7950"/>
                    <a:pt x="15554" y="7967"/>
                  </a:cubicBezTo>
                  <a:cubicBezTo>
                    <a:pt x="15457" y="7979"/>
                    <a:pt x="15367" y="7978"/>
                    <a:pt x="15348" y="8132"/>
                  </a:cubicBezTo>
                  <a:cubicBezTo>
                    <a:pt x="15334" y="8248"/>
                    <a:pt x="15447" y="8435"/>
                    <a:pt x="15312" y="8489"/>
                  </a:cubicBezTo>
                  <a:cubicBezTo>
                    <a:pt x="15300" y="8494"/>
                    <a:pt x="15229" y="8496"/>
                    <a:pt x="15225" y="8476"/>
                  </a:cubicBezTo>
                  <a:cubicBezTo>
                    <a:pt x="15211" y="8424"/>
                    <a:pt x="15305" y="8459"/>
                    <a:pt x="15314" y="8447"/>
                  </a:cubicBezTo>
                  <a:cubicBezTo>
                    <a:pt x="15387" y="8353"/>
                    <a:pt x="15322" y="8340"/>
                    <a:pt x="15308" y="8229"/>
                  </a:cubicBezTo>
                  <a:cubicBezTo>
                    <a:pt x="15285" y="8051"/>
                    <a:pt x="15348" y="8027"/>
                    <a:pt x="15422" y="7909"/>
                  </a:cubicBezTo>
                  <a:cubicBezTo>
                    <a:pt x="15360" y="7908"/>
                    <a:pt x="15236" y="7903"/>
                    <a:pt x="15243" y="8009"/>
                  </a:cubicBezTo>
                  <a:cubicBezTo>
                    <a:pt x="15168" y="7935"/>
                    <a:pt x="15138" y="8079"/>
                    <a:pt x="15130" y="8160"/>
                  </a:cubicBezTo>
                  <a:cubicBezTo>
                    <a:pt x="15123" y="8243"/>
                    <a:pt x="15182" y="8275"/>
                    <a:pt x="15096" y="8348"/>
                  </a:cubicBezTo>
                  <a:cubicBezTo>
                    <a:pt x="15151" y="8242"/>
                    <a:pt x="15080" y="8191"/>
                    <a:pt x="15108" y="8084"/>
                  </a:cubicBezTo>
                  <a:cubicBezTo>
                    <a:pt x="15041" y="8199"/>
                    <a:pt x="14967" y="8205"/>
                    <a:pt x="14985" y="8375"/>
                  </a:cubicBezTo>
                  <a:cubicBezTo>
                    <a:pt x="14881" y="8271"/>
                    <a:pt x="14976" y="8176"/>
                    <a:pt x="15031" y="8105"/>
                  </a:cubicBezTo>
                  <a:cubicBezTo>
                    <a:pt x="15092" y="8027"/>
                    <a:pt x="15120" y="7924"/>
                    <a:pt x="15175" y="7866"/>
                  </a:cubicBezTo>
                  <a:cubicBezTo>
                    <a:pt x="15244" y="7794"/>
                    <a:pt x="15349" y="7868"/>
                    <a:pt x="15396" y="7800"/>
                  </a:cubicBezTo>
                  <a:cubicBezTo>
                    <a:pt x="15450" y="7723"/>
                    <a:pt x="15347" y="7587"/>
                    <a:pt x="15471" y="7620"/>
                  </a:cubicBezTo>
                  <a:cubicBezTo>
                    <a:pt x="15446" y="7562"/>
                    <a:pt x="15488" y="7528"/>
                    <a:pt x="15523" y="7499"/>
                  </a:cubicBezTo>
                  <a:cubicBezTo>
                    <a:pt x="15460" y="7525"/>
                    <a:pt x="15407" y="7588"/>
                    <a:pt x="15343" y="7608"/>
                  </a:cubicBezTo>
                  <a:cubicBezTo>
                    <a:pt x="15276" y="7628"/>
                    <a:pt x="15275" y="7558"/>
                    <a:pt x="15251" y="7623"/>
                  </a:cubicBezTo>
                  <a:cubicBezTo>
                    <a:pt x="15241" y="7650"/>
                    <a:pt x="15289" y="7703"/>
                    <a:pt x="15269" y="7754"/>
                  </a:cubicBezTo>
                  <a:cubicBezTo>
                    <a:pt x="15257" y="7783"/>
                    <a:pt x="15196" y="7807"/>
                    <a:pt x="15173" y="7821"/>
                  </a:cubicBezTo>
                  <a:cubicBezTo>
                    <a:pt x="15188" y="7800"/>
                    <a:pt x="15198" y="7762"/>
                    <a:pt x="15224" y="7737"/>
                  </a:cubicBezTo>
                  <a:cubicBezTo>
                    <a:pt x="15210" y="7712"/>
                    <a:pt x="15182" y="7667"/>
                    <a:pt x="15166" y="7650"/>
                  </a:cubicBezTo>
                  <a:cubicBezTo>
                    <a:pt x="15165" y="7663"/>
                    <a:pt x="15158" y="7689"/>
                    <a:pt x="15158" y="7710"/>
                  </a:cubicBezTo>
                  <a:cubicBezTo>
                    <a:pt x="15143" y="7678"/>
                    <a:pt x="15106" y="7622"/>
                    <a:pt x="15088" y="7674"/>
                  </a:cubicBezTo>
                  <a:cubicBezTo>
                    <a:pt x="15068" y="7732"/>
                    <a:pt x="14993" y="7745"/>
                    <a:pt x="14982" y="7792"/>
                  </a:cubicBezTo>
                  <a:cubicBezTo>
                    <a:pt x="14974" y="7829"/>
                    <a:pt x="15035" y="7934"/>
                    <a:pt x="15029" y="8005"/>
                  </a:cubicBezTo>
                  <a:cubicBezTo>
                    <a:pt x="15013" y="7984"/>
                    <a:pt x="14920" y="7816"/>
                    <a:pt x="14918" y="7783"/>
                  </a:cubicBezTo>
                  <a:cubicBezTo>
                    <a:pt x="14915" y="7720"/>
                    <a:pt x="15036" y="7636"/>
                    <a:pt x="14915" y="7625"/>
                  </a:cubicBezTo>
                  <a:cubicBezTo>
                    <a:pt x="14880" y="7622"/>
                    <a:pt x="14769" y="7730"/>
                    <a:pt x="14761" y="7767"/>
                  </a:cubicBezTo>
                  <a:cubicBezTo>
                    <a:pt x="14748" y="7822"/>
                    <a:pt x="14778" y="7848"/>
                    <a:pt x="14786" y="7899"/>
                  </a:cubicBezTo>
                  <a:cubicBezTo>
                    <a:pt x="14798" y="7974"/>
                    <a:pt x="14834" y="8042"/>
                    <a:pt x="14809" y="8117"/>
                  </a:cubicBezTo>
                  <a:cubicBezTo>
                    <a:pt x="14792" y="7987"/>
                    <a:pt x="14744" y="7904"/>
                    <a:pt x="14706" y="7796"/>
                  </a:cubicBezTo>
                  <a:cubicBezTo>
                    <a:pt x="14698" y="7813"/>
                    <a:pt x="14692" y="7830"/>
                    <a:pt x="14684" y="7848"/>
                  </a:cubicBezTo>
                  <a:cubicBezTo>
                    <a:pt x="14645" y="7834"/>
                    <a:pt x="14619" y="7841"/>
                    <a:pt x="14600" y="7893"/>
                  </a:cubicBezTo>
                  <a:cubicBezTo>
                    <a:pt x="14540" y="7640"/>
                    <a:pt x="14304" y="8072"/>
                    <a:pt x="14207" y="8079"/>
                  </a:cubicBezTo>
                  <a:cubicBezTo>
                    <a:pt x="14232" y="8030"/>
                    <a:pt x="14421" y="7887"/>
                    <a:pt x="14276" y="7867"/>
                  </a:cubicBezTo>
                  <a:cubicBezTo>
                    <a:pt x="14163" y="7852"/>
                    <a:pt x="14197" y="8085"/>
                    <a:pt x="14094" y="8061"/>
                  </a:cubicBezTo>
                  <a:cubicBezTo>
                    <a:pt x="14154" y="7989"/>
                    <a:pt x="14150" y="7884"/>
                    <a:pt x="14220" y="7829"/>
                  </a:cubicBezTo>
                  <a:cubicBezTo>
                    <a:pt x="14267" y="7794"/>
                    <a:pt x="14339" y="7828"/>
                    <a:pt x="14382" y="7791"/>
                  </a:cubicBezTo>
                  <a:cubicBezTo>
                    <a:pt x="14411" y="7766"/>
                    <a:pt x="14458" y="7689"/>
                    <a:pt x="14478" y="7665"/>
                  </a:cubicBezTo>
                  <a:cubicBezTo>
                    <a:pt x="14481" y="7663"/>
                    <a:pt x="14519" y="7696"/>
                    <a:pt x="14537" y="7670"/>
                  </a:cubicBezTo>
                  <a:cubicBezTo>
                    <a:pt x="14562" y="7633"/>
                    <a:pt x="14476" y="7624"/>
                    <a:pt x="14469" y="7625"/>
                  </a:cubicBezTo>
                  <a:cubicBezTo>
                    <a:pt x="14480" y="7617"/>
                    <a:pt x="14506" y="7583"/>
                    <a:pt x="14518" y="7572"/>
                  </a:cubicBezTo>
                  <a:cubicBezTo>
                    <a:pt x="14419" y="7537"/>
                    <a:pt x="14348" y="7572"/>
                    <a:pt x="14257" y="7601"/>
                  </a:cubicBezTo>
                  <a:cubicBezTo>
                    <a:pt x="14186" y="7623"/>
                    <a:pt x="14103" y="7629"/>
                    <a:pt x="14034" y="7675"/>
                  </a:cubicBezTo>
                  <a:cubicBezTo>
                    <a:pt x="14009" y="7691"/>
                    <a:pt x="13933" y="7790"/>
                    <a:pt x="13928" y="7790"/>
                  </a:cubicBezTo>
                  <a:cubicBezTo>
                    <a:pt x="13918" y="7788"/>
                    <a:pt x="13926" y="7694"/>
                    <a:pt x="13897" y="7679"/>
                  </a:cubicBezTo>
                  <a:cubicBezTo>
                    <a:pt x="13853" y="7655"/>
                    <a:pt x="13690" y="7768"/>
                    <a:pt x="13643" y="7785"/>
                  </a:cubicBezTo>
                  <a:cubicBezTo>
                    <a:pt x="13660" y="7724"/>
                    <a:pt x="13713" y="7701"/>
                    <a:pt x="13757" y="7676"/>
                  </a:cubicBezTo>
                  <a:cubicBezTo>
                    <a:pt x="13710" y="7635"/>
                    <a:pt x="13653" y="7668"/>
                    <a:pt x="13605" y="7696"/>
                  </a:cubicBezTo>
                  <a:cubicBezTo>
                    <a:pt x="13626" y="7545"/>
                    <a:pt x="13827" y="7623"/>
                    <a:pt x="13900" y="7620"/>
                  </a:cubicBezTo>
                  <a:cubicBezTo>
                    <a:pt x="13937" y="7618"/>
                    <a:pt x="14186" y="7504"/>
                    <a:pt x="14160" y="7466"/>
                  </a:cubicBezTo>
                  <a:cubicBezTo>
                    <a:pt x="14112" y="7394"/>
                    <a:pt x="14030" y="7466"/>
                    <a:pt x="14141" y="7383"/>
                  </a:cubicBezTo>
                  <a:cubicBezTo>
                    <a:pt x="14187" y="7348"/>
                    <a:pt x="14235" y="7334"/>
                    <a:pt x="14290" y="7320"/>
                  </a:cubicBezTo>
                  <a:cubicBezTo>
                    <a:pt x="14366" y="7300"/>
                    <a:pt x="14548" y="7324"/>
                    <a:pt x="14585" y="7222"/>
                  </a:cubicBezTo>
                  <a:cubicBezTo>
                    <a:pt x="14503" y="7196"/>
                    <a:pt x="14435" y="7249"/>
                    <a:pt x="14349" y="7247"/>
                  </a:cubicBezTo>
                  <a:cubicBezTo>
                    <a:pt x="14305" y="7247"/>
                    <a:pt x="14259" y="7216"/>
                    <a:pt x="14212" y="7224"/>
                  </a:cubicBezTo>
                  <a:cubicBezTo>
                    <a:pt x="14167" y="7231"/>
                    <a:pt x="14135" y="7269"/>
                    <a:pt x="14093" y="7256"/>
                  </a:cubicBezTo>
                  <a:cubicBezTo>
                    <a:pt x="14137" y="7214"/>
                    <a:pt x="14408" y="7151"/>
                    <a:pt x="14409" y="7125"/>
                  </a:cubicBezTo>
                  <a:cubicBezTo>
                    <a:pt x="14410" y="7065"/>
                    <a:pt x="14352" y="7091"/>
                    <a:pt x="14342" y="7075"/>
                  </a:cubicBezTo>
                  <a:cubicBezTo>
                    <a:pt x="14342" y="7076"/>
                    <a:pt x="14308" y="6977"/>
                    <a:pt x="14310" y="6977"/>
                  </a:cubicBezTo>
                  <a:cubicBezTo>
                    <a:pt x="14297" y="6972"/>
                    <a:pt x="14154" y="6998"/>
                    <a:pt x="14144" y="7001"/>
                  </a:cubicBezTo>
                  <a:cubicBezTo>
                    <a:pt x="14114" y="7010"/>
                    <a:pt x="13986" y="7160"/>
                    <a:pt x="13998" y="7091"/>
                  </a:cubicBezTo>
                  <a:cubicBezTo>
                    <a:pt x="14015" y="6990"/>
                    <a:pt x="14107" y="6952"/>
                    <a:pt x="14162" y="6933"/>
                  </a:cubicBezTo>
                  <a:cubicBezTo>
                    <a:pt x="14199" y="6920"/>
                    <a:pt x="14261" y="6933"/>
                    <a:pt x="14293" y="6902"/>
                  </a:cubicBezTo>
                  <a:cubicBezTo>
                    <a:pt x="14331" y="6865"/>
                    <a:pt x="14313" y="6837"/>
                    <a:pt x="14340" y="6786"/>
                  </a:cubicBezTo>
                  <a:cubicBezTo>
                    <a:pt x="14357" y="6755"/>
                    <a:pt x="14460" y="6712"/>
                    <a:pt x="14423" y="6664"/>
                  </a:cubicBezTo>
                  <a:cubicBezTo>
                    <a:pt x="14402" y="6636"/>
                    <a:pt x="14333" y="6632"/>
                    <a:pt x="14303" y="6627"/>
                  </a:cubicBezTo>
                  <a:cubicBezTo>
                    <a:pt x="14165" y="6603"/>
                    <a:pt x="13969" y="6521"/>
                    <a:pt x="13867" y="6681"/>
                  </a:cubicBezTo>
                  <a:cubicBezTo>
                    <a:pt x="13827" y="6744"/>
                    <a:pt x="13749" y="6902"/>
                    <a:pt x="13731" y="6978"/>
                  </a:cubicBezTo>
                  <a:cubicBezTo>
                    <a:pt x="13706" y="7081"/>
                    <a:pt x="13803" y="7205"/>
                    <a:pt x="13735" y="7288"/>
                  </a:cubicBezTo>
                  <a:cubicBezTo>
                    <a:pt x="13730" y="7171"/>
                    <a:pt x="13691" y="6863"/>
                    <a:pt x="13592" y="7065"/>
                  </a:cubicBezTo>
                  <a:cubicBezTo>
                    <a:pt x="13587" y="6944"/>
                    <a:pt x="13775" y="6842"/>
                    <a:pt x="13804" y="6697"/>
                  </a:cubicBezTo>
                  <a:cubicBezTo>
                    <a:pt x="13826" y="6582"/>
                    <a:pt x="13813" y="6592"/>
                    <a:pt x="13723" y="6648"/>
                  </a:cubicBezTo>
                  <a:cubicBezTo>
                    <a:pt x="13665" y="6684"/>
                    <a:pt x="13645" y="6756"/>
                    <a:pt x="13570" y="6734"/>
                  </a:cubicBezTo>
                  <a:cubicBezTo>
                    <a:pt x="13668" y="6656"/>
                    <a:pt x="13760" y="6566"/>
                    <a:pt x="13872" y="6512"/>
                  </a:cubicBezTo>
                  <a:cubicBezTo>
                    <a:pt x="13899" y="6499"/>
                    <a:pt x="14036" y="6477"/>
                    <a:pt x="14047" y="6448"/>
                  </a:cubicBezTo>
                  <a:cubicBezTo>
                    <a:pt x="14079" y="6368"/>
                    <a:pt x="13988" y="6304"/>
                    <a:pt x="13937" y="6313"/>
                  </a:cubicBezTo>
                  <a:cubicBezTo>
                    <a:pt x="13883" y="6322"/>
                    <a:pt x="13826" y="6400"/>
                    <a:pt x="13770" y="6420"/>
                  </a:cubicBezTo>
                  <a:cubicBezTo>
                    <a:pt x="13718" y="6439"/>
                    <a:pt x="13661" y="6439"/>
                    <a:pt x="13607" y="6449"/>
                  </a:cubicBezTo>
                  <a:cubicBezTo>
                    <a:pt x="13453" y="6478"/>
                    <a:pt x="13433" y="6564"/>
                    <a:pt x="13352" y="6725"/>
                  </a:cubicBezTo>
                  <a:cubicBezTo>
                    <a:pt x="13346" y="6491"/>
                    <a:pt x="13462" y="6433"/>
                    <a:pt x="13598" y="6402"/>
                  </a:cubicBezTo>
                  <a:cubicBezTo>
                    <a:pt x="13658" y="6388"/>
                    <a:pt x="13731" y="6382"/>
                    <a:pt x="13788" y="6352"/>
                  </a:cubicBezTo>
                  <a:cubicBezTo>
                    <a:pt x="13853" y="6318"/>
                    <a:pt x="13881" y="6251"/>
                    <a:pt x="13945" y="6238"/>
                  </a:cubicBezTo>
                  <a:cubicBezTo>
                    <a:pt x="14055" y="6216"/>
                    <a:pt x="14191" y="6325"/>
                    <a:pt x="14302" y="6322"/>
                  </a:cubicBezTo>
                  <a:cubicBezTo>
                    <a:pt x="14458" y="6318"/>
                    <a:pt x="14456" y="6139"/>
                    <a:pt x="14614" y="6188"/>
                  </a:cubicBezTo>
                  <a:cubicBezTo>
                    <a:pt x="14562" y="6057"/>
                    <a:pt x="14704" y="6042"/>
                    <a:pt x="14761" y="6037"/>
                  </a:cubicBezTo>
                  <a:cubicBezTo>
                    <a:pt x="14863" y="6028"/>
                    <a:pt x="14933" y="6034"/>
                    <a:pt x="14875" y="5827"/>
                  </a:cubicBezTo>
                  <a:cubicBezTo>
                    <a:pt x="14811" y="5597"/>
                    <a:pt x="14589" y="5569"/>
                    <a:pt x="14443" y="5537"/>
                  </a:cubicBezTo>
                  <a:cubicBezTo>
                    <a:pt x="14314" y="5510"/>
                    <a:pt x="14315" y="5537"/>
                    <a:pt x="14195" y="5604"/>
                  </a:cubicBezTo>
                  <a:cubicBezTo>
                    <a:pt x="14149" y="5630"/>
                    <a:pt x="14099" y="5623"/>
                    <a:pt x="14054" y="5659"/>
                  </a:cubicBezTo>
                  <a:cubicBezTo>
                    <a:pt x="14013" y="5691"/>
                    <a:pt x="14007" y="5745"/>
                    <a:pt x="13978" y="5772"/>
                  </a:cubicBezTo>
                  <a:cubicBezTo>
                    <a:pt x="13849" y="5894"/>
                    <a:pt x="13664" y="5760"/>
                    <a:pt x="13514" y="5778"/>
                  </a:cubicBezTo>
                  <a:cubicBezTo>
                    <a:pt x="13295" y="5805"/>
                    <a:pt x="13280" y="6175"/>
                    <a:pt x="13086" y="6254"/>
                  </a:cubicBezTo>
                  <a:cubicBezTo>
                    <a:pt x="12999" y="6289"/>
                    <a:pt x="12923" y="6244"/>
                    <a:pt x="12849" y="6337"/>
                  </a:cubicBezTo>
                  <a:cubicBezTo>
                    <a:pt x="12810" y="6387"/>
                    <a:pt x="12775" y="6545"/>
                    <a:pt x="12707" y="6444"/>
                  </a:cubicBezTo>
                  <a:cubicBezTo>
                    <a:pt x="12789" y="6434"/>
                    <a:pt x="12837" y="6263"/>
                    <a:pt x="12928" y="6221"/>
                  </a:cubicBezTo>
                  <a:cubicBezTo>
                    <a:pt x="13015" y="6181"/>
                    <a:pt x="13096" y="6211"/>
                    <a:pt x="13169" y="6124"/>
                  </a:cubicBezTo>
                  <a:cubicBezTo>
                    <a:pt x="13213" y="6071"/>
                    <a:pt x="13258" y="5928"/>
                    <a:pt x="13291" y="5850"/>
                  </a:cubicBezTo>
                  <a:cubicBezTo>
                    <a:pt x="13354" y="5703"/>
                    <a:pt x="13373" y="5713"/>
                    <a:pt x="13481" y="5663"/>
                  </a:cubicBezTo>
                  <a:cubicBezTo>
                    <a:pt x="13644" y="5587"/>
                    <a:pt x="13523" y="5477"/>
                    <a:pt x="13593" y="5324"/>
                  </a:cubicBezTo>
                  <a:cubicBezTo>
                    <a:pt x="13647" y="5207"/>
                    <a:pt x="13630" y="5109"/>
                    <a:pt x="13746" y="5052"/>
                  </a:cubicBezTo>
                  <a:cubicBezTo>
                    <a:pt x="13825" y="5013"/>
                    <a:pt x="13911" y="5055"/>
                    <a:pt x="13992" y="5031"/>
                  </a:cubicBezTo>
                  <a:cubicBezTo>
                    <a:pt x="14034" y="5019"/>
                    <a:pt x="14164" y="4938"/>
                    <a:pt x="14163" y="4875"/>
                  </a:cubicBezTo>
                  <a:cubicBezTo>
                    <a:pt x="14162" y="4806"/>
                    <a:pt x="14023" y="4657"/>
                    <a:pt x="13991" y="4602"/>
                  </a:cubicBezTo>
                  <a:cubicBezTo>
                    <a:pt x="13837" y="4337"/>
                    <a:pt x="13547" y="4052"/>
                    <a:pt x="13294" y="3999"/>
                  </a:cubicBezTo>
                  <a:cubicBezTo>
                    <a:pt x="13295" y="3999"/>
                    <a:pt x="13136" y="3971"/>
                    <a:pt x="13161" y="3955"/>
                  </a:cubicBezTo>
                  <a:cubicBezTo>
                    <a:pt x="13089" y="4000"/>
                    <a:pt x="13128" y="4267"/>
                    <a:pt x="13142" y="4340"/>
                  </a:cubicBezTo>
                  <a:cubicBezTo>
                    <a:pt x="13152" y="4391"/>
                    <a:pt x="13138" y="4409"/>
                    <a:pt x="13177" y="4457"/>
                  </a:cubicBezTo>
                  <a:cubicBezTo>
                    <a:pt x="13203" y="4489"/>
                    <a:pt x="13227" y="4395"/>
                    <a:pt x="13251" y="4476"/>
                  </a:cubicBezTo>
                  <a:cubicBezTo>
                    <a:pt x="13280" y="4578"/>
                    <a:pt x="13149" y="4714"/>
                    <a:pt x="13116" y="4743"/>
                  </a:cubicBezTo>
                  <a:cubicBezTo>
                    <a:pt x="13148" y="4794"/>
                    <a:pt x="13137" y="4919"/>
                    <a:pt x="13126" y="4980"/>
                  </a:cubicBezTo>
                  <a:cubicBezTo>
                    <a:pt x="13115" y="5042"/>
                    <a:pt x="13149" y="4999"/>
                    <a:pt x="13089" y="5052"/>
                  </a:cubicBezTo>
                  <a:cubicBezTo>
                    <a:pt x="12990" y="5137"/>
                    <a:pt x="12937" y="5175"/>
                    <a:pt x="12898" y="5348"/>
                  </a:cubicBezTo>
                  <a:cubicBezTo>
                    <a:pt x="12874" y="5455"/>
                    <a:pt x="12878" y="5582"/>
                    <a:pt x="12841" y="5683"/>
                  </a:cubicBezTo>
                  <a:cubicBezTo>
                    <a:pt x="12825" y="5728"/>
                    <a:pt x="12748" y="5667"/>
                    <a:pt x="12718" y="5685"/>
                  </a:cubicBezTo>
                  <a:cubicBezTo>
                    <a:pt x="12620" y="5741"/>
                    <a:pt x="12672" y="6104"/>
                    <a:pt x="12667" y="6236"/>
                  </a:cubicBezTo>
                  <a:cubicBezTo>
                    <a:pt x="12595" y="6165"/>
                    <a:pt x="12633" y="6042"/>
                    <a:pt x="12626" y="5935"/>
                  </a:cubicBezTo>
                  <a:cubicBezTo>
                    <a:pt x="12619" y="5829"/>
                    <a:pt x="12581" y="5771"/>
                    <a:pt x="12638" y="5668"/>
                  </a:cubicBezTo>
                  <a:cubicBezTo>
                    <a:pt x="12689" y="5575"/>
                    <a:pt x="12773" y="5654"/>
                    <a:pt x="12822" y="5581"/>
                  </a:cubicBezTo>
                  <a:cubicBezTo>
                    <a:pt x="12870" y="5510"/>
                    <a:pt x="12842" y="5290"/>
                    <a:pt x="12865" y="5190"/>
                  </a:cubicBezTo>
                  <a:cubicBezTo>
                    <a:pt x="12887" y="5091"/>
                    <a:pt x="12937" y="5030"/>
                    <a:pt x="12968" y="4940"/>
                  </a:cubicBezTo>
                  <a:cubicBezTo>
                    <a:pt x="13009" y="4825"/>
                    <a:pt x="12980" y="4768"/>
                    <a:pt x="12961" y="4657"/>
                  </a:cubicBezTo>
                  <a:cubicBezTo>
                    <a:pt x="12934" y="4502"/>
                    <a:pt x="12968" y="4437"/>
                    <a:pt x="12844" y="4511"/>
                  </a:cubicBezTo>
                  <a:cubicBezTo>
                    <a:pt x="12777" y="4551"/>
                    <a:pt x="12746" y="4581"/>
                    <a:pt x="12674" y="4600"/>
                  </a:cubicBezTo>
                  <a:cubicBezTo>
                    <a:pt x="12835" y="4634"/>
                    <a:pt x="12687" y="4674"/>
                    <a:pt x="12618" y="4715"/>
                  </a:cubicBezTo>
                  <a:cubicBezTo>
                    <a:pt x="12557" y="4752"/>
                    <a:pt x="12455" y="4915"/>
                    <a:pt x="12435" y="4988"/>
                  </a:cubicBezTo>
                  <a:cubicBezTo>
                    <a:pt x="12388" y="5166"/>
                    <a:pt x="12534" y="5261"/>
                    <a:pt x="12510" y="5384"/>
                  </a:cubicBezTo>
                  <a:cubicBezTo>
                    <a:pt x="12490" y="5488"/>
                    <a:pt x="12373" y="5472"/>
                    <a:pt x="12336" y="5587"/>
                  </a:cubicBezTo>
                  <a:cubicBezTo>
                    <a:pt x="12309" y="5674"/>
                    <a:pt x="12329" y="5824"/>
                    <a:pt x="12279" y="5899"/>
                  </a:cubicBezTo>
                  <a:cubicBezTo>
                    <a:pt x="12190" y="6032"/>
                    <a:pt x="12272" y="5788"/>
                    <a:pt x="12278" y="5765"/>
                  </a:cubicBezTo>
                  <a:cubicBezTo>
                    <a:pt x="12307" y="5659"/>
                    <a:pt x="12281" y="5530"/>
                    <a:pt x="12356" y="5445"/>
                  </a:cubicBezTo>
                  <a:cubicBezTo>
                    <a:pt x="12402" y="5392"/>
                    <a:pt x="12540" y="5381"/>
                    <a:pt x="12417" y="5283"/>
                  </a:cubicBezTo>
                  <a:cubicBezTo>
                    <a:pt x="12322" y="5207"/>
                    <a:pt x="12280" y="5331"/>
                    <a:pt x="12243" y="5422"/>
                  </a:cubicBezTo>
                  <a:cubicBezTo>
                    <a:pt x="12222" y="5302"/>
                    <a:pt x="12299" y="5292"/>
                    <a:pt x="12326" y="5214"/>
                  </a:cubicBezTo>
                  <a:cubicBezTo>
                    <a:pt x="12357" y="5125"/>
                    <a:pt x="12338" y="5039"/>
                    <a:pt x="12354" y="4947"/>
                  </a:cubicBezTo>
                  <a:cubicBezTo>
                    <a:pt x="12377" y="4822"/>
                    <a:pt x="12455" y="4704"/>
                    <a:pt x="12502" y="4610"/>
                  </a:cubicBezTo>
                  <a:cubicBezTo>
                    <a:pt x="12564" y="4483"/>
                    <a:pt x="12663" y="4407"/>
                    <a:pt x="12742" y="4306"/>
                  </a:cubicBezTo>
                  <a:cubicBezTo>
                    <a:pt x="12888" y="4119"/>
                    <a:pt x="12695" y="4055"/>
                    <a:pt x="12756" y="3878"/>
                  </a:cubicBezTo>
                  <a:cubicBezTo>
                    <a:pt x="12786" y="3793"/>
                    <a:pt x="12821" y="4114"/>
                    <a:pt x="12901" y="4000"/>
                  </a:cubicBezTo>
                  <a:cubicBezTo>
                    <a:pt x="12896" y="4006"/>
                    <a:pt x="12881" y="3708"/>
                    <a:pt x="12881" y="3704"/>
                  </a:cubicBezTo>
                  <a:cubicBezTo>
                    <a:pt x="12875" y="3630"/>
                    <a:pt x="12881" y="3584"/>
                    <a:pt x="12835" y="3534"/>
                  </a:cubicBezTo>
                  <a:cubicBezTo>
                    <a:pt x="12745" y="3437"/>
                    <a:pt x="12499" y="3503"/>
                    <a:pt x="12387" y="3487"/>
                  </a:cubicBezTo>
                  <a:cubicBezTo>
                    <a:pt x="12310" y="3477"/>
                    <a:pt x="12236" y="3392"/>
                    <a:pt x="12168" y="3387"/>
                  </a:cubicBezTo>
                  <a:cubicBezTo>
                    <a:pt x="12107" y="3383"/>
                    <a:pt x="11992" y="3461"/>
                    <a:pt x="11974" y="3551"/>
                  </a:cubicBezTo>
                  <a:cubicBezTo>
                    <a:pt x="11962" y="3617"/>
                    <a:pt x="12012" y="3699"/>
                    <a:pt x="11994" y="3756"/>
                  </a:cubicBezTo>
                  <a:cubicBezTo>
                    <a:pt x="11994" y="3757"/>
                    <a:pt x="11923" y="3754"/>
                    <a:pt x="11919" y="3759"/>
                  </a:cubicBezTo>
                  <a:cubicBezTo>
                    <a:pt x="11939" y="3737"/>
                    <a:pt x="11881" y="3879"/>
                    <a:pt x="11878" y="3892"/>
                  </a:cubicBezTo>
                  <a:cubicBezTo>
                    <a:pt x="11861" y="3964"/>
                    <a:pt x="11867" y="4011"/>
                    <a:pt x="11875" y="4091"/>
                  </a:cubicBezTo>
                  <a:cubicBezTo>
                    <a:pt x="11868" y="4068"/>
                    <a:pt x="11844" y="4038"/>
                    <a:pt x="11834" y="4013"/>
                  </a:cubicBezTo>
                  <a:cubicBezTo>
                    <a:pt x="11764" y="4164"/>
                    <a:pt x="11642" y="4103"/>
                    <a:pt x="11722" y="4273"/>
                  </a:cubicBezTo>
                  <a:cubicBezTo>
                    <a:pt x="11770" y="4374"/>
                    <a:pt x="11828" y="4439"/>
                    <a:pt x="11715" y="4511"/>
                  </a:cubicBezTo>
                  <a:cubicBezTo>
                    <a:pt x="11753" y="4383"/>
                    <a:pt x="11693" y="4374"/>
                    <a:pt x="11657" y="4281"/>
                  </a:cubicBezTo>
                  <a:cubicBezTo>
                    <a:pt x="11606" y="4148"/>
                    <a:pt x="11641" y="4184"/>
                    <a:pt x="11698" y="4090"/>
                  </a:cubicBezTo>
                  <a:cubicBezTo>
                    <a:pt x="11767" y="3974"/>
                    <a:pt x="11809" y="3803"/>
                    <a:pt x="11819" y="3645"/>
                  </a:cubicBezTo>
                  <a:cubicBezTo>
                    <a:pt x="11827" y="3528"/>
                    <a:pt x="11808" y="3317"/>
                    <a:pt x="11711" y="3428"/>
                  </a:cubicBezTo>
                  <a:cubicBezTo>
                    <a:pt x="11661" y="3484"/>
                    <a:pt x="11625" y="3664"/>
                    <a:pt x="11584" y="3742"/>
                  </a:cubicBezTo>
                  <a:cubicBezTo>
                    <a:pt x="11499" y="3903"/>
                    <a:pt x="11306" y="4284"/>
                    <a:pt x="11353" y="4474"/>
                  </a:cubicBezTo>
                  <a:cubicBezTo>
                    <a:pt x="11364" y="4518"/>
                    <a:pt x="11401" y="4559"/>
                    <a:pt x="11406" y="4582"/>
                  </a:cubicBezTo>
                  <a:cubicBezTo>
                    <a:pt x="11408" y="4594"/>
                    <a:pt x="11395" y="4705"/>
                    <a:pt x="11401" y="4752"/>
                  </a:cubicBezTo>
                  <a:cubicBezTo>
                    <a:pt x="11414" y="4868"/>
                    <a:pt x="11425" y="4983"/>
                    <a:pt x="11447" y="5095"/>
                  </a:cubicBezTo>
                  <a:cubicBezTo>
                    <a:pt x="11505" y="5384"/>
                    <a:pt x="11498" y="5604"/>
                    <a:pt x="11484" y="5900"/>
                  </a:cubicBezTo>
                  <a:cubicBezTo>
                    <a:pt x="11459" y="5787"/>
                    <a:pt x="11463" y="5661"/>
                    <a:pt x="11458" y="5558"/>
                  </a:cubicBezTo>
                  <a:cubicBezTo>
                    <a:pt x="11453" y="5457"/>
                    <a:pt x="11462" y="5348"/>
                    <a:pt x="11439" y="5252"/>
                  </a:cubicBezTo>
                  <a:cubicBezTo>
                    <a:pt x="11423" y="5182"/>
                    <a:pt x="11391" y="5161"/>
                    <a:pt x="11381" y="5066"/>
                  </a:cubicBezTo>
                  <a:cubicBezTo>
                    <a:pt x="11372" y="4965"/>
                    <a:pt x="11361" y="4804"/>
                    <a:pt x="11326" y="4714"/>
                  </a:cubicBezTo>
                  <a:cubicBezTo>
                    <a:pt x="11294" y="4630"/>
                    <a:pt x="11206" y="4558"/>
                    <a:pt x="11152" y="4683"/>
                  </a:cubicBezTo>
                  <a:cubicBezTo>
                    <a:pt x="11152" y="4679"/>
                    <a:pt x="11144" y="4589"/>
                    <a:pt x="11125" y="4622"/>
                  </a:cubicBezTo>
                  <a:cubicBezTo>
                    <a:pt x="11094" y="4675"/>
                    <a:pt x="11122" y="4656"/>
                    <a:pt x="11112" y="4713"/>
                  </a:cubicBezTo>
                  <a:cubicBezTo>
                    <a:pt x="11105" y="4751"/>
                    <a:pt x="11083" y="4918"/>
                    <a:pt x="11097" y="4953"/>
                  </a:cubicBezTo>
                  <a:cubicBezTo>
                    <a:pt x="11144" y="5071"/>
                    <a:pt x="11189" y="5293"/>
                    <a:pt x="11122" y="5406"/>
                  </a:cubicBezTo>
                  <a:cubicBezTo>
                    <a:pt x="11138" y="5340"/>
                    <a:pt x="11140" y="5195"/>
                    <a:pt x="11100" y="5133"/>
                  </a:cubicBezTo>
                  <a:cubicBezTo>
                    <a:pt x="11043" y="5045"/>
                    <a:pt x="11023" y="5109"/>
                    <a:pt x="10959" y="5166"/>
                  </a:cubicBezTo>
                  <a:cubicBezTo>
                    <a:pt x="10978" y="5068"/>
                    <a:pt x="11058" y="5083"/>
                    <a:pt x="11046" y="4972"/>
                  </a:cubicBezTo>
                  <a:cubicBezTo>
                    <a:pt x="11038" y="4894"/>
                    <a:pt x="11080" y="4793"/>
                    <a:pt x="11062" y="4722"/>
                  </a:cubicBezTo>
                  <a:cubicBezTo>
                    <a:pt x="10996" y="4474"/>
                    <a:pt x="11139" y="4644"/>
                    <a:pt x="11237" y="4539"/>
                  </a:cubicBezTo>
                  <a:cubicBezTo>
                    <a:pt x="11301" y="4469"/>
                    <a:pt x="11233" y="4383"/>
                    <a:pt x="11265" y="4287"/>
                  </a:cubicBezTo>
                  <a:cubicBezTo>
                    <a:pt x="11281" y="4242"/>
                    <a:pt x="11311" y="4205"/>
                    <a:pt x="11329" y="4161"/>
                  </a:cubicBezTo>
                  <a:cubicBezTo>
                    <a:pt x="11388" y="4009"/>
                    <a:pt x="11326" y="3898"/>
                    <a:pt x="11339" y="3744"/>
                  </a:cubicBezTo>
                  <a:cubicBezTo>
                    <a:pt x="11350" y="3597"/>
                    <a:pt x="11366" y="3565"/>
                    <a:pt x="11305" y="3435"/>
                  </a:cubicBezTo>
                  <a:cubicBezTo>
                    <a:pt x="11261" y="3343"/>
                    <a:pt x="11213" y="3239"/>
                    <a:pt x="11133" y="3207"/>
                  </a:cubicBezTo>
                  <a:cubicBezTo>
                    <a:pt x="11016" y="3160"/>
                    <a:pt x="11035" y="3248"/>
                    <a:pt x="10994" y="3378"/>
                  </a:cubicBezTo>
                  <a:cubicBezTo>
                    <a:pt x="10963" y="3474"/>
                    <a:pt x="10933" y="3497"/>
                    <a:pt x="10947" y="3616"/>
                  </a:cubicBezTo>
                  <a:cubicBezTo>
                    <a:pt x="10956" y="3686"/>
                    <a:pt x="10959" y="3763"/>
                    <a:pt x="10981" y="3827"/>
                  </a:cubicBezTo>
                  <a:cubicBezTo>
                    <a:pt x="10985" y="3838"/>
                    <a:pt x="11035" y="3875"/>
                    <a:pt x="11035" y="3874"/>
                  </a:cubicBezTo>
                  <a:cubicBezTo>
                    <a:pt x="11028" y="3956"/>
                    <a:pt x="11011" y="3864"/>
                    <a:pt x="10954" y="3891"/>
                  </a:cubicBezTo>
                  <a:cubicBezTo>
                    <a:pt x="10938" y="3899"/>
                    <a:pt x="10860" y="3977"/>
                    <a:pt x="10845" y="3995"/>
                  </a:cubicBezTo>
                  <a:cubicBezTo>
                    <a:pt x="10773" y="4082"/>
                    <a:pt x="10747" y="4218"/>
                    <a:pt x="10686" y="4315"/>
                  </a:cubicBezTo>
                  <a:cubicBezTo>
                    <a:pt x="10655" y="4365"/>
                    <a:pt x="10599" y="4389"/>
                    <a:pt x="10578" y="4451"/>
                  </a:cubicBezTo>
                  <a:cubicBezTo>
                    <a:pt x="10548" y="4539"/>
                    <a:pt x="10585" y="4661"/>
                    <a:pt x="10563" y="4754"/>
                  </a:cubicBezTo>
                  <a:cubicBezTo>
                    <a:pt x="10539" y="4852"/>
                    <a:pt x="10492" y="4949"/>
                    <a:pt x="10441" y="4910"/>
                  </a:cubicBezTo>
                  <a:cubicBezTo>
                    <a:pt x="10475" y="4824"/>
                    <a:pt x="10542" y="4778"/>
                    <a:pt x="10537" y="4660"/>
                  </a:cubicBezTo>
                  <a:cubicBezTo>
                    <a:pt x="10535" y="4610"/>
                    <a:pt x="10508" y="4556"/>
                    <a:pt x="10517" y="4508"/>
                  </a:cubicBezTo>
                  <a:cubicBezTo>
                    <a:pt x="10526" y="4467"/>
                    <a:pt x="10540" y="4400"/>
                    <a:pt x="10534" y="4357"/>
                  </a:cubicBezTo>
                  <a:cubicBezTo>
                    <a:pt x="10495" y="4100"/>
                    <a:pt x="10321" y="4474"/>
                    <a:pt x="10224" y="4539"/>
                  </a:cubicBezTo>
                  <a:cubicBezTo>
                    <a:pt x="10273" y="4468"/>
                    <a:pt x="10371" y="4373"/>
                    <a:pt x="10395" y="4277"/>
                  </a:cubicBezTo>
                  <a:cubicBezTo>
                    <a:pt x="10414" y="4204"/>
                    <a:pt x="10385" y="4138"/>
                    <a:pt x="10395" y="4058"/>
                  </a:cubicBezTo>
                  <a:cubicBezTo>
                    <a:pt x="10402" y="3997"/>
                    <a:pt x="10440" y="4016"/>
                    <a:pt x="10435" y="3940"/>
                  </a:cubicBezTo>
                  <a:cubicBezTo>
                    <a:pt x="10428" y="3819"/>
                    <a:pt x="10394" y="3769"/>
                    <a:pt x="10443" y="3659"/>
                  </a:cubicBezTo>
                  <a:cubicBezTo>
                    <a:pt x="10510" y="3509"/>
                    <a:pt x="10560" y="3601"/>
                    <a:pt x="10663" y="3570"/>
                  </a:cubicBezTo>
                  <a:cubicBezTo>
                    <a:pt x="10782" y="3534"/>
                    <a:pt x="10739" y="3450"/>
                    <a:pt x="10740" y="3306"/>
                  </a:cubicBezTo>
                  <a:cubicBezTo>
                    <a:pt x="10740" y="3214"/>
                    <a:pt x="10792" y="3056"/>
                    <a:pt x="10772" y="2973"/>
                  </a:cubicBezTo>
                  <a:cubicBezTo>
                    <a:pt x="10737" y="2829"/>
                    <a:pt x="10490" y="2662"/>
                    <a:pt x="10414" y="2603"/>
                  </a:cubicBezTo>
                  <a:cubicBezTo>
                    <a:pt x="10281" y="2501"/>
                    <a:pt x="10081" y="2564"/>
                    <a:pt x="9931" y="2561"/>
                  </a:cubicBezTo>
                  <a:cubicBezTo>
                    <a:pt x="9856" y="2559"/>
                    <a:pt x="9706" y="2472"/>
                    <a:pt x="9732" y="2620"/>
                  </a:cubicBezTo>
                  <a:cubicBezTo>
                    <a:pt x="9751" y="2724"/>
                    <a:pt x="9761" y="2800"/>
                    <a:pt x="9742" y="2899"/>
                  </a:cubicBezTo>
                  <a:cubicBezTo>
                    <a:pt x="9733" y="2942"/>
                    <a:pt x="9676" y="2950"/>
                    <a:pt x="9699" y="2994"/>
                  </a:cubicBezTo>
                  <a:cubicBezTo>
                    <a:pt x="9720" y="3033"/>
                    <a:pt x="9799" y="3082"/>
                    <a:pt x="9777" y="3146"/>
                  </a:cubicBezTo>
                  <a:cubicBezTo>
                    <a:pt x="9757" y="3200"/>
                    <a:pt x="9690" y="3198"/>
                    <a:pt x="9683" y="3259"/>
                  </a:cubicBezTo>
                  <a:cubicBezTo>
                    <a:pt x="9672" y="3349"/>
                    <a:pt x="9789" y="3499"/>
                    <a:pt x="9779" y="3630"/>
                  </a:cubicBezTo>
                  <a:cubicBezTo>
                    <a:pt x="9774" y="3694"/>
                    <a:pt x="9731" y="3712"/>
                    <a:pt x="9725" y="3788"/>
                  </a:cubicBezTo>
                  <a:cubicBezTo>
                    <a:pt x="9721" y="3837"/>
                    <a:pt x="9755" y="3945"/>
                    <a:pt x="9754" y="4009"/>
                  </a:cubicBezTo>
                  <a:cubicBezTo>
                    <a:pt x="9752" y="4130"/>
                    <a:pt x="9708" y="4228"/>
                    <a:pt x="9768" y="4328"/>
                  </a:cubicBezTo>
                  <a:cubicBezTo>
                    <a:pt x="9666" y="4283"/>
                    <a:pt x="9726" y="4209"/>
                    <a:pt x="9737" y="4114"/>
                  </a:cubicBezTo>
                  <a:cubicBezTo>
                    <a:pt x="9753" y="3981"/>
                    <a:pt x="9664" y="3879"/>
                    <a:pt x="9666" y="3774"/>
                  </a:cubicBezTo>
                  <a:cubicBezTo>
                    <a:pt x="9669" y="3617"/>
                    <a:pt x="9795" y="3656"/>
                    <a:pt x="9682" y="3566"/>
                  </a:cubicBezTo>
                  <a:cubicBezTo>
                    <a:pt x="9631" y="3525"/>
                    <a:pt x="9537" y="3488"/>
                    <a:pt x="9494" y="3563"/>
                  </a:cubicBezTo>
                  <a:cubicBezTo>
                    <a:pt x="9462" y="3619"/>
                    <a:pt x="9467" y="3874"/>
                    <a:pt x="9477" y="3953"/>
                  </a:cubicBezTo>
                  <a:cubicBezTo>
                    <a:pt x="9495" y="4105"/>
                    <a:pt x="9569" y="4164"/>
                    <a:pt x="9488" y="4292"/>
                  </a:cubicBezTo>
                  <a:cubicBezTo>
                    <a:pt x="9401" y="4429"/>
                    <a:pt x="9492" y="4237"/>
                    <a:pt x="9492" y="4163"/>
                  </a:cubicBezTo>
                  <a:cubicBezTo>
                    <a:pt x="9494" y="4015"/>
                    <a:pt x="9413" y="3875"/>
                    <a:pt x="9424" y="3716"/>
                  </a:cubicBezTo>
                  <a:cubicBezTo>
                    <a:pt x="9427" y="3673"/>
                    <a:pt x="9436" y="3579"/>
                    <a:pt x="9443" y="3543"/>
                  </a:cubicBezTo>
                  <a:cubicBezTo>
                    <a:pt x="9449" y="3511"/>
                    <a:pt x="9484" y="3452"/>
                    <a:pt x="9479" y="3422"/>
                  </a:cubicBezTo>
                  <a:cubicBezTo>
                    <a:pt x="9433" y="3150"/>
                    <a:pt x="9395" y="3529"/>
                    <a:pt x="9382" y="3562"/>
                  </a:cubicBezTo>
                  <a:cubicBezTo>
                    <a:pt x="9376" y="3475"/>
                    <a:pt x="9330" y="3451"/>
                    <a:pt x="9304" y="3378"/>
                  </a:cubicBezTo>
                  <a:cubicBezTo>
                    <a:pt x="9282" y="3315"/>
                    <a:pt x="9290" y="3209"/>
                    <a:pt x="9269" y="3150"/>
                  </a:cubicBezTo>
                  <a:cubicBezTo>
                    <a:pt x="9210" y="2984"/>
                    <a:pt x="9126" y="3066"/>
                    <a:pt x="9127" y="3248"/>
                  </a:cubicBezTo>
                  <a:cubicBezTo>
                    <a:pt x="9129" y="3513"/>
                    <a:pt x="9268" y="3868"/>
                    <a:pt x="9157" y="4120"/>
                  </a:cubicBezTo>
                  <a:cubicBezTo>
                    <a:pt x="9158" y="4057"/>
                    <a:pt x="9184" y="3967"/>
                    <a:pt x="9174" y="3905"/>
                  </a:cubicBezTo>
                  <a:cubicBezTo>
                    <a:pt x="9165" y="3852"/>
                    <a:pt x="9121" y="3872"/>
                    <a:pt x="9118" y="3843"/>
                  </a:cubicBezTo>
                  <a:cubicBezTo>
                    <a:pt x="9113" y="3803"/>
                    <a:pt x="9149" y="3784"/>
                    <a:pt x="9146" y="3744"/>
                  </a:cubicBezTo>
                  <a:cubicBezTo>
                    <a:pt x="9144" y="3716"/>
                    <a:pt x="9101" y="3525"/>
                    <a:pt x="9081" y="3518"/>
                  </a:cubicBezTo>
                  <a:cubicBezTo>
                    <a:pt x="9048" y="3506"/>
                    <a:pt x="8993" y="3638"/>
                    <a:pt x="8969" y="3657"/>
                  </a:cubicBezTo>
                  <a:cubicBezTo>
                    <a:pt x="8988" y="3585"/>
                    <a:pt x="9066" y="3507"/>
                    <a:pt x="9081" y="3457"/>
                  </a:cubicBezTo>
                  <a:cubicBezTo>
                    <a:pt x="9099" y="3398"/>
                    <a:pt x="9044" y="3271"/>
                    <a:pt x="9068" y="3163"/>
                  </a:cubicBezTo>
                  <a:cubicBezTo>
                    <a:pt x="9089" y="3067"/>
                    <a:pt x="9054" y="2964"/>
                    <a:pt x="9082" y="2868"/>
                  </a:cubicBezTo>
                  <a:cubicBezTo>
                    <a:pt x="9109" y="2775"/>
                    <a:pt x="9148" y="2696"/>
                    <a:pt x="9091" y="2606"/>
                  </a:cubicBezTo>
                  <a:cubicBezTo>
                    <a:pt x="9088" y="2628"/>
                    <a:pt x="9074" y="2659"/>
                    <a:pt x="9071" y="2685"/>
                  </a:cubicBezTo>
                  <a:cubicBezTo>
                    <a:pt x="9016" y="2517"/>
                    <a:pt x="8891" y="2780"/>
                    <a:pt x="8900" y="2894"/>
                  </a:cubicBezTo>
                  <a:cubicBezTo>
                    <a:pt x="8913" y="3090"/>
                    <a:pt x="8877" y="3154"/>
                    <a:pt x="8964" y="3316"/>
                  </a:cubicBezTo>
                  <a:cubicBezTo>
                    <a:pt x="8909" y="3300"/>
                    <a:pt x="8865" y="3228"/>
                    <a:pt x="8862" y="3149"/>
                  </a:cubicBezTo>
                  <a:cubicBezTo>
                    <a:pt x="8859" y="3073"/>
                    <a:pt x="8926" y="2823"/>
                    <a:pt x="8818" y="2856"/>
                  </a:cubicBezTo>
                  <a:cubicBezTo>
                    <a:pt x="8770" y="2871"/>
                    <a:pt x="8691" y="3159"/>
                    <a:pt x="8694" y="3217"/>
                  </a:cubicBezTo>
                  <a:cubicBezTo>
                    <a:pt x="8702" y="3371"/>
                    <a:pt x="8629" y="3505"/>
                    <a:pt x="8702" y="3639"/>
                  </a:cubicBezTo>
                  <a:cubicBezTo>
                    <a:pt x="8771" y="3766"/>
                    <a:pt x="8821" y="3746"/>
                    <a:pt x="8804" y="3938"/>
                  </a:cubicBezTo>
                  <a:cubicBezTo>
                    <a:pt x="8793" y="4054"/>
                    <a:pt x="8781" y="4172"/>
                    <a:pt x="8754" y="4282"/>
                  </a:cubicBezTo>
                  <a:cubicBezTo>
                    <a:pt x="8712" y="4451"/>
                    <a:pt x="8696" y="4405"/>
                    <a:pt x="8718" y="4249"/>
                  </a:cubicBezTo>
                  <a:cubicBezTo>
                    <a:pt x="8739" y="4101"/>
                    <a:pt x="8851" y="3626"/>
                    <a:pt x="8618" y="3732"/>
                  </a:cubicBezTo>
                  <a:cubicBezTo>
                    <a:pt x="8659" y="3644"/>
                    <a:pt x="8638" y="3536"/>
                    <a:pt x="8556" y="3588"/>
                  </a:cubicBezTo>
                  <a:cubicBezTo>
                    <a:pt x="8502" y="3623"/>
                    <a:pt x="8494" y="3705"/>
                    <a:pt x="8483" y="3773"/>
                  </a:cubicBezTo>
                  <a:cubicBezTo>
                    <a:pt x="8454" y="3594"/>
                    <a:pt x="8557" y="3579"/>
                    <a:pt x="8610" y="3464"/>
                  </a:cubicBezTo>
                  <a:cubicBezTo>
                    <a:pt x="8637" y="3404"/>
                    <a:pt x="8674" y="3148"/>
                    <a:pt x="8589" y="3119"/>
                  </a:cubicBezTo>
                  <a:cubicBezTo>
                    <a:pt x="8536" y="3102"/>
                    <a:pt x="8485" y="3361"/>
                    <a:pt x="8460" y="3421"/>
                  </a:cubicBezTo>
                  <a:cubicBezTo>
                    <a:pt x="8418" y="3522"/>
                    <a:pt x="8338" y="3635"/>
                    <a:pt x="8315" y="3742"/>
                  </a:cubicBezTo>
                  <a:cubicBezTo>
                    <a:pt x="8302" y="3610"/>
                    <a:pt x="8422" y="3470"/>
                    <a:pt x="8445" y="3351"/>
                  </a:cubicBezTo>
                  <a:cubicBezTo>
                    <a:pt x="8499" y="3078"/>
                    <a:pt x="8284" y="3291"/>
                    <a:pt x="8215" y="3359"/>
                  </a:cubicBezTo>
                  <a:cubicBezTo>
                    <a:pt x="8218" y="3265"/>
                    <a:pt x="8327" y="3203"/>
                    <a:pt x="8380" y="3164"/>
                  </a:cubicBezTo>
                  <a:cubicBezTo>
                    <a:pt x="8444" y="3118"/>
                    <a:pt x="8497" y="3106"/>
                    <a:pt x="8541" y="2997"/>
                  </a:cubicBezTo>
                  <a:cubicBezTo>
                    <a:pt x="8580" y="2904"/>
                    <a:pt x="8550" y="2807"/>
                    <a:pt x="8582" y="2771"/>
                  </a:cubicBezTo>
                  <a:cubicBezTo>
                    <a:pt x="8589" y="2764"/>
                    <a:pt x="8657" y="2769"/>
                    <a:pt x="8689" y="2724"/>
                  </a:cubicBezTo>
                  <a:cubicBezTo>
                    <a:pt x="8719" y="2681"/>
                    <a:pt x="8724" y="2679"/>
                    <a:pt x="8727" y="2617"/>
                  </a:cubicBezTo>
                  <a:cubicBezTo>
                    <a:pt x="8731" y="2539"/>
                    <a:pt x="8690" y="2518"/>
                    <a:pt x="8678" y="2454"/>
                  </a:cubicBezTo>
                  <a:cubicBezTo>
                    <a:pt x="8666" y="2386"/>
                    <a:pt x="8694" y="2353"/>
                    <a:pt x="8668" y="2276"/>
                  </a:cubicBezTo>
                  <a:cubicBezTo>
                    <a:pt x="8634" y="2175"/>
                    <a:pt x="8560" y="2108"/>
                    <a:pt x="8489" y="2107"/>
                  </a:cubicBezTo>
                  <a:cubicBezTo>
                    <a:pt x="8403" y="2105"/>
                    <a:pt x="8315" y="2193"/>
                    <a:pt x="8228" y="2202"/>
                  </a:cubicBezTo>
                  <a:cubicBezTo>
                    <a:pt x="8116" y="2212"/>
                    <a:pt x="8092" y="2165"/>
                    <a:pt x="8078" y="2346"/>
                  </a:cubicBezTo>
                  <a:cubicBezTo>
                    <a:pt x="8067" y="2476"/>
                    <a:pt x="8081" y="2508"/>
                    <a:pt x="8008" y="2602"/>
                  </a:cubicBezTo>
                  <a:cubicBezTo>
                    <a:pt x="7987" y="2629"/>
                    <a:pt x="7954" y="2610"/>
                    <a:pt x="7936" y="2650"/>
                  </a:cubicBezTo>
                  <a:cubicBezTo>
                    <a:pt x="7908" y="2712"/>
                    <a:pt x="7944" y="2820"/>
                    <a:pt x="7951" y="2882"/>
                  </a:cubicBezTo>
                  <a:cubicBezTo>
                    <a:pt x="7965" y="3011"/>
                    <a:pt x="7974" y="3140"/>
                    <a:pt x="7963" y="3270"/>
                  </a:cubicBezTo>
                  <a:cubicBezTo>
                    <a:pt x="7948" y="3441"/>
                    <a:pt x="7916" y="3417"/>
                    <a:pt x="7829" y="3513"/>
                  </a:cubicBezTo>
                  <a:cubicBezTo>
                    <a:pt x="7850" y="3453"/>
                    <a:pt x="7900" y="3451"/>
                    <a:pt x="7927" y="3391"/>
                  </a:cubicBezTo>
                  <a:cubicBezTo>
                    <a:pt x="7956" y="3325"/>
                    <a:pt x="7934" y="3263"/>
                    <a:pt x="7936" y="3194"/>
                  </a:cubicBezTo>
                  <a:cubicBezTo>
                    <a:pt x="7939" y="3034"/>
                    <a:pt x="7930" y="2902"/>
                    <a:pt x="7897" y="2746"/>
                  </a:cubicBezTo>
                  <a:cubicBezTo>
                    <a:pt x="7861" y="2577"/>
                    <a:pt x="8090" y="2519"/>
                    <a:pt x="8032" y="2389"/>
                  </a:cubicBezTo>
                  <a:cubicBezTo>
                    <a:pt x="7994" y="2303"/>
                    <a:pt x="7800" y="2379"/>
                    <a:pt x="7754" y="2429"/>
                  </a:cubicBezTo>
                  <a:cubicBezTo>
                    <a:pt x="7669" y="2523"/>
                    <a:pt x="7651" y="2627"/>
                    <a:pt x="7641" y="2762"/>
                  </a:cubicBezTo>
                  <a:cubicBezTo>
                    <a:pt x="7631" y="2881"/>
                    <a:pt x="7603" y="2983"/>
                    <a:pt x="7589" y="3103"/>
                  </a:cubicBezTo>
                  <a:cubicBezTo>
                    <a:pt x="7563" y="3314"/>
                    <a:pt x="7542" y="3194"/>
                    <a:pt x="7562" y="3051"/>
                  </a:cubicBezTo>
                  <a:cubicBezTo>
                    <a:pt x="7575" y="2950"/>
                    <a:pt x="7603" y="2868"/>
                    <a:pt x="7606" y="2763"/>
                  </a:cubicBezTo>
                  <a:cubicBezTo>
                    <a:pt x="7614" y="2493"/>
                    <a:pt x="7718" y="2352"/>
                    <a:pt x="7909" y="2288"/>
                  </a:cubicBezTo>
                  <a:cubicBezTo>
                    <a:pt x="7982" y="2264"/>
                    <a:pt x="7960" y="2304"/>
                    <a:pt x="8004" y="2226"/>
                  </a:cubicBezTo>
                  <a:cubicBezTo>
                    <a:pt x="8020" y="2196"/>
                    <a:pt x="8043" y="2102"/>
                    <a:pt x="8049" y="2064"/>
                  </a:cubicBezTo>
                  <a:cubicBezTo>
                    <a:pt x="8069" y="1945"/>
                    <a:pt x="8046" y="1873"/>
                    <a:pt x="7994" y="1788"/>
                  </a:cubicBezTo>
                  <a:cubicBezTo>
                    <a:pt x="7929" y="1682"/>
                    <a:pt x="7857" y="1568"/>
                    <a:pt x="7787" y="1468"/>
                  </a:cubicBezTo>
                  <a:cubicBezTo>
                    <a:pt x="7742" y="1404"/>
                    <a:pt x="7774" y="1410"/>
                    <a:pt x="7700" y="1385"/>
                  </a:cubicBezTo>
                  <a:cubicBezTo>
                    <a:pt x="7664" y="1373"/>
                    <a:pt x="7609" y="1387"/>
                    <a:pt x="7571" y="1382"/>
                  </a:cubicBezTo>
                  <a:cubicBezTo>
                    <a:pt x="7502" y="1374"/>
                    <a:pt x="7390" y="1306"/>
                    <a:pt x="7320" y="1393"/>
                  </a:cubicBezTo>
                  <a:cubicBezTo>
                    <a:pt x="7238" y="1495"/>
                    <a:pt x="7368" y="1605"/>
                    <a:pt x="7328" y="1669"/>
                  </a:cubicBezTo>
                  <a:cubicBezTo>
                    <a:pt x="7295" y="1721"/>
                    <a:pt x="7253" y="1575"/>
                    <a:pt x="7236" y="1541"/>
                  </a:cubicBezTo>
                  <a:cubicBezTo>
                    <a:pt x="7199" y="1468"/>
                    <a:pt x="7225" y="1457"/>
                    <a:pt x="7154" y="1431"/>
                  </a:cubicBezTo>
                  <a:cubicBezTo>
                    <a:pt x="7075" y="1404"/>
                    <a:pt x="6977" y="1489"/>
                    <a:pt x="6906" y="1431"/>
                  </a:cubicBezTo>
                  <a:cubicBezTo>
                    <a:pt x="6891" y="1419"/>
                    <a:pt x="6875" y="1330"/>
                    <a:pt x="6839" y="1302"/>
                  </a:cubicBezTo>
                  <a:cubicBezTo>
                    <a:pt x="6801" y="1272"/>
                    <a:pt x="6761" y="1274"/>
                    <a:pt x="6717" y="1278"/>
                  </a:cubicBezTo>
                  <a:cubicBezTo>
                    <a:pt x="6630" y="1283"/>
                    <a:pt x="6555" y="1334"/>
                    <a:pt x="6473" y="1371"/>
                  </a:cubicBezTo>
                  <a:cubicBezTo>
                    <a:pt x="6329" y="1436"/>
                    <a:pt x="6194" y="1686"/>
                    <a:pt x="6113" y="1868"/>
                  </a:cubicBezTo>
                  <a:cubicBezTo>
                    <a:pt x="6014" y="2088"/>
                    <a:pt x="5976" y="2408"/>
                    <a:pt x="6189" y="2525"/>
                  </a:cubicBezTo>
                  <a:cubicBezTo>
                    <a:pt x="6334" y="2605"/>
                    <a:pt x="6493" y="2590"/>
                    <a:pt x="6639" y="2667"/>
                  </a:cubicBezTo>
                  <a:cubicBezTo>
                    <a:pt x="6795" y="2750"/>
                    <a:pt x="6905" y="2628"/>
                    <a:pt x="7065" y="2738"/>
                  </a:cubicBezTo>
                  <a:cubicBezTo>
                    <a:pt x="6980" y="2751"/>
                    <a:pt x="6910" y="2689"/>
                    <a:pt x="6821" y="2725"/>
                  </a:cubicBezTo>
                  <a:cubicBezTo>
                    <a:pt x="6661" y="2789"/>
                    <a:pt x="6790" y="2842"/>
                    <a:pt x="6746" y="2994"/>
                  </a:cubicBezTo>
                  <a:cubicBezTo>
                    <a:pt x="6748" y="2862"/>
                    <a:pt x="6508" y="2515"/>
                    <a:pt x="6469" y="2732"/>
                  </a:cubicBezTo>
                  <a:cubicBezTo>
                    <a:pt x="6457" y="2683"/>
                    <a:pt x="6241" y="2594"/>
                    <a:pt x="6199" y="2647"/>
                  </a:cubicBezTo>
                  <a:cubicBezTo>
                    <a:pt x="6131" y="2733"/>
                    <a:pt x="6296" y="2926"/>
                    <a:pt x="6301" y="3011"/>
                  </a:cubicBezTo>
                  <a:cubicBezTo>
                    <a:pt x="6215" y="2925"/>
                    <a:pt x="6203" y="2847"/>
                    <a:pt x="6154" y="2722"/>
                  </a:cubicBezTo>
                  <a:cubicBezTo>
                    <a:pt x="6135" y="2674"/>
                    <a:pt x="6129" y="2616"/>
                    <a:pt x="6080" y="2618"/>
                  </a:cubicBezTo>
                  <a:cubicBezTo>
                    <a:pt x="6102" y="2617"/>
                    <a:pt x="6006" y="2746"/>
                    <a:pt x="6012" y="2714"/>
                  </a:cubicBezTo>
                  <a:cubicBezTo>
                    <a:pt x="6002" y="2769"/>
                    <a:pt x="6042" y="2760"/>
                    <a:pt x="6048" y="2826"/>
                  </a:cubicBezTo>
                  <a:cubicBezTo>
                    <a:pt x="6052" y="2872"/>
                    <a:pt x="6017" y="2956"/>
                    <a:pt x="6025" y="2986"/>
                  </a:cubicBezTo>
                  <a:cubicBezTo>
                    <a:pt x="6052" y="3083"/>
                    <a:pt x="6194" y="3105"/>
                    <a:pt x="6256" y="3131"/>
                  </a:cubicBezTo>
                  <a:cubicBezTo>
                    <a:pt x="6348" y="3170"/>
                    <a:pt x="6375" y="3208"/>
                    <a:pt x="6419" y="3331"/>
                  </a:cubicBezTo>
                  <a:cubicBezTo>
                    <a:pt x="6486" y="3515"/>
                    <a:pt x="6548" y="3325"/>
                    <a:pt x="6601" y="3452"/>
                  </a:cubicBezTo>
                  <a:cubicBezTo>
                    <a:pt x="6620" y="3499"/>
                    <a:pt x="6736" y="3631"/>
                    <a:pt x="6771" y="3655"/>
                  </a:cubicBezTo>
                  <a:cubicBezTo>
                    <a:pt x="6883" y="3731"/>
                    <a:pt x="6871" y="3652"/>
                    <a:pt x="6903" y="3837"/>
                  </a:cubicBezTo>
                  <a:cubicBezTo>
                    <a:pt x="6866" y="3743"/>
                    <a:pt x="6767" y="3691"/>
                    <a:pt x="6711" y="3625"/>
                  </a:cubicBezTo>
                  <a:cubicBezTo>
                    <a:pt x="6672" y="3579"/>
                    <a:pt x="6570" y="3432"/>
                    <a:pt x="6535" y="3449"/>
                  </a:cubicBezTo>
                  <a:cubicBezTo>
                    <a:pt x="6357" y="3535"/>
                    <a:pt x="6757" y="3802"/>
                    <a:pt x="6806" y="3833"/>
                  </a:cubicBezTo>
                  <a:cubicBezTo>
                    <a:pt x="6529" y="3941"/>
                    <a:pt x="6466" y="3415"/>
                    <a:pt x="6321" y="3242"/>
                  </a:cubicBezTo>
                  <a:cubicBezTo>
                    <a:pt x="6277" y="3189"/>
                    <a:pt x="6211" y="3167"/>
                    <a:pt x="6152" y="3154"/>
                  </a:cubicBezTo>
                  <a:cubicBezTo>
                    <a:pt x="6066" y="3135"/>
                    <a:pt x="6076" y="3093"/>
                    <a:pt x="6069" y="3204"/>
                  </a:cubicBezTo>
                  <a:cubicBezTo>
                    <a:pt x="6065" y="3273"/>
                    <a:pt x="6105" y="3486"/>
                    <a:pt x="6144" y="3541"/>
                  </a:cubicBezTo>
                  <a:cubicBezTo>
                    <a:pt x="6182" y="3596"/>
                    <a:pt x="6248" y="3579"/>
                    <a:pt x="6292" y="3608"/>
                  </a:cubicBezTo>
                  <a:cubicBezTo>
                    <a:pt x="6352" y="3648"/>
                    <a:pt x="6492" y="3793"/>
                    <a:pt x="6348" y="3750"/>
                  </a:cubicBezTo>
                  <a:cubicBezTo>
                    <a:pt x="6277" y="3728"/>
                    <a:pt x="6205" y="3638"/>
                    <a:pt x="6119" y="3652"/>
                  </a:cubicBezTo>
                  <a:cubicBezTo>
                    <a:pt x="6026" y="3668"/>
                    <a:pt x="6008" y="3761"/>
                    <a:pt x="6002" y="3613"/>
                  </a:cubicBezTo>
                  <a:cubicBezTo>
                    <a:pt x="5997" y="3498"/>
                    <a:pt x="6013" y="3389"/>
                    <a:pt x="6005" y="3271"/>
                  </a:cubicBezTo>
                  <a:cubicBezTo>
                    <a:pt x="5988" y="3002"/>
                    <a:pt x="5956" y="2916"/>
                    <a:pt x="5807" y="2778"/>
                  </a:cubicBezTo>
                  <a:cubicBezTo>
                    <a:pt x="5695" y="2673"/>
                    <a:pt x="5674" y="2707"/>
                    <a:pt x="5657" y="2871"/>
                  </a:cubicBezTo>
                  <a:cubicBezTo>
                    <a:pt x="5649" y="2947"/>
                    <a:pt x="5644" y="2977"/>
                    <a:pt x="5662" y="3041"/>
                  </a:cubicBezTo>
                  <a:cubicBezTo>
                    <a:pt x="5679" y="3100"/>
                    <a:pt x="5719" y="3118"/>
                    <a:pt x="5717" y="3194"/>
                  </a:cubicBezTo>
                  <a:cubicBezTo>
                    <a:pt x="5707" y="3173"/>
                    <a:pt x="5674" y="3074"/>
                    <a:pt x="5655" y="3065"/>
                  </a:cubicBezTo>
                  <a:cubicBezTo>
                    <a:pt x="5587" y="3034"/>
                    <a:pt x="5618" y="3107"/>
                    <a:pt x="5581" y="3152"/>
                  </a:cubicBezTo>
                  <a:cubicBezTo>
                    <a:pt x="5574" y="3161"/>
                    <a:pt x="5550" y="3305"/>
                    <a:pt x="5541" y="3175"/>
                  </a:cubicBezTo>
                  <a:cubicBezTo>
                    <a:pt x="5537" y="3109"/>
                    <a:pt x="5577" y="3074"/>
                    <a:pt x="5579" y="3015"/>
                  </a:cubicBezTo>
                  <a:cubicBezTo>
                    <a:pt x="5583" y="2871"/>
                    <a:pt x="5520" y="2888"/>
                    <a:pt x="5473" y="2799"/>
                  </a:cubicBezTo>
                  <a:cubicBezTo>
                    <a:pt x="5439" y="2735"/>
                    <a:pt x="5460" y="2571"/>
                    <a:pt x="5400" y="2613"/>
                  </a:cubicBezTo>
                  <a:cubicBezTo>
                    <a:pt x="5360" y="2455"/>
                    <a:pt x="5365" y="2771"/>
                    <a:pt x="5355" y="2808"/>
                  </a:cubicBezTo>
                  <a:cubicBezTo>
                    <a:pt x="5337" y="2883"/>
                    <a:pt x="5260" y="2949"/>
                    <a:pt x="5281" y="3051"/>
                  </a:cubicBezTo>
                  <a:cubicBezTo>
                    <a:pt x="5329" y="3285"/>
                    <a:pt x="5551" y="3296"/>
                    <a:pt x="5646" y="3420"/>
                  </a:cubicBezTo>
                  <a:cubicBezTo>
                    <a:pt x="5643" y="3423"/>
                    <a:pt x="5640" y="3425"/>
                    <a:pt x="5637" y="3428"/>
                  </a:cubicBezTo>
                  <a:cubicBezTo>
                    <a:pt x="5587" y="3495"/>
                    <a:pt x="5442" y="3363"/>
                    <a:pt x="5406" y="3322"/>
                  </a:cubicBezTo>
                  <a:cubicBezTo>
                    <a:pt x="5355" y="3262"/>
                    <a:pt x="5238" y="3041"/>
                    <a:pt x="5247" y="3258"/>
                  </a:cubicBezTo>
                  <a:cubicBezTo>
                    <a:pt x="5252" y="3356"/>
                    <a:pt x="5296" y="3327"/>
                    <a:pt x="5279" y="3396"/>
                  </a:cubicBezTo>
                  <a:cubicBezTo>
                    <a:pt x="5261" y="3472"/>
                    <a:pt x="5208" y="3450"/>
                    <a:pt x="5206" y="3457"/>
                  </a:cubicBezTo>
                  <a:cubicBezTo>
                    <a:pt x="5172" y="3577"/>
                    <a:pt x="5338" y="3624"/>
                    <a:pt x="5319" y="3769"/>
                  </a:cubicBezTo>
                  <a:cubicBezTo>
                    <a:pt x="5304" y="3881"/>
                    <a:pt x="5210" y="3906"/>
                    <a:pt x="5180" y="3994"/>
                  </a:cubicBezTo>
                  <a:cubicBezTo>
                    <a:pt x="5157" y="4064"/>
                    <a:pt x="5179" y="4126"/>
                    <a:pt x="5160" y="4199"/>
                  </a:cubicBezTo>
                  <a:cubicBezTo>
                    <a:pt x="5154" y="4222"/>
                    <a:pt x="5084" y="4364"/>
                    <a:pt x="5088" y="4289"/>
                  </a:cubicBezTo>
                  <a:cubicBezTo>
                    <a:pt x="5094" y="4188"/>
                    <a:pt x="5167" y="4044"/>
                    <a:pt x="5108" y="3938"/>
                  </a:cubicBezTo>
                  <a:cubicBezTo>
                    <a:pt x="5042" y="3822"/>
                    <a:pt x="5037" y="3983"/>
                    <a:pt x="4943" y="3947"/>
                  </a:cubicBezTo>
                  <a:cubicBezTo>
                    <a:pt x="4976" y="3912"/>
                    <a:pt x="4984" y="3873"/>
                    <a:pt x="4956" y="3828"/>
                  </a:cubicBezTo>
                  <a:cubicBezTo>
                    <a:pt x="5009" y="3819"/>
                    <a:pt x="5051" y="3750"/>
                    <a:pt x="5095" y="3746"/>
                  </a:cubicBezTo>
                  <a:cubicBezTo>
                    <a:pt x="5111" y="3745"/>
                    <a:pt x="5199" y="3873"/>
                    <a:pt x="5204" y="3768"/>
                  </a:cubicBezTo>
                  <a:cubicBezTo>
                    <a:pt x="5208" y="3694"/>
                    <a:pt x="4972" y="3596"/>
                    <a:pt x="4926" y="3554"/>
                  </a:cubicBezTo>
                  <a:cubicBezTo>
                    <a:pt x="5021" y="3557"/>
                    <a:pt x="4959" y="3296"/>
                    <a:pt x="4997" y="3174"/>
                  </a:cubicBezTo>
                  <a:cubicBezTo>
                    <a:pt x="5032" y="3061"/>
                    <a:pt x="5050" y="3057"/>
                    <a:pt x="5044" y="2940"/>
                  </a:cubicBezTo>
                  <a:cubicBezTo>
                    <a:pt x="5042" y="2890"/>
                    <a:pt x="5036" y="2715"/>
                    <a:pt x="4981" y="2710"/>
                  </a:cubicBezTo>
                  <a:cubicBezTo>
                    <a:pt x="4909" y="2704"/>
                    <a:pt x="4832" y="3084"/>
                    <a:pt x="4819" y="3155"/>
                  </a:cubicBezTo>
                  <a:cubicBezTo>
                    <a:pt x="4797" y="3269"/>
                    <a:pt x="4778" y="3502"/>
                    <a:pt x="4686" y="3541"/>
                  </a:cubicBezTo>
                  <a:lnTo>
                    <a:pt x="4686" y="3536"/>
                  </a:lnTo>
                  <a:cubicBezTo>
                    <a:pt x="4677" y="3506"/>
                    <a:pt x="4744" y="3391"/>
                    <a:pt x="4752" y="3361"/>
                  </a:cubicBezTo>
                  <a:cubicBezTo>
                    <a:pt x="4759" y="3331"/>
                    <a:pt x="4764" y="3237"/>
                    <a:pt x="4770" y="3200"/>
                  </a:cubicBezTo>
                  <a:cubicBezTo>
                    <a:pt x="4786" y="3084"/>
                    <a:pt x="4796" y="2976"/>
                    <a:pt x="4826" y="2864"/>
                  </a:cubicBezTo>
                  <a:cubicBezTo>
                    <a:pt x="4844" y="2800"/>
                    <a:pt x="4950" y="2582"/>
                    <a:pt x="4945" y="2540"/>
                  </a:cubicBezTo>
                  <a:cubicBezTo>
                    <a:pt x="4929" y="2409"/>
                    <a:pt x="4929" y="2358"/>
                    <a:pt x="4963" y="2221"/>
                  </a:cubicBezTo>
                  <a:cubicBezTo>
                    <a:pt x="4988" y="2124"/>
                    <a:pt x="5016" y="2150"/>
                    <a:pt x="4983" y="2050"/>
                  </a:cubicBezTo>
                  <a:cubicBezTo>
                    <a:pt x="4957" y="1971"/>
                    <a:pt x="4931" y="1985"/>
                    <a:pt x="4886" y="1949"/>
                  </a:cubicBezTo>
                  <a:cubicBezTo>
                    <a:pt x="4811" y="1888"/>
                    <a:pt x="4744" y="1817"/>
                    <a:pt x="4698" y="1707"/>
                  </a:cubicBezTo>
                  <a:cubicBezTo>
                    <a:pt x="4620" y="1522"/>
                    <a:pt x="4723" y="1271"/>
                    <a:pt x="4556" y="1142"/>
                  </a:cubicBezTo>
                  <a:cubicBezTo>
                    <a:pt x="4380" y="1006"/>
                    <a:pt x="4252" y="1174"/>
                    <a:pt x="4194" y="839"/>
                  </a:cubicBezTo>
                  <a:cubicBezTo>
                    <a:pt x="4153" y="603"/>
                    <a:pt x="4096" y="387"/>
                    <a:pt x="3969" y="214"/>
                  </a:cubicBezTo>
                  <a:cubicBezTo>
                    <a:pt x="3913" y="137"/>
                    <a:pt x="3875" y="15"/>
                    <a:pt x="3793" y="1"/>
                  </a:cubicBezTo>
                  <a:cubicBezTo>
                    <a:pt x="3726" y="-10"/>
                    <a:pt x="3610" y="57"/>
                    <a:pt x="3545" y="84"/>
                  </a:cubicBezTo>
                  <a:cubicBezTo>
                    <a:pt x="3450" y="123"/>
                    <a:pt x="3368" y="167"/>
                    <a:pt x="3270" y="190"/>
                  </a:cubicBezTo>
                  <a:cubicBezTo>
                    <a:pt x="3146" y="220"/>
                    <a:pt x="3184" y="276"/>
                    <a:pt x="3115" y="398"/>
                  </a:cubicBezTo>
                  <a:cubicBezTo>
                    <a:pt x="3105" y="416"/>
                    <a:pt x="3116" y="454"/>
                    <a:pt x="3104" y="468"/>
                  </a:cubicBezTo>
                  <a:cubicBezTo>
                    <a:pt x="3097" y="476"/>
                    <a:pt x="3082" y="445"/>
                    <a:pt x="3079" y="448"/>
                  </a:cubicBezTo>
                  <a:cubicBezTo>
                    <a:pt x="3060" y="472"/>
                    <a:pt x="3012" y="503"/>
                    <a:pt x="2982" y="540"/>
                  </a:cubicBezTo>
                  <a:cubicBezTo>
                    <a:pt x="2907" y="635"/>
                    <a:pt x="2839" y="724"/>
                    <a:pt x="2775" y="832"/>
                  </a:cubicBezTo>
                  <a:cubicBezTo>
                    <a:pt x="2671" y="1007"/>
                    <a:pt x="2719" y="975"/>
                    <a:pt x="2835" y="1050"/>
                  </a:cubicBezTo>
                  <a:cubicBezTo>
                    <a:pt x="2926" y="1108"/>
                    <a:pt x="2931" y="1224"/>
                    <a:pt x="2972" y="1354"/>
                  </a:cubicBezTo>
                  <a:cubicBezTo>
                    <a:pt x="3033" y="1552"/>
                    <a:pt x="2862" y="1171"/>
                    <a:pt x="2857" y="1164"/>
                  </a:cubicBezTo>
                  <a:cubicBezTo>
                    <a:pt x="2823" y="1119"/>
                    <a:pt x="2666" y="1080"/>
                    <a:pt x="2617" y="1101"/>
                  </a:cubicBezTo>
                  <a:cubicBezTo>
                    <a:pt x="2560" y="1124"/>
                    <a:pt x="2417" y="1324"/>
                    <a:pt x="2434" y="1400"/>
                  </a:cubicBezTo>
                  <a:cubicBezTo>
                    <a:pt x="2469" y="1556"/>
                    <a:pt x="2578" y="1608"/>
                    <a:pt x="2637" y="1740"/>
                  </a:cubicBezTo>
                  <a:cubicBezTo>
                    <a:pt x="2467" y="1782"/>
                    <a:pt x="2408" y="1285"/>
                    <a:pt x="2266" y="1523"/>
                  </a:cubicBezTo>
                  <a:cubicBezTo>
                    <a:pt x="2213" y="1611"/>
                    <a:pt x="2196" y="1685"/>
                    <a:pt x="2210" y="1797"/>
                  </a:cubicBezTo>
                  <a:cubicBezTo>
                    <a:pt x="2227" y="1946"/>
                    <a:pt x="2258" y="1917"/>
                    <a:pt x="2354" y="1958"/>
                  </a:cubicBezTo>
                  <a:cubicBezTo>
                    <a:pt x="2498" y="2021"/>
                    <a:pt x="2635" y="2075"/>
                    <a:pt x="2784" y="2095"/>
                  </a:cubicBezTo>
                  <a:cubicBezTo>
                    <a:pt x="2927" y="2115"/>
                    <a:pt x="2988" y="2077"/>
                    <a:pt x="3115" y="2199"/>
                  </a:cubicBezTo>
                  <a:cubicBezTo>
                    <a:pt x="3047" y="2202"/>
                    <a:pt x="2989" y="2142"/>
                    <a:pt x="2911" y="2149"/>
                  </a:cubicBezTo>
                  <a:cubicBezTo>
                    <a:pt x="2830" y="2156"/>
                    <a:pt x="2754" y="2168"/>
                    <a:pt x="2669" y="2172"/>
                  </a:cubicBezTo>
                  <a:cubicBezTo>
                    <a:pt x="2583" y="2177"/>
                    <a:pt x="2485" y="2190"/>
                    <a:pt x="2402" y="2158"/>
                  </a:cubicBezTo>
                  <a:cubicBezTo>
                    <a:pt x="2364" y="2144"/>
                    <a:pt x="2154" y="2028"/>
                    <a:pt x="2254" y="2197"/>
                  </a:cubicBezTo>
                  <a:cubicBezTo>
                    <a:pt x="2351" y="2360"/>
                    <a:pt x="2226" y="2324"/>
                    <a:pt x="2171" y="2207"/>
                  </a:cubicBezTo>
                  <a:cubicBezTo>
                    <a:pt x="2099" y="2054"/>
                    <a:pt x="2096" y="2372"/>
                    <a:pt x="2114" y="2410"/>
                  </a:cubicBezTo>
                  <a:cubicBezTo>
                    <a:pt x="2148" y="2478"/>
                    <a:pt x="2264" y="2402"/>
                    <a:pt x="2303" y="2403"/>
                  </a:cubicBezTo>
                  <a:cubicBezTo>
                    <a:pt x="2302" y="2403"/>
                    <a:pt x="2305" y="2359"/>
                    <a:pt x="2327" y="2365"/>
                  </a:cubicBezTo>
                  <a:cubicBezTo>
                    <a:pt x="2343" y="2369"/>
                    <a:pt x="2349" y="2407"/>
                    <a:pt x="2362" y="2412"/>
                  </a:cubicBezTo>
                  <a:cubicBezTo>
                    <a:pt x="2362" y="2413"/>
                    <a:pt x="2407" y="2466"/>
                    <a:pt x="2419" y="2477"/>
                  </a:cubicBezTo>
                  <a:cubicBezTo>
                    <a:pt x="2499" y="2553"/>
                    <a:pt x="2583" y="2565"/>
                    <a:pt x="2672" y="2606"/>
                  </a:cubicBezTo>
                  <a:cubicBezTo>
                    <a:pt x="2748" y="2640"/>
                    <a:pt x="2804" y="2722"/>
                    <a:pt x="2878" y="2763"/>
                  </a:cubicBezTo>
                  <a:cubicBezTo>
                    <a:pt x="2896" y="2772"/>
                    <a:pt x="3115" y="2810"/>
                    <a:pt x="3040" y="2852"/>
                  </a:cubicBezTo>
                  <a:cubicBezTo>
                    <a:pt x="2992" y="2879"/>
                    <a:pt x="2850" y="2771"/>
                    <a:pt x="2802" y="2743"/>
                  </a:cubicBezTo>
                  <a:cubicBezTo>
                    <a:pt x="2712" y="2691"/>
                    <a:pt x="2633" y="2700"/>
                    <a:pt x="2540" y="2676"/>
                  </a:cubicBezTo>
                  <a:cubicBezTo>
                    <a:pt x="2466" y="2656"/>
                    <a:pt x="2396" y="2605"/>
                    <a:pt x="2323" y="2581"/>
                  </a:cubicBezTo>
                  <a:cubicBezTo>
                    <a:pt x="2060" y="2495"/>
                    <a:pt x="2101" y="2750"/>
                    <a:pt x="2132" y="3014"/>
                  </a:cubicBezTo>
                  <a:cubicBezTo>
                    <a:pt x="2147" y="3134"/>
                    <a:pt x="2153" y="3249"/>
                    <a:pt x="2184" y="3365"/>
                  </a:cubicBezTo>
                  <a:cubicBezTo>
                    <a:pt x="2205" y="3441"/>
                    <a:pt x="2209" y="3476"/>
                    <a:pt x="2260" y="3540"/>
                  </a:cubicBezTo>
                  <a:cubicBezTo>
                    <a:pt x="2267" y="3549"/>
                    <a:pt x="2315" y="3528"/>
                    <a:pt x="2318" y="3536"/>
                  </a:cubicBezTo>
                  <a:cubicBezTo>
                    <a:pt x="2321" y="3548"/>
                    <a:pt x="2312" y="3586"/>
                    <a:pt x="2312" y="3587"/>
                  </a:cubicBezTo>
                  <a:cubicBezTo>
                    <a:pt x="2305" y="3563"/>
                    <a:pt x="2283" y="3656"/>
                    <a:pt x="2284" y="3670"/>
                  </a:cubicBezTo>
                  <a:cubicBezTo>
                    <a:pt x="2287" y="3713"/>
                    <a:pt x="2342" y="3784"/>
                    <a:pt x="2363" y="3814"/>
                  </a:cubicBezTo>
                  <a:cubicBezTo>
                    <a:pt x="2384" y="3845"/>
                    <a:pt x="2423" y="3889"/>
                    <a:pt x="2452" y="3908"/>
                  </a:cubicBezTo>
                  <a:cubicBezTo>
                    <a:pt x="2511" y="3947"/>
                    <a:pt x="2611" y="3911"/>
                    <a:pt x="2610" y="4017"/>
                  </a:cubicBezTo>
                  <a:cubicBezTo>
                    <a:pt x="2671" y="3975"/>
                    <a:pt x="2707" y="3805"/>
                    <a:pt x="2759" y="3715"/>
                  </a:cubicBezTo>
                  <a:cubicBezTo>
                    <a:pt x="2790" y="3828"/>
                    <a:pt x="2692" y="3887"/>
                    <a:pt x="2786" y="3926"/>
                  </a:cubicBezTo>
                  <a:cubicBezTo>
                    <a:pt x="2828" y="3944"/>
                    <a:pt x="2952" y="3882"/>
                    <a:pt x="2971" y="3834"/>
                  </a:cubicBezTo>
                  <a:cubicBezTo>
                    <a:pt x="2972" y="3964"/>
                    <a:pt x="2820" y="3927"/>
                    <a:pt x="2780" y="4017"/>
                  </a:cubicBezTo>
                  <a:cubicBezTo>
                    <a:pt x="2721" y="4147"/>
                    <a:pt x="2811" y="4241"/>
                    <a:pt x="2907" y="4229"/>
                  </a:cubicBezTo>
                  <a:cubicBezTo>
                    <a:pt x="2876" y="4286"/>
                    <a:pt x="2950" y="4367"/>
                    <a:pt x="2995" y="4400"/>
                  </a:cubicBezTo>
                  <a:cubicBezTo>
                    <a:pt x="3019" y="4417"/>
                    <a:pt x="3053" y="4418"/>
                    <a:pt x="3077" y="4437"/>
                  </a:cubicBezTo>
                  <a:cubicBezTo>
                    <a:pt x="3119" y="4470"/>
                    <a:pt x="3110" y="4496"/>
                    <a:pt x="3154" y="4544"/>
                  </a:cubicBezTo>
                  <a:cubicBezTo>
                    <a:pt x="3247" y="4644"/>
                    <a:pt x="3319" y="4682"/>
                    <a:pt x="3315" y="4877"/>
                  </a:cubicBezTo>
                  <a:cubicBezTo>
                    <a:pt x="3270" y="4831"/>
                    <a:pt x="3250" y="4751"/>
                    <a:pt x="3216" y="4684"/>
                  </a:cubicBezTo>
                  <a:cubicBezTo>
                    <a:pt x="3187" y="4629"/>
                    <a:pt x="3159" y="4639"/>
                    <a:pt x="3127" y="4602"/>
                  </a:cubicBezTo>
                  <a:cubicBezTo>
                    <a:pt x="3070" y="4539"/>
                    <a:pt x="3042" y="4495"/>
                    <a:pt x="2978" y="4456"/>
                  </a:cubicBezTo>
                  <a:cubicBezTo>
                    <a:pt x="2919" y="4420"/>
                    <a:pt x="2712" y="4172"/>
                    <a:pt x="2692" y="4332"/>
                  </a:cubicBezTo>
                  <a:cubicBezTo>
                    <a:pt x="2675" y="4257"/>
                    <a:pt x="2630" y="4250"/>
                    <a:pt x="2617" y="4329"/>
                  </a:cubicBezTo>
                  <a:cubicBezTo>
                    <a:pt x="2600" y="4288"/>
                    <a:pt x="2413" y="4266"/>
                    <a:pt x="2505" y="4412"/>
                  </a:cubicBezTo>
                  <a:cubicBezTo>
                    <a:pt x="2492" y="4402"/>
                    <a:pt x="2467" y="4395"/>
                    <a:pt x="2451" y="4383"/>
                  </a:cubicBezTo>
                  <a:cubicBezTo>
                    <a:pt x="2462" y="4468"/>
                    <a:pt x="2550" y="4538"/>
                    <a:pt x="2556" y="4589"/>
                  </a:cubicBezTo>
                  <a:cubicBezTo>
                    <a:pt x="2565" y="4682"/>
                    <a:pt x="2481" y="4622"/>
                    <a:pt x="2510" y="4734"/>
                  </a:cubicBezTo>
                  <a:cubicBezTo>
                    <a:pt x="2541" y="4850"/>
                    <a:pt x="2338" y="4887"/>
                    <a:pt x="2431" y="4969"/>
                  </a:cubicBezTo>
                  <a:cubicBezTo>
                    <a:pt x="2367" y="4976"/>
                    <a:pt x="2254" y="4926"/>
                    <a:pt x="2300" y="5075"/>
                  </a:cubicBezTo>
                  <a:cubicBezTo>
                    <a:pt x="2289" y="5058"/>
                    <a:pt x="2271" y="5034"/>
                    <a:pt x="2263" y="5016"/>
                  </a:cubicBezTo>
                  <a:cubicBezTo>
                    <a:pt x="2265" y="5110"/>
                    <a:pt x="2455" y="5147"/>
                    <a:pt x="2516" y="5195"/>
                  </a:cubicBezTo>
                  <a:cubicBezTo>
                    <a:pt x="2570" y="5237"/>
                    <a:pt x="2610" y="5248"/>
                    <a:pt x="2643" y="5346"/>
                  </a:cubicBezTo>
                  <a:cubicBezTo>
                    <a:pt x="2657" y="5388"/>
                    <a:pt x="2668" y="5399"/>
                    <a:pt x="2674" y="5450"/>
                  </a:cubicBezTo>
                  <a:cubicBezTo>
                    <a:pt x="2675" y="5456"/>
                    <a:pt x="2610" y="5450"/>
                    <a:pt x="2620" y="5493"/>
                  </a:cubicBezTo>
                  <a:cubicBezTo>
                    <a:pt x="2624" y="5511"/>
                    <a:pt x="2737" y="5612"/>
                    <a:pt x="2755" y="5633"/>
                  </a:cubicBezTo>
                  <a:cubicBezTo>
                    <a:pt x="2830" y="5723"/>
                    <a:pt x="2839" y="5718"/>
                    <a:pt x="2934" y="5724"/>
                  </a:cubicBezTo>
                  <a:cubicBezTo>
                    <a:pt x="3011" y="5730"/>
                    <a:pt x="3037" y="5737"/>
                    <a:pt x="3079" y="5695"/>
                  </a:cubicBezTo>
                  <a:cubicBezTo>
                    <a:pt x="3093" y="5682"/>
                    <a:pt x="3122" y="5518"/>
                    <a:pt x="3195" y="5616"/>
                  </a:cubicBezTo>
                  <a:cubicBezTo>
                    <a:pt x="3225" y="5656"/>
                    <a:pt x="3192" y="5738"/>
                    <a:pt x="3208" y="5789"/>
                  </a:cubicBezTo>
                  <a:cubicBezTo>
                    <a:pt x="3227" y="5854"/>
                    <a:pt x="3275" y="5870"/>
                    <a:pt x="3296" y="5939"/>
                  </a:cubicBezTo>
                  <a:cubicBezTo>
                    <a:pt x="3319" y="6011"/>
                    <a:pt x="3348" y="6069"/>
                    <a:pt x="3321" y="6143"/>
                  </a:cubicBezTo>
                  <a:cubicBezTo>
                    <a:pt x="3306" y="6186"/>
                    <a:pt x="3255" y="6170"/>
                    <a:pt x="3239" y="6215"/>
                  </a:cubicBezTo>
                  <a:cubicBezTo>
                    <a:pt x="3222" y="6263"/>
                    <a:pt x="3243" y="6447"/>
                    <a:pt x="3254" y="6507"/>
                  </a:cubicBezTo>
                  <a:cubicBezTo>
                    <a:pt x="3268" y="6583"/>
                    <a:pt x="3310" y="6605"/>
                    <a:pt x="3327" y="6662"/>
                  </a:cubicBezTo>
                  <a:cubicBezTo>
                    <a:pt x="3359" y="6763"/>
                    <a:pt x="3320" y="6690"/>
                    <a:pt x="3312" y="6787"/>
                  </a:cubicBezTo>
                  <a:cubicBezTo>
                    <a:pt x="3298" y="6964"/>
                    <a:pt x="3492" y="7412"/>
                    <a:pt x="3372" y="7454"/>
                  </a:cubicBezTo>
                  <a:cubicBezTo>
                    <a:pt x="3260" y="7493"/>
                    <a:pt x="3364" y="7312"/>
                    <a:pt x="3285" y="7247"/>
                  </a:cubicBezTo>
                  <a:cubicBezTo>
                    <a:pt x="3211" y="7184"/>
                    <a:pt x="3299" y="7107"/>
                    <a:pt x="3164" y="7116"/>
                  </a:cubicBezTo>
                  <a:cubicBezTo>
                    <a:pt x="3207" y="7047"/>
                    <a:pt x="3263" y="7030"/>
                    <a:pt x="3311" y="7101"/>
                  </a:cubicBezTo>
                  <a:cubicBezTo>
                    <a:pt x="3294" y="7021"/>
                    <a:pt x="3312" y="6926"/>
                    <a:pt x="3261" y="6871"/>
                  </a:cubicBezTo>
                  <a:cubicBezTo>
                    <a:pt x="3224" y="6832"/>
                    <a:pt x="3149" y="6823"/>
                    <a:pt x="3204" y="6898"/>
                  </a:cubicBezTo>
                  <a:cubicBezTo>
                    <a:pt x="3100" y="6855"/>
                    <a:pt x="3169" y="6966"/>
                    <a:pt x="3117" y="6992"/>
                  </a:cubicBezTo>
                  <a:cubicBezTo>
                    <a:pt x="3070" y="7014"/>
                    <a:pt x="2998" y="6953"/>
                    <a:pt x="2949" y="6973"/>
                  </a:cubicBezTo>
                  <a:cubicBezTo>
                    <a:pt x="2838" y="7018"/>
                    <a:pt x="2742" y="7159"/>
                    <a:pt x="2665" y="7298"/>
                  </a:cubicBezTo>
                  <a:cubicBezTo>
                    <a:pt x="2588" y="7435"/>
                    <a:pt x="2525" y="7553"/>
                    <a:pt x="2411" y="7627"/>
                  </a:cubicBezTo>
                  <a:cubicBezTo>
                    <a:pt x="2385" y="7645"/>
                    <a:pt x="2247" y="7714"/>
                    <a:pt x="2236" y="7649"/>
                  </a:cubicBezTo>
                  <a:cubicBezTo>
                    <a:pt x="2222" y="7570"/>
                    <a:pt x="2411" y="7508"/>
                    <a:pt x="2440" y="7484"/>
                  </a:cubicBezTo>
                  <a:cubicBezTo>
                    <a:pt x="2557" y="7394"/>
                    <a:pt x="2569" y="7168"/>
                    <a:pt x="2664" y="7039"/>
                  </a:cubicBezTo>
                  <a:cubicBezTo>
                    <a:pt x="2696" y="6996"/>
                    <a:pt x="2775" y="6955"/>
                    <a:pt x="2810" y="6948"/>
                  </a:cubicBezTo>
                  <a:cubicBezTo>
                    <a:pt x="2868" y="6936"/>
                    <a:pt x="2930" y="7011"/>
                    <a:pt x="2918" y="6875"/>
                  </a:cubicBezTo>
                  <a:cubicBezTo>
                    <a:pt x="3022" y="6937"/>
                    <a:pt x="2908" y="6827"/>
                    <a:pt x="2914" y="6810"/>
                  </a:cubicBezTo>
                  <a:cubicBezTo>
                    <a:pt x="2943" y="6725"/>
                    <a:pt x="3038" y="6806"/>
                    <a:pt x="3053" y="6677"/>
                  </a:cubicBezTo>
                  <a:cubicBezTo>
                    <a:pt x="3043" y="6683"/>
                    <a:pt x="3030" y="6690"/>
                    <a:pt x="3017" y="6701"/>
                  </a:cubicBezTo>
                  <a:cubicBezTo>
                    <a:pt x="2986" y="6581"/>
                    <a:pt x="3113" y="6640"/>
                    <a:pt x="3160" y="6627"/>
                  </a:cubicBezTo>
                  <a:cubicBezTo>
                    <a:pt x="3305" y="6588"/>
                    <a:pt x="3205" y="6558"/>
                    <a:pt x="3167" y="6462"/>
                  </a:cubicBezTo>
                  <a:cubicBezTo>
                    <a:pt x="3125" y="6355"/>
                    <a:pt x="3161" y="6290"/>
                    <a:pt x="3057" y="6243"/>
                  </a:cubicBezTo>
                  <a:cubicBezTo>
                    <a:pt x="3018" y="6225"/>
                    <a:pt x="2987" y="6290"/>
                    <a:pt x="2952" y="6232"/>
                  </a:cubicBezTo>
                  <a:cubicBezTo>
                    <a:pt x="2935" y="6205"/>
                    <a:pt x="2894" y="6199"/>
                    <a:pt x="2871" y="6187"/>
                  </a:cubicBezTo>
                  <a:cubicBezTo>
                    <a:pt x="2726" y="6118"/>
                    <a:pt x="2593" y="5915"/>
                    <a:pt x="2464" y="5761"/>
                  </a:cubicBezTo>
                  <a:cubicBezTo>
                    <a:pt x="2341" y="5614"/>
                    <a:pt x="2247" y="5462"/>
                    <a:pt x="2154" y="5272"/>
                  </a:cubicBezTo>
                  <a:cubicBezTo>
                    <a:pt x="2047" y="5053"/>
                    <a:pt x="1995" y="4831"/>
                    <a:pt x="1959" y="4566"/>
                  </a:cubicBezTo>
                  <a:cubicBezTo>
                    <a:pt x="1920" y="4273"/>
                    <a:pt x="2061" y="4085"/>
                    <a:pt x="1881" y="3836"/>
                  </a:cubicBezTo>
                  <a:cubicBezTo>
                    <a:pt x="1730" y="3626"/>
                    <a:pt x="1606" y="3539"/>
                    <a:pt x="1594" y="3216"/>
                  </a:cubicBezTo>
                  <a:cubicBezTo>
                    <a:pt x="1587" y="2994"/>
                    <a:pt x="1645" y="2805"/>
                    <a:pt x="1675" y="2589"/>
                  </a:cubicBezTo>
                  <a:cubicBezTo>
                    <a:pt x="1735" y="2144"/>
                    <a:pt x="1728" y="1660"/>
                    <a:pt x="1903" y="1243"/>
                  </a:cubicBezTo>
                  <a:cubicBezTo>
                    <a:pt x="1964" y="1096"/>
                    <a:pt x="2198" y="796"/>
                    <a:pt x="2157" y="600"/>
                  </a:cubicBezTo>
                  <a:cubicBezTo>
                    <a:pt x="2106" y="354"/>
                    <a:pt x="1840" y="463"/>
                    <a:pt x="1716" y="474"/>
                  </a:cubicBezTo>
                  <a:cubicBezTo>
                    <a:pt x="1533" y="491"/>
                    <a:pt x="1364" y="494"/>
                    <a:pt x="1195" y="603"/>
                  </a:cubicBezTo>
                  <a:cubicBezTo>
                    <a:pt x="1027" y="712"/>
                    <a:pt x="842" y="883"/>
                    <a:pt x="714" y="1076"/>
                  </a:cubicBezTo>
                  <a:cubicBezTo>
                    <a:pt x="589" y="1262"/>
                    <a:pt x="490" y="1487"/>
                    <a:pt x="414" y="1713"/>
                  </a:cubicBezTo>
                  <a:cubicBezTo>
                    <a:pt x="378" y="1822"/>
                    <a:pt x="343" y="1921"/>
                    <a:pt x="307" y="2042"/>
                  </a:cubicBezTo>
                  <a:cubicBezTo>
                    <a:pt x="254" y="2222"/>
                    <a:pt x="291" y="2202"/>
                    <a:pt x="396" y="2286"/>
                  </a:cubicBezTo>
                  <a:cubicBezTo>
                    <a:pt x="333" y="2289"/>
                    <a:pt x="261" y="2245"/>
                    <a:pt x="218" y="2316"/>
                  </a:cubicBezTo>
                  <a:cubicBezTo>
                    <a:pt x="169" y="2398"/>
                    <a:pt x="206" y="2489"/>
                    <a:pt x="275" y="2489"/>
                  </a:cubicBezTo>
                  <a:cubicBezTo>
                    <a:pt x="167" y="2529"/>
                    <a:pt x="193" y="2584"/>
                    <a:pt x="173" y="2696"/>
                  </a:cubicBezTo>
                  <a:cubicBezTo>
                    <a:pt x="152" y="2815"/>
                    <a:pt x="86" y="2939"/>
                    <a:pt x="173" y="3043"/>
                  </a:cubicBezTo>
                  <a:cubicBezTo>
                    <a:pt x="88" y="3047"/>
                    <a:pt x="123" y="3168"/>
                    <a:pt x="146" y="3243"/>
                  </a:cubicBezTo>
                  <a:cubicBezTo>
                    <a:pt x="179" y="3347"/>
                    <a:pt x="117" y="3452"/>
                    <a:pt x="143" y="3532"/>
                  </a:cubicBezTo>
                  <a:cubicBezTo>
                    <a:pt x="158" y="3575"/>
                    <a:pt x="292" y="3609"/>
                    <a:pt x="227" y="3693"/>
                  </a:cubicBezTo>
                  <a:cubicBezTo>
                    <a:pt x="201" y="3727"/>
                    <a:pt x="108" y="3649"/>
                    <a:pt x="70" y="3650"/>
                  </a:cubicBezTo>
                  <a:cubicBezTo>
                    <a:pt x="100" y="3836"/>
                    <a:pt x="161" y="3939"/>
                    <a:pt x="98" y="4072"/>
                  </a:cubicBezTo>
                  <a:cubicBezTo>
                    <a:pt x="97" y="4075"/>
                    <a:pt x="46" y="4073"/>
                    <a:pt x="28" y="4135"/>
                  </a:cubicBezTo>
                  <a:cubicBezTo>
                    <a:pt x="18" y="4167"/>
                    <a:pt x="25" y="4234"/>
                    <a:pt x="28" y="4268"/>
                  </a:cubicBezTo>
                  <a:cubicBezTo>
                    <a:pt x="33" y="4338"/>
                    <a:pt x="59" y="4407"/>
                    <a:pt x="48" y="4480"/>
                  </a:cubicBezTo>
                  <a:cubicBezTo>
                    <a:pt x="42" y="4517"/>
                    <a:pt x="2" y="4516"/>
                    <a:pt x="0" y="4560"/>
                  </a:cubicBezTo>
                  <a:cubicBezTo>
                    <a:pt x="-1" y="4612"/>
                    <a:pt x="44" y="4610"/>
                    <a:pt x="44" y="4646"/>
                  </a:cubicBezTo>
                  <a:cubicBezTo>
                    <a:pt x="44" y="4730"/>
                    <a:pt x="8" y="4802"/>
                    <a:pt x="11" y="4892"/>
                  </a:cubicBezTo>
                  <a:cubicBezTo>
                    <a:pt x="13" y="4972"/>
                    <a:pt x="42" y="5084"/>
                    <a:pt x="75" y="5150"/>
                  </a:cubicBezTo>
                  <a:cubicBezTo>
                    <a:pt x="148" y="5296"/>
                    <a:pt x="143" y="5162"/>
                    <a:pt x="198" y="5180"/>
                  </a:cubicBezTo>
                  <a:cubicBezTo>
                    <a:pt x="256" y="5199"/>
                    <a:pt x="266" y="5175"/>
                    <a:pt x="231" y="5277"/>
                  </a:cubicBezTo>
                  <a:cubicBezTo>
                    <a:pt x="202" y="5359"/>
                    <a:pt x="212" y="5280"/>
                    <a:pt x="180" y="5321"/>
                  </a:cubicBezTo>
                  <a:cubicBezTo>
                    <a:pt x="131" y="5382"/>
                    <a:pt x="76" y="5445"/>
                    <a:pt x="65" y="5526"/>
                  </a:cubicBezTo>
                  <a:cubicBezTo>
                    <a:pt x="57" y="5591"/>
                    <a:pt x="67" y="5726"/>
                    <a:pt x="65" y="5796"/>
                  </a:cubicBezTo>
                  <a:cubicBezTo>
                    <a:pt x="63" y="5884"/>
                    <a:pt x="36" y="5838"/>
                    <a:pt x="100" y="5943"/>
                  </a:cubicBezTo>
                  <a:cubicBezTo>
                    <a:pt x="130" y="5992"/>
                    <a:pt x="168" y="6060"/>
                    <a:pt x="193" y="6102"/>
                  </a:cubicBezTo>
                  <a:cubicBezTo>
                    <a:pt x="320" y="6325"/>
                    <a:pt x="164" y="6436"/>
                    <a:pt x="188" y="6664"/>
                  </a:cubicBezTo>
                  <a:cubicBezTo>
                    <a:pt x="195" y="6729"/>
                    <a:pt x="223" y="6837"/>
                    <a:pt x="228" y="6865"/>
                  </a:cubicBezTo>
                  <a:cubicBezTo>
                    <a:pt x="236" y="6921"/>
                    <a:pt x="244" y="6994"/>
                    <a:pt x="262" y="7044"/>
                  </a:cubicBezTo>
                  <a:cubicBezTo>
                    <a:pt x="318" y="7201"/>
                    <a:pt x="370" y="7300"/>
                    <a:pt x="497" y="7316"/>
                  </a:cubicBezTo>
                  <a:cubicBezTo>
                    <a:pt x="656" y="7336"/>
                    <a:pt x="801" y="7303"/>
                    <a:pt x="958" y="7320"/>
                  </a:cubicBezTo>
                  <a:cubicBezTo>
                    <a:pt x="1044" y="7330"/>
                    <a:pt x="1115" y="7335"/>
                    <a:pt x="1198" y="7322"/>
                  </a:cubicBezTo>
                  <a:cubicBezTo>
                    <a:pt x="1238" y="7316"/>
                    <a:pt x="1293" y="7304"/>
                    <a:pt x="1334" y="7303"/>
                  </a:cubicBezTo>
                  <a:cubicBezTo>
                    <a:pt x="1350" y="7303"/>
                    <a:pt x="1420" y="7335"/>
                    <a:pt x="1426" y="7331"/>
                  </a:cubicBezTo>
                  <a:cubicBezTo>
                    <a:pt x="1460" y="7309"/>
                    <a:pt x="1465" y="7113"/>
                    <a:pt x="1539" y="7157"/>
                  </a:cubicBezTo>
                  <a:cubicBezTo>
                    <a:pt x="1582" y="7181"/>
                    <a:pt x="1549" y="7292"/>
                    <a:pt x="1562" y="7331"/>
                  </a:cubicBezTo>
                  <a:cubicBezTo>
                    <a:pt x="1583" y="7394"/>
                    <a:pt x="1640" y="7443"/>
                    <a:pt x="1681" y="7478"/>
                  </a:cubicBezTo>
                  <a:cubicBezTo>
                    <a:pt x="1815" y="7591"/>
                    <a:pt x="1987" y="7592"/>
                    <a:pt x="2116" y="7680"/>
                  </a:cubicBezTo>
                  <a:cubicBezTo>
                    <a:pt x="2026" y="7733"/>
                    <a:pt x="2012" y="7659"/>
                    <a:pt x="1941" y="7764"/>
                  </a:cubicBezTo>
                  <a:cubicBezTo>
                    <a:pt x="1906" y="7815"/>
                    <a:pt x="1949" y="7820"/>
                    <a:pt x="1892" y="7865"/>
                  </a:cubicBezTo>
                  <a:cubicBezTo>
                    <a:pt x="1868" y="7884"/>
                    <a:pt x="1815" y="7880"/>
                    <a:pt x="1788" y="7887"/>
                  </a:cubicBezTo>
                  <a:cubicBezTo>
                    <a:pt x="1644" y="7922"/>
                    <a:pt x="1500" y="8079"/>
                    <a:pt x="1356" y="7953"/>
                  </a:cubicBezTo>
                  <a:cubicBezTo>
                    <a:pt x="1317" y="7919"/>
                    <a:pt x="1314" y="7860"/>
                    <a:pt x="1258" y="7829"/>
                  </a:cubicBezTo>
                  <a:cubicBezTo>
                    <a:pt x="1246" y="7822"/>
                    <a:pt x="1163" y="7799"/>
                    <a:pt x="1151" y="7802"/>
                  </a:cubicBezTo>
                  <a:cubicBezTo>
                    <a:pt x="1080" y="7820"/>
                    <a:pt x="1029" y="7865"/>
                    <a:pt x="956" y="7885"/>
                  </a:cubicBezTo>
                  <a:cubicBezTo>
                    <a:pt x="844" y="7918"/>
                    <a:pt x="902" y="7920"/>
                    <a:pt x="807" y="7855"/>
                  </a:cubicBezTo>
                  <a:cubicBezTo>
                    <a:pt x="756" y="7821"/>
                    <a:pt x="675" y="7816"/>
                    <a:pt x="621" y="7839"/>
                  </a:cubicBezTo>
                  <a:cubicBezTo>
                    <a:pt x="676" y="7925"/>
                    <a:pt x="781" y="7988"/>
                    <a:pt x="828" y="8064"/>
                  </a:cubicBezTo>
                  <a:cubicBezTo>
                    <a:pt x="902" y="8187"/>
                    <a:pt x="829" y="8117"/>
                    <a:pt x="784" y="8209"/>
                  </a:cubicBezTo>
                  <a:cubicBezTo>
                    <a:pt x="741" y="8298"/>
                    <a:pt x="751" y="8377"/>
                    <a:pt x="813" y="8480"/>
                  </a:cubicBezTo>
                  <a:cubicBezTo>
                    <a:pt x="890" y="8605"/>
                    <a:pt x="997" y="8680"/>
                    <a:pt x="1058" y="8820"/>
                  </a:cubicBezTo>
                  <a:cubicBezTo>
                    <a:pt x="1140" y="9009"/>
                    <a:pt x="1214" y="9220"/>
                    <a:pt x="1379" y="9261"/>
                  </a:cubicBezTo>
                  <a:cubicBezTo>
                    <a:pt x="1445" y="9278"/>
                    <a:pt x="1493" y="9228"/>
                    <a:pt x="1535" y="9276"/>
                  </a:cubicBezTo>
                  <a:cubicBezTo>
                    <a:pt x="1579" y="9325"/>
                    <a:pt x="1655" y="9316"/>
                    <a:pt x="1706" y="9351"/>
                  </a:cubicBezTo>
                  <a:cubicBezTo>
                    <a:pt x="1757" y="9384"/>
                    <a:pt x="1915" y="9495"/>
                    <a:pt x="1796" y="9522"/>
                  </a:cubicBezTo>
                  <a:cubicBezTo>
                    <a:pt x="1769" y="9528"/>
                    <a:pt x="1738" y="9467"/>
                    <a:pt x="1706" y="9466"/>
                  </a:cubicBezTo>
                  <a:cubicBezTo>
                    <a:pt x="1688" y="9465"/>
                    <a:pt x="1592" y="9496"/>
                    <a:pt x="1645" y="9515"/>
                  </a:cubicBezTo>
                  <a:cubicBezTo>
                    <a:pt x="1678" y="9526"/>
                    <a:pt x="1746" y="9537"/>
                    <a:pt x="1769" y="9549"/>
                  </a:cubicBezTo>
                  <a:cubicBezTo>
                    <a:pt x="1802" y="9566"/>
                    <a:pt x="1846" y="9637"/>
                    <a:pt x="1880" y="9646"/>
                  </a:cubicBezTo>
                  <a:cubicBezTo>
                    <a:pt x="1927" y="9657"/>
                    <a:pt x="1968" y="9625"/>
                    <a:pt x="1993" y="9566"/>
                  </a:cubicBezTo>
                  <a:cubicBezTo>
                    <a:pt x="2030" y="9483"/>
                    <a:pt x="2019" y="9547"/>
                    <a:pt x="1991" y="9484"/>
                  </a:cubicBezTo>
                  <a:cubicBezTo>
                    <a:pt x="1984" y="9470"/>
                    <a:pt x="1859" y="9494"/>
                    <a:pt x="1932" y="9415"/>
                  </a:cubicBezTo>
                  <a:cubicBezTo>
                    <a:pt x="1928" y="9419"/>
                    <a:pt x="2030" y="9409"/>
                    <a:pt x="2036" y="9409"/>
                  </a:cubicBezTo>
                  <a:cubicBezTo>
                    <a:pt x="2113" y="9405"/>
                    <a:pt x="2193" y="9402"/>
                    <a:pt x="2270" y="9405"/>
                  </a:cubicBezTo>
                  <a:cubicBezTo>
                    <a:pt x="2366" y="9408"/>
                    <a:pt x="2416" y="9446"/>
                    <a:pt x="2390" y="9298"/>
                  </a:cubicBezTo>
                  <a:cubicBezTo>
                    <a:pt x="2372" y="9197"/>
                    <a:pt x="2286" y="9122"/>
                    <a:pt x="2228" y="9216"/>
                  </a:cubicBezTo>
                  <a:cubicBezTo>
                    <a:pt x="2234" y="9163"/>
                    <a:pt x="2257" y="9028"/>
                    <a:pt x="2297" y="8981"/>
                  </a:cubicBezTo>
                  <a:cubicBezTo>
                    <a:pt x="2378" y="8882"/>
                    <a:pt x="2323" y="9074"/>
                    <a:pt x="2414" y="9070"/>
                  </a:cubicBezTo>
                  <a:cubicBezTo>
                    <a:pt x="2357" y="9175"/>
                    <a:pt x="2464" y="9101"/>
                    <a:pt x="2466" y="9108"/>
                  </a:cubicBezTo>
                  <a:cubicBezTo>
                    <a:pt x="2476" y="9131"/>
                    <a:pt x="2481" y="9089"/>
                    <a:pt x="2484" y="9150"/>
                  </a:cubicBezTo>
                  <a:cubicBezTo>
                    <a:pt x="2486" y="9171"/>
                    <a:pt x="2426" y="9180"/>
                    <a:pt x="2432" y="9216"/>
                  </a:cubicBezTo>
                  <a:cubicBezTo>
                    <a:pt x="2447" y="9306"/>
                    <a:pt x="2500" y="9271"/>
                    <a:pt x="2543" y="9241"/>
                  </a:cubicBezTo>
                  <a:cubicBezTo>
                    <a:pt x="2556" y="9232"/>
                    <a:pt x="2564" y="9230"/>
                    <a:pt x="2569" y="9228"/>
                  </a:cubicBezTo>
                  <a:cubicBezTo>
                    <a:pt x="2568" y="9221"/>
                    <a:pt x="2569" y="9210"/>
                    <a:pt x="2573" y="9188"/>
                  </a:cubicBezTo>
                  <a:cubicBezTo>
                    <a:pt x="2585" y="9135"/>
                    <a:pt x="2558" y="9064"/>
                    <a:pt x="2592" y="8990"/>
                  </a:cubicBezTo>
                  <a:cubicBezTo>
                    <a:pt x="2633" y="8900"/>
                    <a:pt x="2753" y="8831"/>
                    <a:pt x="2674" y="8713"/>
                  </a:cubicBezTo>
                  <a:cubicBezTo>
                    <a:pt x="2792" y="8768"/>
                    <a:pt x="2689" y="8882"/>
                    <a:pt x="2656" y="8955"/>
                  </a:cubicBezTo>
                  <a:cubicBezTo>
                    <a:pt x="2605" y="9071"/>
                    <a:pt x="2617" y="9113"/>
                    <a:pt x="2641" y="9236"/>
                  </a:cubicBezTo>
                  <a:cubicBezTo>
                    <a:pt x="2679" y="9434"/>
                    <a:pt x="2766" y="9576"/>
                    <a:pt x="2898" y="9689"/>
                  </a:cubicBezTo>
                  <a:cubicBezTo>
                    <a:pt x="2969" y="9750"/>
                    <a:pt x="3146" y="9872"/>
                    <a:pt x="3229" y="9868"/>
                  </a:cubicBezTo>
                  <a:cubicBezTo>
                    <a:pt x="3299" y="9866"/>
                    <a:pt x="3339" y="9803"/>
                    <a:pt x="3415" y="9792"/>
                  </a:cubicBezTo>
                  <a:cubicBezTo>
                    <a:pt x="3465" y="9784"/>
                    <a:pt x="3515" y="9808"/>
                    <a:pt x="3561" y="9787"/>
                  </a:cubicBezTo>
                  <a:cubicBezTo>
                    <a:pt x="3505" y="9714"/>
                    <a:pt x="3370" y="9641"/>
                    <a:pt x="3290" y="9663"/>
                  </a:cubicBezTo>
                  <a:cubicBezTo>
                    <a:pt x="3245" y="9675"/>
                    <a:pt x="3182" y="9789"/>
                    <a:pt x="3160" y="9731"/>
                  </a:cubicBezTo>
                  <a:cubicBezTo>
                    <a:pt x="3131" y="9652"/>
                    <a:pt x="3199" y="9616"/>
                    <a:pt x="3248" y="9593"/>
                  </a:cubicBezTo>
                  <a:cubicBezTo>
                    <a:pt x="3331" y="9554"/>
                    <a:pt x="3426" y="9553"/>
                    <a:pt x="3506" y="9544"/>
                  </a:cubicBezTo>
                  <a:cubicBezTo>
                    <a:pt x="3578" y="9534"/>
                    <a:pt x="3656" y="9568"/>
                    <a:pt x="3722" y="9521"/>
                  </a:cubicBezTo>
                  <a:cubicBezTo>
                    <a:pt x="3721" y="9521"/>
                    <a:pt x="3779" y="9344"/>
                    <a:pt x="3777" y="9439"/>
                  </a:cubicBezTo>
                  <a:cubicBezTo>
                    <a:pt x="3774" y="9506"/>
                    <a:pt x="3738" y="9523"/>
                    <a:pt x="3788" y="9589"/>
                  </a:cubicBezTo>
                  <a:cubicBezTo>
                    <a:pt x="3840" y="9659"/>
                    <a:pt x="3936" y="9627"/>
                    <a:pt x="3993" y="9620"/>
                  </a:cubicBezTo>
                  <a:cubicBezTo>
                    <a:pt x="4089" y="9607"/>
                    <a:pt x="4268" y="9571"/>
                    <a:pt x="4407" y="9571"/>
                  </a:cubicBezTo>
                  <a:cubicBezTo>
                    <a:pt x="4494" y="9570"/>
                    <a:pt x="4552" y="9543"/>
                    <a:pt x="4624" y="9471"/>
                  </a:cubicBezTo>
                  <a:cubicBezTo>
                    <a:pt x="4672" y="9423"/>
                    <a:pt x="4693" y="9345"/>
                    <a:pt x="4733" y="9312"/>
                  </a:cubicBezTo>
                  <a:cubicBezTo>
                    <a:pt x="4789" y="9264"/>
                    <a:pt x="4871" y="9305"/>
                    <a:pt x="4932" y="9342"/>
                  </a:cubicBezTo>
                  <a:cubicBezTo>
                    <a:pt x="4976" y="9370"/>
                    <a:pt x="5084" y="9482"/>
                    <a:pt x="5084" y="9395"/>
                  </a:cubicBezTo>
                  <a:cubicBezTo>
                    <a:pt x="5144" y="9432"/>
                    <a:pt x="5224" y="9541"/>
                    <a:pt x="5294" y="9534"/>
                  </a:cubicBezTo>
                  <a:cubicBezTo>
                    <a:pt x="5314" y="9532"/>
                    <a:pt x="5307" y="9474"/>
                    <a:pt x="5350" y="9472"/>
                  </a:cubicBezTo>
                  <a:cubicBezTo>
                    <a:pt x="5380" y="9471"/>
                    <a:pt x="5413" y="9482"/>
                    <a:pt x="5438" y="9509"/>
                  </a:cubicBezTo>
                  <a:cubicBezTo>
                    <a:pt x="5418" y="9509"/>
                    <a:pt x="5396" y="9526"/>
                    <a:pt x="5379" y="9531"/>
                  </a:cubicBezTo>
                  <a:cubicBezTo>
                    <a:pt x="5398" y="9557"/>
                    <a:pt x="5391" y="9554"/>
                    <a:pt x="5407" y="9586"/>
                  </a:cubicBezTo>
                  <a:cubicBezTo>
                    <a:pt x="5601" y="9614"/>
                    <a:pt x="5421" y="9476"/>
                    <a:pt x="5532" y="9372"/>
                  </a:cubicBezTo>
                  <a:cubicBezTo>
                    <a:pt x="5557" y="9348"/>
                    <a:pt x="5592" y="9383"/>
                    <a:pt x="5639" y="9360"/>
                  </a:cubicBezTo>
                  <a:cubicBezTo>
                    <a:pt x="5665" y="9347"/>
                    <a:pt x="5603" y="9224"/>
                    <a:pt x="5697" y="9295"/>
                  </a:cubicBezTo>
                  <a:cubicBezTo>
                    <a:pt x="5681" y="9265"/>
                    <a:pt x="5685" y="9149"/>
                    <a:pt x="5684" y="9149"/>
                  </a:cubicBezTo>
                  <a:cubicBezTo>
                    <a:pt x="5647" y="9087"/>
                    <a:pt x="5592" y="9119"/>
                    <a:pt x="5543" y="9085"/>
                  </a:cubicBezTo>
                  <a:cubicBezTo>
                    <a:pt x="5452" y="9021"/>
                    <a:pt x="5396" y="8913"/>
                    <a:pt x="5294" y="8863"/>
                  </a:cubicBezTo>
                  <a:cubicBezTo>
                    <a:pt x="5195" y="8816"/>
                    <a:pt x="5091" y="8787"/>
                    <a:pt x="4986" y="8756"/>
                  </a:cubicBezTo>
                  <a:cubicBezTo>
                    <a:pt x="4886" y="8726"/>
                    <a:pt x="4813" y="8649"/>
                    <a:pt x="4723" y="8563"/>
                  </a:cubicBezTo>
                  <a:cubicBezTo>
                    <a:pt x="4783" y="8541"/>
                    <a:pt x="4854" y="8631"/>
                    <a:pt x="4910" y="8659"/>
                  </a:cubicBezTo>
                  <a:cubicBezTo>
                    <a:pt x="4968" y="8687"/>
                    <a:pt x="5036" y="8717"/>
                    <a:pt x="5092" y="8737"/>
                  </a:cubicBezTo>
                  <a:cubicBezTo>
                    <a:pt x="5230" y="8787"/>
                    <a:pt x="5319" y="8775"/>
                    <a:pt x="5447" y="8885"/>
                  </a:cubicBezTo>
                  <a:cubicBezTo>
                    <a:pt x="5500" y="8930"/>
                    <a:pt x="5574" y="9042"/>
                    <a:pt x="5638" y="9058"/>
                  </a:cubicBezTo>
                  <a:cubicBezTo>
                    <a:pt x="5674" y="9067"/>
                    <a:pt x="5709" y="9040"/>
                    <a:pt x="5739" y="9038"/>
                  </a:cubicBezTo>
                  <a:cubicBezTo>
                    <a:pt x="5732" y="9050"/>
                    <a:pt x="5835" y="9120"/>
                    <a:pt x="5811" y="9100"/>
                  </a:cubicBezTo>
                  <a:cubicBezTo>
                    <a:pt x="5878" y="9156"/>
                    <a:pt x="5965" y="9204"/>
                    <a:pt x="6030" y="9260"/>
                  </a:cubicBezTo>
                  <a:cubicBezTo>
                    <a:pt x="6098" y="9319"/>
                    <a:pt x="6149" y="9416"/>
                    <a:pt x="6235" y="9430"/>
                  </a:cubicBezTo>
                  <a:cubicBezTo>
                    <a:pt x="6257" y="9434"/>
                    <a:pt x="6298" y="9473"/>
                    <a:pt x="6322" y="9372"/>
                  </a:cubicBezTo>
                  <a:cubicBezTo>
                    <a:pt x="6342" y="9288"/>
                    <a:pt x="6321" y="9296"/>
                    <a:pt x="6282" y="9234"/>
                  </a:cubicBezTo>
                  <a:cubicBezTo>
                    <a:pt x="6220" y="9138"/>
                    <a:pt x="6124" y="9104"/>
                    <a:pt x="6055" y="9028"/>
                  </a:cubicBezTo>
                  <a:cubicBezTo>
                    <a:pt x="6003" y="8971"/>
                    <a:pt x="5948" y="8801"/>
                    <a:pt x="5864" y="8813"/>
                  </a:cubicBezTo>
                  <a:cubicBezTo>
                    <a:pt x="5842" y="8816"/>
                    <a:pt x="5842" y="8913"/>
                    <a:pt x="5819" y="8914"/>
                  </a:cubicBezTo>
                  <a:cubicBezTo>
                    <a:pt x="5793" y="8916"/>
                    <a:pt x="5783" y="8853"/>
                    <a:pt x="5755" y="8841"/>
                  </a:cubicBezTo>
                  <a:cubicBezTo>
                    <a:pt x="5706" y="8819"/>
                    <a:pt x="5551" y="8824"/>
                    <a:pt x="5567" y="8698"/>
                  </a:cubicBezTo>
                  <a:cubicBezTo>
                    <a:pt x="5571" y="8670"/>
                    <a:pt x="5767" y="8690"/>
                    <a:pt x="5801" y="8682"/>
                  </a:cubicBezTo>
                  <a:cubicBezTo>
                    <a:pt x="5891" y="8662"/>
                    <a:pt x="5957" y="8583"/>
                    <a:pt x="6027" y="8656"/>
                  </a:cubicBezTo>
                  <a:cubicBezTo>
                    <a:pt x="6044" y="8675"/>
                    <a:pt x="6110" y="8632"/>
                    <a:pt x="6133" y="8627"/>
                  </a:cubicBezTo>
                  <a:cubicBezTo>
                    <a:pt x="6164" y="8619"/>
                    <a:pt x="6210" y="8634"/>
                    <a:pt x="6245" y="8630"/>
                  </a:cubicBezTo>
                  <a:cubicBezTo>
                    <a:pt x="6297" y="8623"/>
                    <a:pt x="6308" y="8571"/>
                    <a:pt x="6367" y="8621"/>
                  </a:cubicBezTo>
                  <a:cubicBezTo>
                    <a:pt x="6385" y="8636"/>
                    <a:pt x="6437" y="8683"/>
                    <a:pt x="6461" y="8679"/>
                  </a:cubicBezTo>
                  <a:cubicBezTo>
                    <a:pt x="6506" y="8672"/>
                    <a:pt x="6503" y="8599"/>
                    <a:pt x="6572" y="8590"/>
                  </a:cubicBezTo>
                  <a:cubicBezTo>
                    <a:pt x="6640" y="8581"/>
                    <a:pt x="6625" y="8589"/>
                    <a:pt x="6664" y="8661"/>
                  </a:cubicBezTo>
                  <a:cubicBezTo>
                    <a:pt x="6715" y="8758"/>
                    <a:pt x="6690" y="8591"/>
                    <a:pt x="6722" y="8594"/>
                  </a:cubicBezTo>
                  <a:cubicBezTo>
                    <a:pt x="6815" y="8604"/>
                    <a:pt x="6843" y="8834"/>
                    <a:pt x="6937" y="8825"/>
                  </a:cubicBezTo>
                  <a:cubicBezTo>
                    <a:pt x="6990" y="8819"/>
                    <a:pt x="7069" y="8679"/>
                    <a:pt x="7135" y="8649"/>
                  </a:cubicBezTo>
                  <a:cubicBezTo>
                    <a:pt x="7213" y="8613"/>
                    <a:pt x="7277" y="8581"/>
                    <a:pt x="7352" y="8531"/>
                  </a:cubicBezTo>
                  <a:cubicBezTo>
                    <a:pt x="7417" y="8487"/>
                    <a:pt x="7453" y="8533"/>
                    <a:pt x="7460" y="8374"/>
                  </a:cubicBezTo>
                  <a:cubicBezTo>
                    <a:pt x="7464" y="8278"/>
                    <a:pt x="7439" y="8190"/>
                    <a:pt x="7404" y="8109"/>
                  </a:cubicBezTo>
                  <a:cubicBezTo>
                    <a:pt x="7333" y="7943"/>
                    <a:pt x="7234" y="7653"/>
                    <a:pt x="7098" y="7545"/>
                  </a:cubicBezTo>
                  <a:cubicBezTo>
                    <a:pt x="6980" y="7452"/>
                    <a:pt x="7043" y="7599"/>
                    <a:pt x="6952" y="7609"/>
                  </a:cubicBezTo>
                  <a:cubicBezTo>
                    <a:pt x="6903" y="7614"/>
                    <a:pt x="6805" y="7425"/>
                    <a:pt x="6791" y="7583"/>
                  </a:cubicBezTo>
                  <a:cubicBezTo>
                    <a:pt x="6760" y="7551"/>
                    <a:pt x="6693" y="7550"/>
                    <a:pt x="6674" y="7499"/>
                  </a:cubicBezTo>
                  <a:cubicBezTo>
                    <a:pt x="6634" y="7387"/>
                    <a:pt x="6723" y="7390"/>
                    <a:pt x="6732" y="7366"/>
                  </a:cubicBezTo>
                  <a:cubicBezTo>
                    <a:pt x="6720" y="7397"/>
                    <a:pt x="6757" y="7345"/>
                    <a:pt x="6759" y="7340"/>
                  </a:cubicBezTo>
                  <a:cubicBezTo>
                    <a:pt x="6768" y="7321"/>
                    <a:pt x="6719" y="7286"/>
                    <a:pt x="6737" y="7241"/>
                  </a:cubicBezTo>
                  <a:cubicBezTo>
                    <a:pt x="6719" y="7286"/>
                    <a:pt x="6801" y="7227"/>
                    <a:pt x="6790" y="7236"/>
                  </a:cubicBezTo>
                  <a:cubicBezTo>
                    <a:pt x="6789" y="7266"/>
                    <a:pt x="6795" y="7317"/>
                    <a:pt x="6794" y="7321"/>
                  </a:cubicBezTo>
                  <a:cubicBezTo>
                    <a:pt x="6907" y="7403"/>
                    <a:pt x="6891" y="7312"/>
                    <a:pt x="6877" y="7178"/>
                  </a:cubicBezTo>
                  <a:cubicBezTo>
                    <a:pt x="6871" y="7130"/>
                    <a:pt x="6909" y="6881"/>
                    <a:pt x="6887" y="6850"/>
                  </a:cubicBezTo>
                  <a:cubicBezTo>
                    <a:pt x="6852" y="6801"/>
                    <a:pt x="6833" y="6931"/>
                    <a:pt x="6800" y="6876"/>
                  </a:cubicBezTo>
                  <a:cubicBezTo>
                    <a:pt x="6793" y="6865"/>
                    <a:pt x="6820" y="6719"/>
                    <a:pt x="6828" y="6714"/>
                  </a:cubicBezTo>
                  <a:cubicBezTo>
                    <a:pt x="6879" y="6676"/>
                    <a:pt x="6927" y="6893"/>
                    <a:pt x="6961" y="6757"/>
                  </a:cubicBezTo>
                  <a:cubicBezTo>
                    <a:pt x="7006" y="6803"/>
                    <a:pt x="7034" y="6876"/>
                    <a:pt x="7077" y="6927"/>
                  </a:cubicBezTo>
                  <a:cubicBezTo>
                    <a:pt x="6982" y="6940"/>
                    <a:pt x="6995" y="6794"/>
                    <a:pt x="6927" y="6972"/>
                  </a:cubicBezTo>
                  <a:cubicBezTo>
                    <a:pt x="6937" y="6971"/>
                    <a:pt x="6976" y="6979"/>
                    <a:pt x="6991" y="6972"/>
                  </a:cubicBezTo>
                  <a:cubicBezTo>
                    <a:pt x="6949" y="7048"/>
                    <a:pt x="6854" y="7036"/>
                    <a:pt x="6921" y="7158"/>
                  </a:cubicBezTo>
                  <a:cubicBezTo>
                    <a:pt x="6960" y="7230"/>
                    <a:pt x="7019" y="7238"/>
                    <a:pt x="7079" y="7298"/>
                  </a:cubicBezTo>
                  <a:cubicBezTo>
                    <a:pt x="7053" y="7254"/>
                    <a:pt x="7036" y="7203"/>
                    <a:pt x="7039" y="7148"/>
                  </a:cubicBezTo>
                  <a:cubicBezTo>
                    <a:pt x="7062" y="7204"/>
                    <a:pt x="7087" y="7179"/>
                    <a:pt x="7107" y="7193"/>
                  </a:cubicBezTo>
                  <a:cubicBezTo>
                    <a:pt x="7125" y="7206"/>
                    <a:pt x="7141" y="7234"/>
                    <a:pt x="7174" y="7275"/>
                  </a:cubicBezTo>
                  <a:cubicBezTo>
                    <a:pt x="7217" y="7329"/>
                    <a:pt x="7240" y="7408"/>
                    <a:pt x="7307" y="7447"/>
                  </a:cubicBezTo>
                  <a:cubicBezTo>
                    <a:pt x="7273" y="7349"/>
                    <a:pt x="7335" y="7264"/>
                    <a:pt x="7394" y="7348"/>
                  </a:cubicBezTo>
                  <a:cubicBezTo>
                    <a:pt x="7293" y="7415"/>
                    <a:pt x="7433" y="7623"/>
                    <a:pt x="7507" y="7647"/>
                  </a:cubicBezTo>
                  <a:cubicBezTo>
                    <a:pt x="7523" y="7653"/>
                    <a:pt x="7511" y="7566"/>
                    <a:pt x="7532" y="7563"/>
                  </a:cubicBezTo>
                  <a:cubicBezTo>
                    <a:pt x="7547" y="7561"/>
                    <a:pt x="7604" y="7621"/>
                    <a:pt x="7609" y="7615"/>
                  </a:cubicBezTo>
                  <a:cubicBezTo>
                    <a:pt x="7644" y="7568"/>
                    <a:pt x="7591" y="7496"/>
                    <a:pt x="7564" y="7476"/>
                  </a:cubicBezTo>
                  <a:cubicBezTo>
                    <a:pt x="7584" y="7471"/>
                    <a:pt x="7632" y="7506"/>
                    <a:pt x="7642" y="7500"/>
                  </a:cubicBezTo>
                  <a:cubicBezTo>
                    <a:pt x="7650" y="7496"/>
                    <a:pt x="7673" y="7466"/>
                    <a:pt x="7681" y="7461"/>
                  </a:cubicBezTo>
                  <a:cubicBezTo>
                    <a:pt x="7733" y="7436"/>
                    <a:pt x="7743" y="7385"/>
                    <a:pt x="7789" y="7371"/>
                  </a:cubicBezTo>
                  <a:cubicBezTo>
                    <a:pt x="7854" y="7494"/>
                    <a:pt x="7912" y="7528"/>
                    <a:pt x="7956" y="7688"/>
                  </a:cubicBezTo>
                  <a:cubicBezTo>
                    <a:pt x="8005" y="7863"/>
                    <a:pt x="8040" y="8044"/>
                    <a:pt x="8092" y="8217"/>
                  </a:cubicBezTo>
                  <a:cubicBezTo>
                    <a:pt x="8108" y="8267"/>
                    <a:pt x="8144" y="8473"/>
                    <a:pt x="8188" y="8493"/>
                  </a:cubicBezTo>
                  <a:cubicBezTo>
                    <a:pt x="8268" y="8528"/>
                    <a:pt x="8215" y="8364"/>
                    <a:pt x="8269" y="8354"/>
                  </a:cubicBezTo>
                  <a:cubicBezTo>
                    <a:pt x="8235" y="8293"/>
                    <a:pt x="8187" y="8290"/>
                    <a:pt x="8152" y="8324"/>
                  </a:cubicBezTo>
                  <a:cubicBezTo>
                    <a:pt x="8180" y="8290"/>
                    <a:pt x="8409" y="7839"/>
                    <a:pt x="8444" y="7865"/>
                  </a:cubicBezTo>
                  <a:cubicBezTo>
                    <a:pt x="8474" y="7886"/>
                    <a:pt x="8316" y="8095"/>
                    <a:pt x="8322" y="8147"/>
                  </a:cubicBezTo>
                  <a:cubicBezTo>
                    <a:pt x="8327" y="8182"/>
                    <a:pt x="8393" y="8219"/>
                    <a:pt x="8426" y="8193"/>
                  </a:cubicBezTo>
                  <a:cubicBezTo>
                    <a:pt x="8457" y="8170"/>
                    <a:pt x="8447" y="8092"/>
                    <a:pt x="8492" y="8066"/>
                  </a:cubicBezTo>
                  <a:cubicBezTo>
                    <a:pt x="8433" y="8241"/>
                    <a:pt x="8611" y="8149"/>
                    <a:pt x="8628" y="8046"/>
                  </a:cubicBezTo>
                  <a:cubicBezTo>
                    <a:pt x="8654" y="8126"/>
                    <a:pt x="8585" y="8132"/>
                    <a:pt x="8590" y="8178"/>
                  </a:cubicBezTo>
                  <a:cubicBezTo>
                    <a:pt x="8597" y="8249"/>
                    <a:pt x="8643" y="8245"/>
                    <a:pt x="8645" y="8249"/>
                  </a:cubicBezTo>
                  <a:cubicBezTo>
                    <a:pt x="8662" y="8278"/>
                    <a:pt x="8693" y="8243"/>
                    <a:pt x="8692" y="8350"/>
                  </a:cubicBezTo>
                  <a:cubicBezTo>
                    <a:pt x="8692" y="8397"/>
                    <a:pt x="8672" y="8428"/>
                    <a:pt x="8644" y="8447"/>
                  </a:cubicBezTo>
                  <a:cubicBezTo>
                    <a:pt x="8645" y="8427"/>
                    <a:pt x="8633" y="8392"/>
                    <a:pt x="8631" y="8380"/>
                  </a:cubicBezTo>
                  <a:cubicBezTo>
                    <a:pt x="8600" y="8403"/>
                    <a:pt x="8479" y="8532"/>
                    <a:pt x="8510" y="8603"/>
                  </a:cubicBezTo>
                  <a:cubicBezTo>
                    <a:pt x="8518" y="8620"/>
                    <a:pt x="8638" y="8658"/>
                    <a:pt x="8636" y="8659"/>
                  </a:cubicBezTo>
                  <a:cubicBezTo>
                    <a:pt x="8693" y="8640"/>
                    <a:pt x="8681" y="8600"/>
                    <a:pt x="8733" y="8548"/>
                  </a:cubicBezTo>
                  <a:cubicBezTo>
                    <a:pt x="8692" y="8664"/>
                    <a:pt x="8812" y="8701"/>
                    <a:pt x="8855" y="8637"/>
                  </a:cubicBezTo>
                  <a:cubicBezTo>
                    <a:pt x="8861" y="8630"/>
                    <a:pt x="8900" y="8414"/>
                    <a:pt x="8896" y="8402"/>
                  </a:cubicBezTo>
                  <a:cubicBezTo>
                    <a:pt x="8879" y="8339"/>
                    <a:pt x="8755" y="8368"/>
                    <a:pt x="8886" y="8294"/>
                  </a:cubicBezTo>
                  <a:cubicBezTo>
                    <a:pt x="8955" y="8255"/>
                    <a:pt x="8999" y="8329"/>
                    <a:pt x="9080" y="8265"/>
                  </a:cubicBezTo>
                  <a:cubicBezTo>
                    <a:pt x="9085" y="8287"/>
                    <a:pt x="9094" y="8348"/>
                    <a:pt x="9095" y="8372"/>
                  </a:cubicBezTo>
                  <a:cubicBezTo>
                    <a:pt x="8981" y="8353"/>
                    <a:pt x="8906" y="8354"/>
                    <a:pt x="8896" y="8535"/>
                  </a:cubicBezTo>
                  <a:cubicBezTo>
                    <a:pt x="8886" y="8727"/>
                    <a:pt x="8977" y="8698"/>
                    <a:pt x="9065" y="8812"/>
                  </a:cubicBezTo>
                  <a:cubicBezTo>
                    <a:pt x="9105" y="8863"/>
                    <a:pt x="9106" y="8925"/>
                    <a:pt x="9157" y="8926"/>
                  </a:cubicBezTo>
                  <a:cubicBezTo>
                    <a:pt x="9182" y="8927"/>
                    <a:pt x="9241" y="8851"/>
                    <a:pt x="9286" y="8848"/>
                  </a:cubicBezTo>
                  <a:cubicBezTo>
                    <a:pt x="9353" y="8844"/>
                    <a:pt x="9456" y="8896"/>
                    <a:pt x="9518" y="8929"/>
                  </a:cubicBezTo>
                  <a:cubicBezTo>
                    <a:pt x="9604" y="8975"/>
                    <a:pt x="9671" y="9015"/>
                    <a:pt x="9725" y="9117"/>
                  </a:cubicBezTo>
                  <a:cubicBezTo>
                    <a:pt x="9753" y="9171"/>
                    <a:pt x="9775" y="9236"/>
                    <a:pt x="9785" y="9302"/>
                  </a:cubicBezTo>
                  <a:cubicBezTo>
                    <a:pt x="9803" y="9420"/>
                    <a:pt x="9779" y="9373"/>
                    <a:pt x="9748" y="9432"/>
                  </a:cubicBezTo>
                  <a:cubicBezTo>
                    <a:pt x="9719" y="9486"/>
                    <a:pt x="9698" y="9481"/>
                    <a:pt x="9676" y="9563"/>
                  </a:cubicBezTo>
                  <a:cubicBezTo>
                    <a:pt x="9671" y="9579"/>
                    <a:pt x="9627" y="9707"/>
                    <a:pt x="9621" y="9712"/>
                  </a:cubicBezTo>
                  <a:cubicBezTo>
                    <a:pt x="9565" y="9758"/>
                    <a:pt x="9493" y="9688"/>
                    <a:pt x="9418" y="9711"/>
                  </a:cubicBezTo>
                  <a:cubicBezTo>
                    <a:pt x="9337" y="9737"/>
                    <a:pt x="9207" y="9817"/>
                    <a:pt x="9249" y="9960"/>
                  </a:cubicBezTo>
                  <a:cubicBezTo>
                    <a:pt x="9275" y="10048"/>
                    <a:pt x="9294" y="10114"/>
                    <a:pt x="9332" y="10186"/>
                  </a:cubicBezTo>
                  <a:cubicBezTo>
                    <a:pt x="9357" y="10236"/>
                    <a:pt x="9393" y="10152"/>
                    <a:pt x="9395" y="10308"/>
                  </a:cubicBezTo>
                  <a:cubicBezTo>
                    <a:pt x="9396" y="10418"/>
                    <a:pt x="9322" y="10555"/>
                    <a:pt x="9422" y="10635"/>
                  </a:cubicBezTo>
                  <a:cubicBezTo>
                    <a:pt x="9511" y="10707"/>
                    <a:pt x="9587" y="10581"/>
                    <a:pt x="9635" y="10493"/>
                  </a:cubicBezTo>
                  <a:cubicBezTo>
                    <a:pt x="9687" y="10399"/>
                    <a:pt x="9729" y="10296"/>
                    <a:pt x="9768" y="10197"/>
                  </a:cubicBezTo>
                  <a:cubicBezTo>
                    <a:pt x="9807" y="10095"/>
                    <a:pt x="9883" y="10003"/>
                    <a:pt x="9928" y="9892"/>
                  </a:cubicBezTo>
                  <a:cubicBezTo>
                    <a:pt x="10000" y="9713"/>
                    <a:pt x="9878" y="9734"/>
                    <a:pt x="9890" y="9598"/>
                  </a:cubicBezTo>
                  <a:cubicBezTo>
                    <a:pt x="9903" y="9449"/>
                    <a:pt x="9971" y="9562"/>
                    <a:pt x="10016" y="9602"/>
                  </a:cubicBezTo>
                  <a:cubicBezTo>
                    <a:pt x="10062" y="9643"/>
                    <a:pt x="10174" y="9758"/>
                    <a:pt x="10218" y="9695"/>
                  </a:cubicBezTo>
                  <a:cubicBezTo>
                    <a:pt x="10253" y="9645"/>
                    <a:pt x="10189" y="9433"/>
                    <a:pt x="10194" y="9377"/>
                  </a:cubicBezTo>
                  <a:cubicBezTo>
                    <a:pt x="10201" y="9312"/>
                    <a:pt x="10242" y="9122"/>
                    <a:pt x="10314" y="9181"/>
                  </a:cubicBezTo>
                  <a:cubicBezTo>
                    <a:pt x="10397" y="9250"/>
                    <a:pt x="10440" y="9234"/>
                    <a:pt x="10339" y="9357"/>
                  </a:cubicBezTo>
                  <a:cubicBezTo>
                    <a:pt x="10345" y="9337"/>
                    <a:pt x="10350" y="9302"/>
                    <a:pt x="10356" y="9283"/>
                  </a:cubicBezTo>
                  <a:cubicBezTo>
                    <a:pt x="10279" y="9371"/>
                    <a:pt x="10185" y="9635"/>
                    <a:pt x="10318" y="9442"/>
                  </a:cubicBezTo>
                  <a:cubicBezTo>
                    <a:pt x="10302" y="9489"/>
                    <a:pt x="10271" y="9531"/>
                    <a:pt x="10246" y="9573"/>
                  </a:cubicBezTo>
                  <a:cubicBezTo>
                    <a:pt x="10279" y="9545"/>
                    <a:pt x="10312" y="9505"/>
                    <a:pt x="10349" y="9500"/>
                  </a:cubicBezTo>
                  <a:cubicBezTo>
                    <a:pt x="10319" y="9545"/>
                    <a:pt x="10277" y="9577"/>
                    <a:pt x="10263" y="9637"/>
                  </a:cubicBezTo>
                  <a:cubicBezTo>
                    <a:pt x="10310" y="9613"/>
                    <a:pt x="10445" y="9375"/>
                    <a:pt x="10470" y="9519"/>
                  </a:cubicBezTo>
                  <a:cubicBezTo>
                    <a:pt x="10488" y="9618"/>
                    <a:pt x="10423" y="9771"/>
                    <a:pt x="10361" y="9834"/>
                  </a:cubicBezTo>
                  <a:cubicBezTo>
                    <a:pt x="10409" y="9825"/>
                    <a:pt x="10473" y="9880"/>
                    <a:pt x="10504" y="9862"/>
                  </a:cubicBezTo>
                  <a:cubicBezTo>
                    <a:pt x="10557" y="9831"/>
                    <a:pt x="10587" y="9665"/>
                    <a:pt x="10495" y="9741"/>
                  </a:cubicBezTo>
                  <a:cubicBezTo>
                    <a:pt x="10506" y="9697"/>
                    <a:pt x="10543" y="9602"/>
                    <a:pt x="10587" y="9645"/>
                  </a:cubicBezTo>
                  <a:cubicBezTo>
                    <a:pt x="10648" y="9705"/>
                    <a:pt x="10539" y="9808"/>
                    <a:pt x="10542" y="9856"/>
                  </a:cubicBezTo>
                  <a:cubicBezTo>
                    <a:pt x="10548" y="9944"/>
                    <a:pt x="10697" y="10030"/>
                    <a:pt x="10743" y="10081"/>
                  </a:cubicBezTo>
                  <a:cubicBezTo>
                    <a:pt x="10823" y="10169"/>
                    <a:pt x="10858" y="10227"/>
                    <a:pt x="10970" y="10222"/>
                  </a:cubicBezTo>
                  <a:cubicBezTo>
                    <a:pt x="10993" y="10221"/>
                    <a:pt x="11013" y="10259"/>
                    <a:pt x="11030" y="10250"/>
                  </a:cubicBezTo>
                  <a:cubicBezTo>
                    <a:pt x="11040" y="10244"/>
                    <a:pt x="11033" y="10207"/>
                    <a:pt x="11051" y="10203"/>
                  </a:cubicBezTo>
                  <a:cubicBezTo>
                    <a:pt x="11103" y="10190"/>
                    <a:pt x="11127" y="10089"/>
                    <a:pt x="11162" y="10218"/>
                  </a:cubicBezTo>
                  <a:cubicBezTo>
                    <a:pt x="11236" y="10104"/>
                    <a:pt x="11162" y="10023"/>
                    <a:pt x="11098" y="9953"/>
                  </a:cubicBezTo>
                  <a:cubicBezTo>
                    <a:pt x="11074" y="9926"/>
                    <a:pt x="11051" y="9902"/>
                    <a:pt x="11025" y="9880"/>
                  </a:cubicBezTo>
                  <a:cubicBezTo>
                    <a:pt x="11022" y="9878"/>
                    <a:pt x="10918" y="9803"/>
                    <a:pt x="10927" y="9822"/>
                  </a:cubicBezTo>
                  <a:cubicBezTo>
                    <a:pt x="10846" y="9670"/>
                    <a:pt x="11301" y="9625"/>
                    <a:pt x="11181" y="9864"/>
                  </a:cubicBezTo>
                  <a:cubicBezTo>
                    <a:pt x="11215" y="9839"/>
                    <a:pt x="11243" y="9835"/>
                    <a:pt x="11241" y="9898"/>
                  </a:cubicBezTo>
                  <a:cubicBezTo>
                    <a:pt x="11240" y="9911"/>
                    <a:pt x="11221" y="9962"/>
                    <a:pt x="11224" y="9970"/>
                  </a:cubicBezTo>
                  <a:cubicBezTo>
                    <a:pt x="11226" y="9975"/>
                    <a:pt x="11262" y="10019"/>
                    <a:pt x="11261" y="10011"/>
                  </a:cubicBezTo>
                  <a:cubicBezTo>
                    <a:pt x="11266" y="10054"/>
                    <a:pt x="11319" y="10045"/>
                    <a:pt x="11273" y="10117"/>
                  </a:cubicBezTo>
                  <a:cubicBezTo>
                    <a:pt x="11232" y="10181"/>
                    <a:pt x="11247" y="10185"/>
                    <a:pt x="11251" y="10268"/>
                  </a:cubicBezTo>
                  <a:cubicBezTo>
                    <a:pt x="11266" y="10548"/>
                    <a:pt x="11410" y="10490"/>
                    <a:pt x="11537" y="10516"/>
                  </a:cubicBezTo>
                  <a:cubicBezTo>
                    <a:pt x="11505" y="10547"/>
                    <a:pt x="11499" y="10653"/>
                    <a:pt x="11549" y="10646"/>
                  </a:cubicBezTo>
                  <a:cubicBezTo>
                    <a:pt x="11555" y="10645"/>
                    <a:pt x="11583" y="10495"/>
                    <a:pt x="11597" y="10463"/>
                  </a:cubicBezTo>
                  <a:cubicBezTo>
                    <a:pt x="11601" y="10454"/>
                    <a:pt x="11630" y="10389"/>
                    <a:pt x="11631" y="10381"/>
                  </a:cubicBezTo>
                  <a:cubicBezTo>
                    <a:pt x="11631" y="10380"/>
                    <a:pt x="11634" y="10284"/>
                    <a:pt x="11633" y="10286"/>
                  </a:cubicBezTo>
                  <a:cubicBezTo>
                    <a:pt x="11652" y="10228"/>
                    <a:pt x="11640" y="10157"/>
                    <a:pt x="11702" y="10210"/>
                  </a:cubicBezTo>
                  <a:cubicBezTo>
                    <a:pt x="11622" y="10274"/>
                    <a:pt x="11732" y="10323"/>
                    <a:pt x="11677" y="10380"/>
                  </a:cubicBezTo>
                  <a:cubicBezTo>
                    <a:pt x="11638" y="10420"/>
                    <a:pt x="11613" y="10495"/>
                    <a:pt x="11634" y="10527"/>
                  </a:cubicBezTo>
                  <a:cubicBezTo>
                    <a:pt x="11694" y="10619"/>
                    <a:pt x="11726" y="10478"/>
                    <a:pt x="11714" y="10484"/>
                  </a:cubicBezTo>
                  <a:cubicBezTo>
                    <a:pt x="11748" y="10466"/>
                    <a:pt x="11808" y="10395"/>
                    <a:pt x="11818" y="10517"/>
                  </a:cubicBezTo>
                  <a:cubicBezTo>
                    <a:pt x="11853" y="10541"/>
                    <a:pt x="11883" y="10534"/>
                    <a:pt x="11925" y="10546"/>
                  </a:cubicBezTo>
                  <a:cubicBezTo>
                    <a:pt x="11898" y="10304"/>
                    <a:pt x="12025" y="10670"/>
                    <a:pt x="12060" y="10737"/>
                  </a:cubicBezTo>
                  <a:cubicBezTo>
                    <a:pt x="12122" y="10854"/>
                    <a:pt x="12203" y="10961"/>
                    <a:pt x="12195" y="11122"/>
                  </a:cubicBezTo>
                  <a:cubicBezTo>
                    <a:pt x="12238" y="11044"/>
                    <a:pt x="12249" y="11221"/>
                    <a:pt x="12315" y="11249"/>
                  </a:cubicBezTo>
                  <a:cubicBezTo>
                    <a:pt x="12328" y="11255"/>
                    <a:pt x="12330" y="11170"/>
                    <a:pt x="12346" y="11176"/>
                  </a:cubicBezTo>
                  <a:cubicBezTo>
                    <a:pt x="12358" y="11181"/>
                    <a:pt x="12367" y="11212"/>
                    <a:pt x="12372" y="11214"/>
                  </a:cubicBezTo>
                  <a:cubicBezTo>
                    <a:pt x="12387" y="11217"/>
                    <a:pt x="12423" y="11267"/>
                    <a:pt x="12437" y="11282"/>
                  </a:cubicBezTo>
                  <a:cubicBezTo>
                    <a:pt x="12536" y="11388"/>
                    <a:pt x="12516" y="11341"/>
                    <a:pt x="12536" y="11530"/>
                  </a:cubicBezTo>
                  <a:cubicBezTo>
                    <a:pt x="12540" y="11570"/>
                    <a:pt x="12580" y="11602"/>
                    <a:pt x="12605" y="11622"/>
                  </a:cubicBezTo>
                  <a:cubicBezTo>
                    <a:pt x="12631" y="11642"/>
                    <a:pt x="12658" y="11595"/>
                    <a:pt x="12677" y="11614"/>
                  </a:cubicBezTo>
                  <a:cubicBezTo>
                    <a:pt x="12712" y="11648"/>
                    <a:pt x="12774" y="11779"/>
                    <a:pt x="12796" y="11826"/>
                  </a:cubicBezTo>
                  <a:cubicBezTo>
                    <a:pt x="12814" y="11865"/>
                    <a:pt x="12816" y="11924"/>
                    <a:pt x="12839" y="11973"/>
                  </a:cubicBezTo>
                  <a:cubicBezTo>
                    <a:pt x="12857" y="12011"/>
                    <a:pt x="12878" y="12034"/>
                    <a:pt x="12897" y="12068"/>
                  </a:cubicBezTo>
                  <a:cubicBezTo>
                    <a:pt x="12938" y="12143"/>
                    <a:pt x="12961" y="12230"/>
                    <a:pt x="13014" y="12269"/>
                  </a:cubicBezTo>
                  <a:cubicBezTo>
                    <a:pt x="13031" y="12282"/>
                    <a:pt x="13107" y="12284"/>
                    <a:pt x="13110" y="12288"/>
                  </a:cubicBezTo>
                  <a:cubicBezTo>
                    <a:pt x="13139" y="12331"/>
                    <a:pt x="13115" y="12428"/>
                    <a:pt x="13123" y="12487"/>
                  </a:cubicBezTo>
                  <a:cubicBezTo>
                    <a:pt x="13144" y="12653"/>
                    <a:pt x="13092" y="12753"/>
                    <a:pt x="13008" y="12873"/>
                  </a:cubicBezTo>
                  <a:cubicBezTo>
                    <a:pt x="12884" y="13047"/>
                    <a:pt x="12934" y="13178"/>
                    <a:pt x="12935" y="13402"/>
                  </a:cubicBezTo>
                  <a:cubicBezTo>
                    <a:pt x="12937" y="13614"/>
                    <a:pt x="12932" y="13784"/>
                    <a:pt x="13121" y="13765"/>
                  </a:cubicBezTo>
                  <a:cubicBezTo>
                    <a:pt x="13275" y="13751"/>
                    <a:pt x="13414" y="13609"/>
                    <a:pt x="13563" y="13566"/>
                  </a:cubicBezTo>
                  <a:cubicBezTo>
                    <a:pt x="13639" y="13544"/>
                    <a:pt x="13694" y="13528"/>
                    <a:pt x="13773" y="13518"/>
                  </a:cubicBezTo>
                  <a:cubicBezTo>
                    <a:pt x="13842" y="13510"/>
                    <a:pt x="13927" y="13512"/>
                    <a:pt x="13990" y="13496"/>
                  </a:cubicBezTo>
                  <a:cubicBezTo>
                    <a:pt x="14133" y="13462"/>
                    <a:pt x="14091" y="13284"/>
                    <a:pt x="14075" y="13108"/>
                  </a:cubicBezTo>
                  <a:cubicBezTo>
                    <a:pt x="14070" y="13058"/>
                    <a:pt x="14044" y="13036"/>
                    <a:pt x="14043" y="12986"/>
                  </a:cubicBezTo>
                  <a:cubicBezTo>
                    <a:pt x="14042" y="12942"/>
                    <a:pt x="14072" y="12933"/>
                    <a:pt x="14072" y="12898"/>
                  </a:cubicBezTo>
                  <a:cubicBezTo>
                    <a:pt x="14072" y="12831"/>
                    <a:pt x="14042" y="12691"/>
                    <a:pt x="14018" y="12638"/>
                  </a:cubicBezTo>
                  <a:cubicBezTo>
                    <a:pt x="13977" y="12550"/>
                    <a:pt x="13930" y="12575"/>
                    <a:pt x="13914" y="12509"/>
                  </a:cubicBezTo>
                  <a:cubicBezTo>
                    <a:pt x="13894" y="12426"/>
                    <a:pt x="13952" y="12418"/>
                    <a:pt x="14004" y="12407"/>
                  </a:cubicBezTo>
                  <a:cubicBezTo>
                    <a:pt x="14034" y="12401"/>
                    <a:pt x="14036" y="12336"/>
                    <a:pt x="14073" y="12379"/>
                  </a:cubicBezTo>
                  <a:cubicBezTo>
                    <a:pt x="14122" y="12437"/>
                    <a:pt x="14112" y="12385"/>
                    <a:pt x="14150" y="12383"/>
                  </a:cubicBezTo>
                  <a:cubicBezTo>
                    <a:pt x="14180" y="12382"/>
                    <a:pt x="14240" y="12377"/>
                    <a:pt x="14270" y="12356"/>
                  </a:cubicBezTo>
                  <a:cubicBezTo>
                    <a:pt x="14115" y="12484"/>
                    <a:pt x="14321" y="12478"/>
                    <a:pt x="14366" y="12504"/>
                  </a:cubicBezTo>
                  <a:cubicBezTo>
                    <a:pt x="14399" y="12524"/>
                    <a:pt x="14367" y="12564"/>
                    <a:pt x="14389" y="12595"/>
                  </a:cubicBezTo>
                  <a:cubicBezTo>
                    <a:pt x="14401" y="12613"/>
                    <a:pt x="14415" y="12589"/>
                    <a:pt x="14436" y="12618"/>
                  </a:cubicBezTo>
                  <a:cubicBezTo>
                    <a:pt x="14522" y="12741"/>
                    <a:pt x="14574" y="12813"/>
                    <a:pt x="14734" y="12759"/>
                  </a:cubicBezTo>
                  <a:cubicBezTo>
                    <a:pt x="14717" y="12747"/>
                    <a:pt x="14697" y="12721"/>
                    <a:pt x="14680" y="12710"/>
                  </a:cubicBezTo>
                  <a:cubicBezTo>
                    <a:pt x="14742" y="12736"/>
                    <a:pt x="14777" y="12666"/>
                    <a:pt x="14827" y="12727"/>
                  </a:cubicBezTo>
                  <a:cubicBezTo>
                    <a:pt x="14880" y="12645"/>
                    <a:pt x="14910" y="12678"/>
                    <a:pt x="14981" y="12682"/>
                  </a:cubicBezTo>
                  <a:cubicBezTo>
                    <a:pt x="15016" y="12683"/>
                    <a:pt x="15082" y="12667"/>
                    <a:pt x="15115" y="12678"/>
                  </a:cubicBezTo>
                  <a:cubicBezTo>
                    <a:pt x="15147" y="12689"/>
                    <a:pt x="15185" y="12755"/>
                    <a:pt x="15220" y="12774"/>
                  </a:cubicBezTo>
                  <a:cubicBezTo>
                    <a:pt x="15224" y="12725"/>
                    <a:pt x="15315" y="12673"/>
                    <a:pt x="15350" y="12700"/>
                  </a:cubicBezTo>
                  <a:cubicBezTo>
                    <a:pt x="15402" y="12741"/>
                    <a:pt x="15387" y="12850"/>
                    <a:pt x="15365" y="12921"/>
                  </a:cubicBezTo>
                  <a:cubicBezTo>
                    <a:pt x="15423" y="12875"/>
                    <a:pt x="15451" y="12605"/>
                    <a:pt x="15494" y="12630"/>
                  </a:cubicBezTo>
                  <a:cubicBezTo>
                    <a:pt x="15514" y="12641"/>
                    <a:pt x="15405" y="13140"/>
                    <a:pt x="15381" y="12953"/>
                  </a:cubicBezTo>
                  <a:cubicBezTo>
                    <a:pt x="15331" y="12998"/>
                    <a:pt x="15304" y="13060"/>
                    <a:pt x="15324" y="13137"/>
                  </a:cubicBezTo>
                  <a:cubicBezTo>
                    <a:pt x="15360" y="13078"/>
                    <a:pt x="15386" y="13116"/>
                    <a:pt x="15418" y="13094"/>
                  </a:cubicBezTo>
                  <a:cubicBezTo>
                    <a:pt x="15428" y="13088"/>
                    <a:pt x="15488" y="13066"/>
                    <a:pt x="15492" y="13060"/>
                  </a:cubicBezTo>
                  <a:cubicBezTo>
                    <a:pt x="15503" y="13040"/>
                    <a:pt x="15485" y="12992"/>
                    <a:pt x="15477" y="13005"/>
                  </a:cubicBezTo>
                  <a:cubicBezTo>
                    <a:pt x="15471" y="13015"/>
                    <a:pt x="15476" y="12947"/>
                    <a:pt x="15481" y="12936"/>
                  </a:cubicBezTo>
                  <a:cubicBezTo>
                    <a:pt x="15485" y="12928"/>
                    <a:pt x="15529" y="12941"/>
                    <a:pt x="15540" y="12934"/>
                  </a:cubicBezTo>
                  <a:cubicBezTo>
                    <a:pt x="15586" y="12907"/>
                    <a:pt x="15587" y="12862"/>
                    <a:pt x="15643" y="12898"/>
                  </a:cubicBezTo>
                  <a:cubicBezTo>
                    <a:pt x="15733" y="12954"/>
                    <a:pt x="15651" y="13128"/>
                    <a:pt x="15630" y="13194"/>
                  </a:cubicBezTo>
                  <a:cubicBezTo>
                    <a:pt x="15604" y="13275"/>
                    <a:pt x="15578" y="13341"/>
                    <a:pt x="15571" y="13419"/>
                  </a:cubicBezTo>
                  <a:cubicBezTo>
                    <a:pt x="15566" y="13472"/>
                    <a:pt x="15621" y="13470"/>
                    <a:pt x="15577" y="13546"/>
                  </a:cubicBezTo>
                  <a:cubicBezTo>
                    <a:pt x="15644" y="13540"/>
                    <a:pt x="15512" y="13692"/>
                    <a:pt x="15498" y="13497"/>
                  </a:cubicBezTo>
                  <a:cubicBezTo>
                    <a:pt x="15482" y="13554"/>
                    <a:pt x="15466" y="13612"/>
                    <a:pt x="15478" y="13670"/>
                  </a:cubicBezTo>
                  <a:cubicBezTo>
                    <a:pt x="15355" y="13649"/>
                    <a:pt x="15367" y="13532"/>
                    <a:pt x="15257" y="13663"/>
                  </a:cubicBezTo>
                  <a:cubicBezTo>
                    <a:pt x="15213" y="13717"/>
                    <a:pt x="15210" y="13695"/>
                    <a:pt x="15181" y="13801"/>
                  </a:cubicBezTo>
                  <a:cubicBezTo>
                    <a:pt x="15175" y="13821"/>
                    <a:pt x="15141" y="14011"/>
                    <a:pt x="15116" y="13960"/>
                  </a:cubicBezTo>
                  <a:cubicBezTo>
                    <a:pt x="15089" y="13903"/>
                    <a:pt x="15050" y="13955"/>
                    <a:pt x="15025" y="13934"/>
                  </a:cubicBezTo>
                  <a:cubicBezTo>
                    <a:pt x="15004" y="13917"/>
                    <a:pt x="14994" y="13853"/>
                    <a:pt x="14965" y="13833"/>
                  </a:cubicBezTo>
                  <a:cubicBezTo>
                    <a:pt x="14935" y="13811"/>
                    <a:pt x="14899" y="13827"/>
                    <a:pt x="14882" y="13819"/>
                  </a:cubicBezTo>
                  <a:cubicBezTo>
                    <a:pt x="14861" y="13810"/>
                    <a:pt x="14848" y="13752"/>
                    <a:pt x="14815" y="13743"/>
                  </a:cubicBezTo>
                  <a:cubicBezTo>
                    <a:pt x="14809" y="13829"/>
                    <a:pt x="14863" y="13890"/>
                    <a:pt x="14867" y="13984"/>
                  </a:cubicBezTo>
                  <a:cubicBezTo>
                    <a:pt x="14868" y="13997"/>
                    <a:pt x="14857" y="14107"/>
                    <a:pt x="14853" y="14117"/>
                  </a:cubicBezTo>
                  <a:cubicBezTo>
                    <a:pt x="14833" y="14168"/>
                    <a:pt x="14801" y="14168"/>
                    <a:pt x="14783" y="14245"/>
                  </a:cubicBezTo>
                  <a:cubicBezTo>
                    <a:pt x="14753" y="14376"/>
                    <a:pt x="14823" y="14721"/>
                    <a:pt x="14706" y="14817"/>
                  </a:cubicBezTo>
                  <a:cubicBezTo>
                    <a:pt x="14632" y="14875"/>
                    <a:pt x="14597" y="14808"/>
                    <a:pt x="14614" y="14726"/>
                  </a:cubicBezTo>
                  <a:cubicBezTo>
                    <a:pt x="14626" y="14666"/>
                    <a:pt x="14730" y="14594"/>
                    <a:pt x="14717" y="14521"/>
                  </a:cubicBezTo>
                  <a:cubicBezTo>
                    <a:pt x="14705" y="14455"/>
                    <a:pt x="14678" y="14474"/>
                    <a:pt x="14651" y="14511"/>
                  </a:cubicBezTo>
                  <a:cubicBezTo>
                    <a:pt x="14534" y="14670"/>
                    <a:pt x="14594" y="14476"/>
                    <a:pt x="14594" y="14385"/>
                  </a:cubicBezTo>
                  <a:cubicBezTo>
                    <a:pt x="14594" y="14338"/>
                    <a:pt x="14577" y="14210"/>
                    <a:pt x="14565" y="14170"/>
                  </a:cubicBezTo>
                  <a:cubicBezTo>
                    <a:pt x="14555" y="14141"/>
                    <a:pt x="14515" y="14119"/>
                    <a:pt x="14501" y="14069"/>
                  </a:cubicBezTo>
                  <a:cubicBezTo>
                    <a:pt x="14492" y="14037"/>
                    <a:pt x="14517" y="13982"/>
                    <a:pt x="14511" y="13967"/>
                  </a:cubicBezTo>
                  <a:cubicBezTo>
                    <a:pt x="14487" y="13895"/>
                    <a:pt x="14428" y="13889"/>
                    <a:pt x="14392" y="13849"/>
                  </a:cubicBezTo>
                  <a:cubicBezTo>
                    <a:pt x="14308" y="13759"/>
                    <a:pt x="14260" y="13573"/>
                    <a:pt x="14140" y="13556"/>
                  </a:cubicBezTo>
                  <a:cubicBezTo>
                    <a:pt x="14064" y="13545"/>
                    <a:pt x="13980" y="13597"/>
                    <a:pt x="13902" y="13598"/>
                  </a:cubicBezTo>
                  <a:cubicBezTo>
                    <a:pt x="13833" y="13599"/>
                    <a:pt x="13764" y="13581"/>
                    <a:pt x="13693" y="13585"/>
                  </a:cubicBezTo>
                  <a:cubicBezTo>
                    <a:pt x="13522" y="13596"/>
                    <a:pt x="13407" y="13738"/>
                    <a:pt x="13244" y="13799"/>
                  </a:cubicBezTo>
                  <a:cubicBezTo>
                    <a:pt x="13169" y="13827"/>
                    <a:pt x="13081" y="13806"/>
                    <a:pt x="13010" y="13839"/>
                  </a:cubicBezTo>
                  <a:cubicBezTo>
                    <a:pt x="12877" y="13899"/>
                    <a:pt x="12874" y="14167"/>
                    <a:pt x="12843" y="14340"/>
                  </a:cubicBezTo>
                  <a:cubicBezTo>
                    <a:pt x="12802" y="14572"/>
                    <a:pt x="12732" y="14824"/>
                    <a:pt x="12655" y="15040"/>
                  </a:cubicBezTo>
                  <a:cubicBezTo>
                    <a:pt x="12591" y="15221"/>
                    <a:pt x="12501" y="15359"/>
                    <a:pt x="12466" y="15554"/>
                  </a:cubicBezTo>
                  <a:cubicBezTo>
                    <a:pt x="12420" y="15806"/>
                    <a:pt x="12585" y="15830"/>
                    <a:pt x="12709" y="15932"/>
                  </a:cubicBezTo>
                  <a:cubicBezTo>
                    <a:pt x="12830" y="16033"/>
                    <a:pt x="12911" y="16143"/>
                    <a:pt x="13053" y="16179"/>
                  </a:cubicBezTo>
                  <a:cubicBezTo>
                    <a:pt x="13121" y="16195"/>
                    <a:pt x="13177" y="16200"/>
                    <a:pt x="13228" y="16280"/>
                  </a:cubicBezTo>
                  <a:cubicBezTo>
                    <a:pt x="13257" y="16325"/>
                    <a:pt x="13250" y="16383"/>
                    <a:pt x="13271" y="16414"/>
                  </a:cubicBezTo>
                  <a:cubicBezTo>
                    <a:pt x="13288" y="16440"/>
                    <a:pt x="13332" y="16441"/>
                    <a:pt x="13336" y="16448"/>
                  </a:cubicBezTo>
                  <a:cubicBezTo>
                    <a:pt x="13379" y="16520"/>
                    <a:pt x="13390" y="16559"/>
                    <a:pt x="13444" y="16632"/>
                  </a:cubicBezTo>
                  <a:cubicBezTo>
                    <a:pt x="13488" y="16692"/>
                    <a:pt x="13538" y="16762"/>
                    <a:pt x="13571" y="16829"/>
                  </a:cubicBezTo>
                  <a:cubicBezTo>
                    <a:pt x="13536" y="16846"/>
                    <a:pt x="13444" y="16902"/>
                    <a:pt x="13408" y="16892"/>
                  </a:cubicBezTo>
                  <a:cubicBezTo>
                    <a:pt x="13365" y="16879"/>
                    <a:pt x="13379" y="16816"/>
                    <a:pt x="13335" y="16805"/>
                  </a:cubicBezTo>
                  <a:cubicBezTo>
                    <a:pt x="13248" y="16782"/>
                    <a:pt x="13106" y="16921"/>
                    <a:pt x="13078" y="16985"/>
                  </a:cubicBezTo>
                  <a:cubicBezTo>
                    <a:pt x="13071" y="17001"/>
                    <a:pt x="13100" y="17021"/>
                    <a:pt x="13080" y="17059"/>
                  </a:cubicBezTo>
                  <a:cubicBezTo>
                    <a:pt x="13061" y="17094"/>
                    <a:pt x="13033" y="17128"/>
                    <a:pt x="13022" y="17169"/>
                  </a:cubicBezTo>
                  <a:cubicBezTo>
                    <a:pt x="13011" y="17211"/>
                    <a:pt x="13029" y="17255"/>
                    <a:pt x="13021" y="17296"/>
                  </a:cubicBezTo>
                  <a:cubicBezTo>
                    <a:pt x="13000" y="17398"/>
                    <a:pt x="12959" y="17520"/>
                    <a:pt x="12881" y="17537"/>
                  </a:cubicBezTo>
                  <a:cubicBezTo>
                    <a:pt x="12809" y="17552"/>
                    <a:pt x="12814" y="17428"/>
                    <a:pt x="12790" y="17402"/>
                  </a:cubicBezTo>
                  <a:cubicBezTo>
                    <a:pt x="12730" y="17335"/>
                    <a:pt x="12791" y="17469"/>
                    <a:pt x="12692" y="17502"/>
                  </a:cubicBezTo>
                  <a:cubicBezTo>
                    <a:pt x="12660" y="17512"/>
                    <a:pt x="12616" y="17562"/>
                    <a:pt x="12593" y="17589"/>
                  </a:cubicBezTo>
                  <a:cubicBezTo>
                    <a:pt x="12542" y="17647"/>
                    <a:pt x="12543" y="17544"/>
                    <a:pt x="12546" y="17663"/>
                  </a:cubicBezTo>
                  <a:cubicBezTo>
                    <a:pt x="12548" y="17734"/>
                    <a:pt x="12652" y="17826"/>
                    <a:pt x="12580" y="17906"/>
                  </a:cubicBezTo>
                  <a:cubicBezTo>
                    <a:pt x="12534" y="17958"/>
                    <a:pt x="12389" y="18016"/>
                    <a:pt x="12329" y="18018"/>
                  </a:cubicBezTo>
                  <a:cubicBezTo>
                    <a:pt x="12247" y="18021"/>
                    <a:pt x="12246" y="17999"/>
                    <a:pt x="12205" y="17903"/>
                  </a:cubicBezTo>
                  <a:cubicBezTo>
                    <a:pt x="12183" y="18089"/>
                    <a:pt x="12025" y="17984"/>
                    <a:pt x="12002" y="18080"/>
                  </a:cubicBezTo>
                  <a:cubicBezTo>
                    <a:pt x="11978" y="18182"/>
                    <a:pt x="12106" y="18171"/>
                    <a:pt x="12127" y="18182"/>
                  </a:cubicBezTo>
                  <a:cubicBezTo>
                    <a:pt x="12156" y="18197"/>
                    <a:pt x="12200" y="18231"/>
                    <a:pt x="12224" y="18242"/>
                  </a:cubicBezTo>
                  <a:cubicBezTo>
                    <a:pt x="12228" y="18244"/>
                    <a:pt x="12222" y="18278"/>
                    <a:pt x="12236" y="18287"/>
                  </a:cubicBezTo>
                  <a:cubicBezTo>
                    <a:pt x="12249" y="18294"/>
                    <a:pt x="12268" y="18260"/>
                    <a:pt x="12288" y="18271"/>
                  </a:cubicBezTo>
                  <a:cubicBezTo>
                    <a:pt x="12334" y="18295"/>
                    <a:pt x="12393" y="18317"/>
                    <a:pt x="12451" y="18373"/>
                  </a:cubicBezTo>
                  <a:cubicBezTo>
                    <a:pt x="12472" y="18394"/>
                    <a:pt x="12585" y="18568"/>
                    <a:pt x="12596" y="18565"/>
                  </a:cubicBezTo>
                  <a:cubicBezTo>
                    <a:pt x="12645" y="18551"/>
                    <a:pt x="12601" y="18197"/>
                    <a:pt x="12658" y="18320"/>
                  </a:cubicBezTo>
                  <a:cubicBezTo>
                    <a:pt x="12679" y="18367"/>
                    <a:pt x="12658" y="18519"/>
                    <a:pt x="12656" y="18573"/>
                  </a:cubicBezTo>
                  <a:cubicBezTo>
                    <a:pt x="12654" y="18619"/>
                    <a:pt x="12705" y="18598"/>
                    <a:pt x="12681" y="18643"/>
                  </a:cubicBezTo>
                  <a:cubicBezTo>
                    <a:pt x="12674" y="18656"/>
                    <a:pt x="12627" y="18608"/>
                    <a:pt x="12622" y="18614"/>
                  </a:cubicBezTo>
                  <a:cubicBezTo>
                    <a:pt x="12610" y="18630"/>
                    <a:pt x="12613" y="18657"/>
                    <a:pt x="12604" y="18671"/>
                  </a:cubicBezTo>
                  <a:cubicBezTo>
                    <a:pt x="12549" y="18757"/>
                    <a:pt x="12601" y="18855"/>
                    <a:pt x="12538" y="18926"/>
                  </a:cubicBezTo>
                  <a:cubicBezTo>
                    <a:pt x="12554" y="18922"/>
                    <a:pt x="12598" y="18908"/>
                    <a:pt x="12602" y="18906"/>
                  </a:cubicBezTo>
                  <a:cubicBezTo>
                    <a:pt x="12620" y="18863"/>
                    <a:pt x="12629" y="18812"/>
                    <a:pt x="12633" y="18764"/>
                  </a:cubicBezTo>
                  <a:cubicBezTo>
                    <a:pt x="12650" y="18776"/>
                    <a:pt x="12812" y="19180"/>
                    <a:pt x="12818" y="19165"/>
                  </a:cubicBezTo>
                  <a:cubicBezTo>
                    <a:pt x="12809" y="19188"/>
                    <a:pt x="12625" y="19143"/>
                    <a:pt x="12622" y="19136"/>
                  </a:cubicBezTo>
                  <a:cubicBezTo>
                    <a:pt x="12592" y="19069"/>
                    <a:pt x="12669" y="19058"/>
                    <a:pt x="12642" y="19000"/>
                  </a:cubicBezTo>
                  <a:cubicBezTo>
                    <a:pt x="12621" y="18954"/>
                    <a:pt x="12604" y="18953"/>
                    <a:pt x="12562" y="18972"/>
                  </a:cubicBezTo>
                  <a:cubicBezTo>
                    <a:pt x="12503" y="18999"/>
                    <a:pt x="12524" y="18930"/>
                    <a:pt x="12497" y="18899"/>
                  </a:cubicBezTo>
                  <a:cubicBezTo>
                    <a:pt x="12408" y="18797"/>
                    <a:pt x="12445" y="18856"/>
                    <a:pt x="12510" y="18771"/>
                  </a:cubicBezTo>
                  <a:cubicBezTo>
                    <a:pt x="12590" y="18670"/>
                    <a:pt x="12573" y="18529"/>
                    <a:pt x="12478" y="18438"/>
                  </a:cubicBezTo>
                  <a:cubicBezTo>
                    <a:pt x="12426" y="18387"/>
                    <a:pt x="12374" y="18399"/>
                    <a:pt x="12317" y="18377"/>
                  </a:cubicBezTo>
                  <a:cubicBezTo>
                    <a:pt x="12266" y="18357"/>
                    <a:pt x="12265" y="18364"/>
                    <a:pt x="12225" y="18328"/>
                  </a:cubicBezTo>
                  <a:cubicBezTo>
                    <a:pt x="12204" y="18309"/>
                    <a:pt x="12203" y="18266"/>
                    <a:pt x="12190" y="18253"/>
                  </a:cubicBezTo>
                  <a:cubicBezTo>
                    <a:pt x="12096" y="18160"/>
                    <a:pt x="11929" y="18209"/>
                    <a:pt x="11827" y="18202"/>
                  </a:cubicBezTo>
                  <a:cubicBezTo>
                    <a:pt x="11682" y="18192"/>
                    <a:pt x="11520" y="18099"/>
                    <a:pt x="11390" y="18174"/>
                  </a:cubicBezTo>
                  <a:cubicBezTo>
                    <a:pt x="11362" y="18190"/>
                    <a:pt x="11324" y="18146"/>
                    <a:pt x="11284" y="18162"/>
                  </a:cubicBezTo>
                  <a:cubicBezTo>
                    <a:pt x="11242" y="18180"/>
                    <a:pt x="11223" y="18260"/>
                    <a:pt x="11178" y="18269"/>
                  </a:cubicBezTo>
                  <a:cubicBezTo>
                    <a:pt x="11123" y="18281"/>
                    <a:pt x="11081" y="18200"/>
                    <a:pt x="11004" y="18223"/>
                  </a:cubicBezTo>
                  <a:cubicBezTo>
                    <a:pt x="11007" y="18211"/>
                    <a:pt x="11015" y="18207"/>
                    <a:pt x="11019" y="18195"/>
                  </a:cubicBezTo>
                  <a:cubicBezTo>
                    <a:pt x="10993" y="18198"/>
                    <a:pt x="10872" y="18248"/>
                    <a:pt x="10903" y="18305"/>
                  </a:cubicBezTo>
                  <a:cubicBezTo>
                    <a:pt x="10946" y="18386"/>
                    <a:pt x="11063" y="18371"/>
                    <a:pt x="11017" y="18471"/>
                  </a:cubicBezTo>
                  <a:cubicBezTo>
                    <a:pt x="11005" y="18497"/>
                    <a:pt x="10941" y="18453"/>
                    <a:pt x="10925" y="18484"/>
                  </a:cubicBezTo>
                  <a:cubicBezTo>
                    <a:pt x="10891" y="18552"/>
                    <a:pt x="10939" y="18635"/>
                    <a:pt x="10966" y="18677"/>
                  </a:cubicBezTo>
                  <a:cubicBezTo>
                    <a:pt x="10995" y="18721"/>
                    <a:pt x="11122" y="18779"/>
                    <a:pt x="11129" y="18839"/>
                  </a:cubicBezTo>
                  <a:cubicBezTo>
                    <a:pt x="11144" y="18972"/>
                    <a:pt x="11008" y="19003"/>
                    <a:pt x="10966" y="19052"/>
                  </a:cubicBezTo>
                  <a:cubicBezTo>
                    <a:pt x="10875" y="19160"/>
                    <a:pt x="10744" y="19425"/>
                    <a:pt x="10719" y="19591"/>
                  </a:cubicBezTo>
                  <a:cubicBezTo>
                    <a:pt x="10701" y="19718"/>
                    <a:pt x="10729" y="19747"/>
                    <a:pt x="10774" y="19851"/>
                  </a:cubicBezTo>
                  <a:cubicBezTo>
                    <a:pt x="10823" y="19965"/>
                    <a:pt x="10853" y="20195"/>
                    <a:pt x="10730" y="20291"/>
                  </a:cubicBezTo>
                  <a:cubicBezTo>
                    <a:pt x="10836" y="20204"/>
                    <a:pt x="10811" y="20304"/>
                    <a:pt x="10846" y="20388"/>
                  </a:cubicBezTo>
                  <a:cubicBezTo>
                    <a:pt x="10861" y="20425"/>
                    <a:pt x="10900" y="20493"/>
                    <a:pt x="10908" y="20509"/>
                  </a:cubicBezTo>
                  <a:cubicBezTo>
                    <a:pt x="10900" y="20494"/>
                    <a:pt x="10878" y="20538"/>
                    <a:pt x="10895" y="20562"/>
                  </a:cubicBezTo>
                  <a:cubicBezTo>
                    <a:pt x="10918" y="20591"/>
                    <a:pt x="10967" y="20583"/>
                    <a:pt x="10994" y="20606"/>
                  </a:cubicBezTo>
                  <a:cubicBezTo>
                    <a:pt x="10996" y="20608"/>
                    <a:pt x="11010" y="20674"/>
                    <a:pt x="11022" y="20688"/>
                  </a:cubicBezTo>
                  <a:cubicBezTo>
                    <a:pt x="11040" y="20709"/>
                    <a:pt x="11076" y="20695"/>
                    <a:pt x="11093" y="20721"/>
                  </a:cubicBezTo>
                  <a:cubicBezTo>
                    <a:pt x="11121" y="20766"/>
                    <a:pt x="11054" y="20800"/>
                    <a:pt x="11112" y="20832"/>
                  </a:cubicBezTo>
                  <a:cubicBezTo>
                    <a:pt x="11155" y="20857"/>
                    <a:pt x="11164" y="20773"/>
                    <a:pt x="11185" y="20781"/>
                  </a:cubicBezTo>
                  <a:cubicBezTo>
                    <a:pt x="11224" y="20794"/>
                    <a:pt x="11205" y="20844"/>
                    <a:pt x="11191" y="20831"/>
                  </a:cubicBezTo>
                  <a:cubicBezTo>
                    <a:pt x="11231" y="20866"/>
                    <a:pt x="11269" y="20964"/>
                    <a:pt x="11353" y="20938"/>
                  </a:cubicBezTo>
                  <a:cubicBezTo>
                    <a:pt x="11416" y="20918"/>
                    <a:pt x="11416" y="20881"/>
                    <a:pt x="11367" y="20801"/>
                  </a:cubicBezTo>
                  <a:cubicBezTo>
                    <a:pt x="11419" y="20807"/>
                    <a:pt x="11500" y="20829"/>
                    <a:pt x="11494" y="20909"/>
                  </a:cubicBezTo>
                  <a:cubicBezTo>
                    <a:pt x="11612" y="20817"/>
                    <a:pt x="11551" y="20901"/>
                    <a:pt x="11584" y="20940"/>
                  </a:cubicBezTo>
                  <a:cubicBezTo>
                    <a:pt x="11640" y="21005"/>
                    <a:pt x="11659" y="21000"/>
                    <a:pt x="11718" y="20951"/>
                  </a:cubicBezTo>
                  <a:cubicBezTo>
                    <a:pt x="11771" y="20906"/>
                    <a:pt x="11780" y="20832"/>
                    <a:pt x="11836" y="20813"/>
                  </a:cubicBezTo>
                  <a:cubicBezTo>
                    <a:pt x="11936" y="20778"/>
                    <a:pt x="12029" y="20895"/>
                    <a:pt x="12106" y="20889"/>
                  </a:cubicBezTo>
                  <a:cubicBezTo>
                    <a:pt x="12255" y="20879"/>
                    <a:pt x="12151" y="20843"/>
                    <a:pt x="12119" y="20765"/>
                  </a:cubicBezTo>
                  <a:cubicBezTo>
                    <a:pt x="12070" y="20646"/>
                    <a:pt x="12092" y="20696"/>
                    <a:pt x="12151" y="20646"/>
                  </a:cubicBezTo>
                  <a:cubicBezTo>
                    <a:pt x="12186" y="20617"/>
                    <a:pt x="12158" y="20564"/>
                    <a:pt x="12221" y="20587"/>
                  </a:cubicBezTo>
                  <a:cubicBezTo>
                    <a:pt x="12267" y="20604"/>
                    <a:pt x="12261" y="20640"/>
                    <a:pt x="12314" y="20603"/>
                  </a:cubicBezTo>
                  <a:cubicBezTo>
                    <a:pt x="12372" y="20564"/>
                    <a:pt x="12285" y="20527"/>
                    <a:pt x="12255" y="20522"/>
                  </a:cubicBezTo>
                  <a:cubicBezTo>
                    <a:pt x="12302" y="20498"/>
                    <a:pt x="12429" y="20552"/>
                    <a:pt x="12454" y="20473"/>
                  </a:cubicBezTo>
                  <a:cubicBezTo>
                    <a:pt x="12475" y="20405"/>
                    <a:pt x="12333" y="20505"/>
                    <a:pt x="12310" y="20412"/>
                  </a:cubicBezTo>
                  <a:cubicBezTo>
                    <a:pt x="12306" y="20393"/>
                    <a:pt x="12371" y="20346"/>
                    <a:pt x="12406" y="20337"/>
                  </a:cubicBezTo>
                  <a:cubicBezTo>
                    <a:pt x="12472" y="20319"/>
                    <a:pt x="12437" y="20286"/>
                    <a:pt x="12468" y="20233"/>
                  </a:cubicBezTo>
                  <a:cubicBezTo>
                    <a:pt x="12481" y="20212"/>
                    <a:pt x="12565" y="20146"/>
                    <a:pt x="12575" y="20162"/>
                  </a:cubicBezTo>
                  <a:cubicBezTo>
                    <a:pt x="12594" y="20193"/>
                    <a:pt x="12745" y="20107"/>
                    <a:pt x="12745" y="20102"/>
                  </a:cubicBezTo>
                  <a:cubicBezTo>
                    <a:pt x="12743" y="20085"/>
                    <a:pt x="12571" y="19946"/>
                    <a:pt x="12550" y="19931"/>
                  </a:cubicBezTo>
                  <a:cubicBezTo>
                    <a:pt x="12612" y="19908"/>
                    <a:pt x="12692" y="19910"/>
                    <a:pt x="12756" y="19894"/>
                  </a:cubicBezTo>
                  <a:cubicBezTo>
                    <a:pt x="12683" y="19845"/>
                    <a:pt x="12610" y="19817"/>
                    <a:pt x="12554" y="19742"/>
                  </a:cubicBezTo>
                  <a:cubicBezTo>
                    <a:pt x="12581" y="19778"/>
                    <a:pt x="12548" y="19645"/>
                    <a:pt x="12547" y="19680"/>
                  </a:cubicBezTo>
                  <a:cubicBezTo>
                    <a:pt x="12547" y="19667"/>
                    <a:pt x="12472" y="19610"/>
                    <a:pt x="12555" y="19611"/>
                  </a:cubicBezTo>
                  <a:cubicBezTo>
                    <a:pt x="12701" y="19613"/>
                    <a:pt x="12851" y="19667"/>
                    <a:pt x="12986" y="19743"/>
                  </a:cubicBezTo>
                  <a:cubicBezTo>
                    <a:pt x="13066" y="19788"/>
                    <a:pt x="13144" y="19740"/>
                    <a:pt x="13049" y="19655"/>
                  </a:cubicBezTo>
                  <a:cubicBezTo>
                    <a:pt x="13178" y="19641"/>
                    <a:pt x="13308" y="19706"/>
                    <a:pt x="13437" y="19685"/>
                  </a:cubicBezTo>
                  <a:cubicBezTo>
                    <a:pt x="13486" y="19677"/>
                    <a:pt x="13488" y="19598"/>
                    <a:pt x="13503" y="19564"/>
                  </a:cubicBezTo>
                  <a:cubicBezTo>
                    <a:pt x="13515" y="19535"/>
                    <a:pt x="13564" y="19504"/>
                    <a:pt x="13534" y="19447"/>
                  </a:cubicBezTo>
                  <a:cubicBezTo>
                    <a:pt x="13524" y="19428"/>
                    <a:pt x="13344" y="19379"/>
                    <a:pt x="13482" y="19354"/>
                  </a:cubicBezTo>
                  <a:cubicBezTo>
                    <a:pt x="13458" y="19345"/>
                    <a:pt x="13424" y="19313"/>
                    <a:pt x="13407" y="19305"/>
                  </a:cubicBezTo>
                  <a:cubicBezTo>
                    <a:pt x="13600" y="19341"/>
                    <a:pt x="13413" y="19133"/>
                    <a:pt x="13344" y="19089"/>
                  </a:cubicBezTo>
                  <a:cubicBezTo>
                    <a:pt x="13285" y="19052"/>
                    <a:pt x="13221" y="19057"/>
                    <a:pt x="13164" y="19023"/>
                  </a:cubicBezTo>
                  <a:cubicBezTo>
                    <a:pt x="13157" y="19019"/>
                    <a:pt x="12996" y="18890"/>
                    <a:pt x="13002" y="18904"/>
                  </a:cubicBezTo>
                  <a:cubicBezTo>
                    <a:pt x="12967" y="18833"/>
                    <a:pt x="13061" y="18879"/>
                    <a:pt x="13081" y="18865"/>
                  </a:cubicBezTo>
                  <a:cubicBezTo>
                    <a:pt x="13112" y="18846"/>
                    <a:pt x="13089" y="18808"/>
                    <a:pt x="13121" y="18807"/>
                  </a:cubicBezTo>
                  <a:cubicBezTo>
                    <a:pt x="13234" y="18805"/>
                    <a:pt x="13134" y="18738"/>
                    <a:pt x="13126" y="18662"/>
                  </a:cubicBezTo>
                  <a:cubicBezTo>
                    <a:pt x="13129" y="18693"/>
                    <a:pt x="13198" y="18497"/>
                    <a:pt x="13155" y="18522"/>
                  </a:cubicBezTo>
                  <a:cubicBezTo>
                    <a:pt x="13226" y="18481"/>
                    <a:pt x="13221" y="18591"/>
                    <a:pt x="13287" y="18620"/>
                  </a:cubicBezTo>
                  <a:cubicBezTo>
                    <a:pt x="13235" y="18613"/>
                    <a:pt x="13239" y="18729"/>
                    <a:pt x="13234" y="18801"/>
                  </a:cubicBezTo>
                  <a:cubicBezTo>
                    <a:pt x="13228" y="18910"/>
                    <a:pt x="13221" y="18914"/>
                    <a:pt x="13292" y="18989"/>
                  </a:cubicBezTo>
                  <a:cubicBezTo>
                    <a:pt x="13317" y="19015"/>
                    <a:pt x="13392" y="19084"/>
                    <a:pt x="13414" y="19095"/>
                  </a:cubicBezTo>
                  <a:cubicBezTo>
                    <a:pt x="13436" y="19106"/>
                    <a:pt x="13472" y="19056"/>
                    <a:pt x="13485" y="19062"/>
                  </a:cubicBezTo>
                  <a:cubicBezTo>
                    <a:pt x="13494" y="19067"/>
                    <a:pt x="13504" y="19120"/>
                    <a:pt x="13506" y="19120"/>
                  </a:cubicBezTo>
                  <a:cubicBezTo>
                    <a:pt x="13548" y="19116"/>
                    <a:pt x="13569" y="19184"/>
                    <a:pt x="13549" y="19074"/>
                  </a:cubicBezTo>
                  <a:cubicBezTo>
                    <a:pt x="13545" y="19049"/>
                    <a:pt x="13488" y="18998"/>
                    <a:pt x="13475" y="18976"/>
                  </a:cubicBezTo>
                  <a:cubicBezTo>
                    <a:pt x="13534" y="18984"/>
                    <a:pt x="13555" y="18955"/>
                    <a:pt x="13524" y="18890"/>
                  </a:cubicBezTo>
                  <a:cubicBezTo>
                    <a:pt x="13595" y="18922"/>
                    <a:pt x="13558" y="19015"/>
                    <a:pt x="13616" y="19048"/>
                  </a:cubicBezTo>
                  <a:cubicBezTo>
                    <a:pt x="13699" y="19097"/>
                    <a:pt x="13612" y="18966"/>
                    <a:pt x="13611" y="18937"/>
                  </a:cubicBezTo>
                  <a:cubicBezTo>
                    <a:pt x="13607" y="18845"/>
                    <a:pt x="13656" y="18868"/>
                    <a:pt x="13665" y="18792"/>
                  </a:cubicBezTo>
                  <a:cubicBezTo>
                    <a:pt x="13665" y="18788"/>
                    <a:pt x="13586" y="18577"/>
                    <a:pt x="13659" y="18678"/>
                  </a:cubicBezTo>
                  <a:cubicBezTo>
                    <a:pt x="13707" y="18744"/>
                    <a:pt x="13690" y="18829"/>
                    <a:pt x="13720" y="18892"/>
                  </a:cubicBezTo>
                  <a:cubicBezTo>
                    <a:pt x="13746" y="18945"/>
                    <a:pt x="13812" y="18950"/>
                    <a:pt x="13801" y="18997"/>
                  </a:cubicBezTo>
                  <a:cubicBezTo>
                    <a:pt x="13799" y="19004"/>
                    <a:pt x="13676" y="19005"/>
                    <a:pt x="13708" y="19072"/>
                  </a:cubicBezTo>
                  <a:cubicBezTo>
                    <a:pt x="13728" y="19115"/>
                    <a:pt x="13824" y="19029"/>
                    <a:pt x="13862" y="19123"/>
                  </a:cubicBezTo>
                  <a:cubicBezTo>
                    <a:pt x="13828" y="19131"/>
                    <a:pt x="13789" y="19135"/>
                    <a:pt x="13757" y="19139"/>
                  </a:cubicBezTo>
                  <a:cubicBezTo>
                    <a:pt x="13829" y="19234"/>
                    <a:pt x="13949" y="19352"/>
                    <a:pt x="13776" y="19319"/>
                  </a:cubicBezTo>
                  <a:cubicBezTo>
                    <a:pt x="13820" y="19351"/>
                    <a:pt x="13952" y="19491"/>
                    <a:pt x="13840" y="19540"/>
                  </a:cubicBezTo>
                  <a:cubicBezTo>
                    <a:pt x="14075" y="19597"/>
                    <a:pt x="13947" y="19365"/>
                    <a:pt x="13913" y="19195"/>
                  </a:cubicBezTo>
                  <a:cubicBezTo>
                    <a:pt x="14028" y="19225"/>
                    <a:pt x="13905" y="19099"/>
                    <a:pt x="14030" y="19124"/>
                  </a:cubicBezTo>
                  <a:cubicBezTo>
                    <a:pt x="14006" y="19100"/>
                    <a:pt x="13837" y="18959"/>
                    <a:pt x="13850" y="18910"/>
                  </a:cubicBezTo>
                  <a:cubicBezTo>
                    <a:pt x="13860" y="18875"/>
                    <a:pt x="13986" y="18951"/>
                    <a:pt x="14011" y="18938"/>
                  </a:cubicBezTo>
                  <a:cubicBezTo>
                    <a:pt x="14086" y="18896"/>
                    <a:pt x="14038" y="18885"/>
                    <a:pt x="14035" y="18848"/>
                  </a:cubicBezTo>
                  <a:cubicBezTo>
                    <a:pt x="14034" y="18829"/>
                    <a:pt x="13996" y="18704"/>
                    <a:pt x="13996" y="18704"/>
                  </a:cubicBezTo>
                  <a:cubicBezTo>
                    <a:pt x="14015" y="18619"/>
                    <a:pt x="14032" y="18737"/>
                    <a:pt x="14084" y="18756"/>
                  </a:cubicBezTo>
                  <a:cubicBezTo>
                    <a:pt x="14137" y="18777"/>
                    <a:pt x="14123" y="18708"/>
                    <a:pt x="14154" y="18708"/>
                  </a:cubicBezTo>
                  <a:cubicBezTo>
                    <a:pt x="14182" y="18708"/>
                    <a:pt x="14215" y="18790"/>
                    <a:pt x="14247" y="18814"/>
                  </a:cubicBezTo>
                  <a:cubicBezTo>
                    <a:pt x="14228" y="18808"/>
                    <a:pt x="14197" y="18814"/>
                    <a:pt x="14179" y="18809"/>
                  </a:cubicBezTo>
                  <a:cubicBezTo>
                    <a:pt x="14225" y="18893"/>
                    <a:pt x="14208" y="18945"/>
                    <a:pt x="14271" y="18879"/>
                  </a:cubicBezTo>
                  <a:cubicBezTo>
                    <a:pt x="14330" y="18818"/>
                    <a:pt x="14323" y="18790"/>
                    <a:pt x="14296" y="18705"/>
                  </a:cubicBezTo>
                  <a:cubicBezTo>
                    <a:pt x="14290" y="18683"/>
                    <a:pt x="14186" y="18571"/>
                    <a:pt x="14235" y="18543"/>
                  </a:cubicBezTo>
                  <a:cubicBezTo>
                    <a:pt x="14287" y="18514"/>
                    <a:pt x="14300" y="18765"/>
                    <a:pt x="14360" y="18589"/>
                  </a:cubicBezTo>
                  <a:cubicBezTo>
                    <a:pt x="14394" y="18628"/>
                    <a:pt x="14369" y="18780"/>
                    <a:pt x="14351" y="18837"/>
                  </a:cubicBezTo>
                  <a:cubicBezTo>
                    <a:pt x="14337" y="18881"/>
                    <a:pt x="14290" y="18911"/>
                    <a:pt x="14287" y="18957"/>
                  </a:cubicBezTo>
                  <a:cubicBezTo>
                    <a:pt x="14281" y="19049"/>
                    <a:pt x="14333" y="18996"/>
                    <a:pt x="14352" y="18953"/>
                  </a:cubicBezTo>
                  <a:cubicBezTo>
                    <a:pt x="14404" y="19079"/>
                    <a:pt x="14229" y="19031"/>
                    <a:pt x="14298" y="19165"/>
                  </a:cubicBezTo>
                  <a:cubicBezTo>
                    <a:pt x="14371" y="19310"/>
                    <a:pt x="14377" y="18995"/>
                    <a:pt x="14471" y="19189"/>
                  </a:cubicBezTo>
                  <a:cubicBezTo>
                    <a:pt x="14396" y="19172"/>
                    <a:pt x="14396" y="19304"/>
                    <a:pt x="14435" y="19372"/>
                  </a:cubicBezTo>
                  <a:cubicBezTo>
                    <a:pt x="14499" y="19482"/>
                    <a:pt x="14575" y="19363"/>
                    <a:pt x="14478" y="19302"/>
                  </a:cubicBezTo>
                  <a:cubicBezTo>
                    <a:pt x="14499" y="19265"/>
                    <a:pt x="14494" y="19279"/>
                    <a:pt x="14510" y="19237"/>
                  </a:cubicBezTo>
                  <a:cubicBezTo>
                    <a:pt x="14541" y="19303"/>
                    <a:pt x="14600" y="19278"/>
                    <a:pt x="14629" y="19295"/>
                  </a:cubicBezTo>
                  <a:cubicBezTo>
                    <a:pt x="14645" y="19304"/>
                    <a:pt x="14701" y="19402"/>
                    <a:pt x="14721" y="19419"/>
                  </a:cubicBezTo>
                  <a:cubicBezTo>
                    <a:pt x="14734" y="19432"/>
                    <a:pt x="14707" y="19465"/>
                    <a:pt x="14737" y="19483"/>
                  </a:cubicBezTo>
                  <a:cubicBezTo>
                    <a:pt x="14749" y="19489"/>
                    <a:pt x="14772" y="19435"/>
                    <a:pt x="14785" y="19441"/>
                  </a:cubicBezTo>
                  <a:cubicBezTo>
                    <a:pt x="14832" y="19464"/>
                    <a:pt x="14868" y="19477"/>
                    <a:pt x="14896" y="19550"/>
                  </a:cubicBezTo>
                  <a:cubicBezTo>
                    <a:pt x="14905" y="19575"/>
                    <a:pt x="14921" y="19587"/>
                    <a:pt x="14930" y="19617"/>
                  </a:cubicBezTo>
                  <a:cubicBezTo>
                    <a:pt x="14931" y="19622"/>
                    <a:pt x="14892" y="19631"/>
                    <a:pt x="14901" y="19656"/>
                  </a:cubicBezTo>
                  <a:cubicBezTo>
                    <a:pt x="14934" y="19736"/>
                    <a:pt x="14985" y="19756"/>
                    <a:pt x="15056" y="19791"/>
                  </a:cubicBezTo>
                  <a:cubicBezTo>
                    <a:pt x="15225" y="19877"/>
                    <a:pt x="15089" y="19653"/>
                    <a:pt x="15076" y="19544"/>
                  </a:cubicBezTo>
                  <a:cubicBezTo>
                    <a:pt x="15081" y="19553"/>
                    <a:pt x="15111" y="19642"/>
                    <a:pt x="15108" y="19640"/>
                  </a:cubicBezTo>
                  <a:cubicBezTo>
                    <a:pt x="15096" y="19630"/>
                    <a:pt x="15176" y="19701"/>
                    <a:pt x="15150" y="19654"/>
                  </a:cubicBezTo>
                  <a:cubicBezTo>
                    <a:pt x="15154" y="19663"/>
                    <a:pt x="15199" y="19714"/>
                    <a:pt x="15208" y="19770"/>
                  </a:cubicBezTo>
                  <a:cubicBezTo>
                    <a:pt x="15217" y="19824"/>
                    <a:pt x="15199" y="19854"/>
                    <a:pt x="15207" y="19900"/>
                  </a:cubicBezTo>
                  <a:cubicBezTo>
                    <a:pt x="15214" y="19947"/>
                    <a:pt x="15258" y="19961"/>
                    <a:pt x="15249" y="20033"/>
                  </a:cubicBezTo>
                  <a:cubicBezTo>
                    <a:pt x="15292" y="19968"/>
                    <a:pt x="15357" y="20016"/>
                    <a:pt x="15398" y="20076"/>
                  </a:cubicBezTo>
                  <a:cubicBezTo>
                    <a:pt x="15354" y="20147"/>
                    <a:pt x="15455" y="20107"/>
                    <a:pt x="15475" y="20083"/>
                  </a:cubicBezTo>
                  <a:cubicBezTo>
                    <a:pt x="15530" y="20012"/>
                    <a:pt x="15457" y="20055"/>
                    <a:pt x="15456" y="19996"/>
                  </a:cubicBezTo>
                  <a:cubicBezTo>
                    <a:pt x="15454" y="19928"/>
                    <a:pt x="15454" y="19782"/>
                    <a:pt x="15511" y="19780"/>
                  </a:cubicBezTo>
                  <a:cubicBezTo>
                    <a:pt x="15476" y="19756"/>
                    <a:pt x="15462" y="19712"/>
                    <a:pt x="15470" y="19657"/>
                  </a:cubicBezTo>
                  <a:cubicBezTo>
                    <a:pt x="15505" y="19724"/>
                    <a:pt x="15544" y="19787"/>
                    <a:pt x="15600" y="19691"/>
                  </a:cubicBezTo>
                  <a:cubicBezTo>
                    <a:pt x="15607" y="19761"/>
                    <a:pt x="15562" y="19783"/>
                    <a:pt x="15552" y="19867"/>
                  </a:cubicBezTo>
                  <a:cubicBezTo>
                    <a:pt x="15544" y="19935"/>
                    <a:pt x="15570" y="20026"/>
                    <a:pt x="15598" y="20070"/>
                  </a:cubicBezTo>
                  <a:cubicBezTo>
                    <a:pt x="15457" y="20015"/>
                    <a:pt x="15586" y="20261"/>
                    <a:pt x="15628" y="20270"/>
                  </a:cubicBezTo>
                  <a:cubicBezTo>
                    <a:pt x="15724" y="20289"/>
                    <a:pt x="15640" y="20076"/>
                    <a:pt x="15624" y="20019"/>
                  </a:cubicBezTo>
                  <a:cubicBezTo>
                    <a:pt x="15666" y="20062"/>
                    <a:pt x="15714" y="20128"/>
                    <a:pt x="15737" y="20042"/>
                  </a:cubicBezTo>
                  <a:cubicBezTo>
                    <a:pt x="15772" y="20071"/>
                    <a:pt x="15795" y="20133"/>
                    <a:pt x="15816" y="20176"/>
                  </a:cubicBezTo>
                  <a:cubicBezTo>
                    <a:pt x="15832" y="20127"/>
                    <a:pt x="15833" y="20067"/>
                    <a:pt x="15828" y="20018"/>
                  </a:cubicBezTo>
                  <a:cubicBezTo>
                    <a:pt x="15876" y="20046"/>
                    <a:pt x="15889" y="20257"/>
                    <a:pt x="15909" y="20111"/>
                  </a:cubicBezTo>
                  <a:cubicBezTo>
                    <a:pt x="15916" y="20058"/>
                    <a:pt x="15894" y="19971"/>
                    <a:pt x="15888" y="19901"/>
                  </a:cubicBezTo>
                  <a:cubicBezTo>
                    <a:pt x="15877" y="19905"/>
                    <a:pt x="15789" y="19978"/>
                    <a:pt x="15796" y="19982"/>
                  </a:cubicBezTo>
                  <a:cubicBezTo>
                    <a:pt x="15769" y="19965"/>
                    <a:pt x="15765" y="19867"/>
                    <a:pt x="15782" y="19837"/>
                  </a:cubicBezTo>
                  <a:cubicBezTo>
                    <a:pt x="15824" y="19767"/>
                    <a:pt x="15968" y="19912"/>
                    <a:pt x="15990" y="19992"/>
                  </a:cubicBezTo>
                  <a:cubicBezTo>
                    <a:pt x="15990" y="19951"/>
                    <a:pt x="15998" y="19898"/>
                    <a:pt x="15999" y="19854"/>
                  </a:cubicBezTo>
                  <a:cubicBezTo>
                    <a:pt x="16015" y="19872"/>
                    <a:pt x="16084" y="20146"/>
                    <a:pt x="16117" y="20001"/>
                  </a:cubicBezTo>
                  <a:cubicBezTo>
                    <a:pt x="16123" y="19975"/>
                    <a:pt x="16048" y="19963"/>
                    <a:pt x="16058" y="19904"/>
                  </a:cubicBezTo>
                  <a:cubicBezTo>
                    <a:pt x="16065" y="19867"/>
                    <a:pt x="16123" y="19874"/>
                    <a:pt x="16140" y="19876"/>
                  </a:cubicBezTo>
                  <a:cubicBezTo>
                    <a:pt x="16137" y="20002"/>
                    <a:pt x="16183" y="19989"/>
                    <a:pt x="16206" y="20048"/>
                  </a:cubicBezTo>
                  <a:cubicBezTo>
                    <a:pt x="16213" y="20067"/>
                    <a:pt x="16163" y="20219"/>
                    <a:pt x="16275" y="20124"/>
                  </a:cubicBezTo>
                  <a:cubicBezTo>
                    <a:pt x="16309" y="20095"/>
                    <a:pt x="16269" y="20053"/>
                    <a:pt x="16296" y="20008"/>
                  </a:cubicBezTo>
                  <a:cubicBezTo>
                    <a:pt x="16293" y="20012"/>
                    <a:pt x="16278" y="19905"/>
                    <a:pt x="16321" y="19993"/>
                  </a:cubicBezTo>
                  <a:cubicBezTo>
                    <a:pt x="16336" y="20025"/>
                    <a:pt x="16335" y="20070"/>
                    <a:pt x="16326" y="20105"/>
                  </a:cubicBezTo>
                  <a:cubicBezTo>
                    <a:pt x="16439" y="20105"/>
                    <a:pt x="16323" y="20008"/>
                    <a:pt x="16389" y="19962"/>
                  </a:cubicBezTo>
                  <a:cubicBezTo>
                    <a:pt x="16413" y="19945"/>
                    <a:pt x="16432" y="20045"/>
                    <a:pt x="16426" y="20089"/>
                  </a:cubicBezTo>
                  <a:cubicBezTo>
                    <a:pt x="16418" y="20154"/>
                    <a:pt x="16400" y="20183"/>
                    <a:pt x="16378" y="20241"/>
                  </a:cubicBezTo>
                  <a:cubicBezTo>
                    <a:pt x="16372" y="20254"/>
                    <a:pt x="16386" y="20287"/>
                    <a:pt x="16371" y="20318"/>
                  </a:cubicBezTo>
                  <a:cubicBezTo>
                    <a:pt x="16360" y="20341"/>
                    <a:pt x="16327" y="20350"/>
                    <a:pt x="16316" y="20378"/>
                  </a:cubicBezTo>
                  <a:cubicBezTo>
                    <a:pt x="16271" y="20492"/>
                    <a:pt x="16323" y="20525"/>
                    <a:pt x="16175" y="20578"/>
                  </a:cubicBezTo>
                  <a:cubicBezTo>
                    <a:pt x="16117" y="20599"/>
                    <a:pt x="15973" y="20613"/>
                    <a:pt x="15976" y="20702"/>
                  </a:cubicBezTo>
                  <a:cubicBezTo>
                    <a:pt x="15783" y="20637"/>
                    <a:pt x="16077" y="20878"/>
                    <a:pt x="16024" y="20685"/>
                  </a:cubicBezTo>
                  <a:cubicBezTo>
                    <a:pt x="16073" y="20723"/>
                    <a:pt x="16218" y="20750"/>
                    <a:pt x="16178" y="20626"/>
                  </a:cubicBezTo>
                  <a:cubicBezTo>
                    <a:pt x="16207" y="20642"/>
                    <a:pt x="16248" y="20686"/>
                    <a:pt x="16258" y="20728"/>
                  </a:cubicBezTo>
                  <a:cubicBezTo>
                    <a:pt x="16269" y="20772"/>
                    <a:pt x="16203" y="20753"/>
                    <a:pt x="16208" y="20782"/>
                  </a:cubicBezTo>
                  <a:cubicBezTo>
                    <a:pt x="16213" y="20807"/>
                    <a:pt x="16268" y="20845"/>
                    <a:pt x="16279" y="20860"/>
                  </a:cubicBezTo>
                  <a:cubicBezTo>
                    <a:pt x="16290" y="20876"/>
                    <a:pt x="16301" y="20931"/>
                    <a:pt x="16303" y="20942"/>
                  </a:cubicBezTo>
                  <a:cubicBezTo>
                    <a:pt x="16332" y="20904"/>
                    <a:pt x="16365" y="20877"/>
                    <a:pt x="16389" y="20913"/>
                  </a:cubicBezTo>
                  <a:cubicBezTo>
                    <a:pt x="16412" y="20948"/>
                    <a:pt x="16325" y="20958"/>
                    <a:pt x="16328" y="20994"/>
                  </a:cubicBezTo>
                  <a:cubicBezTo>
                    <a:pt x="16327" y="20984"/>
                    <a:pt x="16429" y="21119"/>
                    <a:pt x="16400" y="21098"/>
                  </a:cubicBezTo>
                  <a:cubicBezTo>
                    <a:pt x="16469" y="21147"/>
                    <a:pt x="16555" y="21136"/>
                    <a:pt x="16627" y="21104"/>
                  </a:cubicBezTo>
                  <a:cubicBezTo>
                    <a:pt x="16710" y="21067"/>
                    <a:pt x="16660" y="21171"/>
                    <a:pt x="16687" y="21199"/>
                  </a:cubicBezTo>
                  <a:cubicBezTo>
                    <a:pt x="16713" y="21225"/>
                    <a:pt x="16814" y="21287"/>
                    <a:pt x="16841" y="21270"/>
                  </a:cubicBezTo>
                  <a:cubicBezTo>
                    <a:pt x="16910" y="21223"/>
                    <a:pt x="16844" y="21116"/>
                    <a:pt x="16858" y="21027"/>
                  </a:cubicBezTo>
                  <a:cubicBezTo>
                    <a:pt x="16994" y="21162"/>
                    <a:pt x="16941" y="20927"/>
                    <a:pt x="16944" y="20888"/>
                  </a:cubicBezTo>
                  <a:cubicBezTo>
                    <a:pt x="16947" y="20848"/>
                    <a:pt x="16939" y="20830"/>
                    <a:pt x="16953" y="20789"/>
                  </a:cubicBezTo>
                  <a:cubicBezTo>
                    <a:pt x="16980" y="20715"/>
                    <a:pt x="17000" y="20829"/>
                    <a:pt x="16973" y="20832"/>
                  </a:cubicBezTo>
                  <a:cubicBezTo>
                    <a:pt x="16953" y="20836"/>
                    <a:pt x="17071" y="20890"/>
                    <a:pt x="17025" y="20828"/>
                  </a:cubicBezTo>
                  <a:cubicBezTo>
                    <a:pt x="17034" y="20840"/>
                    <a:pt x="17050" y="20734"/>
                    <a:pt x="17052" y="20858"/>
                  </a:cubicBezTo>
                  <a:cubicBezTo>
                    <a:pt x="17052" y="20861"/>
                    <a:pt x="17024" y="20995"/>
                    <a:pt x="17023" y="21000"/>
                  </a:cubicBezTo>
                  <a:cubicBezTo>
                    <a:pt x="17017" y="21022"/>
                    <a:pt x="17010" y="21097"/>
                    <a:pt x="17003" y="21113"/>
                  </a:cubicBezTo>
                  <a:cubicBezTo>
                    <a:pt x="17000" y="21119"/>
                    <a:pt x="16846" y="21203"/>
                    <a:pt x="16942" y="21252"/>
                  </a:cubicBezTo>
                  <a:cubicBezTo>
                    <a:pt x="17040" y="21302"/>
                    <a:pt x="17016" y="21111"/>
                    <a:pt x="17029" y="21103"/>
                  </a:cubicBezTo>
                  <a:cubicBezTo>
                    <a:pt x="17071" y="21079"/>
                    <a:pt x="17086" y="21186"/>
                    <a:pt x="17089" y="21226"/>
                  </a:cubicBezTo>
                  <a:cubicBezTo>
                    <a:pt x="17090" y="21231"/>
                    <a:pt x="16996" y="21257"/>
                    <a:pt x="17060" y="21276"/>
                  </a:cubicBezTo>
                  <a:cubicBezTo>
                    <a:pt x="17102" y="21289"/>
                    <a:pt x="17148" y="21208"/>
                    <a:pt x="17190" y="21220"/>
                  </a:cubicBezTo>
                  <a:cubicBezTo>
                    <a:pt x="17230" y="21232"/>
                    <a:pt x="17164" y="21294"/>
                    <a:pt x="17178" y="21300"/>
                  </a:cubicBezTo>
                  <a:cubicBezTo>
                    <a:pt x="17229" y="21324"/>
                    <a:pt x="17314" y="21279"/>
                    <a:pt x="17367" y="21265"/>
                  </a:cubicBezTo>
                  <a:cubicBezTo>
                    <a:pt x="17468" y="21237"/>
                    <a:pt x="17498" y="21234"/>
                    <a:pt x="17597" y="21281"/>
                  </a:cubicBezTo>
                  <a:cubicBezTo>
                    <a:pt x="17699" y="21329"/>
                    <a:pt x="17971" y="21369"/>
                    <a:pt x="17949" y="21114"/>
                  </a:cubicBezTo>
                  <a:cubicBezTo>
                    <a:pt x="17989" y="21169"/>
                    <a:pt x="18120" y="21184"/>
                    <a:pt x="18094" y="21087"/>
                  </a:cubicBezTo>
                  <a:cubicBezTo>
                    <a:pt x="18082" y="21047"/>
                    <a:pt x="18014" y="21071"/>
                    <a:pt x="18005" y="21001"/>
                  </a:cubicBezTo>
                  <a:cubicBezTo>
                    <a:pt x="18053" y="21013"/>
                    <a:pt x="18109" y="21027"/>
                    <a:pt x="18149" y="21066"/>
                  </a:cubicBezTo>
                  <a:cubicBezTo>
                    <a:pt x="18198" y="21114"/>
                    <a:pt x="18160" y="21054"/>
                    <a:pt x="18191" y="21031"/>
                  </a:cubicBezTo>
                  <a:cubicBezTo>
                    <a:pt x="18203" y="21022"/>
                    <a:pt x="18162" y="20972"/>
                    <a:pt x="18229" y="20964"/>
                  </a:cubicBezTo>
                  <a:cubicBezTo>
                    <a:pt x="18256" y="20960"/>
                    <a:pt x="18314" y="20915"/>
                    <a:pt x="18338" y="20928"/>
                  </a:cubicBezTo>
                  <a:cubicBezTo>
                    <a:pt x="18395" y="20956"/>
                    <a:pt x="18163" y="21166"/>
                    <a:pt x="18371" y="21056"/>
                  </a:cubicBezTo>
                  <a:cubicBezTo>
                    <a:pt x="18379" y="21160"/>
                    <a:pt x="18293" y="21132"/>
                    <a:pt x="18295" y="21212"/>
                  </a:cubicBezTo>
                  <a:cubicBezTo>
                    <a:pt x="18296" y="21262"/>
                    <a:pt x="18458" y="21356"/>
                    <a:pt x="18485" y="21386"/>
                  </a:cubicBezTo>
                  <a:cubicBezTo>
                    <a:pt x="18487" y="21330"/>
                    <a:pt x="18456" y="21276"/>
                    <a:pt x="18428" y="21241"/>
                  </a:cubicBezTo>
                  <a:cubicBezTo>
                    <a:pt x="18479" y="21270"/>
                    <a:pt x="18510" y="21336"/>
                    <a:pt x="18544" y="21385"/>
                  </a:cubicBezTo>
                  <a:cubicBezTo>
                    <a:pt x="18555" y="21316"/>
                    <a:pt x="18551" y="21242"/>
                    <a:pt x="18537" y="21167"/>
                  </a:cubicBezTo>
                  <a:cubicBezTo>
                    <a:pt x="18635" y="21275"/>
                    <a:pt x="18591" y="21429"/>
                    <a:pt x="18741" y="21500"/>
                  </a:cubicBezTo>
                  <a:cubicBezTo>
                    <a:pt x="18786" y="21521"/>
                    <a:pt x="18861" y="21555"/>
                    <a:pt x="18908" y="21550"/>
                  </a:cubicBezTo>
                  <a:cubicBezTo>
                    <a:pt x="18943" y="21547"/>
                    <a:pt x="18971" y="21513"/>
                    <a:pt x="19006" y="21501"/>
                  </a:cubicBezTo>
                  <a:cubicBezTo>
                    <a:pt x="19073" y="21479"/>
                    <a:pt x="19026" y="21499"/>
                    <a:pt x="19085" y="21509"/>
                  </a:cubicBezTo>
                  <a:cubicBezTo>
                    <a:pt x="19140" y="21519"/>
                    <a:pt x="19196" y="21559"/>
                    <a:pt x="19253" y="21570"/>
                  </a:cubicBezTo>
                  <a:cubicBezTo>
                    <a:pt x="19356" y="21590"/>
                    <a:pt x="19442" y="21547"/>
                    <a:pt x="19542" y="21504"/>
                  </a:cubicBezTo>
                  <a:cubicBezTo>
                    <a:pt x="19629" y="21466"/>
                    <a:pt x="19856" y="21401"/>
                    <a:pt x="19910" y="21319"/>
                  </a:cubicBezTo>
                  <a:cubicBezTo>
                    <a:pt x="19967" y="21462"/>
                    <a:pt x="20075" y="21281"/>
                    <a:pt x="20137" y="21244"/>
                  </a:cubicBezTo>
                  <a:cubicBezTo>
                    <a:pt x="20168" y="21226"/>
                    <a:pt x="20259" y="21199"/>
                    <a:pt x="20292" y="21213"/>
                  </a:cubicBezTo>
                  <a:cubicBezTo>
                    <a:pt x="20318" y="21224"/>
                    <a:pt x="20360" y="21308"/>
                    <a:pt x="20374" y="21311"/>
                  </a:cubicBezTo>
                  <a:cubicBezTo>
                    <a:pt x="20418" y="21321"/>
                    <a:pt x="20417" y="21236"/>
                    <a:pt x="20448" y="21242"/>
                  </a:cubicBezTo>
                  <a:cubicBezTo>
                    <a:pt x="20489" y="21250"/>
                    <a:pt x="20532" y="21294"/>
                    <a:pt x="20573" y="21290"/>
                  </a:cubicBezTo>
                  <a:cubicBezTo>
                    <a:pt x="20600" y="21288"/>
                    <a:pt x="20607" y="21228"/>
                    <a:pt x="20623" y="21222"/>
                  </a:cubicBezTo>
                  <a:cubicBezTo>
                    <a:pt x="20628" y="21220"/>
                    <a:pt x="20670" y="21243"/>
                    <a:pt x="20670" y="21242"/>
                  </a:cubicBezTo>
                  <a:cubicBezTo>
                    <a:pt x="20705" y="21215"/>
                    <a:pt x="20713" y="21242"/>
                    <a:pt x="20691" y="21188"/>
                  </a:cubicBezTo>
                  <a:cubicBezTo>
                    <a:pt x="20790" y="21154"/>
                    <a:pt x="20885" y="21173"/>
                    <a:pt x="20966" y="21216"/>
                  </a:cubicBezTo>
                  <a:cubicBezTo>
                    <a:pt x="21003" y="21235"/>
                    <a:pt x="20973" y="21278"/>
                    <a:pt x="21047" y="21271"/>
                  </a:cubicBezTo>
                  <a:cubicBezTo>
                    <a:pt x="21137" y="21262"/>
                    <a:pt x="21228" y="21234"/>
                    <a:pt x="21317" y="21215"/>
                  </a:cubicBezTo>
                  <a:lnTo>
                    <a:pt x="21520" y="20973"/>
                  </a:lnTo>
                  <a:cubicBezTo>
                    <a:pt x="21487" y="20935"/>
                    <a:pt x="21455" y="20891"/>
                    <a:pt x="21425" y="20851"/>
                  </a:cubicBezTo>
                  <a:cubicBezTo>
                    <a:pt x="21415" y="20868"/>
                    <a:pt x="21317" y="20845"/>
                    <a:pt x="21295" y="20821"/>
                  </a:cubicBezTo>
                  <a:cubicBezTo>
                    <a:pt x="21292" y="20818"/>
                    <a:pt x="21297" y="20760"/>
                    <a:pt x="21280" y="20738"/>
                  </a:cubicBezTo>
                  <a:cubicBezTo>
                    <a:pt x="21263" y="20718"/>
                    <a:pt x="21242" y="20710"/>
                    <a:pt x="21226" y="20691"/>
                  </a:cubicBezTo>
                  <a:cubicBezTo>
                    <a:pt x="21196" y="20651"/>
                    <a:pt x="21193" y="20639"/>
                    <a:pt x="21165" y="20655"/>
                  </a:cubicBezTo>
                  <a:cubicBezTo>
                    <a:pt x="21169" y="20566"/>
                    <a:pt x="21242" y="20659"/>
                    <a:pt x="21312" y="20654"/>
                  </a:cubicBezTo>
                  <a:cubicBezTo>
                    <a:pt x="21296" y="20563"/>
                    <a:pt x="21257" y="20527"/>
                    <a:pt x="21249" y="20427"/>
                  </a:cubicBezTo>
                  <a:cubicBezTo>
                    <a:pt x="21242" y="20339"/>
                    <a:pt x="21314" y="20328"/>
                    <a:pt x="21222" y="20280"/>
                  </a:cubicBezTo>
                  <a:cubicBezTo>
                    <a:pt x="21156" y="20244"/>
                    <a:pt x="21114" y="20434"/>
                    <a:pt x="20996" y="20360"/>
                  </a:cubicBezTo>
                  <a:cubicBezTo>
                    <a:pt x="21018" y="20356"/>
                    <a:pt x="21043" y="20333"/>
                    <a:pt x="21069" y="20330"/>
                  </a:cubicBezTo>
                  <a:cubicBezTo>
                    <a:pt x="21048" y="20256"/>
                    <a:pt x="20982" y="20202"/>
                    <a:pt x="20940" y="20160"/>
                  </a:cubicBezTo>
                  <a:cubicBezTo>
                    <a:pt x="20944" y="20175"/>
                    <a:pt x="20945" y="20210"/>
                    <a:pt x="20951" y="20230"/>
                  </a:cubicBezTo>
                  <a:cubicBezTo>
                    <a:pt x="20852" y="20147"/>
                    <a:pt x="20869" y="20310"/>
                    <a:pt x="20942" y="20371"/>
                  </a:cubicBezTo>
                  <a:cubicBezTo>
                    <a:pt x="20909" y="20388"/>
                    <a:pt x="20870" y="20371"/>
                    <a:pt x="20835" y="20344"/>
                  </a:cubicBezTo>
                  <a:cubicBezTo>
                    <a:pt x="20768" y="20289"/>
                    <a:pt x="20799" y="20349"/>
                    <a:pt x="20799" y="20268"/>
                  </a:cubicBezTo>
                  <a:cubicBezTo>
                    <a:pt x="20799" y="20215"/>
                    <a:pt x="20837" y="20188"/>
                    <a:pt x="20832" y="20144"/>
                  </a:cubicBezTo>
                  <a:cubicBezTo>
                    <a:pt x="20828" y="20100"/>
                    <a:pt x="20757" y="20136"/>
                    <a:pt x="20772" y="20042"/>
                  </a:cubicBezTo>
                  <a:cubicBezTo>
                    <a:pt x="20741" y="20051"/>
                    <a:pt x="20683" y="20161"/>
                    <a:pt x="20682" y="20161"/>
                  </a:cubicBezTo>
                  <a:cubicBezTo>
                    <a:pt x="20655" y="20148"/>
                    <a:pt x="20660" y="20039"/>
                    <a:pt x="20644" y="20012"/>
                  </a:cubicBezTo>
                  <a:cubicBezTo>
                    <a:pt x="20624" y="19976"/>
                    <a:pt x="20603" y="19987"/>
                    <a:pt x="20582" y="19964"/>
                  </a:cubicBezTo>
                  <a:cubicBezTo>
                    <a:pt x="20537" y="19916"/>
                    <a:pt x="20527" y="19905"/>
                    <a:pt x="20477" y="19879"/>
                  </a:cubicBezTo>
                  <a:cubicBezTo>
                    <a:pt x="20428" y="19854"/>
                    <a:pt x="20370" y="19857"/>
                    <a:pt x="20383" y="19799"/>
                  </a:cubicBezTo>
                  <a:cubicBezTo>
                    <a:pt x="20304" y="19915"/>
                    <a:pt x="20353" y="19756"/>
                    <a:pt x="20264" y="19778"/>
                  </a:cubicBezTo>
                  <a:cubicBezTo>
                    <a:pt x="20235" y="19785"/>
                    <a:pt x="20163" y="19898"/>
                    <a:pt x="20144" y="19936"/>
                  </a:cubicBezTo>
                  <a:cubicBezTo>
                    <a:pt x="20154" y="19891"/>
                    <a:pt x="20151" y="19850"/>
                    <a:pt x="20171" y="19811"/>
                  </a:cubicBezTo>
                  <a:cubicBezTo>
                    <a:pt x="20134" y="19810"/>
                    <a:pt x="20101" y="19838"/>
                    <a:pt x="20079" y="19881"/>
                  </a:cubicBezTo>
                  <a:cubicBezTo>
                    <a:pt x="20084" y="19809"/>
                    <a:pt x="20011" y="19646"/>
                    <a:pt x="19980" y="19777"/>
                  </a:cubicBezTo>
                  <a:cubicBezTo>
                    <a:pt x="19978" y="19606"/>
                    <a:pt x="19895" y="19666"/>
                    <a:pt x="19854" y="19723"/>
                  </a:cubicBezTo>
                  <a:cubicBezTo>
                    <a:pt x="19865" y="19690"/>
                    <a:pt x="19871" y="19634"/>
                    <a:pt x="19845" y="19602"/>
                  </a:cubicBezTo>
                  <a:cubicBezTo>
                    <a:pt x="19796" y="19542"/>
                    <a:pt x="19816" y="19622"/>
                    <a:pt x="19788" y="19631"/>
                  </a:cubicBezTo>
                  <a:cubicBezTo>
                    <a:pt x="19773" y="19636"/>
                    <a:pt x="19770" y="19708"/>
                    <a:pt x="19734" y="19701"/>
                  </a:cubicBezTo>
                  <a:cubicBezTo>
                    <a:pt x="19703" y="19696"/>
                    <a:pt x="19774" y="19596"/>
                    <a:pt x="19782" y="19588"/>
                  </a:cubicBezTo>
                  <a:cubicBezTo>
                    <a:pt x="19728" y="19579"/>
                    <a:pt x="19655" y="19465"/>
                    <a:pt x="19628" y="19563"/>
                  </a:cubicBezTo>
                  <a:cubicBezTo>
                    <a:pt x="19611" y="19522"/>
                    <a:pt x="19579" y="19473"/>
                    <a:pt x="19543" y="19482"/>
                  </a:cubicBezTo>
                  <a:cubicBezTo>
                    <a:pt x="19503" y="19491"/>
                    <a:pt x="19400" y="19945"/>
                    <a:pt x="19456" y="19538"/>
                  </a:cubicBezTo>
                  <a:cubicBezTo>
                    <a:pt x="19464" y="19479"/>
                    <a:pt x="19532" y="19368"/>
                    <a:pt x="19422" y="19411"/>
                  </a:cubicBezTo>
                  <a:cubicBezTo>
                    <a:pt x="19388" y="19424"/>
                    <a:pt x="19354" y="19533"/>
                    <a:pt x="19347" y="19584"/>
                  </a:cubicBezTo>
                  <a:cubicBezTo>
                    <a:pt x="19346" y="19595"/>
                    <a:pt x="19433" y="19702"/>
                    <a:pt x="19358" y="19684"/>
                  </a:cubicBezTo>
                  <a:cubicBezTo>
                    <a:pt x="19375" y="19688"/>
                    <a:pt x="19315" y="19593"/>
                    <a:pt x="19313" y="19586"/>
                  </a:cubicBezTo>
                  <a:cubicBezTo>
                    <a:pt x="19298" y="19526"/>
                    <a:pt x="19387" y="19351"/>
                    <a:pt x="19353" y="19333"/>
                  </a:cubicBezTo>
                  <a:cubicBezTo>
                    <a:pt x="19306" y="19308"/>
                    <a:pt x="19306" y="19388"/>
                    <a:pt x="19269" y="19401"/>
                  </a:cubicBezTo>
                  <a:cubicBezTo>
                    <a:pt x="19257" y="19404"/>
                    <a:pt x="19176" y="19401"/>
                    <a:pt x="19178" y="19399"/>
                  </a:cubicBezTo>
                  <a:cubicBezTo>
                    <a:pt x="19114" y="19451"/>
                    <a:pt x="19181" y="19515"/>
                    <a:pt x="19126" y="19565"/>
                  </a:cubicBezTo>
                  <a:cubicBezTo>
                    <a:pt x="19097" y="19450"/>
                    <a:pt x="19137" y="19403"/>
                    <a:pt x="19048" y="19395"/>
                  </a:cubicBezTo>
                  <a:cubicBezTo>
                    <a:pt x="19021" y="19393"/>
                    <a:pt x="18988" y="19417"/>
                    <a:pt x="18970" y="19421"/>
                  </a:cubicBezTo>
                  <a:cubicBezTo>
                    <a:pt x="18946" y="19425"/>
                    <a:pt x="18962" y="19455"/>
                    <a:pt x="18921" y="19451"/>
                  </a:cubicBezTo>
                  <a:cubicBezTo>
                    <a:pt x="18888" y="19448"/>
                    <a:pt x="18840" y="19372"/>
                    <a:pt x="18843" y="19374"/>
                  </a:cubicBezTo>
                  <a:cubicBezTo>
                    <a:pt x="18782" y="19320"/>
                    <a:pt x="18722" y="19244"/>
                    <a:pt x="18652" y="19184"/>
                  </a:cubicBezTo>
                  <a:cubicBezTo>
                    <a:pt x="18606" y="19146"/>
                    <a:pt x="18464" y="19093"/>
                    <a:pt x="18502" y="19021"/>
                  </a:cubicBezTo>
                  <a:cubicBezTo>
                    <a:pt x="18431" y="19054"/>
                    <a:pt x="18335" y="19000"/>
                    <a:pt x="18264" y="18956"/>
                  </a:cubicBezTo>
                  <a:cubicBezTo>
                    <a:pt x="18220" y="18929"/>
                    <a:pt x="18194" y="18905"/>
                    <a:pt x="18156" y="18866"/>
                  </a:cubicBezTo>
                  <a:cubicBezTo>
                    <a:pt x="18135" y="18846"/>
                    <a:pt x="18105" y="18866"/>
                    <a:pt x="18090" y="18847"/>
                  </a:cubicBezTo>
                  <a:cubicBezTo>
                    <a:pt x="18080" y="18835"/>
                    <a:pt x="18105" y="18789"/>
                    <a:pt x="18082" y="18761"/>
                  </a:cubicBezTo>
                  <a:cubicBezTo>
                    <a:pt x="18039" y="18707"/>
                    <a:pt x="17847" y="18648"/>
                    <a:pt x="17906" y="18563"/>
                  </a:cubicBezTo>
                  <a:cubicBezTo>
                    <a:pt x="17925" y="18536"/>
                    <a:pt x="18180" y="18557"/>
                    <a:pt x="18033" y="18443"/>
                  </a:cubicBezTo>
                  <a:cubicBezTo>
                    <a:pt x="18086" y="18430"/>
                    <a:pt x="18215" y="18396"/>
                    <a:pt x="18246" y="18403"/>
                  </a:cubicBezTo>
                  <a:cubicBezTo>
                    <a:pt x="18311" y="18417"/>
                    <a:pt x="18345" y="18541"/>
                    <a:pt x="18415" y="18525"/>
                  </a:cubicBezTo>
                  <a:cubicBezTo>
                    <a:pt x="18490" y="18507"/>
                    <a:pt x="18347" y="18307"/>
                    <a:pt x="18463" y="18436"/>
                  </a:cubicBezTo>
                  <a:cubicBezTo>
                    <a:pt x="18490" y="18467"/>
                    <a:pt x="18512" y="18548"/>
                    <a:pt x="18533" y="18560"/>
                  </a:cubicBezTo>
                  <a:cubicBezTo>
                    <a:pt x="18525" y="18555"/>
                    <a:pt x="18586" y="18557"/>
                    <a:pt x="18600" y="18562"/>
                  </a:cubicBezTo>
                  <a:cubicBezTo>
                    <a:pt x="18599" y="18562"/>
                    <a:pt x="18612" y="18541"/>
                    <a:pt x="18631" y="18547"/>
                  </a:cubicBezTo>
                  <a:cubicBezTo>
                    <a:pt x="18641" y="18550"/>
                    <a:pt x="18644" y="18586"/>
                    <a:pt x="18658" y="18590"/>
                  </a:cubicBezTo>
                  <a:cubicBezTo>
                    <a:pt x="18687" y="18598"/>
                    <a:pt x="18704" y="18579"/>
                    <a:pt x="18737" y="18594"/>
                  </a:cubicBezTo>
                  <a:cubicBezTo>
                    <a:pt x="18802" y="18624"/>
                    <a:pt x="18858" y="18669"/>
                    <a:pt x="18915" y="18710"/>
                  </a:cubicBezTo>
                  <a:cubicBezTo>
                    <a:pt x="18958" y="18742"/>
                    <a:pt x="19074" y="18883"/>
                    <a:pt x="19072" y="18740"/>
                  </a:cubicBezTo>
                  <a:cubicBezTo>
                    <a:pt x="19070" y="18636"/>
                    <a:pt x="18951" y="18566"/>
                    <a:pt x="18904" y="18509"/>
                  </a:cubicBezTo>
                  <a:cubicBezTo>
                    <a:pt x="18839" y="18432"/>
                    <a:pt x="18806" y="18335"/>
                    <a:pt x="18756" y="18249"/>
                  </a:cubicBezTo>
                  <a:cubicBezTo>
                    <a:pt x="18716" y="18178"/>
                    <a:pt x="18647" y="18133"/>
                    <a:pt x="18611" y="18071"/>
                  </a:cubicBezTo>
                  <a:cubicBezTo>
                    <a:pt x="18685" y="18064"/>
                    <a:pt x="18724" y="18156"/>
                    <a:pt x="18764" y="18185"/>
                  </a:cubicBezTo>
                  <a:cubicBezTo>
                    <a:pt x="18780" y="18198"/>
                    <a:pt x="18777" y="18244"/>
                    <a:pt x="18802" y="18251"/>
                  </a:cubicBezTo>
                  <a:cubicBezTo>
                    <a:pt x="18815" y="18254"/>
                    <a:pt x="18829" y="18207"/>
                    <a:pt x="18829" y="18207"/>
                  </a:cubicBezTo>
                  <a:cubicBezTo>
                    <a:pt x="18824" y="18205"/>
                    <a:pt x="18849" y="18170"/>
                    <a:pt x="18861" y="18174"/>
                  </a:cubicBezTo>
                  <a:cubicBezTo>
                    <a:pt x="18863" y="18174"/>
                    <a:pt x="18888" y="18245"/>
                    <a:pt x="18896" y="18254"/>
                  </a:cubicBezTo>
                  <a:cubicBezTo>
                    <a:pt x="18957" y="18326"/>
                    <a:pt x="19004" y="18335"/>
                    <a:pt x="19062" y="18385"/>
                  </a:cubicBezTo>
                  <a:cubicBezTo>
                    <a:pt x="19122" y="18438"/>
                    <a:pt x="19134" y="18560"/>
                    <a:pt x="19228" y="18554"/>
                  </a:cubicBezTo>
                  <a:cubicBezTo>
                    <a:pt x="19217" y="18530"/>
                    <a:pt x="19209" y="18475"/>
                    <a:pt x="19195" y="18450"/>
                  </a:cubicBezTo>
                  <a:cubicBezTo>
                    <a:pt x="19250" y="18476"/>
                    <a:pt x="19322" y="18582"/>
                    <a:pt x="19384" y="18628"/>
                  </a:cubicBezTo>
                  <a:cubicBezTo>
                    <a:pt x="19428" y="18661"/>
                    <a:pt x="19587" y="18766"/>
                    <a:pt x="19481" y="18635"/>
                  </a:cubicBezTo>
                  <a:cubicBezTo>
                    <a:pt x="19680" y="18758"/>
                    <a:pt x="19542" y="18502"/>
                    <a:pt x="19530" y="18358"/>
                  </a:cubicBezTo>
                  <a:cubicBezTo>
                    <a:pt x="19568" y="18389"/>
                    <a:pt x="19630" y="18571"/>
                    <a:pt x="19649" y="18616"/>
                  </a:cubicBezTo>
                  <a:cubicBezTo>
                    <a:pt x="19662" y="18644"/>
                    <a:pt x="19616" y="18670"/>
                    <a:pt x="19651" y="18705"/>
                  </a:cubicBezTo>
                  <a:cubicBezTo>
                    <a:pt x="19676" y="18730"/>
                    <a:pt x="19705" y="18732"/>
                    <a:pt x="19731" y="18750"/>
                  </a:cubicBezTo>
                  <a:cubicBezTo>
                    <a:pt x="19760" y="18771"/>
                    <a:pt x="19839" y="18866"/>
                    <a:pt x="19856" y="18788"/>
                  </a:cubicBezTo>
                  <a:cubicBezTo>
                    <a:pt x="19875" y="18706"/>
                    <a:pt x="19742" y="18650"/>
                    <a:pt x="19761" y="18540"/>
                  </a:cubicBezTo>
                  <a:cubicBezTo>
                    <a:pt x="19788" y="18590"/>
                    <a:pt x="19839" y="18639"/>
                    <a:pt x="19868" y="18691"/>
                  </a:cubicBezTo>
                  <a:cubicBezTo>
                    <a:pt x="19898" y="18746"/>
                    <a:pt x="19901" y="18835"/>
                    <a:pt x="19937" y="18886"/>
                  </a:cubicBezTo>
                  <a:cubicBezTo>
                    <a:pt x="20010" y="18993"/>
                    <a:pt x="20093" y="18963"/>
                    <a:pt x="20175" y="18984"/>
                  </a:cubicBezTo>
                  <a:cubicBezTo>
                    <a:pt x="20132" y="18901"/>
                    <a:pt x="20043" y="18924"/>
                    <a:pt x="20002" y="18835"/>
                  </a:cubicBezTo>
                  <a:cubicBezTo>
                    <a:pt x="20078" y="18898"/>
                    <a:pt x="20091" y="18852"/>
                    <a:pt x="20066" y="18776"/>
                  </a:cubicBezTo>
                  <a:cubicBezTo>
                    <a:pt x="20045" y="18713"/>
                    <a:pt x="19974" y="18620"/>
                    <a:pt x="19943" y="18562"/>
                  </a:cubicBezTo>
                  <a:cubicBezTo>
                    <a:pt x="19909" y="18499"/>
                    <a:pt x="19839" y="18540"/>
                    <a:pt x="19805" y="18470"/>
                  </a:cubicBezTo>
                  <a:cubicBezTo>
                    <a:pt x="19785" y="18430"/>
                    <a:pt x="19796" y="18287"/>
                    <a:pt x="19790" y="18241"/>
                  </a:cubicBezTo>
                  <a:cubicBezTo>
                    <a:pt x="19830" y="18283"/>
                    <a:pt x="19806" y="18331"/>
                    <a:pt x="19827" y="18383"/>
                  </a:cubicBezTo>
                  <a:cubicBezTo>
                    <a:pt x="19857" y="18451"/>
                    <a:pt x="19859" y="18441"/>
                    <a:pt x="19907" y="18483"/>
                  </a:cubicBezTo>
                  <a:cubicBezTo>
                    <a:pt x="19982" y="18549"/>
                    <a:pt x="19995" y="18588"/>
                    <a:pt x="20050" y="18677"/>
                  </a:cubicBezTo>
                  <a:cubicBezTo>
                    <a:pt x="20086" y="18734"/>
                    <a:pt x="20149" y="18809"/>
                    <a:pt x="20190" y="18846"/>
                  </a:cubicBezTo>
                  <a:cubicBezTo>
                    <a:pt x="20263" y="18910"/>
                    <a:pt x="20276" y="18869"/>
                    <a:pt x="20342" y="18866"/>
                  </a:cubicBezTo>
                  <a:cubicBezTo>
                    <a:pt x="20362" y="18865"/>
                    <a:pt x="20494" y="18912"/>
                    <a:pt x="20509" y="18887"/>
                  </a:cubicBezTo>
                  <a:cubicBezTo>
                    <a:pt x="20558" y="18807"/>
                    <a:pt x="20374" y="18710"/>
                    <a:pt x="20345" y="18657"/>
                  </a:cubicBezTo>
                  <a:cubicBezTo>
                    <a:pt x="20333" y="18635"/>
                    <a:pt x="20250" y="18595"/>
                    <a:pt x="20252" y="18580"/>
                  </a:cubicBezTo>
                  <a:cubicBezTo>
                    <a:pt x="20257" y="18550"/>
                    <a:pt x="20319" y="18566"/>
                    <a:pt x="20339" y="18575"/>
                  </a:cubicBezTo>
                  <a:cubicBezTo>
                    <a:pt x="20385" y="18597"/>
                    <a:pt x="20445" y="18751"/>
                    <a:pt x="20465" y="18614"/>
                  </a:cubicBezTo>
                  <a:cubicBezTo>
                    <a:pt x="20487" y="18661"/>
                    <a:pt x="20533" y="18774"/>
                    <a:pt x="20590" y="18723"/>
                  </a:cubicBezTo>
                  <a:cubicBezTo>
                    <a:pt x="20615" y="18701"/>
                    <a:pt x="20603" y="18578"/>
                    <a:pt x="20633" y="18533"/>
                  </a:cubicBezTo>
                  <a:cubicBezTo>
                    <a:pt x="20635" y="18578"/>
                    <a:pt x="20616" y="18775"/>
                    <a:pt x="20639" y="18806"/>
                  </a:cubicBezTo>
                  <a:cubicBezTo>
                    <a:pt x="20630" y="18794"/>
                    <a:pt x="20780" y="18827"/>
                    <a:pt x="20801" y="18840"/>
                  </a:cubicBezTo>
                  <a:cubicBezTo>
                    <a:pt x="20791" y="18821"/>
                    <a:pt x="20742" y="18767"/>
                    <a:pt x="20739" y="18746"/>
                  </a:cubicBezTo>
                  <a:cubicBezTo>
                    <a:pt x="20734" y="18711"/>
                    <a:pt x="20757" y="18659"/>
                    <a:pt x="20753" y="18642"/>
                  </a:cubicBezTo>
                  <a:cubicBezTo>
                    <a:pt x="20748" y="18614"/>
                    <a:pt x="20671" y="18441"/>
                    <a:pt x="20702" y="18432"/>
                  </a:cubicBezTo>
                  <a:cubicBezTo>
                    <a:pt x="20768" y="18414"/>
                    <a:pt x="20801" y="18885"/>
                    <a:pt x="20863" y="18711"/>
                  </a:cubicBezTo>
                  <a:cubicBezTo>
                    <a:pt x="20940" y="18865"/>
                    <a:pt x="21007" y="18867"/>
                    <a:pt x="21078" y="18730"/>
                  </a:cubicBezTo>
                  <a:cubicBezTo>
                    <a:pt x="21146" y="18793"/>
                    <a:pt x="21069" y="18540"/>
                    <a:pt x="21075" y="18491"/>
                  </a:cubicBezTo>
                  <a:cubicBezTo>
                    <a:pt x="21100" y="18575"/>
                    <a:pt x="21136" y="18699"/>
                    <a:pt x="21205" y="18638"/>
                  </a:cubicBezTo>
                  <a:cubicBezTo>
                    <a:pt x="21116" y="18738"/>
                    <a:pt x="21194" y="18872"/>
                    <a:pt x="21253" y="18738"/>
                  </a:cubicBezTo>
                  <a:cubicBezTo>
                    <a:pt x="21241" y="18817"/>
                    <a:pt x="21226" y="18967"/>
                    <a:pt x="21291" y="19012"/>
                  </a:cubicBezTo>
                  <a:cubicBezTo>
                    <a:pt x="21294" y="18978"/>
                    <a:pt x="21312" y="18945"/>
                    <a:pt x="21314" y="18933"/>
                  </a:cubicBezTo>
                  <a:cubicBezTo>
                    <a:pt x="21318" y="19045"/>
                    <a:pt x="21455" y="19183"/>
                    <a:pt x="21518" y="19116"/>
                  </a:cubicBezTo>
                  <a:cubicBezTo>
                    <a:pt x="21547" y="19084"/>
                    <a:pt x="21564" y="18989"/>
                    <a:pt x="21570" y="18943"/>
                  </a:cubicBezTo>
                  <a:cubicBezTo>
                    <a:pt x="21582" y="18842"/>
                    <a:pt x="21599" y="18891"/>
                    <a:pt x="21535" y="18804"/>
                  </a:cubicBezTo>
                  <a:close/>
                  <a:moveTo>
                    <a:pt x="21535" y="18804"/>
                  </a:moveTo>
                </a:path>
              </a:pathLst>
            </a:custGeom>
            <a:grpFill/>
            <a:ln w="12700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5" name="AutoShape 20"/>
            <p:cNvSpPr>
              <a:spLocks/>
            </p:cNvSpPr>
            <p:nvPr/>
          </p:nvSpPr>
          <p:spPr bwMode="auto">
            <a:xfrm>
              <a:off x="221227" y="-1314714"/>
              <a:ext cx="2425700" cy="3201987"/>
            </a:xfrm>
            <a:custGeom>
              <a:avLst/>
              <a:gdLst/>
              <a:ahLst/>
              <a:cxnLst/>
              <a:rect l="0" t="0" r="r" b="b"/>
              <a:pathLst>
                <a:path w="21598" h="21536">
                  <a:moveTo>
                    <a:pt x="17183" y="18907"/>
                  </a:moveTo>
                  <a:cubicBezTo>
                    <a:pt x="17172" y="18948"/>
                    <a:pt x="17152" y="18992"/>
                    <a:pt x="17127" y="19029"/>
                  </a:cubicBezTo>
                  <a:cubicBezTo>
                    <a:pt x="17119" y="19060"/>
                    <a:pt x="17191" y="19097"/>
                    <a:pt x="17216" y="19075"/>
                  </a:cubicBezTo>
                  <a:cubicBezTo>
                    <a:pt x="17224" y="19068"/>
                    <a:pt x="17230" y="19020"/>
                    <a:pt x="17235" y="19008"/>
                  </a:cubicBezTo>
                  <a:cubicBezTo>
                    <a:pt x="17245" y="18984"/>
                    <a:pt x="17281" y="18840"/>
                    <a:pt x="17319" y="18849"/>
                  </a:cubicBezTo>
                  <a:cubicBezTo>
                    <a:pt x="17354" y="18858"/>
                    <a:pt x="17271" y="19068"/>
                    <a:pt x="17275" y="19097"/>
                  </a:cubicBezTo>
                  <a:cubicBezTo>
                    <a:pt x="17284" y="19087"/>
                    <a:pt x="17284" y="19072"/>
                    <a:pt x="17293" y="19061"/>
                  </a:cubicBezTo>
                  <a:cubicBezTo>
                    <a:pt x="17318" y="19031"/>
                    <a:pt x="17328" y="19042"/>
                    <a:pt x="17369" y="19022"/>
                  </a:cubicBezTo>
                  <a:cubicBezTo>
                    <a:pt x="17408" y="19003"/>
                    <a:pt x="17412" y="18972"/>
                    <a:pt x="17420" y="18936"/>
                  </a:cubicBezTo>
                  <a:cubicBezTo>
                    <a:pt x="17434" y="18873"/>
                    <a:pt x="17407" y="18801"/>
                    <a:pt x="17450" y="18743"/>
                  </a:cubicBezTo>
                  <a:cubicBezTo>
                    <a:pt x="17517" y="18815"/>
                    <a:pt x="17466" y="18909"/>
                    <a:pt x="17487" y="18989"/>
                  </a:cubicBezTo>
                  <a:cubicBezTo>
                    <a:pt x="17512" y="18925"/>
                    <a:pt x="17508" y="18800"/>
                    <a:pt x="17495" y="18738"/>
                  </a:cubicBezTo>
                  <a:cubicBezTo>
                    <a:pt x="17457" y="18772"/>
                    <a:pt x="17467" y="18645"/>
                    <a:pt x="17485" y="18624"/>
                  </a:cubicBezTo>
                  <a:cubicBezTo>
                    <a:pt x="17486" y="18651"/>
                    <a:pt x="17511" y="18677"/>
                    <a:pt x="17514" y="18713"/>
                  </a:cubicBezTo>
                  <a:cubicBezTo>
                    <a:pt x="17516" y="18740"/>
                    <a:pt x="17512" y="18768"/>
                    <a:pt x="17510" y="18795"/>
                  </a:cubicBezTo>
                  <a:cubicBezTo>
                    <a:pt x="17506" y="18847"/>
                    <a:pt x="17494" y="18941"/>
                    <a:pt x="17525" y="18987"/>
                  </a:cubicBezTo>
                  <a:cubicBezTo>
                    <a:pt x="17507" y="18945"/>
                    <a:pt x="17523" y="18882"/>
                    <a:pt x="17521" y="18837"/>
                  </a:cubicBezTo>
                  <a:cubicBezTo>
                    <a:pt x="17517" y="18773"/>
                    <a:pt x="17527" y="18717"/>
                    <a:pt x="17544" y="18656"/>
                  </a:cubicBezTo>
                  <a:cubicBezTo>
                    <a:pt x="17536" y="18660"/>
                    <a:pt x="17523" y="18662"/>
                    <a:pt x="17516" y="18665"/>
                  </a:cubicBezTo>
                  <a:cubicBezTo>
                    <a:pt x="17525" y="18653"/>
                    <a:pt x="17515" y="18602"/>
                    <a:pt x="17491" y="18593"/>
                  </a:cubicBezTo>
                  <a:cubicBezTo>
                    <a:pt x="17463" y="18582"/>
                    <a:pt x="17438" y="18613"/>
                    <a:pt x="17399" y="18585"/>
                  </a:cubicBezTo>
                  <a:cubicBezTo>
                    <a:pt x="17389" y="18579"/>
                    <a:pt x="17387" y="18565"/>
                    <a:pt x="17378" y="18559"/>
                  </a:cubicBezTo>
                  <a:cubicBezTo>
                    <a:pt x="17350" y="18541"/>
                    <a:pt x="17366" y="18556"/>
                    <a:pt x="17348" y="18551"/>
                  </a:cubicBezTo>
                  <a:cubicBezTo>
                    <a:pt x="17334" y="18546"/>
                    <a:pt x="17318" y="18555"/>
                    <a:pt x="17309" y="18551"/>
                  </a:cubicBezTo>
                  <a:cubicBezTo>
                    <a:pt x="17298" y="18545"/>
                    <a:pt x="17295" y="18517"/>
                    <a:pt x="17281" y="18507"/>
                  </a:cubicBezTo>
                  <a:cubicBezTo>
                    <a:pt x="17270" y="18556"/>
                    <a:pt x="17315" y="18632"/>
                    <a:pt x="17318" y="18685"/>
                  </a:cubicBezTo>
                  <a:cubicBezTo>
                    <a:pt x="17319" y="18712"/>
                    <a:pt x="17337" y="18757"/>
                    <a:pt x="17326" y="18782"/>
                  </a:cubicBezTo>
                  <a:cubicBezTo>
                    <a:pt x="17313" y="18813"/>
                    <a:pt x="17279" y="18829"/>
                    <a:pt x="17265" y="18866"/>
                  </a:cubicBezTo>
                  <a:cubicBezTo>
                    <a:pt x="17252" y="18843"/>
                    <a:pt x="17276" y="18804"/>
                    <a:pt x="17277" y="18775"/>
                  </a:cubicBezTo>
                  <a:cubicBezTo>
                    <a:pt x="17278" y="18747"/>
                    <a:pt x="17267" y="18723"/>
                    <a:pt x="17262" y="18696"/>
                  </a:cubicBezTo>
                  <a:cubicBezTo>
                    <a:pt x="17254" y="18644"/>
                    <a:pt x="17251" y="18618"/>
                    <a:pt x="17216" y="18573"/>
                  </a:cubicBezTo>
                  <a:cubicBezTo>
                    <a:pt x="17205" y="18595"/>
                    <a:pt x="17240" y="18641"/>
                    <a:pt x="17245" y="18668"/>
                  </a:cubicBezTo>
                  <a:cubicBezTo>
                    <a:pt x="17253" y="18710"/>
                    <a:pt x="17265" y="18751"/>
                    <a:pt x="17243" y="18792"/>
                  </a:cubicBezTo>
                  <a:cubicBezTo>
                    <a:pt x="17220" y="18837"/>
                    <a:pt x="17195" y="18859"/>
                    <a:pt x="17183" y="18907"/>
                  </a:cubicBezTo>
                  <a:close/>
                  <a:moveTo>
                    <a:pt x="17323" y="20919"/>
                  </a:moveTo>
                  <a:cubicBezTo>
                    <a:pt x="17291" y="20898"/>
                    <a:pt x="17177" y="20924"/>
                    <a:pt x="17139" y="20934"/>
                  </a:cubicBezTo>
                  <a:cubicBezTo>
                    <a:pt x="17079" y="20951"/>
                    <a:pt x="17031" y="20974"/>
                    <a:pt x="16976" y="20997"/>
                  </a:cubicBezTo>
                  <a:cubicBezTo>
                    <a:pt x="16913" y="21024"/>
                    <a:pt x="16900" y="21032"/>
                    <a:pt x="16881" y="21089"/>
                  </a:cubicBezTo>
                  <a:cubicBezTo>
                    <a:pt x="16870" y="21122"/>
                    <a:pt x="16856" y="21119"/>
                    <a:pt x="16898" y="21140"/>
                  </a:cubicBezTo>
                  <a:cubicBezTo>
                    <a:pt x="16917" y="21150"/>
                    <a:pt x="16942" y="21153"/>
                    <a:pt x="16964" y="21155"/>
                  </a:cubicBezTo>
                  <a:cubicBezTo>
                    <a:pt x="17036" y="21161"/>
                    <a:pt x="17132" y="21171"/>
                    <a:pt x="17204" y="21168"/>
                  </a:cubicBezTo>
                  <a:cubicBezTo>
                    <a:pt x="17247" y="21166"/>
                    <a:pt x="17287" y="21156"/>
                    <a:pt x="17333" y="21162"/>
                  </a:cubicBezTo>
                  <a:cubicBezTo>
                    <a:pt x="17371" y="21166"/>
                    <a:pt x="17406" y="21178"/>
                    <a:pt x="17444" y="21182"/>
                  </a:cubicBezTo>
                  <a:cubicBezTo>
                    <a:pt x="17487" y="21185"/>
                    <a:pt x="17527" y="21177"/>
                    <a:pt x="17570" y="21179"/>
                  </a:cubicBezTo>
                  <a:cubicBezTo>
                    <a:pt x="17615" y="21182"/>
                    <a:pt x="17653" y="21200"/>
                    <a:pt x="17649" y="21151"/>
                  </a:cubicBezTo>
                  <a:cubicBezTo>
                    <a:pt x="17646" y="21118"/>
                    <a:pt x="17595" y="21083"/>
                    <a:pt x="17567" y="21058"/>
                  </a:cubicBezTo>
                  <a:cubicBezTo>
                    <a:pt x="17502" y="21002"/>
                    <a:pt x="17405" y="20962"/>
                    <a:pt x="17323" y="20919"/>
                  </a:cubicBezTo>
                  <a:close/>
                  <a:moveTo>
                    <a:pt x="18534" y="21392"/>
                  </a:moveTo>
                  <a:cubicBezTo>
                    <a:pt x="18501" y="21380"/>
                    <a:pt x="18463" y="21429"/>
                    <a:pt x="18443" y="21446"/>
                  </a:cubicBezTo>
                  <a:cubicBezTo>
                    <a:pt x="18418" y="21466"/>
                    <a:pt x="18376" y="21480"/>
                    <a:pt x="18380" y="21506"/>
                  </a:cubicBezTo>
                  <a:cubicBezTo>
                    <a:pt x="18390" y="21565"/>
                    <a:pt x="18456" y="21522"/>
                    <a:pt x="18491" y="21509"/>
                  </a:cubicBezTo>
                  <a:cubicBezTo>
                    <a:pt x="18518" y="21498"/>
                    <a:pt x="18544" y="21506"/>
                    <a:pt x="18552" y="21475"/>
                  </a:cubicBezTo>
                  <a:cubicBezTo>
                    <a:pt x="18559" y="21450"/>
                    <a:pt x="18573" y="21398"/>
                    <a:pt x="18534" y="21392"/>
                  </a:cubicBezTo>
                  <a:close/>
                  <a:moveTo>
                    <a:pt x="17562" y="18626"/>
                  </a:moveTo>
                  <a:cubicBezTo>
                    <a:pt x="17564" y="18644"/>
                    <a:pt x="17585" y="18668"/>
                    <a:pt x="17586" y="18684"/>
                  </a:cubicBezTo>
                  <a:cubicBezTo>
                    <a:pt x="17587" y="18703"/>
                    <a:pt x="17580" y="18718"/>
                    <a:pt x="17577" y="18736"/>
                  </a:cubicBezTo>
                  <a:cubicBezTo>
                    <a:pt x="17575" y="18754"/>
                    <a:pt x="17567" y="18784"/>
                    <a:pt x="17593" y="18784"/>
                  </a:cubicBezTo>
                  <a:cubicBezTo>
                    <a:pt x="17624" y="18785"/>
                    <a:pt x="17625" y="18750"/>
                    <a:pt x="17637" y="18740"/>
                  </a:cubicBezTo>
                  <a:cubicBezTo>
                    <a:pt x="17642" y="18737"/>
                    <a:pt x="17671" y="18742"/>
                    <a:pt x="17680" y="18723"/>
                  </a:cubicBezTo>
                  <a:cubicBezTo>
                    <a:pt x="17697" y="18689"/>
                    <a:pt x="17635" y="18600"/>
                    <a:pt x="17623" y="18568"/>
                  </a:cubicBezTo>
                  <a:cubicBezTo>
                    <a:pt x="17596" y="18516"/>
                    <a:pt x="17560" y="18608"/>
                    <a:pt x="17562" y="18626"/>
                  </a:cubicBezTo>
                  <a:close/>
                  <a:moveTo>
                    <a:pt x="17006" y="18796"/>
                  </a:moveTo>
                  <a:cubicBezTo>
                    <a:pt x="16994" y="18812"/>
                    <a:pt x="16992" y="18884"/>
                    <a:pt x="17032" y="18879"/>
                  </a:cubicBezTo>
                  <a:cubicBezTo>
                    <a:pt x="17089" y="18827"/>
                    <a:pt x="17174" y="18777"/>
                    <a:pt x="17182" y="18707"/>
                  </a:cubicBezTo>
                  <a:cubicBezTo>
                    <a:pt x="17186" y="18674"/>
                    <a:pt x="17187" y="18635"/>
                    <a:pt x="17178" y="18603"/>
                  </a:cubicBezTo>
                  <a:cubicBezTo>
                    <a:pt x="17157" y="18633"/>
                    <a:pt x="17185" y="18667"/>
                    <a:pt x="17164" y="18699"/>
                  </a:cubicBezTo>
                  <a:cubicBezTo>
                    <a:pt x="17149" y="18724"/>
                    <a:pt x="17140" y="18722"/>
                    <a:pt x="17111" y="18732"/>
                  </a:cubicBezTo>
                  <a:cubicBezTo>
                    <a:pt x="17103" y="18735"/>
                    <a:pt x="17083" y="18727"/>
                    <a:pt x="17076" y="18731"/>
                  </a:cubicBezTo>
                  <a:cubicBezTo>
                    <a:pt x="17061" y="18742"/>
                    <a:pt x="17086" y="18746"/>
                    <a:pt x="17081" y="18752"/>
                  </a:cubicBezTo>
                  <a:cubicBezTo>
                    <a:pt x="17063" y="18769"/>
                    <a:pt x="17022" y="18773"/>
                    <a:pt x="17006" y="18796"/>
                  </a:cubicBezTo>
                  <a:close/>
                  <a:moveTo>
                    <a:pt x="13815" y="10024"/>
                  </a:moveTo>
                  <a:cubicBezTo>
                    <a:pt x="13803" y="10038"/>
                    <a:pt x="13790" y="10039"/>
                    <a:pt x="13780" y="10057"/>
                  </a:cubicBezTo>
                  <a:cubicBezTo>
                    <a:pt x="13769" y="10075"/>
                    <a:pt x="13755" y="10122"/>
                    <a:pt x="13753" y="10141"/>
                  </a:cubicBezTo>
                  <a:cubicBezTo>
                    <a:pt x="13747" y="10218"/>
                    <a:pt x="13776" y="10141"/>
                    <a:pt x="13798" y="10130"/>
                  </a:cubicBezTo>
                  <a:cubicBezTo>
                    <a:pt x="13812" y="10123"/>
                    <a:pt x="13835" y="10131"/>
                    <a:pt x="13837" y="10130"/>
                  </a:cubicBezTo>
                  <a:cubicBezTo>
                    <a:pt x="13849" y="10124"/>
                    <a:pt x="13845" y="10121"/>
                    <a:pt x="13860" y="10110"/>
                  </a:cubicBezTo>
                  <a:cubicBezTo>
                    <a:pt x="13885" y="10093"/>
                    <a:pt x="13918" y="10063"/>
                    <a:pt x="13937" y="10043"/>
                  </a:cubicBezTo>
                  <a:cubicBezTo>
                    <a:pt x="13987" y="9991"/>
                    <a:pt x="13980" y="9947"/>
                    <a:pt x="13887" y="9929"/>
                  </a:cubicBezTo>
                  <a:cubicBezTo>
                    <a:pt x="13831" y="9943"/>
                    <a:pt x="13885" y="9974"/>
                    <a:pt x="13860" y="9996"/>
                  </a:cubicBezTo>
                  <a:cubicBezTo>
                    <a:pt x="13869" y="9988"/>
                    <a:pt x="13821" y="9969"/>
                    <a:pt x="13831" y="9991"/>
                  </a:cubicBezTo>
                  <a:cubicBezTo>
                    <a:pt x="13843" y="10016"/>
                    <a:pt x="13827" y="10009"/>
                    <a:pt x="13815" y="10024"/>
                  </a:cubicBezTo>
                  <a:close/>
                  <a:moveTo>
                    <a:pt x="13756" y="10601"/>
                  </a:moveTo>
                  <a:cubicBezTo>
                    <a:pt x="13796" y="10644"/>
                    <a:pt x="13813" y="10614"/>
                    <a:pt x="13843" y="10591"/>
                  </a:cubicBezTo>
                  <a:cubicBezTo>
                    <a:pt x="13876" y="10566"/>
                    <a:pt x="13906" y="10556"/>
                    <a:pt x="13924" y="10525"/>
                  </a:cubicBezTo>
                  <a:cubicBezTo>
                    <a:pt x="13941" y="10496"/>
                    <a:pt x="13933" y="10468"/>
                    <a:pt x="13941" y="10436"/>
                  </a:cubicBezTo>
                  <a:cubicBezTo>
                    <a:pt x="13949" y="10405"/>
                    <a:pt x="13961" y="10374"/>
                    <a:pt x="13957" y="10346"/>
                  </a:cubicBezTo>
                  <a:cubicBezTo>
                    <a:pt x="13956" y="10336"/>
                    <a:pt x="13945" y="10308"/>
                    <a:pt x="13950" y="10299"/>
                  </a:cubicBezTo>
                  <a:cubicBezTo>
                    <a:pt x="13955" y="10291"/>
                    <a:pt x="13982" y="10310"/>
                    <a:pt x="13986" y="10306"/>
                  </a:cubicBezTo>
                  <a:cubicBezTo>
                    <a:pt x="13995" y="10295"/>
                    <a:pt x="13983" y="10284"/>
                    <a:pt x="13988" y="10272"/>
                  </a:cubicBezTo>
                  <a:cubicBezTo>
                    <a:pt x="13998" y="10242"/>
                    <a:pt x="14003" y="10230"/>
                    <a:pt x="13976" y="10206"/>
                  </a:cubicBezTo>
                  <a:cubicBezTo>
                    <a:pt x="13946" y="10179"/>
                    <a:pt x="13940" y="10191"/>
                    <a:pt x="13898" y="10188"/>
                  </a:cubicBezTo>
                  <a:cubicBezTo>
                    <a:pt x="13881" y="10202"/>
                    <a:pt x="13829" y="10231"/>
                    <a:pt x="13836" y="10253"/>
                  </a:cubicBezTo>
                  <a:cubicBezTo>
                    <a:pt x="13841" y="10271"/>
                    <a:pt x="13877" y="10273"/>
                    <a:pt x="13879" y="10290"/>
                  </a:cubicBezTo>
                  <a:cubicBezTo>
                    <a:pt x="13879" y="10286"/>
                    <a:pt x="13836" y="10331"/>
                    <a:pt x="13834" y="10345"/>
                  </a:cubicBezTo>
                  <a:cubicBezTo>
                    <a:pt x="13831" y="10370"/>
                    <a:pt x="13848" y="10391"/>
                    <a:pt x="13826" y="10417"/>
                  </a:cubicBezTo>
                  <a:cubicBezTo>
                    <a:pt x="13800" y="10446"/>
                    <a:pt x="13764" y="10441"/>
                    <a:pt x="13753" y="10483"/>
                  </a:cubicBezTo>
                  <a:cubicBezTo>
                    <a:pt x="13745" y="10516"/>
                    <a:pt x="13732" y="10574"/>
                    <a:pt x="13756" y="10601"/>
                  </a:cubicBezTo>
                  <a:close/>
                  <a:moveTo>
                    <a:pt x="14688" y="13971"/>
                  </a:moveTo>
                  <a:cubicBezTo>
                    <a:pt x="14742" y="13977"/>
                    <a:pt x="14772" y="13952"/>
                    <a:pt x="14729" y="13913"/>
                  </a:cubicBezTo>
                  <a:cubicBezTo>
                    <a:pt x="14696" y="13884"/>
                    <a:pt x="14584" y="13861"/>
                    <a:pt x="14536" y="13851"/>
                  </a:cubicBezTo>
                  <a:cubicBezTo>
                    <a:pt x="14552" y="13868"/>
                    <a:pt x="14534" y="13885"/>
                    <a:pt x="14543" y="13900"/>
                  </a:cubicBezTo>
                  <a:cubicBezTo>
                    <a:pt x="14553" y="13916"/>
                    <a:pt x="14577" y="13911"/>
                    <a:pt x="14582" y="13932"/>
                  </a:cubicBezTo>
                  <a:cubicBezTo>
                    <a:pt x="14535" y="13930"/>
                    <a:pt x="14488" y="13922"/>
                    <a:pt x="14441" y="13916"/>
                  </a:cubicBezTo>
                  <a:cubicBezTo>
                    <a:pt x="14435" y="13915"/>
                    <a:pt x="14364" y="13919"/>
                    <a:pt x="14371" y="13913"/>
                  </a:cubicBezTo>
                  <a:cubicBezTo>
                    <a:pt x="14351" y="13929"/>
                    <a:pt x="14380" y="13935"/>
                    <a:pt x="14371" y="13946"/>
                  </a:cubicBezTo>
                  <a:cubicBezTo>
                    <a:pt x="14359" y="13960"/>
                    <a:pt x="14348" y="13959"/>
                    <a:pt x="14328" y="13969"/>
                  </a:cubicBezTo>
                  <a:cubicBezTo>
                    <a:pt x="14293" y="13987"/>
                    <a:pt x="14158" y="14062"/>
                    <a:pt x="14168" y="13995"/>
                  </a:cubicBezTo>
                  <a:cubicBezTo>
                    <a:pt x="14173" y="13964"/>
                    <a:pt x="14337" y="13915"/>
                    <a:pt x="14273" y="13868"/>
                  </a:cubicBezTo>
                  <a:cubicBezTo>
                    <a:pt x="14233" y="13839"/>
                    <a:pt x="14190" y="13831"/>
                    <a:pt x="14171" y="13789"/>
                  </a:cubicBezTo>
                  <a:cubicBezTo>
                    <a:pt x="14160" y="13765"/>
                    <a:pt x="14159" y="13732"/>
                    <a:pt x="14143" y="13709"/>
                  </a:cubicBezTo>
                  <a:cubicBezTo>
                    <a:pt x="14111" y="13662"/>
                    <a:pt x="14038" y="13647"/>
                    <a:pt x="13987" y="13608"/>
                  </a:cubicBezTo>
                  <a:cubicBezTo>
                    <a:pt x="13963" y="13590"/>
                    <a:pt x="13953" y="13595"/>
                    <a:pt x="13934" y="13587"/>
                  </a:cubicBezTo>
                  <a:cubicBezTo>
                    <a:pt x="13916" y="13580"/>
                    <a:pt x="13898" y="13571"/>
                    <a:pt x="13872" y="13562"/>
                  </a:cubicBezTo>
                  <a:cubicBezTo>
                    <a:pt x="13817" y="13545"/>
                    <a:pt x="13808" y="13582"/>
                    <a:pt x="13758" y="13569"/>
                  </a:cubicBezTo>
                  <a:cubicBezTo>
                    <a:pt x="13734" y="13562"/>
                    <a:pt x="13706" y="13571"/>
                    <a:pt x="13682" y="13563"/>
                  </a:cubicBezTo>
                  <a:cubicBezTo>
                    <a:pt x="13658" y="13555"/>
                    <a:pt x="13653" y="13538"/>
                    <a:pt x="13633" y="13527"/>
                  </a:cubicBezTo>
                  <a:cubicBezTo>
                    <a:pt x="13601" y="13509"/>
                    <a:pt x="13545" y="13501"/>
                    <a:pt x="13504" y="13501"/>
                  </a:cubicBezTo>
                  <a:cubicBezTo>
                    <a:pt x="13472" y="13501"/>
                    <a:pt x="13431" y="13466"/>
                    <a:pt x="13413" y="13447"/>
                  </a:cubicBezTo>
                  <a:cubicBezTo>
                    <a:pt x="13386" y="13419"/>
                    <a:pt x="13379" y="13386"/>
                    <a:pt x="13320" y="13383"/>
                  </a:cubicBezTo>
                  <a:cubicBezTo>
                    <a:pt x="13285" y="13381"/>
                    <a:pt x="13244" y="13398"/>
                    <a:pt x="13210" y="13397"/>
                  </a:cubicBezTo>
                  <a:cubicBezTo>
                    <a:pt x="13177" y="13396"/>
                    <a:pt x="13158" y="13396"/>
                    <a:pt x="13114" y="13391"/>
                  </a:cubicBezTo>
                  <a:cubicBezTo>
                    <a:pt x="13091" y="13388"/>
                    <a:pt x="13047" y="13380"/>
                    <a:pt x="13035" y="13362"/>
                  </a:cubicBezTo>
                  <a:cubicBezTo>
                    <a:pt x="13026" y="13348"/>
                    <a:pt x="13052" y="13326"/>
                    <a:pt x="13043" y="13313"/>
                  </a:cubicBezTo>
                  <a:cubicBezTo>
                    <a:pt x="13037" y="13304"/>
                    <a:pt x="12988" y="13296"/>
                    <a:pt x="12976" y="13293"/>
                  </a:cubicBezTo>
                  <a:cubicBezTo>
                    <a:pt x="12960" y="13289"/>
                    <a:pt x="12941" y="13288"/>
                    <a:pt x="12927" y="13281"/>
                  </a:cubicBezTo>
                  <a:cubicBezTo>
                    <a:pt x="12917" y="13275"/>
                    <a:pt x="12924" y="13261"/>
                    <a:pt x="12914" y="13256"/>
                  </a:cubicBezTo>
                  <a:cubicBezTo>
                    <a:pt x="12854" y="13227"/>
                    <a:pt x="12850" y="13262"/>
                    <a:pt x="12839" y="13299"/>
                  </a:cubicBezTo>
                  <a:cubicBezTo>
                    <a:pt x="12828" y="13335"/>
                    <a:pt x="12831" y="13355"/>
                    <a:pt x="12835" y="13389"/>
                  </a:cubicBezTo>
                  <a:cubicBezTo>
                    <a:pt x="12839" y="13426"/>
                    <a:pt x="12824" y="13457"/>
                    <a:pt x="12783" y="13433"/>
                  </a:cubicBezTo>
                  <a:cubicBezTo>
                    <a:pt x="12765" y="13422"/>
                    <a:pt x="12737" y="13381"/>
                    <a:pt x="12727" y="13364"/>
                  </a:cubicBezTo>
                  <a:cubicBezTo>
                    <a:pt x="12714" y="13344"/>
                    <a:pt x="12729" y="13336"/>
                    <a:pt x="12700" y="13320"/>
                  </a:cubicBezTo>
                  <a:cubicBezTo>
                    <a:pt x="12676" y="13307"/>
                    <a:pt x="12600" y="13287"/>
                    <a:pt x="12587" y="13265"/>
                  </a:cubicBezTo>
                  <a:cubicBezTo>
                    <a:pt x="12566" y="13230"/>
                    <a:pt x="12630" y="13243"/>
                    <a:pt x="12648" y="13209"/>
                  </a:cubicBezTo>
                  <a:cubicBezTo>
                    <a:pt x="12670" y="13169"/>
                    <a:pt x="12618" y="13164"/>
                    <a:pt x="12594" y="13136"/>
                  </a:cubicBezTo>
                  <a:cubicBezTo>
                    <a:pt x="12577" y="13114"/>
                    <a:pt x="12586" y="13073"/>
                    <a:pt x="12529" y="13064"/>
                  </a:cubicBezTo>
                  <a:cubicBezTo>
                    <a:pt x="12481" y="13056"/>
                    <a:pt x="12470" y="13113"/>
                    <a:pt x="12440" y="13080"/>
                  </a:cubicBezTo>
                  <a:cubicBezTo>
                    <a:pt x="12420" y="13058"/>
                    <a:pt x="12465" y="12998"/>
                    <a:pt x="12399" y="13014"/>
                  </a:cubicBezTo>
                  <a:cubicBezTo>
                    <a:pt x="12367" y="13021"/>
                    <a:pt x="12336" y="13077"/>
                    <a:pt x="12324" y="13098"/>
                  </a:cubicBezTo>
                  <a:cubicBezTo>
                    <a:pt x="12283" y="13165"/>
                    <a:pt x="12298" y="13209"/>
                    <a:pt x="12294" y="13277"/>
                  </a:cubicBezTo>
                  <a:cubicBezTo>
                    <a:pt x="12292" y="13307"/>
                    <a:pt x="12296" y="13335"/>
                    <a:pt x="12298" y="13365"/>
                  </a:cubicBezTo>
                  <a:cubicBezTo>
                    <a:pt x="12301" y="13401"/>
                    <a:pt x="12316" y="13417"/>
                    <a:pt x="12321" y="13444"/>
                  </a:cubicBezTo>
                  <a:cubicBezTo>
                    <a:pt x="12327" y="13476"/>
                    <a:pt x="12323" y="13495"/>
                    <a:pt x="12338" y="13528"/>
                  </a:cubicBezTo>
                  <a:cubicBezTo>
                    <a:pt x="12350" y="13555"/>
                    <a:pt x="12361" y="13587"/>
                    <a:pt x="12359" y="13614"/>
                  </a:cubicBezTo>
                  <a:cubicBezTo>
                    <a:pt x="12358" y="13640"/>
                    <a:pt x="12339" y="13664"/>
                    <a:pt x="12356" y="13691"/>
                  </a:cubicBezTo>
                  <a:cubicBezTo>
                    <a:pt x="12363" y="13703"/>
                    <a:pt x="12386" y="13708"/>
                    <a:pt x="12393" y="13722"/>
                  </a:cubicBezTo>
                  <a:cubicBezTo>
                    <a:pt x="12397" y="13731"/>
                    <a:pt x="12381" y="13737"/>
                    <a:pt x="12383" y="13744"/>
                  </a:cubicBezTo>
                  <a:cubicBezTo>
                    <a:pt x="12384" y="13750"/>
                    <a:pt x="12394" y="13762"/>
                    <a:pt x="12394" y="13765"/>
                  </a:cubicBezTo>
                  <a:cubicBezTo>
                    <a:pt x="12396" y="13809"/>
                    <a:pt x="12370" y="13876"/>
                    <a:pt x="12368" y="13936"/>
                  </a:cubicBezTo>
                  <a:cubicBezTo>
                    <a:pt x="12367" y="13985"/>
                    <a:pt x="12398" y="14057"/>
                    <a:pt x="12419" y="14098"/>
                  </a:cubicBezTo>
                  <a:cubicBezTo>
                    <a:pt x="12432" y="14126"/>
                    <a:pt x="12445" y="14147"/>
                    <a:pt x="12465" y="14171"/>
                  </a:cubicBezTo>
                  <a:cubicBezTo>
                    <a:pt x="12475" y="14183"/>
                    <a:pt x="12476" y="14192"/>
                    <a:pt x="12490" y="14206"/>
                  </a:cubicBezTo>
                  <a:cubicBezTo>
                    <a:pt x="12503" y="14219"/>
                    <a:pt x="12523" y="14223"/>
                    <a:pt x="12532" y="14239"/>
                  </a:cubicBezTo>
                  <a:cubicBezTo>
                    <a:pt x="12562" y="14287"/>
                    <a:pt x="12456" y="14335"/>
                    <a:pt x="12409" y="14365"/>
                  </a:cubicBezTo>
                  <a:cubicBezTo>
                    <a:pt x="12340" y="14410"/>
                    <a:pt x="12300" y="14441"/>
                    <a:pt x="12270" y="14506"/>
                  </a:cubicBezTo>
                  <a:cubicBezTo>
                    <a:pt x="12248" y="14555"/>
                    <a:pt x="12208" y="14605"/>
                    <a:pt x="12237" y="14657"/>
                  </a:cubicBezTo>
                  <a:cubicBezTo>
                    <a:pt x="12285" y="14692"/>
                    <a:pt x="12326" y="14709"/>
                    <a:pt x="12390" y="14676"/>
                  </a:cubicBezTo>
                  <a:cubicBezTo>
                    <a:pt x="12439" y="14651"/>
                    <a:pt x="12433" y="14598"/>
                    <a:pt x="12497" y="14582"/>
                  </a:cubicBezTo>
                  <a:cubicBezTo>
                    <a:pt x="12521" y="14577"/>
                    <a:pt x="12561" y="14583"/>
                    <a:pt x="12585" y="14582"/>
                  </a:cubicBezTo>
                  <a:cubicBezTo>
                    <a:pt x="12622" y="14582"/>
                    <a:pt x="12627" y="14570"/>
                    <a:pt x="12655" y="14557"/>
                  </a:cubicBezTo>
                  <a:cubicBezTo>
                    <a:pt x="12687" y="14541"/>
                    <a:pt x="12739" y="14531"/>
                    <a:pt x="12765" y="14510"/>
                  </a:cubicBezTo>
                  <a:cubicBezTo>
                    <a:pt x="12782" y="14497"/>
                    <a:pt x="12785" y="14479"/>
                    <a:pt x="12798" y="14463"/>
                  </a:cubicBezTo>
                  <a:cubicBezTo>
                    <a:pt x="12800" y="14509"/>
                    <a:pt x="12836" y="14500"/>
                    <a:pt x="12863" y="14531"/>
                  </a:cubicBezTo>
                  <a:cubicBezTo>
                    <a:pt x="12880" y="14551"/>
                    <a:pt x="12878" y="14591"/>
                    <a:pt x="12884" y="14613"/>
                  </a:cubicBezTo>
                  <a:cubicBezTo>
                    <a:pt x="12897" y="14668"/>
                    <a:pt x="12897" y="14723"/>
                    <a:pt x="12923" y="14778"/>
                  </a:cubicBezTo>
                  <a:cubicBezTo>
                    <a:pt x="12956" y="14846"/>
                    <a:pt x="13013" y="14895"/>
                    <a:pt x="13114" y="14858"/>
                  </a:cubicBezTo>
                  <a:cubicBezTo>
                    <a:pt x="13179" y="14834"/>
                    <a:pt x="13233" y="14772"/>
                    <a:pt x="13273" y="14729"/>
                  </a:cubicBezTo>
                  <a:cubicBezTo>
                    <a:pt x="13303" y="14697"/>
                    <a:pt x="13333" y="14682"/>
                    <a:pt x="13346" y="14643"/>
                  </a:cubicBezTo>
                  <a:cubicBezTo>
                    <a:pt x="13355" y="14612"/>
                    <a:pt x="13348" y="14591"/>
                    <a:pt x="13348" y="14559"/>
                  </a:cubicBezTo>
                  <a:cubicBezTo>
                    <a:pt x="13348" y="14526"/>
                    <a:pt x="13360" y="14495"/>
                    <a:pt x="13382" y="14466"/>
                  </a:cubicBezTo>
                  <a:cubicBezTo>
                    <a:pt x="13404" y="14437"/>
                    <a:pt x="13435" y="14464"/>
                    <a:pt x="13460" y="14449"/>
                  </a:cubicBezTo>
                  <a:cubicBezTo>
                    <a:pt x="13479" y="14438"/>
                    <a:pt x="13471" y="14416"/>
                    <a:pt x="13480" y="14401"/>
                  </a:cubicBezTo>
                  <a:cubicBezTo>
                    <a:pt x="13485" y="14392"/>
                    <a:pt x="13505" y="14376"/>
                    <a:pt x="13513" y="14366"/>
                  </a:cubicBezTo>
                  <a:cubicBezTo>
                    <a:pt x="13525" y="14352"/>
                    <a:pt x="13530" y="14335"/>
                    <a:pt x="13547" y="14323"/>
                  </a:cubicBezTo>
                  <a:cubicBezTo>
                    <a:pt x="13570" y="14308"/>
                    <a:pt x="13590" y="14317"/>
                    <a:pt x="13600" y="14296"/>
                  </a:cubicBezTo>
                  <a:cubicBezTo>
                    <a:pt x="13607" y="14281"/>
                    <a:pt x="13590" y="14268"/>
                    <a:pt x="13587" y="14258"/>
                  </a:cubicBezTo>
                  <a:cubicBezTo>
                    <a:pt x="13577" y="14232"/>
                    <a:pt x="13568" y="14206"/>
                    <a:pt x="13553" y="14179"/>
                  </a:cubicBezTo>
                  <a:cubicBezTo>
                    <a:pt x="13532" y="14144"/>
                    <a:pt x="13526" y="14155"/>
                    <a:pt x="13550" y="14112"/>
                  </a:cubicBezTo>
                  <a:cubicBezTo>
                    <a:pt x="13559" y="14095"/>
                    <a:pt x="13557" y="14080"/>
                    <a:pt x="13576" y="14065"/>
                  </a:cubicBezTo>
                  <a:cubicBezTo>
                    <a:pt x="13587" y="14057"/>
                    <a:pt x="13598" y="14069"/>
                    <a:pt x="13609" y="14064"/>
                  </a:cubicBezTo>
                  <a:cubicBezTo>
                    <a:pt x="13621" y="14059"/>
                    <a:pt x="13626" y="14044"/>
                    <a:pt x="13639" y="14040"/>
                  </a:cubicBezTo>
                  <a:cubicBezTo>
                    <a:pt x="13667" y="14031"/>
                    <a:pt x="13675" y="14050"/>
                    <a:pt x="13688" y="14027"/>
                  </a:cubicBezTo>
                  <a:cubicBezTo>
                    <a:pt x="13702" y="14005"/>
                    <a:pt x="13727" y="13987"/>
                    <a:pt x="13747" y="13995"/>
                  </a:cubicBezTo>
                  <a:cubicBezTo>
                    <a:pt x="13834" y="14028"/>
                    <a:pt x="13650" y="14145"/>
                    <a:pt x="13795" y="14117"/>
                  </a:cubicBezTo>
                  <a:cubicBezTo>
                    <a:pt x="13851" y="14106"/>
                    <a:pt x="14095" y="14062"/>
                    <a:pt x="14068" y="14159"/>
                  </a:cubicBezTo>
                  <a:cubicBezTo>
                    <a:pt x="14060" y="14190"/>
                    <a:pt x="14005" y="14200"/>
                    <a:pt x="14024" y="14241"/>
                  </a:cubicBezTo>
                  <a:cubicBezTo>
                    <a:pt x="14036" y="14266"/>
                    <a:pt x="14094" y="14281"/>
                    <a:pt x="14128" y="14279"/>
                  </a:cubicBezTo>
                  <a:cubicBezTo>
                    <a:pt x="14156" y="14277"/>
                    <a:pt x="14172" y="14249"/>
                    <a:pt x="14199" y="14242"/>
                  </a:cubicBezTo>
                  <a:cubicBezTo>
                    <a:pt x="14233" y="14234"/>
                    <a:pt x="14224" y="14244"/>
                    <a:pt x="14254" y="14246"/>
                  </a:cubicBezTo>
                  <a:cubicBezTo>
                    <a:pt x="14281" y="14248"/>
                    <a:pt x="14302" y="14247"/>
                    <a:pt x="14330" y="14244"/>
                  </a:cubicBezTo>
                  <a:cubicBezTo>
                    <a:pt x="14357" y="14241"/>
                    <a:pt x="14365" y="14254"/>
                    <a:pt x="14389" y="14259"/>
                  </a:cubicBezTo>
                  <a:cubicBezTo>
                    <a:pt x="14474" y="14274"/>
                    <a:pt x="14568" y="14289"/>
                    <a:pt x="14659" y="14299"/>
                  </a:cubicBezTo>
                  <a:cubicBezTo>
                    <a:pt x="14729" y="14306"/>
                    <a:pt x="14694" y="14272"/>
                    <a:pt x="14705" y="14245"/>
                  </a:cubicBezTo>
                  <a:cubicBezTo>
                    <a:pt x="14708" y="14237"/>
                    <a:pt x="14732" y="14222"/>
                    <a:pt x="14739" y="14214"/>
                  </a:cubicBezTo>
                  <a:cubicBezTo>
                    <a:pt x="14751" y="14201"/>
                    <a:pt x="14758" y="14183"/>
                    <a:pt x="14770" y="14169"/>
                  </a:cubicBezTo>
                  <a:cubicBezTo>
                    <a:pt x="14793" y="14143"/>
                    <a:pt x="14801" y="14115"/>
                    <a:pt x="14819" y="14090"/>
                  </a:cubicBezTo>
                  <a:cubicBezTo>
                    <a:pt x="14840" y="14061"/>
                    <a:pt x="14917" y="14050"/>
                    <a:pt x="14924" y="14015"/>
                  </a:cubicBezTo>
                  <a:cubicBezTo>
                    <a:pt x="14863" y="13961"/>
                    <a:pt x="14737" y="14014"/>
                    <a:pt x="14688" y="13971"/>
                  </a:cubicBezTo>
                  <a:close/>
                  <a:moveTo>
                    <a:pt x="14484" y="14779"/>
                  </a:moveTo>
                  <a:cubicBezTo>
                    <a:pt x="14482" y="14757"/>
                    <a:pt x="14511" y="14717"/>
                    <a:pt x="14467" y="14703"/>
                  </a:cubicBezTo>
                  <a:cubicBezTo>
                    <a:pt x="14454" y="14699"/>
                    <a:pt x="14381" y="14709"/>
                    <a:pt x="14364" y="14709"/>
                  </a:cubicBezTo>
                  <a:cubicBezTo>
                    <a:pt x="14322" y="14710"/>
                    <a:pt x="14315" y="14709"/>
                    <a:pt x="14286" y="14736"/>
                  </a:cubicBezTo>
                  <a:cubicBezTo>
                    <a:pt x="14275" y="14745"/>
                    <a:pt x="14294" y="14754"/>
                    <a:pt x="14273" y="14764"/>
                  </a:cubicBezTo>
                  <a:cubicBezTo>
                    <a:pt x="14254" y="14771"/>
                    <a:pt x="14228" y="14762"/>
                    <a:pt x="14209" y="14765"/>
                  </a:cubicBezTo>
                  <a:cubicBezTo>
                    <a:pt x="14126" y="14777"/>
                    <a:pt x="14126" y="14839"/>
                    <a:pt x="14064" y="14866"/>
                  </a:cubicBezTo>
                  <a:cubicBezTo>
                    <a:pt x="13988" y="14899"/>
                    <a:pt x="13956" y="14795"/>
                    <a:pt x="13894" y="14863"/>
                  </a:cubicBezTo>
                  <a:cubicBezTo>
                    <a:pt x="13842" y="14920"/>
                    <a:pt x="13888" y="14975"/>
                    <a:pt x="13871" y="15035"/>
                  </a:cubicBezTo>
                  <a:cubicBezTo>
                    <a:pt x="13855" y="15091"/>
                    <a:pt x="13802" y="15132"/>
                    <a:pt x="13782" y="15187"/>
                  </a:cubicBezTo>
                  <a:cubicBezTo>
                    <a:pt x="13793" y="15232"/>
                    <a:pt x="13826" y="15246"/>
                    <a:pt x="13868" y="15272"/>
                  </a:cubicBezTo>
                  <a:cubicBezTo>
                    <a:pt x="13911" y="15298"/>
                    <a:pt x="13913" y="15310"/>
                    <a:pt x="13931" y="15349"/>
                  </a:cubicBezTo>
                  <a:cubicBezTo>
                    <a:pt x="13957" y="15404"/>
                    <a:pt x="13975" y="15365"/>
                    <a:pt x="14003" y="15335"/>
                  </a:cubicBezTo>
                  <a:cubicBezTo>
                    <a:pt x="14026" y="15310"/>
                    <a:pt x="14043" y="15282"/>
                    <a:pt x="14090" y="15286"/>
                  </a:cubicBezTo>
                  <a:cubicBezTo>
                    <a:pt x="14151" y="15291"/>
                    <a:pt x="14171" y="15320"/>
                    <a:pt x="14217" y="15283"/>
                  </a:cubicBezTo>
                  <a:cubicBezTo>
                    <a:pt x="14240" y="15265"/>
                    <a:pt x="14262" y="15237"/>
                    <a:pt x="14280" y="15216"/>
                  </a:cubicBezTo>
                  <a:cubicBezTo>
                    <a:pt x="14300" y="15192"/>
                    <a:pt x="14302" y="15171"/>
                    <a:pt x="14314" y="15145"/>
                  </a:cubicBezTo>
                  <a:cubicBezTo>
                    <a:pt x="14328" y="15117"/>
                    <a:pt x="14359" y="15101"/>
                    <a:pt x="14374" y="15076"/>
                  </a:cubicBezTo>
                  <a:cubicBezTo>
                    <a:pt x="14389" y="15051"/>
                    <a:pt x="14375" y="15027"/>
                    <a:pt x="14390" y="15002"/>
                  </a:cubicBezTo>
                  <a:cubicBezTo>
                    <a:pt x="14410" y="14970"/>
                    <a:pt x="14458" y="14947"/>
                    <a:pt x="14481" y="14914"/>
                  </a:cubicBezTo>
                  <a:cubicBezTo>
                    <a:pt x="14498" y="14891"/>
                    <a:pt x="14522" y="14871"/>
                    <a:pt x="14515" y="14843"/>
                  </a:cubicBezTo>
                  <a:cubicBezTo>
                    <a:pt x="14509" y="14818"/>
                    <a:pt x="14485" y="14804"/>
                    <a:pt x="14484" y="14779"/>
                  </a:cubicBezTo>
                  <a:close/>
                  <a:moveTo>
                    <a:pt x="15337" y="10484"/>
                  </a:moveTo>
                  <a:cubicBezTo>
                    <a:pt x="15332" y="10445"/>
                    <a:pt x="15308" y="10450"/>
                    <a:pt x="15268" y="10420"/>
                  </a:cubicBezTo>
                  <a:cubicBezTo>
                    <a:pt x="15247" y="10405"/>
                    <a:pt x="15228" y="10363"/>
                    <a:pt x="15203" y="10355"/>
                  </a:cubicBezTo>
                  <a:cubicBezTo>
                    <a:pt x="15201" y="10354"/>
                    <a:pt x="15107" y="10354"/>
                    <a:pt x="15116" y="10350"/>
                  </a:cubicBezTo>
                  <a:cubicBezTo>
                    <a:pt x="15095" y="10360"/>
                    <a:pt x="15098" y="10401"/>
                    <a:pt x="15099" y="10423"/>
                  </a:cubicBezTo>
                  <a:cubicBezTo>
                    <a:pt x="15105" y="10531"/>
                    <a:pt x="15257" y="10500"/>
                    <a:pt x="15318" y="10574"/>
                  </a:cubicBezTo>
                  <a:cubicBezTo>
                    <a:pt x="15334" y="10561"/>
                    <a:pt x="15357" y="10559"/>
                    <a:pt x="15377" y="10566"/>
                  </a:cubicBezTo>
                  <a:cubicBezTo>
                    <a:pt x="15374" y="10551"/>
                    <a:pt x="15368" y="10552"/>
                    <a:pt x="15365" y="10536"/>
                  </a:cubicBezTo>
                  <a:cubicBezTo>
                    <a:pt x="15368" y="10550"/>
                    <a:pt x="15346" y="10513"/>
                    <a:pt x="15353" y="10511"/>
                  </a:cubicBezTo>
                  <a:cubicBezTo>
                    <a:pt x="15342" y="10507"/>
                    <a:pt x="15318" y="10498"/>
                    <a:pt x="15321" y="10509"/>
                  </a:cubicBezTo>
                  <a:cubicBezTo>
                    <a:pt x="15317" y="10494"/>
                    <a:pt x="15338" y="10489"/>
                    <a:pt x="15337" y="10484"/>
                  </a:cubicBezTo>
                  <a:close/>
                  <a:moveTo>
                    <a:pt x="15439" y="11310"/>
                  </a:moveTo>
                  <a:cubicBezTo>
                    <a:pt x="15496" y="11263"/>
                    <a:pt x="15547" y="11212"/>
                    <a:pt x="15564" y="11143"/>
                  </a:cubicBezTo>
                  <a:cubicBezTo>
                    <a:pt x="15581" y="11076"/>
                    <a:pt x="15538" y="11027"/>
                    <a:pt x="15507" y="10969"/>
                  </a:cubicBezTo>
                  <a:cubicBezTo>
                    <a:pt x="15492" y="10942"/>
                    <a:pt x="15477" y="10922"/>
                    <a:pt x="15458" y="10901"/>
                  </a:cubicBezTo>
                  <a:cubicBezTo>
                    <a:pt x="15441" y="10882"/>
                    <a:pt x="15407" y="10859"/>
                    <a:pt x="15398" y="10837"/>
                  </a:cubicBezTo>
                  <a:cubicBezTo>
                    <a:pt x="15374" y="10779"/>
                    <a:pt x="15418" y="10731"/>
                    <a:pt x="15354" y="10681"/>
                  </a:cubicBezTo>
                  <a:cubicBezTo>
                    <a:pt x="15298" y="10636"/>
                    <a:pt x="15219" y="10659"/>
                    <a:pt x="15141" y="10649"/>
                  </a:cubicBezTo>
                  <a:cubicBezTo>
                    <a:pt x="15102" y="10644"/>
                    <a:pt x="15053" y="10641"/>
                    <a:pt x="15019" y="10661"/>
                  </a:cubicBezTo>
                  <a:cubicBezTo>
                    <a:pt x="14987" y="10682"/>
                    <a:pt x="15003" y="10701"/>
                    <a:pt x="14949" y="10707"/>
                  </a:cubicBezTo>
                  <a:cubicBezTo>
                    <a:pt x="14931" y="10708"/>
                    <a:pt x="14926" y="10691"/>
                    <a:pt x="14912" y="10695"/>
                  </a:cubicBezTo>
                  <a:cubicBezTo>
                    <a:pt x="14900" y="10698"/>
                    <a:pt x="14889" y="10720"/>
                    <a:pt x="14879" y="10727"/>
                  </a:cubicBezTo>
                  <a:cubicBezTo>
                    <a:pt x="14852" y="10748"/>
                    <a:pt x="14824" y="10755"/>
                    <a:pt x="14808" y="10784"/>
                  </a:cubicBezTo>
                  <a:cubicBezTo>
                    <a:pt x="14780" y="10833"/>
                    <a:pt x="14779" y="10898"/>
                    <a:pt x="14775" y="10951"/>
                  </a:cubicBezTo>
                  <a:cubicBezTo>
                    <a:pt x="14771" y="11008"/>
                    <a:pt x="14758" y="11067"/>
                    <a:pt x="14765" y="11123"/>
                  </a:cubicBezTo>
                  <a:cubicBezTo>
                    <a:pt x="14775" y="11198"/>
                    <a:pt x="14819" y="11229"/>
                    <a:pt x="14860" y="11293"/>
                  </a:cubicBezTo>
                  <a:cubicBezTo>
                    <a:pt x="14874" y="11316"/>
                    <a:pt x="14865" y="11360"/>
                    <a:pt x="14912" y="11367"/>
                  </a:cubicBezTo>
                  <a:cubicBezTo>
                    <a:pt x="14965" y="11418"/>
                    <a:pt x="14985" y="11463"/>
                    <a:pt x="15069" y="11460"/>
                  </a:cubicBezTo>
                  <a:cubicBezTo>
                    <a:pt x="15122" y="11458"/>
                    <a:pt x="15153" y="11436"/>
                    <a:pt x="15197" y="11428"/>
                  </a:cubicBezTo>
                  <a:cubicBezTo>
                    <a:pt x="15244" y="11419"/>
                    <a:pt x="15279" y="11390"/>
                    <a:pt x="15327" y="11376"/>
                  </a:cubicBezTo>
                  <a:cubicBezTo>
                    <a:pt x="15391" y="11358"/>
                    <a:pt x="15397" y="11345"/>
                    <a:pt x="15439" y="11310"/>
                  </a:cubicBezTo>
                  <a:close/>
                  <a:moveTo>
                    <a:pt x="14441" y="10033"/>
                  </a:moveTo>
                  <a:cubicBezTo>
                    <a:pt x="14409" y="10021"/>
                    <a:pt x="14423" y="10039"/>
                    <a:pt x="14391" y="10046"/>
                  </a:cubicBezTo>
                  <a:cubicBezTo>
                    <a:pt x="14355" y="10055"/>
                    <a:pt x="14335" y="10050"/>
                    <a:pt x="14295" y="10042"/>
                  </a:cubicBezTo>
                  <a:cubicBezTo>
                    <a:pt x="14213" y="10060"/>
                    <a:pt x="14249" y="10139"/>
                    <a:pt x="14268" y="10182"/>
                  </a:cubicBezTo>
                  <a:cubicBezTo>
                    <a:pt x="14279" y="10204"/>
                    <a:pt x="14323" y="10250"/>
                    <a:pt x="14355" y="10256"/>
                  </a:cubicBezTo>
                  <a:cubicBezTo>
                    <a:pt x="14389" y="10262"/>
                    <a:pt x="14417" y="10238"/>
                    <a:pt x="14443" y="10230"/>
                  </a:cubicBezTo>
                  <a:cubicBezTo>
                    <a:pt x="14440" y="10231"/>
                    <a:pt x="14477" y="10268"/>
                    <a:pt x="14466" y="10228"/>
                  </a:cubicBezTo>
                  <a:cubicBezTo>
                    <a:pt x="14461" y="10209"/>
                    <a:pt x="14441" y="10214"/>
                    <a:pt x="14433" y="10198"/>
                  </a:cubicBezTo>
                  <a:cubicBezTo>
                    <a:pt x="14420" y="10168"/>
                    <a:pt x="14441" y="10142"/>
                    <a:pt x="14453" y="10112"/>
                  </a:cubicBezTo>
                  <a:cubicBezTo>
                    <a:pt x="14464" y="10088"/>
                    <a:pt x="14486" y="10050"/>
                    <a:pt x="14441" y="10033"/>
                  </a:cubicBezTo>
                  <a:close/>
                  <a:moveTo>
                    <a:pt x="12207" y="12929"/>
                  </a:moveTo>
                  <a:cubicBezTo>
                    <a:pt x="12205" y="12884"/>
                    <a:pt x="12260" y="12885"/>
                    <a:pt x="12194" y="12858"/>
                  </a:cubicBezTo>
                  <a:cubicBezTo>
                    <a:pt x="12160" y="12844"/>
                    <a:pt x="12117" y="12838"/>
                    <a:pt x="12080" y="12832"/>
                  </a:cubicBezTo>
                  <a:cubicBezTo>
                    <a:pt x="12014" y="12821"/>
                    <a:pt x="11894" y="12828"/>
                    <a:pt x="11869" y="12761"/>
                  </a:cubicBezTo>
                  <a:cubicBezTo>
                    <a:pt x="11858" y="12732"/>
                    <a:pt x="11879" y="12744"/>
                    <a:pt x="11912" y="12735"/>
                  </a:cubicBezTo>
                  <a:cubicBezTo>
                    <a:pt x="11890" y="12725"/>
                    <a:pt x="11820" y="12683"/>
                    <a:pt x="11880" y="12688"/>
                  </a:cubicBezTo>
                  <a:cubicBezTo>
                    <a:pt x="11912" y="12691"/>
                    <a:pt x="11918" y="12683"/>
                    <a:pt x="11915" y="12662"/>
                  </a:cubicBezTo>
                  <a:cubicBezTo>
                    <a:pt x="11913" y="12647"/>
                    <a:pt x="11956" y="12666"/>
                    <a:pt x="11966" y="12667"/>
                  </a:cubicBezTo>
                  <a:cubicBezTo>
                    <a:pt x="11987" y="12671"/>
                    <a:pt x="12000" y="12654"/>
                    <a:pt x="12014" y="12654"/>
                  </a:cubicBezTo>
                  <a:cubicBezTo>
                    <a:pt x="12027" y="12653"/>
                    <a:pt x="12058" y="12666"/>
                    <a:pt x="12074" y="12665"/>
                  </a:cubicBezTo>
                  <a:cubicBezTo>
                    <a:pt x="12103" y="12663"/>
                    <a:pt x="12156" y="12654"/>
                    <a:pt x="12184" y="12645"/>
                  </a:cubicBezTo>
                  <a:cubicBezTo>
                    <a:pt x="12218" y="12633"/>
                    <a:pt x="12250" y="12578"/>
                    <a:pt x="12287" y="12577"/>
                  </a:cubicBezTo>
                  <a:cubicBezTo>
                    <a:pt x="12318" y="12575"/>
                    <a:pt x="12305" y="12584"/>
                    <a:pt x="12328" y="12599"/>
                  </a:cubicBezTo>
                  <a:cubicBezTo>
                    <a:pt x="12361" y="12622"/>
                    <a:pt x="12362" y="12635"/>
                    <a:pt x="12378" y="12666"/>
                  </a:cubicBezTo>
                  <a:cubicBezTo>
                    <a:pt x="12388" y="12685"/>
                    <a:pt x="12400" y="12723"/>
                    <a:pt x="12414" y="12737"/>
                  </a:cubicBezTo>
                  <a:cubicBezTo>
                    <a:pt x="12447" y="12773"/>
                    <a:pt x="12484" y="12764"/>
                    <a:pt x="12479" y="12720"/>
                  </a:cubicBezTo>
                  <a:cubicBezTo>
                    <a:pt x="12513" y="12760"/>
                    <a:pt x="12533" y="12734"/>
                    <a:pt x="12585" y="12743"/>
                  </a:cubicBezTo>
                  <a:cubicBezTo>
                    <a:pt x="12605" y="12746"/>
                    <a:pt x="12615" y="12763"/>
                    <a:pt x="12637" y="12766"/>
                  </a:cubicBezTo>
                  <a:cubicBezTo>
                    <a:pt x="12656" y="12769"/>
                    <a:pt x="12685" y="12761"/>
                    <a:pt x="12707" y="12764"/>
                  </a:cubicBezTo>
                  <a:cubicBezTo>
                    <a:pt x="12752" y="12769"/>
                    <a:pt x="12805" y="12785"/>
                    <a:pt x="12747" y="12739"/>
                  </a:cubicBezTo>
                  <a:cubicBezTo>
                    <a:pt x="12722" y="12718"/>
                    <a:pt x="12675" y="12706"/>
                    <a:pt x="12654" y="12686"/>
                  </a:cubicBezTo>
                  <a:cubicBezTo>
                    <a:pt x="12626" y="12661"/>
                    <a:pt x="12675" y="12614"/>
                    <a:pt x="12715" y="12647"/>
                  </a:cubicBezTo>
                  <a:cubicBezTo>
                    <a:pt x="12726" y="12655"/>
                    <a:pt x="12727" y="12676"/>
                    <a:pt x="12738" y="12683"/>
                  </a:cubicBezTo>
                  <a:cubicBezTo>
                    <a:pt x="12786" y="12711"/>
                    <a:pt x="12757" y="12674"/>
                    <a:pt x="12794" y="12668"/>
                  </a:cubicBezTo>
                  <a:cubicBezTo>
                    <a:pt x="12832" y="12661"/>
                    <a:pt x="12841" y="12696"/>
                    <a:pt x="12887" y="12706"/>
                  </a:cubicBezTo>
                  <a:cubicBezTo>
                    <a:pt x="12901" y="12709"/>
                    <a:pt x="12910" y="12712"/>
                    <a:pt x="12925" y="12713"/>
                  </a:cubicBezTo>
                  <a:cubicBezTo>
                    <a:pt x="12941" y="12714"/>
                    <a:pt x="12956" y="12704"/>
                    <a:pt x="12973" y="12706"/>
                  </a:cubicBezTo>
                  <a:cubicBezTo>
                    <a:pt x="12988" y="12707"/>
                    <a:pt x="12969" y="12727"/>
                    <a:pt x="12970" y="12727"/>
                  </a:cubicBezTo>
                  <a:cubicBezTo>
                    <a:pt x="12987" y="12730"/>
                    <a:pt x="12994" y="12736"/>
                    <a:pt x="13013" y="12710"/>
                  </a:cubicBezTo>
                  <a:cubicBezTo>
                    <a:pt x="13027" y="12691"/>
                    <a:pt x="12994" y="12688"/>
                    <a:pt x="12984" y="12676"/>
                  </a:cubicBezTo>
                  <a:cubicBezTo>
                    <a:pt x="12960" y="12652"/>
                    <a:pt x="12937" y="12644"/>
                    <a:pt x="12918" y="12622"/>
                  </a:cubicBezTo>
                  <a:cubicBezTo>
                    <a:pt x="12896" y="12599"/>
                    <a:pt x="12900" y="12573"/>
                    <a:pt x="12869" y="12551"/>
                  </a:cubicBezTo>
                  <a:cubicBezTo>
                    <a:pt x="12840" y="12529"/>
                    <a:pt x="12798" y="12517"/>
                    <a:pt x="12770" y="12493"/>
                  </a:cubicBezTo>
                  <a:cubicBezTo>
                    <a:pt x="12747" y="12473"/>
                    <a:pt x="12756" y="12488"/>
                    <a:pt x="12748" y="12463"/>
                  </a:cubicBezTo>
                  <a:cubicBezTo>
                    <a:pt x="12743" y="12450"/>
                    <a:pt x="12760" y="12434"/>
                    <a:pt x="12745" y="12421"/>
                  </a:cubicBezTo>
                  <a:cubicBezTo>
                    <a:pt x="12718" y="12397"/>
                    <a:pt x="12685" y="12435"/>
                    <a:pt x="12651" y="12415"/>
                  </a:cubicBezTo>
                  <a:cubicBezTo>
                    <a:pt x="12620" y="12397"/>
                    <a:pt x="12653" y="12414"/>
                    <a:pt x="12647" y="12387"/>
                  </a:cubicBezTo>
                  <a:cubicBezTo>
                    <a:pt x="12644" y="12376"/>
                    <a:pt x="12646" y="12372"/>
                    <a:pt x="12648" y="12371"/>
                  </a:cubicBezTo>
                  <a:cubicBezTo>
                    <a:pt x="12645" y="12370"/>
                    <a:pt x="12642" y="12369"/>
                    <a:pt x="12635" y="12366"/>
                  </a:cubicBezTo>
                  <a:cubicBezTo>
                    <a:pt x="12607" y="12351"/>
                    <a:pt x="12544" y="12366"/>
                    <a:pt x="12524" y="12341"/>
                  </a:cubicBezTo>
                  <a:cubicBezTo>
                    <a:pt x="12540" y="12343"/>
                    <a:pt x="12563" y="12344"/>
                    <a:pt x="12580" y="12341"/>
                  </a:cubicBezTo>
                  <a:cubicBezTo>
                    <a:pt x="12558" y="12323"/>
                    <a:pt x="12519" y="12319"/>
                    <a:pt x="12491" y="12309"/>
                  </a:cubicBezTo>
                  <a:cubicBezTo>
                    <a:pt x="12506" y="12305"/>
                    <a:pt x="12521" y="12298"/>
                    <a:pt x="12539" y="12296"/>
                  </a:cubicBezTo>
                  <a:cubicBezTo>
                    <a:pt x="12512" y="12247"/>
                    <a:pt x="12436" y="12313"/>
                    <a:pt x="12392" y="12312"/>
                  </a:cubicBezTo>
                  <a:cubicBezTo>
                    <a:pt x="12430" y="12314"/>
                    <a:pt x="12435" y="12329"/>
                    <a:pt x="12411" y="12353"/>
                  </a:cubicBezTo>
                  <a:cubicBezTo>
                    <a:pt x="12397" y="12367"/>
                    <a:pt x="12313" y="12382"/>
                    <a:pt x="12331" y="12356"/>
                  </a:cubicBezTo>
                  <a:cubicBezTo>
                    <a:pt x="12351" y="12327"/>
                    <a:pt x="12336" y="12307"/>
                    <a:pt x="12381" y="12282"/>
                  </a:cubicBezTo>
                  <a:cubicBezTo>
                    <a:pt x="12415" y="12264"/>
                    <a:pt x="12459" y="12260"/>
                    <a:pt x="12496" y="12248"/>
                  </a:cubicBezTo>
                  <a:cubicBezTo>
                    <a:pt x="12462" y="12229"/>
                    <a:pt x="12450" y="12261"/>
                    <a:pt x="12421" y="12257"/>
                  </a:cubicBezTo>
                  <a:cubicBezTo>
                    <a:pt x="12431" y="12258"/>
                    <a:pt x="12394" y="12222"/>
                    <a:pt x="12396" y="12215"/>
                  </a:cubicBezTo>
                  <a:cubicBezTo>
                    <a:pt x="12445" y="12252"/>
                    <a:pt x="12543" y="12209"/>
                    <a:pt x="12592" y="12243"/>
                  </a:cubicBezTo>
                  <a:cubicBezTo>
                    <a:pt x="12573" y="12249"/>
                    <a:pt x="12549" y="12248"/>
                    <a:pt x="12530" y="12249"/>
                  </a:cubicBezTo>
                  <a:cubicBezTo>
                    <a:pt x="12538" y="12255"/>
                    <a:pt x="12561" y="12267"/>
                    <a:pt x="12572" y="12266"/>
                  </a:cubicBezTo>
                  <a:cubicBezTo>
                    <a:pt x="12609" y="12261"/>
                    <a:pt x="12589" y="12276"/>
                    <a:pt x="12598" y="12282"/>
                  </a:cubicBezTo>
                  <a:cubicBezTo>
                    <a:pt x="12605" y="12287"/>
                    <a:pt x="12615" y="12303"/>
                    <a:pt x="12624" y="12309"/>
                  </a:cubicBezTo>
                  <a:cubicBezTo>
                    <a:pt x="12630" y="12315"/>
                    <a:pt x="12660" y="12318"/>
                    <a:pt x="12670" y="12323"/>
                  </a:cubicBezTo>
                  <a:cubicBezTo>
                    <a:pt x="12654" y="12326"/>
                    <a:pt x="12627" y="12328"/>
                    <a:pt x="12614" y="12337"/>
                  </a:cubicBezTo>
                  <a:cubicBezTo>
                    <a:pt x="12595" y="12351"/>
                    <a:pt x="12652" y="12348"/>
                    <a:pt x="12653" y="12348"/>
                  </a:cubicBezTo>
                  <a:cubicBezTo>
                    <a:pt x="12656" y="12351"/>
                    <a:pt x="12669" y="12349"/>
                    <a:pt x="12675" y="12354"/>
                  </a:cubicBezTo>
                  <a:cubicBezTo>
                    <a:pt x="12684" y="12360"/>
                    <a:pt x="12664" y="12371"/>
                    <a:pt x="12669" y="12376"/>
                  </a:cubicBezTo>
                  <a:cubicBezTo>
                    <a:pt x="12683" y="12389"/>
                    <a:pt x="12676" y="12395"/>
                    <a:pt x="12704" y="12399"/>
                  </a:cubicBezTo>
                  <a:cubicBezTo>
                    <a:pt x="12768" y="12408"/>
                    <a:pt x="12775" y="12305"/>
                    <a:pt x="12781" y="12270"/>
                  </a:cubicBezTo>
                  <a:cubicBezTo>
                    <a:pt x="12815" y="12299"/>
                    <a:pt x="12785" y="12320"/>
                    <a:pt x="12792" y="12347"/>
                  </a:cubicBezTo>
                  <a:cubicBezTo>
                    <a:pt x="12800" y="12377"/>
                    <a:pt x="12862" y="12385"/>
                    <a:pt x="12837" y="12419"/>
                  </a:cubicBezTo>
                  <a:cubicBezTo>
                    <a:pt x="12834" y="12411"/>
                    <a:pt x="12815" y="12381"/>
                    <a:pt x="12794" y="12391"/>
                  </a:cubicBezTo>
                  <a:cubicBezTo>
                    <a:pt x="12777" y="12400"/>
                    <a:pt x="12798" y="12413"/>
                    <a:pt x="12800" y="12423"/>
                  </a:cubicBezTo>
                  <a:cubicBezTo>
                    <a:pt x="12808" y="12452"/>
                    <a:pt x="12827" y="12459"/>
                    <a:pt x="12858" y="12470"/>
                  </a:cubicBezTo>
                  <a:cubicBezTo>
                    <a:pt x="12889" y="12481"/>
                    <a:pt x="12925" y="12484"/>
                    <a:pt x="12953" y="12501"/>
                  </a:cubicBezTo>
                  <a:cubicBezTo>
                    <a:pt x="12974" y="12514"/>
                    <a:pt x="13021" y="12553"/>
                    <a:pt x="13023" y="12571"/>
                  </a:cubicBezTo>
                  <a:cubicBezTo>
                    <a:pt x="13007" y="12564"/>
                    <a:pt x="12992" y="12552"/>
                    <a:pt x="12979" y="12544"/>
                  </a:cubicBezTo>
                  <a:cubicBezTo>
                    <a:pt x="12973" y="12582"/>
                    <a:pt x="13050" y="12597"/>
                    <a:pt x="13089" y="12579"/>
                  </a:cubicBezTo>
                  <a:cubicBezTo>
                    <a:pt x="13117" y="12565"/>
                    <a:pt x="13139" y="12517"/>
                    <a:pt x="13157" y="12494"/>
                  </a:cubicBezTo>
                  <a:cubicBezTo>
                    <a:pt x="13184" y="12460"/>
                    <a:pt x="13172" y="12422"/>
                    <a:pt x="13225" y="12399"/>
                  </a:cubicBezTo>
                  <a:cubicBezTo>
                    <a:pt x="13247" y="12390"/>
                    <a:pt x="13293" y="12397"/>
                    <a:pt x="13309" y="12382"/>
                  </a:cubicBezTo>
                  <a:cubicBezTo>
                    <a:pt x="13321" y="12371"/>
                    <a:pt x="13309" y="12354"/>
                    <a:pt x="13312" y="12340"/>
                  </a:cubicBezTo>
                  <a:cubicBezTo>
                    <a:pt x="13315" y="12327"/>
                    <a:pt x="13348" y="12263"/>
                    <a:pt x="13360" y="12256"/>
                  </a:cubicBezTo>
                  <a:cubicBezTo>
                    <a:pt x="13373" y="12249"/>
                    <a:pt x="13416" y="12259"/>
                    <a:pt x="13425" y="12248"/>
                  </a:cubicBezTo>
                  <a:cubicBezTo>
                    <a:pt x="13424" y="12250"/>
                    <a:pt x="13408" y="12214"/>
                    <a:pt x="13408" y="12208"/>
                  </a:cubicBezTo>
                  <a:cubicBezTo>
                    <a:pt x="13407" y="12176"/>
                    <a:pt x="13425" y="12148"/>
                    <a:pt x="13429" y="12117"/>
                  </a:cubicBezTo>
                  <a:cubicBezTo>
                    <a:pt x="13434" y="12083"/>
                    <a:pt x="13429" y="12059"/>
                    <a:pt x="13486" y="12037"/>
                  </a:cubicBezTo>
                  <a:cubicBezTo>
                    <a:pt x="13491" y="12035"/>
                    <a:pt x="13513" y="12044"/>
                    <a:pt x="13521" y="12042"/>
                  </a:cubicBezTo>
                  <a:cubicBezTo>
                    <a:pt x="13533" y="12039"/>
                    <a:pt x="13529" y="12025"/>
                    <a:pt x="13536" y="12022"/>
                  </a:cubicBezTo>
                  <a:cubicBezTo>
                    <a:pt x="13560" y="12012"/>
                    <a:pt x="13567" y="12020"/>
                    <a:pt x="13581" y="12003"/>
                  </a:cubicBezTo>
                  <a:cubicBezTo>
                    <a:pt x="13594" y="11988"/>
                    <a:pt x="13580" y="11938"/>
                    <a:pt x="13577" y="11917"/>
                  </a:cubicBezTo>
                  <a:cubicBezTo>
                    <a:pt x="13569" y="11861"/>
                    <a:pt x="13549" y="11802"/>
                    <a:pt x="13548" y="11746"/>
                  </a:cubicBezTo>
                  <a:cubicBezTo>
                    <a:pt x="13546" y="11701"/>
                    <a:pt x="13556" y="11693"/>
                    <a:pt x="13515" y="11659"/>
                  </a:cubicBezTo>
                  <a:cubicBezTo>
                    <a:pt x="13487" y="11636"/>
                    <a:pt x="13463" y="11611"/>
                    <a:pt x="13428" y="11594"/>
                  </a:cubicBezTo>
                  <a:cubicBezTo>
                    <a:pt x="13351" y="11558"/>
                    <a:pt x="13283" y="11517"/>
                    <a:pt x="13213" y="11491"/>
                  </a:cubicBezTo>
                  <a:cubicBezTo>
                    <a:pt x="13153" y="11469"/>
                    <a:pt x="13102" y="11417"/>
                    <a:pt x="13100" y="11368"/>
                  </a:cubicBezTo>
                  <a:cubicBezTo>
                    <a:pt x="13098" y="11338"/>
                    <a:pt x="13122" y="11305"/>
                    <a:pt x="13112" y="11274"/>
                  </a:cubicBezTo>
                  <a:cubicBezTo>
                    <a:pt x="13096" y="11224"/>
                    <a:pt x="13092" y="11258"/>
                    <a:pt x="13079" y="11287"/>
                  </a:cubicBezTo>
                  <a:cubicBezTo>
                    <a:pt x="13057" y="11332"/>
                    <a:pt x="13011" y="11323"/>
                    <a:pt x="13000" y="11279"/>
                  </a:cubicBezTo>
                  <a:cubicBezTo>
                    <a:pt x="12996" y="11265"/>
                    <a:pt x="13011" y="11249"/>
                    <a:pt x="13004" y="11235"/>
                  </a:cubicBezTo>
                  <a:cubicBezTo>
                    <a:pt x="12988" y="11200"/>
                    <a:pt x="12994" y="11228"/>
                    <a:pt x="12973" y="11225"/>
                  </a:cubicBezTo>
                  <a:cubicBezTo>
                    <a:pt x="12963" y="11223"/>
                    <a:pt x="12929" y="11239"/>
                    <a:pt x="12918" y="11215"/>
                  </a:cubicBezTo>
                  <a:cubicBezTo>
                    <a:pt x="12907" y="11191"/>
                    <a:pt x="12957" y="11207"/>
                    <a:pt x="12953" y="11184"/>
                  </a:cubicBezTo>
                  <a:cubicBezTo>
                    <a:pt x="12946" y="11149"/>
                    <a:pt x="12863" y="11162"/>
                    <a:pt x="12852" y="11155"/>
                  </a:cubicBezTo>
                  <a:cubicBezTo>
                    <a:pt x="12815" y="11131"/>
                    <a:pt x="12854" y="11132"/>
                    <a:pt x="12874" y="11109"/>
                  </a:cubicBezTo>
                  <a:cubicBezTo>
                    <a:pt x="12857" y="11109"/>
                    <a:pt x="12832" y="11102"/>
                    <a:pt x="12828" y="11088"/>
                  </a:cubicBezTo>
                  <a:cubicBezTo>
                    <a:pt x="12818" y="11055"/>
                    <a:pt x="12858" y="11088"/>
                    <a:pt x="12870" y="11090"/>
                  </a:cubicBezTo>
                  <a:cubicBezTo>
                    <a:pt x="12902" y="11097"/>
                    <a:pt x="12971" y="11110"/>
                    <a:pt x="12972" y="11071"/>
                  </a:cubicBezTo>
                  <a:cubicBezTo>
                    <a:pt x="12973" y="11059"/>
                    <a:pt x="12915" y="11060"/>
                    <a:pt x="12944" y="11045"/>
                  </a:cubicBezTo>
                  <a:cubicBezTo>
                    <a:pt x="12948" y="11042"/>
                    <a:pt x="13002" y="11054"/>
                    <a:pt x="13007" y="11057"/>
                  </a:cubicBezTo>
                  <a:cubicBezTo>
                    <a:pt x="13016" y="11063"/>
                    <a:pt x="13025" y="11091"/>
                    <a:pt x="13035" y="11093"/>
                  </a:cubicBezTo>
                  <a:cubicBezTo>
                    <a:pt x="13064" y="11099"/>
                    <a:pt x="13086" y="11063"/>
                    <a:pt x="13093" y="11049"/>
                  </a:cubicBezTo>
                  <a:cubicBezTo>
                    <a:pt x="13105" y="11026"/>
                    <a:pt x="13084" y="11031"/>
                    <a:pt x="13103" y="11016"/>
                  </a:cubicBezTo>
                  <a:cubicBezTo>
                    <a:pt x="13102" y="11016"/>
                    <a:pt x="13132" y="11014"/>
                    <a:pt x="13135" y="11012"/>
                  </a:cubicBezTo>
                  <a:cubicBezTo>
                    <a:pt x="13160" y="11000"/>
                    <a:pt x="13175" y="10976"/>
                    <a:pt x="13191" y="10957"/>
                  </a:cubicBezTo>
                  <a:cubicBezTo>
                    <a:pt x="13234" y="10906"/>
                    <a:pt x="13223" y="10902"/>
                    <a:pt x="13206" y="10852"/>
                  </a:cubicBezTo>
                  <a:cubicBezTo>
                    <a:pt x="13196" y="10824"/>
                    <a:pt x="13189" y="10783"/>
                    <a:pt x="13146" y="10769"/>
                  </a:cubicBezTo>
                  <a:cubicBezTo>
                    <a:pt x="13100" y="10755"/>
                    <a:pt x="13127" y="10780"/>
                    <a:pt x="13092" y="10786"/>
                  </a:cubicBezTo>
                  <a:cubicBezTo>
                    <a:pt x="13050" y="10793"/>
                    <a:pt x="13097" y="10787"/>
                    <a:pt x="13062" y="10773"/>
                  </a:cubicBezTo>
                  <a:cubicBezTo>
                    <a:pt x="13021" y="10757"/>
                    <a:pt x="13004" y="10758"/>
                    <a:pt x="12964" y="10773"/>
                  </a:cubicBezTo>
                  <a:cubicBezTo>
                    <a:pt x="12954" y="10776"/>
                    <a:pt x="12934" y="10800"/>
                    <a:pt x="12925" y="10797"/>
                  </a:cubicBezTo>
                  <a:cubicBezTo>
                    <a:pt x="12903" y="10792"/>
                    <a:pt x="12944" y="10769"/>
                    <a:pt x="12950" y="10763"/>
                  </a:cubicBezTo>
                  <a:cubicBezTo>
                    <a:pt x="12965" y="10749"/>
                    <a:pt x="12992" y="10741"/>
                    <a:pt x="13001" y="10723"/>
                  </a:cubicBezTo>
                  <a:cubicBezTo>
                    <a:pt x="13005" y="10715"/>
                    <a:pt x="12998" y="10706"/>
                    <a:pt x="13003" y="10700"/>
                  </a:cubicBezTo>
                  <a:cubicBezTo>
                    <a:pt x="13009" y="10693"/>
                    <a:pt x="13029" y="10695"/>
                    <a:pt x="13035" y="10686"/>
                  </a:cubicBezTo>
                  <a:cubicBezTo>
                    <a:pt x="13043" y="10675"/>
                    <a:pt x="13045" y="10664"/>
                    <a:pt x="13047" y="10651"/>
                  </a:cubicBezTo>
                  <a:cubicBezTo>
                    <a:pt x="13051" y="10625"/>
                    <a:pt x="13082" y="10615"/>
                    <a:pt x="13088" y="10602"/>
                  </a:cubicBezTo>
                  <a:cubicBezTo>
                    <a:pt x="13092" y="10589"/>
                    <a:pt x="13071" y="10544"/>
                    <a:pt x="13037" y="10534"/>
                  </a:cubicBezTo>
                  <a:cubicBezTo>
                    <a:pt x="13029" y="10532"/>
                    <a:pt x="13000" y="10542"/>
                    <a:pt x="12982" y="10539"/>
                  </a:cubicBezTo>
                  <a:cubicBezTo>
                    <a:pt x="12958" y="10535"/>
                    <a:pt x="12943" y="10519"/>
                    <a:pt x="12917" y="10518"/>
                  </a:cubicBezTo>
                  <a:cubicBezTo>
                    <a:pt x="12884" y="10516"/>
                    <a:pt x="12839" y="10531"/>
                    <a:pt x="12818" y="10542"/>
                  </a:cubicBezTo>
                  <a:cubicBezTo>
                    <a:pt x="12811" y="10546"/>
                    <a:pt x="12809" y="10561"/>
                    <a:pt x="12785" y="10566"/>
                  </a:cubicBezTo>
                  <a:cubicBezTo>
                    <a:pt x="12749" y="10573"/>
                    <a:pt x="12764" y="10573"/>
                    <a:pt x="12754" y="10547"/>
                  </a:cubicBezTo>
                  <a:cubicBezTo>
                    <a:pt x="12743" y="10518"/>
                    <a:pt x="12781" y="10537"/>
                    <a:pt x="12746" y="10509"/>
                  </a:cubicBezTo>
                  <a:cubicBezTo>
                    <a:pt x="12727" y="10493"/>
                    <a:pt x="12696" y="10490"/>
                    <a:pt x="12677" y="10472"/>
                  </a:cubicBezTo>
                  <a:cubicBezTo>
                    <a:pt x="12680" y="10473"/>
                    <a:pt x="12731" y="10478"/>
                    <a:pt x="12721" y="10465"/>
                  </a:cubicBezTo>
                  <a:cubicBezTo>
                    <a:pt x="12713" y="10454"/>
                    <a:pt x="12682" y="10456"/>
                    <a:pt x="12667" y="10453"/>
                  </a:cubicBezTo>
                  <a:cubicBezTo>
                    <a:pt x="12632" y="10447"/>
                    <a:pt x="12595" y="10442"/>
                    <a:pt x="12559" y="10438"/>
                  </a:cubicBezTo>
                  <a:cubicBezTo>
                    <a:pt x="12510" y="10433"/>
                    <a:pt x="12413" y="10455"/>
                    <a:pt x="12371" y="10436"/>
                  </a:cubicBezTo>
                  <a:cubicBezTo>
                    <a:pt x="12333" y="10418"/>
                    <a:pt x="12417" y="10427"/>
                    <a:pt x="12436" y="10427"/>
                  </a:cubicBezTo>
                  <a:cubicBezTo>
                    <a:pt x="12465" y="10428"/>
                    <a:pt x="12496" y="10425"/>
                    <a:pt x="12524" y="10422"/>
                  </a:cubicBezTo>
                  <a:cubicBezTo>
                    <a:pt x="12544" y="10419"/>
                    <a:pt x="12613" y="10412"/>
                    <a:pt x="12613" y="10407"/>
                  </a:cubicBezTo>
                  <a:cubicBezTo>
                    <a:pt x="12613" y="10385"/>
                    <a:pt x="12539" y="10374"/>
                    <a:pt x="12522" y="10376"/>
                  </a:cubicBezTo>
                  <a:cubicBezTo>
                    <a:pt x="12532" y="10365"/>
                    <a:pt x="12553" y="10358"/>
                    <a:pt x="12569" y="10353"/>
                  </a:cubicBezTo>
                  <a:cubicBezTo>
                    <a:pt x="12526" y="10344"/>
                    <a:pt x="12541" y="10325"/>
                    <a:pt x="12572" y="10319"/>
                  </a:cubicBezTo>
                  <a:cubicBezTo>
                    <a:pt x="12607" y="10312"/>
                    <a:pt x="12616" y="10338"/>
                    <a:pt x="12647" y="10305"/>
                  </a:cubicBezTo>
                  <a:cubicBezTo>
                    <a:pt x="12624" y="10305"/>
                    <a:pt x="12596" y="10311"/>
                    <a:pt x="12571" y="10307"/>
                  </a:cubicBezTo>
                  <a:cubicBezTo>
                    <a:pt x="12553" y="10304"/>
                    <a:pt x="12500" y="10268"/>
                    <a:pt x="12512" y="10302"/>
                  </a:cubicBezTo>
                  <a:cubicBezTo>
                    <a:pt x="12473" y="10303"/>
                    <a:pt x="12443" y="10318"/>
                    <a:pt x="12410" y="10324"/>
                  </a:cubicBezTo>
                  <a:cubicBezTo>
                    <a:pt x="12393" y="10327"/>
                    <a:pt x="12374" y="10322"/>
                    <a:pt x="12356" y="10325"/>
                  </a:cubicBezTo>
                  <a:cubicBezTo>
                    <a:pt x="12347" y="10326"/>
                    <a:pt x="12336" y="10320"/>
                    <a:pt x="12327" y="10323"/>
                  </a:cubicBezTo>
                  <a:cubicBezTo>
                    <a:pt x="12314" y="10327"/>
                    <a:pt x="12315" y="10343"/>
                    <a:pt x="12307" y="10345"/>
                  </a:cubicBezTo>
                  <a:cubicBezTo>
                    <a:pt x="12239" y="10364"/>
                    <a:pt x="12122" y="10352"/>
                    <a:pt x="12059" y="10326"/>
                  </a:cubicBezTo>
                  <a:cubicBezTo>
                    <a:pt x="12037" y="10317"/>
                    <a:pt x="12026" y="10306"/>
                    <a:pt x="12003" y="10297"/>
                  </a:cubicBezTo>
                  <a:cubicBezTo>
                    <a:pt x="12003" y="10298"/>
                    <a:pt x="11953" y="10289"/>
                    <a:pt x="11951" y="10289"/>
                  </a:cubicBezTo>
                  <a:cubicBezTo>
                    <a:pt x="11905" y="10288"/>
                    <a:pt x="11885" y="10306"/>
                    <a:pt x="11845" y="10317"/>
                  </a:cubicBezTo>
                  <a:cubicBezTo>
                    <a:pt x="11833" y="10320"/>
                    <a:pt x="11794" y="10319"/>
                    <a:pt x="11786" y="10323"/>
                  </a:cubicBezTo>
                  <a:cubicBezTo>
                    <a:pt x="11779" y="10326"/>
                    <a:pt x="11802" y="10340"/>
                    <a:pt x="11795" y="10345"/>
                  </a:cubicBezTo>
                  <a:cubicBezTo>
                    <a:pt x="11789" y="10350"/>
                    <a:pt x="11773" y="10351"/>
                    <a:pt x="11768" y="10356"/>
                  </a:cubicBezTo>
                  <a:cubicBezTo>
                    <a:pt x="11730" y="10400"/>
                    <a:pt x="11727" y="10378"/>
                    <a:pt x="11669" y="10363"/>
                  </a:cubicBezTo>
                  <a:cubicBezTo>
                    <a:pt x="11646" y="10357"/>
                    <a:pt x="11533" y="10363"/>
                    <a:pt x="11580" y="10379"/>
                  </a:cubicBezTo>
                  <a:cubicBezTo>
                    <a:pt x="11598" y="10385"/>
                    <a:pt x="11626" y="10363"/>
                    <a:pt x="11643" y="10371"/>
                  </a:cubicBezTo>
                  <a:cubicBezTo>
                    <a:pt x="11665" y="10381"/>
                    <a:pt x="11661" y="10410"/>
                    <a:pt x="11645" y="10419"/>
                  </a:cubicBezTo>
                  <a:cubicBezTo>
                    <a:pt x="11645" y="10405"/>
                    <a:pt x="11624" y="10382"/>
                    <a:pt x="11616" y="10409"/>
                  </a:cubicBezTo>
                  <a:cubicBezTo>
                    <a:pt x="11608" y="10434"/>
                    <a:pt x="11634" y="10418"/>
                    <a:pt x="11639" y="10439"/>
                  </a:cubicBezTo>
                  <a:cubicBezTo>
                    <a:pt x="11651" y="10487"/>
                    <a:pt x="11609" y="10483"/>
                    <a:pt x="11652" y="10524"/>
                  </a:cubicBezTo>
                  <a:cubicBezTo>
                    <a:pt x="11669" y="10542"/>
                    <a:pt x="11679" y="10539"/>
                    <a:pt x="11679" y="10551"/>
                  </a:cubicBezTo>
                  <a:cubicBezTo>
                    <a:pt x="11679" y="10556"/>
                    <a:pt x="11660" y="10579"/>
                    <a:pt x="11661" y="10594"/>
                  </a:cubicBezTo>
                  <a:cubicBezTo>
                    <a:pt x="11665" y="10661"/>
                    <a:pt x="11694" y="10602"/>
                    <a:pt x="11728" y="10628"/>
                  </a:cubicBezTo>
                  <a:cubicBezTo>
                    <a:pt x="11725" y="10637"/>
                    <a:pt x="11690" y="10656"/>
                    <a:pt x="11690" y="10662"/>
                  </a:cubicBezTo>
                  <a:cubicBezTo>
                    <a:pt x="11689" y="10673"/>
                    <a:pt x="11714" y="10695"/>
                    <a:pt x="11724" y="10705"/>
                  </a:cubicBezTo>
                  <a:cubicBezTo>
                    <a:pt x="11729" y="10710"/>
                    <a:pt x="11745" y="10707"/>
                    <a:pt x="11753" y="10716"/>
                  </a:cubicBezTo>
                  <a:cubicBezTo>
                    <a:pt x="11763" y="10727"/>
                    <a:pt x="11731" y="10723"/>
                    <a:pt x="11732" y="10721"/>
                  </a:cubicBezTo>
                  <a:cubicBezTo>
                    <a:pt x="11732" y="10720"/>
                    <a:pt x="11714" y="10719"/>
                    <a:pt x="11712" y="10730"/>
                  </a:cubicBezTo>
                  <a:cubicBezTo>
                    <a:pt x="11711" y="10736"/>
                    <a:pt x="11726" y="10749"/>
                    <a:pt x="11730" y="10754"/>
                  </a:cubicBezTo>
                  <a:cubicBezTo>
                    <a:pt x="11735" y="10760"/>
                    <a:pt x="11769" y="10790"/>
                    <a:pt x="11775" y="10793"/>
                  </a:cubicBezTo>
                  <a:cubicBezTo>
                    <a:pt x="11780" y="10795"/>
                    <a:pt x="11810" y="10795"/>
                    <a:pt x="11809" y="10794"/>
                  </a:cubicBezTo>
                  <a:cubicBezTo>
                    <a:pt x="11807" y="10792"/>
                    <a:pt x="11830" y="10816"/>
                    <a:pt x="11821" y="10809"/>
                  </a:cubicBezTo>
                  <a:cubicBezTo>
                    <a:pt x="11823" y="10811"/>
                    <a:pt x="11789" y="10827"/>
                    <a:pt x="11817" y="10832"/>
                  </a:cubicBezTo>
                  <a:cubicBezTo>
                    <a:pt x="11841" y="10836"/>
                    <a:pt x="11838" y="10820"/>
                    <a:pt x="11844" y="10808"/>
                  </a:cubicBezTo>
                  <a:cubicBezTo>
                    <a:pt x="11852" y="10792"/>
                    <a:pt x="11886" y="10792"/>
                    <a:pt x="11901" y="10798"/>
                  </a:cubicBezTo>
                  <a:cubicBezTo>
                    <a:pt x="11842" y="10810"/>
                    <a:pt x="11879" y="10862"/>
                    <a:pt x="11906" y="10811"/>
                  </a:cubicBezTo>
                  <a:cubicBezTo>
                    <a:pt x="11903" y="10842"/>
                    <a:pt x="11943" y="10840"/>
                    <a:pt x="11968" y="10848"/>
                  </a:cubicBezTo>
                  <a:cubicBezTo>
                    <a:pt x="11972" y="10849"/>
                    <a:pt x="11985" y="10838"/>
                    <a:pt x="11993" y="10839"/>
                  </a:cubicBezTo>
                  <a:cubicBezTo>
                    <a:pt x="12004" y="10842"/>
                    <a:pt x="12001" y="10856"/>
                    <a:pt x="12004" y="10857"/>
                  </a:cubicBezTo>
                  <a:cubicBezTo>
                    <a:pt x="12014" y="10860"/>
                    <a:pt x="12033" y="10865"/>
                    <a:pt x="12046" y="10870"/>
                  </a:cubicBezTo>
                  <a:cubicBezTo>
                    <a:pt x="12068" y="10878"/>
                    <a:pt x="12104" y="10873"/>
                    <a:pt x="12055" y="10885"/>
                  </a:cubicBezTo>
                  <a:cubicBezTo>
                    <a:pt x="12014" y="10896"/>
                    <a:pt x="11981" y="10884"/>
                    <a:pt x="11941" y="10907"/>
                  </a:cubicBezTo>
                  <a:cubicBezTo>
                    <a:pt x="11963" y="10922"/>
                    <a:pt x="12038" y="10926"/>
                    <a:pt x="11996" y="10943"/>
                  </a:cubicBezTo>
                  <a:cubicBezTo>
                    <a:pt x="11980" y="10949"/>
                    <a:pt x="11962" y="10938"/>
                    <a:pt x="11945" y="10942"/>
                  </a:cubicBezTo>
                  <a:cubicBezTo>
                    <a:pt x="11905" y="10949"/>
                    <a:pt x="11919" y="10944"/>
                    <a:pt x="11919" y="10961"/>
                  </a:cubicBezTo>
                  <a:cubicBezTo>
                    <a:pt x="11919" y="10965"/>
                    <a:pt x="11944" y="10958"/>
                    <a:pt x="11946" y="10960"/>
                  </a:cubicBezTo>
                  <a:cubicBezTo>
                    <a:pt x="11958" y="10972"/>
                    <a:pt x="11934" y="10969"/>
                    <a:pt x="11937" y="10976"/>
                  </a:cubicBezTo>
                  <a:cubicBezTo>
                    <a:pt x="11939" y="10980"/>
                    <a:pt x="11961" y="10987"/>
                    <a:pt x="11956" y="10993"/>
                  </a:cubicBezTo>
                  <a:cubicBezTo>
                    <a:pt x="11952" y="10999"/>
                    <a:pt x="11928" y="11008"/>
                    <a:pt x="11930" y="11005"/>
                  </a:cubicBezTo>
                  <a:cubicBezTo>
                    <a:pt x="11924" y="11015"/>
                    <a:pt x="11888" y="11007"/>
                    <a:pt x="11923" y="11030"/>
                  </a:cubicBezTo>
                  <a:cubicBezTo>
                    <a:pt x="11935" y="11037"/>
                    <a:pt x="11965" y="11039"/>
                    <a:pt x="11980" y="11038"/>
                  </a:cubicBezTo>
                  <a:cubicBezTo>
                    <a:pt x="12005" y="11036"/>
                    <a:pt x="12062" y="11004"/>
                    <a:pt x="12067" y="11055"/>
                  </a:cubicBezTo>
                  <a:cubicBezTo>
                    <a:pt x="12071" y="11089"/>
                    <a:pt x="12015" y="11073"/>
                    <a:pt x="11985" y="11075"/>
                  </a:cubicBezTo>
                  <a:cubicBezTo>
                    <a:pt x="11984" y="11075"/>
                    <a:pt x="11931" y="11086"/>
                    <a:pt x="11935" y="11084"/>
                  </a:cubicBezTo>
                  <a:cubicBezTo>
                    <a:pt x="11930" y="11086"/>
                    <a:pt x="11916" y="11092"/>
                    <a:pt x="11911" y="11095"/>
                  </a:cubicBezTo>
                  <a:cubicBezTo>
                    <a:pt x="11909" y="11096"/>
                    <a:pt x="11938" y="11113"/>
                    <a:pt x="11925" y="11118"/>
                  </a:cubicBezTo>
                  <a:cubicBezTo>
                    <a:pt x="11884" y="11133"/>
                    <a:pt x="11859" y="11063"/>
                    <a:pt x="11812" y="11090"/>
                  </a:cubicBezTo>
                  <a:cubicBezTo>
                    <a:pt x="11811" y="11090"/>
                    <a:pt x="11810" y="11091"/>
                    <a:pt x="11809" y="11092"/>
                  </a:cubicBezTo>
                  <a:cubicBezTo>
                    <a:pt x="11890" y="11105"/>
                    <a:pt x="11789" y="11122"/>
                    <a:pt x="11787" y="11124"/>
                  </a:cubicBezTo>
                  <a:cubicBezTo>
                    <a:pt x="11772" y="11140"/>
                    <a:pt x="11776" y="11198"/>
                    <a:pt x="11779" y="11215"/>
                  </a:cubicBezTo>
                  <a:cubicBezTo>
                    <a:pt x="11782" y="11237"/>
                    <a:pt x="11799" y="11268"/>
                    <a:pt x="11810" y="11289"/>
                  </a:cubicBezTo>
                  <a:cubicBezTo>
                    <a:pt x="11813" y="11293"/>
                    <a:pt x="11829" y="11321"/>
                    <a:pt x="11828" y="11320"/>
                  </a:cubicBezTo>
                  <a:cubicBezTo>
                    <a:pt x="11830" y="11327"/>
                    <a:pt x="11819" y="11333"/>
                    <a:pt x="11820" y="11335"/>
                  </a:cubicBezTo>
                  <a:cubicBezTo>
                    <a:pt x="11821" y="11338"/>
                    <a:pt x="11833" y="11354"/>
                    <a:pt x="11833" y="11356"/>
                  </a:cubicBezTo>
                  <a:cubicBezTo>
                    <a:pt x="11829" y="11371"/>
                    <a:pt x="11822" y="11387"/>
                    <a:pt x="11816" y="11403"/>
                  </a:cubicBezTo>
                  <a:cubicBezTo>
                    <a:pt x="11806" y="11425"/>
                    <a:pt x="11831" y="11430"/>
                    <a:pt x="11823" y="11451"/>
                  </a:cubicBezTo>
                  <a:cubicBezTo>
                    <a:pt x="11818" y="11464"/>
                    <a:pt x="11821" y="11481"/>
                    <a:pt x="11840" y="11486"/>
                  </a:cubicBezTo>
                  <a:cubicBezTo>
                    <a:pt x="11856" y="11491"/>
                    <a:pt x="11823" y="11513"/>
                    <a:pt x="11822" y="11520"/>
                  </a:cubicBezTo>
                  <a:cubicBezTo>
                    <a:pt x="11819" y="11546"/>
                    <a:pt x="11850" y="11581"/>
                    <a:pt x="11844" y="11608"/>
                  </a:cubicBezTo>
                  <a:cubicBezTo>
                    <a:pt x="11841" y="11629"/>
                    <a:pt x="11807" y="11645"/>
                    <a:pt x="11797" y="11665"/>
                  </a:cubicBezTo>
                  <a:cubicBezTo>
                    <a:pt x="11793" y="11658"/>
                    <a:pt x="11782" y="11648"/>
                    <a:pt x="11779" y="11642"/>
                  </a:cubicBezTo>
                  <a:cubicBezTo>
                    <a:pt x="11774" y="11661"/>
                    <a:pt x="11787" y="11678"/>
                    <a:pt x="11781" y="11699"/>
                  </a:cubicBezTo>
                  <a:cubicBezTo>
                    <a:pt x="11774" y="11725"/>
                    <a:pt x="11752" y="11747"/>
                    <a:pt x="11742" y="11771"/>
                  </a:cubicBezTo>
                  <a:cubicBezTo>
                    <a:pt x="11724" y="11817"/>
                    <a:pt x="11706" y="11869"/>
                    <a:pt x="11725" y="11911"/>
                  </a:cubicBezTo>
                  <a:cubicBezTo>
                    <a:pt x="11744" y="11953"/>
                    <a:pt x="11759" y="11998"/>
                    <a:pt x="11766" y="12043"/>
                  </a:cubicBezTo>
                  <a:cubicBezTo>
                    <a:pt x="11767" y="12049"/>
                    <a:pt x="11758" y="12062"/>
                    <a:pt x="11759" y="12071"/>
                  </a:cubicBezTo>
                  <a:cubicBezTo>
                    <a:pt x="11761" y="12084"/>
                    <a:pt x="11779" y="12092"/>
                    <a:pt x="11775" y="12106"/>
                  </a:cubicBezTo>
                  <a:cubicBezTo>
                    <a:pt x="11766" y="12136"/>
                    <a:pt x="11741" y="12110"/>
                    <a:pt x="11739" y="12089"/>
                  </a:cubicBezTo>
                  <a:cubicBezTo>
                    <a:pt x="11744" y="12140"/>
                    <a:pt x="11686" y="12077"/>
                    <a:pt x="11650" y="12094"/>
                  </a:cubicBezTo>
                  <a:cubicBezTo>
                    <a:pt x="11635" y="12101"/>
                    <a:pt x="11621" y="12132"/>
                    <a:pt x="11623" y="12144"/>
                  </a:cubicBezTo>
                  <a:cubicBezTo>
                    <a:pt x="11632" y="12187"/>
                    <a:pt x="11603" y="12142"/>
                    <a:pt x="11600" y="12146"/>
                  </a:cubicBezTo>
                  <a:cubicBezTo>
                    <a:pt x="11581" y="12168"/>
                    <a:pt x="11591" y="12149"/>
                    <a:pt x="11612" y="12174"/>
                  </a:cubicBezTo>
                  <a:cubicBezTo>
                    <a:pt x="11616" y="12180"/>
                    <a:pt x="11621" y="12184"/>
                    <a:pt x="11626" y="12196"/>
                  </a:cubicBezTo>
                  <a:cubicBezTo>
                    <a:pt x="11636" y="12228"/>
                    <a:pt x="11616" y="12203"/>
                    <a:pt x="11614" y="12211"/>
                  </a:cubicBezTo>
                  <a:cubicBezTo>
                    <a:pt x="11611" y="12220"/>
                    <a:pt x="11613" y="12247"/>
                    <a:pt x="11606" y="12263"/>
                  </a:cubicBezTo>
                  <a:cubicBezTo>
                    <a:pt x="11601" y="12251"/>
                    <a:pt x="11590" y="12237"/>
                    <a:pt x="11578" y="12228"/>
                  </a:cubicBezTo>
                  <a:cubicBezTo>
                    <a:pt x="11543" y="12248"/>
                    <a:pt x="11563" y="12290"/>
                    <a:pt x="11560" y="12330"/>
                  </a:cubicBezTo>
                  <a:cubicBezTo>
                    <a:pt x="11510" y="12290"/>
                    <a:pt x="11534" y="12262"/>
                    <a:pt x="11478" y="12331"/>
                  </a:cubicBezTo>
                  <a:cubicBezTo>
                    <a:pt x="11472" y="12313"/>
                    <a:pt x="11476" y="12295"/>
                    <a:pt x="11482" y="12277"/>
                  </a:cubicBezTo>
                  <a:cubicBezTo>
                    <a:pt x="11489" y="12261"/>
                    <a:pt x="11499" y="12242"/>
                    <a:pt x="11498" y="12225"/>
                  </a:cubicBezTo>
                  <a:cubicBezTo>
                    <a:pt x="11497" y="12209"/>
                    <a:pt x="11479" y="12230"/>
                    <a:pt x="11475" y="12223"/>
                  </a:cubicBezTo>
                  <a:cubicBezTo>
                    <a:pt x="11449" y="12181"/>
                    <a:pt x="11448" y="12173"/>
                    <a:pt x="11400" y="12144"/>
                  </a:cubicBezTo>
                  <a:cubicBezTo>
                    <a:pt x="11337" y="12106"/>
                    <a:pt x="11292" y="12048"/>
                    <a:pt x="11224" y="12016"/>
                  </a:cubicBezTo>
                  <a:cubicBezTo>
                    <a:pt x="11183" y="11996"/>
                    <a:pt x="11169" y="11995"/>
                    <a:pt x="11143" y="11963"/>
                  </a:cubicBezTo>
                  <a:cubicBezTo>
                    <a:pt x="11125" y="11940"/>
                    <a:pt x="11100" y="11917"/>
                    <a:pt x="11082" y="11891"/>
                  </a:cubicBezTo>
                  <a:cubicBezTo>
                    <a:pt x="11047" y="11841"/>
                    <a:pt x="11011" y="11779"/>
                    <a:pt x="11023" y="11724"/>
                  </a:cubicBezTo>
                  <a:cubicBezTo>
                    <a:pt x="11032" y="11680"/>
                    <a:pt x="11012" y="11656"/>
                    <a:pt x="10988" y="11617"/>
                  </a:cubicBezTo>
                  <a:cubicBezTo>
                    <a:pt x="10973" y="11593"/>
                    <a:pt x="10966" y="11593"/>
                    <a:pt x="10975" y="11568"/>
                  </a:cubicBezTo>
                  <a:cubicBezTo>
                    <a:pt x="10976" y="11565"/>
                    <a:pt x="11004" y="11519"/>
                    <a:pt x="11006" y="11518"/>
                  </a:cubicBezTo>
                  <a:cubicBezTo>
                    <a:pt x="11040" y="11500"/>
                    <a:pt x="11023" y="11590"/>
                    <a:pt x="11050" y="11604"/>
                  </a:cubicBezTo>
                  <a:cubicBezTo>
                    <a:pt x="11064" y="11611"/>
                    <a:pt x="11105" y="11586"/>
                    <a:pt x="11132" y="11616"/>
                  </a:cubicBezTo>
                  <a:cubicBezTo>
                    <a:pt x="11163" y="11524"/>
                    <a:pt x="11149" y="11475"/>
                    <a:pt x="11092" y="11397"/>
                  </a:cubicBezTo>
                  <a:cubicBezTo>
                    <a:pt x="11051" y="11341"/>
                    <a:pt x="11055" y="11275"/>
                    <a:pt x="11006" y="11221"/>
                  </a:cubicBezTo>
                  <a:cubicBezTo>
                    <a:pt x="10915" y="11120"/>
                    <a:pt x="10753" y="11101"/>
                    <a:pt x="10658" y="11010"/>
                  </a:cubicBezTo>
                  <a:cubicBezTo>
                    <a:pt x="10620" y="10974"/>
                    <a:pt x="10584" y="10901"/>
                    <a:pt x="10508" y="10956"/>
                  </a:cubicBezTo>
                  <a:cubicBezTo>
                    <a:pt x="10476" y="10979"/>
                    <a:pt x="10481" y="11009"/>
                    <a:pt x="10471" y="11040"/>
                  </a:cubicBezTo>
                  <a:cubicBezTo>
                    <a:pt x="10460" y="11073"/>
                    <a:pt x="10440" y="11096"/>
                    <a:pt x="10417" y="11125"/>
                  </a:cubicBezTo>
                  <a:cubicBezTo>
                    <a:pt x="10404" y="11182"/>
                    <a:pt x="10411" y="11216"/>
                    <a:pt x="10433" y="11270"/>
                  </a:cubicBezTo>
                  <a:cubicBezTo>
                    <a:pt x="10447" y="11306"/>
                    <a:pt x="10478" y="11372"/>
                    <a:pt x="10456" y="11412"/>
                  </a:cubicBezTo>
                  <a:cubicBezTo>
                    <a:pt x="10440" y="11258"/>
                    <a:pt x="10346" y="11502"/>
                    <a:pt x="10450" y="11472"/>
                  </a:cubicBezTo>
                  <a:cubicBezTo>
                    <a:pt x="10435" y="11489"/>
                    <a:pt x="10441" y="11513"/>
                    <a:pt x="10434" y="11534"/>
                  </a:cubicBezTo>
                  <a:cubicBezTo>
                    <a:pt x="10395" y="11545"/>
                    <a:pt x="10403" y="11568"/>
                    <a:pt x="10412" y="11592"/>
                  </a:cubicBezTo>
                  <a:cubicBezTo>
                    <a:pt x="10400" y="11605"/>
                    <a:pt x="10372" y="11625"/>
                    <a:pt x="10370" y="11641"/>
                  </a:cubicBezTo>
                  <a:cubicBezTo>
                    <a:pt x="10369" y="11648"/>
                    <a:pt x="10378" y="11657"/>
                    <a:pt x="10378" y="11658"/>
                  </a:cubicBezTo>
                  <a:cubicBezTo>
                    <a:pt x="10376" y="11671"/>
                    <a:pt x="10396" y="11710"/>
                    <a:pt x="10348" y="11701"/>
                  </a:cubicBezTo>
                  <a:cubicBezTo>
                    <a:pt x="10334" y="11699"/>
                    <a:pt x="10330" y="11673"/>
                    <a:pt x="10322" y="11664"/>
                  </a:cubicBezTo>
                  <a:cubicBezTo>
                    <a:pt x="10300" y="11643"/>
                    <a:pt x="10309" y="11641"/>
                    <a:pt x="10260" y="11641"/>
                  </a:cubicBezTo>
                  <a:cubicBezTo>
                    <a:pt x="10293" y="11604"/>
                    <a:pt x="10323" y="11621"/>
                    <a:pt x="10266" y="11597"/>
                  </a:cubicBezTo>
                  <a:cubicBezTo>
                    <a:pt x="10175" y="11560"/>
                    <a:pt x="10224" y="11575"/>
                    <a:pt x="10223" y="11517"/>
                  </a:cubicBezTo>
                  <a:cubicBezTo>
                    <a:pt x="10222" y="11488"/>
                    <a:pt x="10200" y="11451"/>
                    <a:pt x="10197" y="11422"/>
                  </a:cubicBezTo>
                  <a:cubicBezTo>
                    <a:pt x="10196" y="11398"/>
                    <a:pt x="10176" y="11366"/>
                    <a:pt x="10183" y="11341"/>
                  </a:cubicBezTo>
                  <a:cubicBezTo>
                    <a:pt x="10202" y="11341"/>
                    <a:pt x="10195" y="11319"/>
                    <a:pt x="10195" y="11303"/>
                  </a:cubicBezTo>
                  <a:cubicBezTo>
                    <a:pt x="10185" y="11309"/>
                    <a:pt x="10161" y="11317"/>
                    <a:pt x="10152" y="11321"/>
                  </a:cubicBezTo>
                  <a:cubicBezTo>
                    <a:pt x="10156" y="11302"/>
                    <a:pt x="10182" y="11293"/>
                    <a:pt x="10193" y="11284"/>
                  </a:cubicBezTo>
                  <a:cubicBezTo>
                    <a:pt x="10173" y="11275"/>
                    <a:pt x="10168" y="11247"/>
                    <a:pt x="10124" y="11243"/>
                  </a:cubicBezTo>
                  <a:cubicBezTo>
                    <a:pt x="10150" y="11214"/>
                    <a:pt x="10090" y="11205"/>
                    <a:pt x="10082" y="11190"/>
                  </a:cubicBezTo>
                  <a:cubicBezTo>
                    <a:pt x="10067" y="11155"/>
                    <a:pt x="10095" y="11151"/>
                    <a:pt x="10056" y="11123"/>
                  </a:cubicBezTo>
                  <a:cubicBezTo>
                    <a:pt x="9979" y="11067"/>
                    <a:pt x="9872" y="11036"/>
                    <a:pt x="9800" y="10978"/>
                  </a:cubicBezTo>
                  <a:cubicBezTo>
                    <a:pt x="9826" y="10987"/>
                    <a:pt x="9862" y="11015"/>
                    <a:pt x="9890" y="11011"/>
                  </a:cubicBezTo>
                  <a:cubicBezTo>
                    <a:pt x="9926" y="11005"/>
                    <a:pt x="9924" y="10967"/>
                    <a:pt x="9952" y="10958"/>
                  </a:cubicBezTo>
                  <a:cubicBezTo>
                    <a:pt x="9948" y="10964"/>
                    <a:pt x="9918" y="11013"/>
                    <a:pt x="9917" y="11012"/>
                  </a:cubicBezTo>
                  <a:cubicBezTo>
                    <a:pt x="9926" y="11034"/>
                    <a:pt x="9953" y="11002"/>
                    <a:pt x="9972" y="10997"/>
                  </a:cubicBezTo>
                  <a:cubicBezTo>
                    <a:pt x="9961" y="11012"/>
                    <a:pt x="9954" y="11026"/>
                    <a:pt x="9982" y="11016"/>
                  </a:cubicBezTo>
                  <a:cubicBezTo>
                    <a:pt x="9980" y="11020"/>
                    <a:pt x="9976" y="11024"/>
                    <a:pt x="9977" y="11029"/>
                  </a:cubicBezTo>
                  <a:cubicBezTo>
                    <a:pt x="10038" y="11030"/>
                    <a:pt x="9990" y="10972"/>
                    <a:pt x="10006" y="10942"/>
                  </a:cubicBezTo>
                  <a:cubicBezTo>
                    <a:pt x="10015" y="10924"/>
                    <a:pt x="10041" y="10910"/>
                    <a:pt x="10061" y="10899"/>
                  </a:cubicBezTo>
                  <a:cubicBezTo>
                    <a:pt x="10045" y="10896"/>
                    <a:pt x="10034" y="10887"/>
                    <a:pt x="10020" y="10880"/>
                  </a:cubicBezTo>
                  <a:cubicBezTo>
                    <a:pt x="10027" y="10880"/>
                    <a:pt x="10056" y="10886"/>
                    <a:pt x="10049" y="10887"/>
                  </a:cubicBezTo>
                  <a:cubicBezTo>
                    <a:pt x="10045" y="10888"/>
                    <a:pt x="10092" y="10886"/>
                    <a:pt x="10084" y="10886"/>
                  </a:cubicBezTo>
                  <a:cubicBezTo>
                    <a:pt x="10070" y="10885"/>
                    <a:pt x="10121" y="10873"/>
                    <a:pt x="10110" y="10878"/>
                  </a:cubicBezTo>
                  <a:cubicBezTo>
                    <a:pt x="10122" y="10873"/>
                    <a:pt x="10135" y="10892"/>
                    <a:pt x="10141" y="10865"/>
                  </a:cubicBezTo>
                  <a:cubicBezTo>
                    <a:pt x="10139" y="10866"/>
                    <a:pt x="10133" y="10872"/>
                    <a:pt x="10131" y="10872"/>
                  </a:cubicBezTo>
                  <a:cubicBezTo>
                    <a:pt x="10112" y="10859"/>
                    <a:pt x="10047" y="10806"/>
                    <a:pt x="10009" y="10821"/>
                  </a:cubicBezTo>
                  <a:cubicBezTo>
                    <a:pt x="9989" y="10829"/>
                    <a:pt x="10005" y="10855"/>
                    <a:pt x="9992" y="10861"/>
                  </a:cubicBezTo>
                  <a:cubicBezTo>
                    <a:pt x="9964" y="10875"/>
                    <a:pt x="9945" y="10847"/>
                    <a:pt x="9942" y="10831"/>
                  </a:cubicBezTo>
                  <a:cubicBezTo>
                    <a:pt x="9899" y="10861"/>
                    <a:pt x="9872" y="10829"/>
                    <a:pt x="9828" y="10837"/>
                  </a:cubicBezTo>
                  <a:cubicBezTo>
                    <a:pt x="9806" y="10841"/>
                    <a:pt x="9803" y="10852"/>
                    <a:pt x="9785" y="10857"/>
                  </a:cubicBezTo>
                  <a:cubicBezTo>
                    <a:pt x="9769" y="10862"/>
                    <a:pt x="9747" y="10862"/>
                    <a:pt x="9733" y="10866"/>
                  </a:cubicBezTo>
                  <a:cubicBezTo>
                    <a:pt x="9747" y="10849"/>
                    <a:pt x="9771" y="10854"/>
                    <a:pt x="9788" y="10842"/>
                  </a:cubicBezTo>
                  <a:cubicBezTo>
                    <a:pt x="9810" y="10828"/>
                    <a:pt x="9808" y="10812"/>
                    <a:pt x="9824" y="10795"/>
                  </a:cubicBezTo>
                  <a:cubicBezTo>
                    <a:pt x="9830" y="10789"/>
                    <a:pt x="9860" y="10782"/>
                    <a:pt x="9861" y="10778"/>
                  </a:cubicBezTo>
                  <a:cubicBezTo>
                    <a:pt x="9862" y="10749"/>
                    <a:pt x="9825" y="10770"/>
                    <a:pt x="9810" y="10765"/>
                  </a:cubicBezTo>
                  <a:cubicBezTo>
                    <a:pt x="9740" y="10741"/>
                    <a:pt x="9736" y="10786"/>
                    <a:pt x="9715" y="10814"/>
                  </a:cubicBezTo>
                  <a:cubicBezTo>
                    <a:pt x="9700" y="10835"/>
                    <a:pt x="9649" y="10870"/>
                    <a:pt x="9660" y="10897"/>
                  </a:cubicBezTo>
                  <a:cubicBezTo>
                    <a:pt x="9602" y="10876"/>
                    <a:pt x="9519" y="10850"/>
                    <a:pt x="9482" y="10808"/>
                  </a:cubicBezTo>
                  <a:cubicBezTo>
                    <a:pt x="9501" y="10811"/>
                    <a:pt x="9555" y="10828"/>
                    <a:pt x="9535" y="10810"/>
                  </a:cubicBezTo>
                  <a:cubicBezTo>
                    <a:pt x="9506" y="10784"/>
                    <a:pt x="9444" y="10808"/>
                    <a:pt x="9450" y="10767"/>
                  </a:cubicBezTo>
                  <a:cubicBezTo>
                    <a:pt x="9445" y="10783"/>
                    <a:pt x="9436" y="10773"/>
                    <a:pt x="9418" y="10777"/>
                  </a:cubicBezTo>
                  <a:cubicBezTo>
                    <a:pt x="9369" y="10806"/>
                    <a:pt x="9339" y="10819"/>
                    <a:pt x="9277" y="10802"/>
                  </a:cubicBezTo>
                  <a:cubicBezTo>
                    <a:pt x="9291" y="10800"/>
                    <a:pt x="9313" y="10795"/>
                    <a:pt x="9325" y="10795"/>
                  </a:cubicBezTo>
                  <a:cubicBezTo>
                    <a:pt x="9313" y="10793"/>
                    <a:pt x="9303" y="10786"/>
                    <a:pt x="9292" y="10783"/>
                  </a:cubicBezTo>
                  <a:cubicBezTo>
                    <a:pt x="9316" y="10770"/>
                    <a:pt x="9327" y="10749"/>
                    <a:pt x="9347" y="10736"/>
                  </a:cubicBezTo>
                  <a:cubicBezTo>
                    <a:pt x="9338" y="10742"/>
                    <a:pt x="9372" y="10707"/>
                    <a:pt x="9359" y="10723"/>
                  </a:cubicBezTo>
                  <a:cubicBezTo>
                    <a:pt x="9359" y="10722"/>
                    <a:pt x="9398" y="10743"/>
                    <a:pt x="9378" y="10699"/>
                  </a:cubicBezTo>
                  <a:cubicBezTo>
                    <a:pt x="9427" y="10666"/>
                    <a:pt x="9595" y="10552"/>
                    <a:pt x="9517" y="10503"/>
                  </a:cubicBezTo>
                  <a:cubicBezTo>
                    <a:pt x="9478" y="10479"/>
                    <a:pt x="9379" y="10493"/>
                    <a:pt x="9373" y="10532"/>
                  </a:cubicBezTo>
                  <a:cubicBezTo>
                    <a:pt x="9358" y="10520"/>
                    <a:pt x="9354" y="10520"/>
                    <a:pt x="9336" y="10513"/>
                  </a:cubicBezTo>
                  <a:cubicBezTo>
                    <a:pt x="9366" y="10503"/>
                    <a:pt x="9410" y="10448"/>
                    <a:pt x="9357" y="10442"/>
                  </a:cubicBezTo>
                  <a:cubicBezTo>
                    <a:pt x="9391" y="10434"/>
                    <a:pt x="9450" y="10416"/>
                    <a:pt x="9389" y="10394"/>
                  </a:cubicBezTo>
                  <a:cubicBezTo>
                    <a:pt x="9390" y="10392"/>
                    <a:pt x="9404" y="10384"/>
                    <a:pt x="9408" y="10382"/>
                  </a:cubicBezTo>
                  <a:cubicBezTo>
                    <a:pt x="9451" y="10424"/>
                    <a:pt x="9475" y="10465"/>
                    <a:pt x="9552" y="10456"/>
                  </a:cubicBezTo>
                  <a:cubicBezTo>
                    <a:pt x="9571" y="10453"/>
                    <a:pt x="9655" y="10440"/>
                    <a:pt x="9662" y="10424"/>
                  </a:cubicBezTo>
                  <a:cubicBezTo>
                    <a:pt x="9670" y="10403"/>
                    <a:pt x="9618" y="10367"/>
                    <a:pt x="9600" y="10399"/>
                  </a:cubicBezTo>
                  <a:cubicBezTo>
                    <a:pt x="9597" y="10377"/>
                    <a:pt x="9573" y="10270"/>
                    <a:pt x="9553" y="10303"/>
                  </a:cubicBezTo>
                  <a:cubicBezTo>
                    <a:pt x="9515" y="10271"/>
                    <a:pt x="9529" y="10312"/>
                    <a:pt x="9525" y="10323"/>
                  </a:cubicBezTo>
                  <a:cubicBezTo>
                    <a:pt x="9522" y="10331"/>
                    <a:pt x="9507" y="10350"/>
                    <a:pt x="9510" y="10366"/>
                  </a:cubicBezTo>
                  <a:cubicBezTo>
                    <a:pt x="9504" y="10350"/>
                    <a:pt x="9492" y="10337"/>
                    <a:pt x="9468" y="10337"/>
                  </a:cubicBezTo>
                  <a:cubicBezTo>
                    <a:pt x="9496" y="10272"/>
                    <a:pt x="9457" y="10235"/>
                    <a:pt x="9381" y="10216"/>
                  </a:cubicBezTo>
                  <a:cubicBezTo>
                    <a:pt x="9418" y="10195"/>
                    <a:pt x="9382" y="10186"/>
                    <a:pt x="9378" y="10158"/>
                  </a:cubicBezTo>
                  <a:cubicBezTo>
                    <a:pt x="9380" y="10170"/>
                    <a:pt x="9422" y="10116"/>
                    <a:pt x="9380" y="10126"/>
                  </a:cubicBezTo>
                  <a:cubicBezTo>
                    <a:pt x="9368" y="10129"/>
                    <a:pt x="9371" y="10161"/>
                    <a:pt x="9365" y="10161"/>
                  </a:cubicBezTo>
                  <a:cubicBezTo>
                    <a:pt x="9343" y="10162"/>
                    <a:pt x="9353" y="10120"/>
                    <a:pt x="9345" y="10112"/>
                  </a:cubicBezTo>
                  <a:cubicBezTo>
                    <a:pt x="9334" y="10102"/>
                    <a:pt x="9306" y="10099"/>
                    <a:pt x="9290" y="10096"/>
                  </a:cubicBezTo>
                  <a:cubicBezTo>
                    <a:pt x="9278" y="10094"/>
                    <a:pt x="9238" y="10093"/>
                    <a:pt x="9236" y="10092"/>
                  </a:cubicBezTo>
                  <a:cubicBezTo>
                    <a:pt x="9219" y="10084"/>
                    <a:pt x="9244" y="10074"/>
                    <a:pt x="9217" y="10064"/>
                  </a:cubicBezTo>
                  <a:cubicBezTo>
                    <a:pt x="9244" y="10039"/>
                    <a:pt x="9202" y="10020"/>
                    <a:pt x="9172" y="10010"/>
                  </a:cubicBezTo>
                  <a:cubicBezTo>
                    <a:pt x="9134" y="9998"/>
                    <a:pt x="9111" y="10007"/>
                    <a:pt x="9099" y="9966"/>
                  </a:cubicBezTo>
                  <a:cubicBezTo>
                    <a:pt x="9112" y="9973"/>
                    <a:pt x="9123" y="9978"/>
                    <a:pt x="9131" y="9991"/>
                  </a:cubicBezTo>
                  <a:cubicBezTo>
                    <a:pt x="9161" y="9979"/>
                    <a:pt x="9128" y="9843"/>
                    <a:pt x="9122" y="9810"/>
                  </a:cubicBezTo>
                  <a:cubicBezTo>
                    <a:pt x="9116" y="9770"/>
                    <a:pt x="9106" y="9691"/>
                    <a:pt x="9066" y="9662"/>
                  </a:cubicBezTo>
                  <a:cubicBezTo>
                    <a:pt x="9054" y="9653"/>
                    <a:pt x="9058" y="9637"/>
                    <a:pt x="9047" y="9626"/>
                  </a:cubicBezTo>
                  <a:cubicBezTo>
                    <a:pt x="9039" y="9619"/>
                    <a:pt x="9022" y="9627"/>
                    <a:pt x="9018" y="9623"/>
                  </a:cubicBezTo>
                  <a:cubicBezTo>
                    <a:pt x="9001" y="9610"/>
                    <a:pt x="8999" y="9591"/>
                    <a:pt x="8987" y="9575"/>
                  </a:cubicBezTo>
                  <a:cubicBezTo>
                    <a:pt x="8946" y="9524"/>
                    <a:pt x="8812" y="9509"/>
                    <a:pt x="8788" y="9450"/>
                  </a:cubicBezTo>
                  <a:cubicBezTo>
                    <a:pt x="8779" y="9429"/>
                    <a:pt x="8832" y="9358"/>
                    <a:pt x="8769" y="9355"/>
                  </a:cubicBezTo>
                  <a:cubicBezTo>
                    <a:pt x="8761" y="9355"/>
                    <a:pt x="8735" y="9373"/>
                    <a:pt x="8722" y="9374"/>
                  </a:cubicBezTo>
                  <a:cubicBezTo>
                    <a:pt x="8723" y="9374"/>
                    <a:pt x="8698" y="9355"/>
                    <a:pt x="8694" y="9354"/>
                  </a:cubicBezTo>
                  <a:cubicBezTo>
                    <a:pt x="8686" y="9351"/>
                    <a:pt x="8685" y="9372"/>
                    <a:pt x="8678" y="9371"/>
                  </a:cubicBezTo>
                  <a:cubicBezTo>
                    <a:pt x="8665" y="9371"/>
                    <a:pt x="8661" y="9347"/>
                    <a:pt x="8647" y="9357"/>
                  </a:cubicBezTo>
                  <a:cubicBezTo>
                    <a:pt x="8635" y="9365"/>
                    <a:pt x="8643" y="9380"/>
                    <a:pt x="8638" y="9390"/>
                  </a:cubicBezTo>
                  <a:cubicBezTo>
                    <a:pt x="8628" y="9408"/>
                    <a:pt x="8618" y="9434"/>
                    <a:pt x="8600" y="9448"/>
                  </a:cubicBezTo>
                  <a:cubicBezTo>
                    <a:pt x="8603" y="9427"/>
                    <a:pt x="8599" y="9406"/>
                    <a:pt x="8596" y="9385"/>
                  </a:cubicBezTo>
                  <a:cubicBezTo>
                    <a:pt x="8594" y="9370"/>
                    <a:pt x="8608" y="9330"/>
                    <a:pt x="8582" y="9354"/>
                  </a:cubicBezTo>
                  <a:cubicBezTo>
                    <a:pt x="8578" y="9350"/>
                    <a:pt x="8570" y="9343"/>
                    <a:pt x="8565" y="9338"/>
                  </a:cubicBezTo>
                  <a:cubicBezTo>
                    <a:pt x="8556" y="9353"/>
                    <a:pt x="8563" y="9401"/>
                    <a:pt x="8533" y="9387"/>
                  </a:cubicBezTo>
                  <a:cubicBezTo>
                    <a:pt x="8478" y="9362"/>
                    <a:pt x="8549" y="9328"/>
                    <a:pt x="8555" y="9320"/>
                  </a:cubicBezTo>
                  <a:cubicBezTo>
                    <a:pt x="8563" y="9310"/>
                    <a:pt x="8552" y="9298"/>
                    <a:pt x="8556" y="9288"/>
                  </a:cubicBezTo>
                  <a:cubicBezTo>
                    <a:pt x="8561" y="9272"/>
                    <a:pt x="8582" y="9276"/>
                    <a:pt x="8575" y="9252"/>
                  </a:cubicBezTo>
                  <a:cubicBezTo>
                    <a:pt x="8565" y="9213"/>
                    <a:pt x="8508" y="9218"/>
                    <a:pt x="8472" y="9224"/>
                  </a:cubicBezTo>
                  <a:cubicBezTo>
                    <a:pt x="8412" y="9236"/>
                    <a:pt x="8309" y="9262"/>
                    <a:pt x="8335" y="9317"/>
                  </a:cubicBezTo>
                  <a:cubicBezTo>
                    <a:pt x="8354" y="9355"/>
                    <a:pt x="8483" y="9328"/>
                    <a:pt x="8523" y="9313"/>
                  </a:cubicBezTo>
                  <a:cubicBezTo>
                    <a:pt x="8490" y="9369"/>
                    <a:pt x="8389" y="9308"/>
                    <a:pt x="8344" y="9361"/>
                  </a:cubicBezTo>
                  <a:cubicBezTo>
                    <a:pt x="8321" y="9389"/>
                    <a:pt x="8352" y="9412"/>
                    <a:pt x="8326" y="9429"/>
                  </a:cubicBezTo>
                  <a:cubicBezTo>
                    <a:pt x="8313" y="9437"/>
                    <a:pt x="8285" y="9431"/>
                    <a:pt x="8271" y="9437"/>
                  </a:cubicBezTo>
                  <a:cubicBezTo>
                    <a:pt x="8261" y="9442"/>
                    <a:pt x="8252" y="9461"/>
                    <a:pt x="8245" y="9468"/>
                  </a:cubicBezTo>
                  <a:cubicBezTo>
                    <a:pt x="8240" y="9473"/>
                    <a:pt x="8231" y="9488"/>
                    <a:pt x="8226" y="9493"/>
                  </a:cubicBezTo>
                  <a:cubicBezTo>
                    <a:pt x="8213" y="9502"/>
                    <a:pt x="8195" y="9502"/>
                    <a:pt x="8184" y="9512"/>
                  </a:cubicBezTo>
                  <a:cubicBezTo>
                    <a:pt x="8168" y="9525"/>
                    <a:pt x="8153" y="9548"/>
                    <a:pt x="8166" y="9566"/>
                  </a:cubicBezTo>
                  <a:cubicBezTo>
                    <a:pt x="8194" y="9607"/>
                    <a:pt x="8293" y="9604"/>
                    <a:pt x="8327" y="9583"/>
                  </a:cubicBezTo>
                  <a:cubicBezTo>
                    <a:pt x="8311" y="9594"/>
                    <a:pt x="8309" y="9604"/>
                    <a:pt x="8304" y="9618"/>
                  </a:cubicBezTo>
                  <a:cubicBezTo>
                    <a:pt x="8295" y="9645"/>
                    <a:pt x="8314" y="9640"/>
                    <a:pt x="8314" y="9668"/>
                  </a:cubicBezTo>
                  <a:cubicBezTo>
                    <a:pt x="8314" y="9680"/>
                    <a:pt x="8306" y="9683"/>
                    <a:pt x="8306" y="9691"/>
                  </a:cubicBezTo>
                  <a:cubicBezTo>
                    <a:pt x="8306" y="9692"/>
                    <a:pt x="8290" y="9694"/>
                    <a:pt x="8288" y="9698"/>
                  </a:cubicBezTo>
                  <a:cubicBezTo>
                    <a:pt x="8287" y="9703"/>
                    <a:pt x="8307" y="9711"/>
                    <a:pt x="8302" y="9718"/>
                  </a:cubicBezTo>
                  <a:cubicBezTo>
                    <a:pt x="8289" y="9734"/>
                    <a:pt x="8313" y="9733"/>
                    <a:pt x="8282" y="9738"/>
                  </a:cubicBezTo>
                  <a:cubicBezTo>
                    <a:pt x="8249" y="9742"/>
                    <a:pt x="8214" y="9692"/>
                    <a:pt x="8188" y="9678"/>
                  </a:cubicBezTo>
                  <a:cubicBezTo>
                    <a:pt x="8149" y="9656"/>
                    <a:pt x="8121" y="9653"/>
                    <a:pt x="8092" y="9688"/>
                  </a:cubicBezTo>
                  <a:cubicBezTo>
                    <a:pt x="8082" y="9700"/>
                    <a:pt x="8086" y="9719"/>
                    <a:pt x="8076" y="9731"/>
                  </a:cubicBezTo>
                  <a:cubicBezTo>
                    <a:pt x="8065" y="9743"/>
                    <a:pt x="8051" y="9746"/>
                    <a:pt x="8044" y="9752"/>
                  </a:cubicBezTo>
                  <a:cubicBezTo>
                    <a:pt x="8018" y="9776"/>
                    <a:pt x="8017" y="9766"/>
                    <a:pt x="8033" y="9801"/>
                  </a:cubicBezTo>
                  <a:cubicBezTo>
                    <a:pt x="8049" y="9835"/>
                    <a:pt x="8049" y="9840"/>
                    <a:pt x="8017" y="9860"/>
                  </a:cubicBezTo>
                  <a:cubicBezTo>
                    <a:pt x="7987" y="9878"/>
                    <a:pt x="8062" y="9934"/>
                    <a:pt x="8053" y="9880"/>
                  </a:cubicBezTo>
                  <a:cubicBezTo>
                    <a:pt x="8072" y="9894"/>
                    <a:pt x="8064" y="9918"/>
                    <a:pt x="8042" y="9930"/>
                  </a:cubicBezTo>
                  <a:cubicBezTo>
                    <a:pt x="8027" y="9938"/>
                    <a:pt x="8034" y="9974"/>
                    <a:pt x="8032" y="9988"/>
                  </a:cubicBezTo>
                  <a:cubicBezTo>
                    <a:pt x="8027" y="10037"/>
                    <a:pt x="7992" y="10085"/>
                    <a:pt x="8034" y="10126"/>
                  </a:cubicBezTo>
                  <a:cubicBezTo>
                    <a:pt x="8044" y="10136"/>
                    <a:pt x="8064" y="10139"/>
                    <a:pt x="8075" y="10150"/>
                  </a:cubicBezTo>
                  <a:cubicBezTo>
                    <a:pt x="8084" y="10160"/>
                    <a:pt x="8081" y="10176"/>
                    <a:pt x="8091" y="10186"/>
                  </a:cubicBezTo>
                  <a:cubicBezTo>
                    <a:pt x="8100" y="10195"/>
                    <a:pt x="8150" y="10228"/>
                    <a:pt x="8164" y="10226"/>
                  </a:cubicBezTo>
                  <a:cubicBezTo>
                    <a:pt x="8159" y="10227"/>
                    <a:pt x="8198" y="10189"/>
                    <a:pt x="8202" y="10185"/>
                  </a:cubicBezTo>
                  <a:cubicBezTo>
                    <a:pt x="8221" y="10170"/>
                    <a:pt x="8234" y="10154"/>
                    <a:pt x="8263" y="10154"/>
                  </a:cubicBezTo>
                  <a:cubicBezTo>
                    <a:pt x="8246" y="10162"/>
                    <a:pt x="8211" y="10185"/>
                    <a:pt x="8205" y="10199"/>
                  </a:cubicBezTo>
                  <a:cubicBezTo>
                    <a:pt x="8187" y="10240"/>
                    <a:pt x="8244" y="10243"/>
                    <a:pt x="8279" y="10270"/>
                  </a:cubicBezTo>
                  <a:cubicBezTo>
                    <a:pt x="8233" y="10258"/>
                    <a:pt x="8217" y="10244"/>
                    <a:pt x="8179" y="10257"/>
                  </a:cubicBezTo>
                  <a:cubicBezTo>
                    <a:pt x="8167" y="10261"/>
                    <a:pt x="8170" y="10308"/>
                    <a:pt x="8147" y="10264"/>
                  </a:cubicBezTo>
                  <a:cubicBezTo>
                    <a:pt x="8137" y="10287"/>
                    <a:pt x="8131" y="10309"/>
                    <a:pt x="8124" y="10333"/>
                  </a:cubicBezTo>
                  <a:cubicBezTo>
                    <a:pt x="8116" y="10364"/>
                    <a:pt x="8109" y="10367"/>
                    <a:pt x="8087" y="10395"/>
                  </a:cubicBezTo>
                  <a:cubicBezTo>
                    <a:pt x="8050" y="10441"/>
                    <a:pt x="8066" y="10495"/>
                    <a:pt x="8081" y="10544"/>
                  </a:cubicBezTo>
                  <a:cubicBezTo>
                    <a:pt x="8095" y="10589"/>
                    <a:pt x="8118" y="10633"/>
                    <a:pt x="8165" y="10666"/>
                  </a:cubicBezTo>
                  <a:cubicBezTo>
                    <a:pt x="8207" y="10695"/>
                    <a:pt x="8257" y="10689"/>
                    <a:pt x="8235" y="10746"/>
                  </a:cubicBezTo>
                  <a:cubicBezTo>
                    <a:pt x="8191" y="10753"/>
                    <a:pt x="8231" y="10755"/>
                    <a:pt x="8239" y="10764"/>
                  </a:cubicBezTo>
                  <a:cubicBezTo>
                    <a:pt x="8245" y="10770"/>
                    <a:pt x="8270" y="10794"/>
                    <a:pt x="8281" y="10799"/>
                  </a:cubicBezTo>
                  <a:cubicBezTo>
                    <a:pt x="8295" y="10805"/>
                    <a:pt x="8346" y="10801"/>
                    <a:pt x="8330" y="10794"/>
                  </a:cubicBezTo>
                  <a:cubicBezTo>
                    <a:pt x="8347" y="10801"/>
                    <a:pt x="8334" y="10817"/>
                    <a:pt x="8356" y="10830"/>
                  </a:cubicBezTo>
                  <a:cubicBezTo>
                    <a:pt x="8360" y="10768"/>
                    <a:pt x="8399" y="10814"/>
                    <a:pt x="8423" y="10833"/>
                  </a:cubicBezTo>
                  <a:cubicBezTo>
                    <a:pt x="8458" y="10860"/>
                    <a:pt x="8507" y="10873"/>
                    <a:pt x="8550" y="10888"/>
                  </a:cubicBezTo>
                  <a:cubicBezTo>
                    <a:pt x="8560" y="10892"/>
                    <a:pt x="8566" y="10902"/>
                    <a:pt x="8577" y="10905"/>
                  </a:cubicBezTo>
                  <a:cubicBezTo>
                    <a:pt x="8588" y="10908"/>
                    <a:pt x="8601" y="10897"/>
                    <a:pt x="8609" y="10899"/>
                  </a:cubicBezTo>
                  <a:cubicBezTo>
                    <a:pt x="8626" y="10905"/>
                    <a:pt x="8630" y="10923"/>
                    <a:pt x="8655" y="10926"/>
                  </a:cubicBezTo>
                  <a:cubicBezTo>
                    <a:pt x="8740" y="10936"/>
                    <a:pt x="8662" y="10859"/>
                    <a:pt x="8729" y="10846"/>
                  </a:cubicBezTo>
                  <a:cubicBezTo>
                    <a:pt x="8726" y="10867"/>
                    <a:pt x="8760" y="10893"/>
                    <a:pt x="8775" y="10918"/>
                  </a:cubicBezTo>
                  <a:cubicBezTo>
                    <a:pt x="8789" y="10941"/>
                    <a:pt x="8820" y="10984"/>
                    <a:pt x="8847" y="10997"/>
                  </a:cubicBezTo>
                  <a:cubicBezTo>
                    <a:pt x="8871" y="11009"/>
                    <a:pt x="8929" y="11008"/>
                    <a:pt x="8957" y="11001"/>
                  </a:cubicBezTo>
                  <a:cubicBezTo>
                    <a:pt x="9012" y="10987"/>
                    <a:pt x="9014" y="10947"/>
                    <a:pt x="9080" y="10926"/>
                  </a:cubicBezTo>
                  <a:cubicBezTo>
                    <a:pt x="9149" y="10970"/>
                    <a:pt x="9112" y="10981"/>
                    <a:pt x="9101" y="11038"/>
                  </a:cubicBezTo>
                  <a:cubicBezTo>
                    <a:pt x="9121" y="11049"/>
                    <a:pt x="9146" y="11043"/>
                    <a:pt x="9167" y="11033"/>
                  </a:cubicBezTo>
                  <a:cubicBezTo>
                    <a:pt x="9125" y="11083"/>
                    <a:pt x="9087" y="11139"/>
                    <a:pt x="9035" y="11184"/>
                  </a:cubicBezTo>
                  <a:cubicBezTo>
                    <a:pt x="9046" y="11146"/>
                    <a:pt x="9004" y="11126"/>
                    <a:pt x="9038" y="11078"/>
                  </a:cubicBezTo>
                  <a:cubicBezTo>
                    <a:pt x="9057" y="11052"/>
                    <a:pt x="9148" y="10959"/>
                    <a:pt x="9055" y="11013"/>
                  </a:cubicBezTo>
                  <a:cubicBezTo>
                    <a:pt x="9016" y="11036"/>
                    <a:pt x="8975" y="11046"/>
                    <a:pt x="8933" y="11066"/>
                  </a:cubicBezTo>
                  <a:cubicBezTo>
                    <a:pt x="8872" y="11096"/>
                    <a:pt x="8879" y="11095"/>
                    <a:pt x="8884" y="11136"/>
                  </a:cubicBezTo>
                  <a:cubicBezTo>
                    <a:pt x="8889" y="11184"/>
                    <a:pt x="8867" y="11249"/>
                    <a:pt x="8960" y="11209"/>
                  </a:cubicBezTo>
                  <a:cubicBezTo>
                    <a:pt x="8946" y="11225"/>
                    <a:pt x="8931" y="11290"/>
                    <a:pt x="8912" y="11292"/>
                  </a:cubicBezTo>
                  <a:cubicBezTo>
                    <a:pt x="8869" y="11297"/>
                    <a:pt x="8879" y="11337"/>
                    <a:pt x="8856" y="11360"/>
                  </a:cubicBezTo>
                  <a:cubicBezTo>
                    <a:pt x="8849" y="11342"/>
                    <a:pt x="8823" y="11333"/>
                    <a:pt x="8808" y="11352"/>
                  </a:cubicBezTo>
                  <a:cubicBezTo>
                    <a:pt x="8807" y="11353"/>
                    <a:pt x="8829" y="11392"/>
                    <a:pt x="8829" y="11395"/>
                  </a:cubicBezTo>
                  <a:cubicBezTo>
                    <a:pt x="8833" y="11424"/>
                    <a:pt x="8822" y="11463"/>
                    <a:pt x="8820" y="11495"/>
                  </a:cubicBezTo>
                  <a:cubicBezTo>
                    <a:pt x="8839" y="11484"/>
                    <a:pt x="8835" y="11493"/>
                    <a:pt x="8851" y="11498"/>
                  </a:cubicBezTo>
                  <a:cubicBezTo>
                    <a:pt x="8856" y="11499"/>
                    <a:pt x="8855" y="11510"/>
                    <a:pt x="8864" y="11512"/>
                  </a:cubicBezTo>
                  <a:cubicBezTo>
                    <a:pt x="8867" y="11513"/>
                    <a:pt x="8868" y="11500"/>
                    <a:pt x="8871" y="11501"/>
                  </a:cubicBezTo>
                  <a:cubicBezTo>
                    <a:pt x="8910" y="11506"/>
                    <a:pt x="8901" y="11497"/>
                    <a:pt x="8947" y="11482"/>
                  </a:cubicBezTo>
                  <a:cubicBezTo>
                    <a:pt x="8979" y="11471"/>
                    <a:pt x="8986" y="11480"/>
                    <a:pt x="9015" y="11448"/>
                  </a:cubicBezTo>
                  <a:cubicBezTo>
                    <a:pt x="9036" y="11426"/>
                    <a:pt x="9065" y="11400"/>
                    <a:pt x="9076" y="11375"/>
                  </a:cubicBezTo>
                  <a:cubicBezTo>
                    <a:pt x="9066" y="11383"/>
                    <a:pt x="9050" y="11394"/>
                    <a:pt x="9038" y="11402"/>
                  </a:cubicBezTo>
                  <a:cubicBezTo>
                    <a:pt x="9039" y="11397"/>
                    <a:pt x="9039" y="11391"/>
                    <a:pt x="9040" y="11386"/>
                  </a:cubicBezTo>
                  <a:cubicBezTo>
                    <a:pt x="8996" y="11439"/>
                    <a:pt x="8989" y="11401"/>
                    <a:pt x="9005" y="11359"/>
                  </a:cubicBezTo>
                  <a:cubicBezTo>
                    <a:pt x="9017" y="11328"/>
                    <a:pt x="9021" y="11296"/>
                    <a:pt x="9032" y="11271"/>
                  </a:cubicBezTo>
                  <a:cubicBezTo>
                    <a:pt x="9032" y="11279"/>
                    <a:pt x="9037" y="11295"/>
                    <a:pt x="9035" y="11305"/>
                  </a:cubicBezTo>
                  <a:cubicBezTo>
                    <a:pt x="9038" y="11305"/>
                    <a:pt x="9040" y="11301"/>
                    <a:pt x="9042" y="11301"/>
                  </a:cubicBezTo>
                  <a:cubicBezTo>
                    <a:pt x="9043" y="11354"/>
                    <a:pt x="9117" y="11286"/>
                    <a:pt x="9129" y="11355"/>
                  </a:cubicBezTo>
                  <a:cubicBezTo>
                    <a:pt x="9134" y="11389"/>
                    <a:pt x="9159" y="11393"/>
                    <a:pt x="9150" y="11431"/>
                  </a:cubicBezTo>
                  <a:cubicBezTo>
                    <a:pt x="9139" y="11476"/>
                    <a:pt x="9132" y="11519"/>
                    <a:pt x="9130" y="11567"/>
                  </a:cubicBezTo>
                  <a:cubicBezTo>
                    <a:pt x="9142" y="11558"/>
                    <a:pt x="9159" y="11558"/>
                    <a:pt x="9172" y="11556"/>
                  </a:cubicBezTo>
                  <a:cubicBezTo>
                    <a:pt x="9194" y="11554"/>
                    <a:pt x="9218" y="11549"/>
                    <a:pt x="9246" y="11542"/>
                  </a:cubicBezTo>
                  <a:cubicBezTo>
                    <a:pt x="9217" y="11561"/>
                    <a:pt x="9201" y="11588"/>
                    <a:pt x="9178" y="11609"/>
                  </a:cubicBezTo>
                  <a:cubicBezTo>
                    <a:pt x="9155" y="11630"/>
                    <a:pt x="9130" y="11646"/>
                    <a:pt x="9099" y="11663"/>
                  </a:cubicBezTo>
                  <a:cubicBezTo>
                    <a:pt x="9069" y="11679"/>
                    <a:pt x="9035" y="11687"/>
                    <a:pt x="9022" y="11718"/>
                  </a:cubicBezTo>
                  <a:cubicBezTo>
                    <a:pt x="9014" y="11736"/>
                    <a:pt x="9003" y="11746"/>
                    <a:pt x="9001" y="11765"/>
                  </a:cubicBezTo>
                  <a:cubicBezTo>
                    <a:pt x="8999" y="11782"/>
                    <a:pt x="9013" y="11798"/>
                    <a:pt x="9008" y="11815"/>
                  </a:cubicBezTo>
                  <a:cubicBezTo>
                    <a:pt x="9004" y="11832"/>
                    <a:pt x="8946" y="11866"/>
                    <a:pt x="8930" y="11882"/>
                  </a:cubicBezTo>
                  <a:cubicBezTo>
                    <a:pt x="8901" y="11909"/>
                    <a:pt x="8874" y="11974"/>
                    <a:pt x="8836" y="11989"/>
                  </a:cubicBezTo>
                  <a:cubicBezTo>
                    <a:pt x="8809" y="11999"/>
                    <a:pt x="8808" y="11989"/>
                    <a:pt x="8788" y="11989"/>
                  </a:cubicBezTo>
                  <a:cubicBezTo>
                    <a:pt x="8783" y="11989"/>
                    <a:pt x="8758" y="11995"/>
                    <a:pt x="8752" y="11993"/>
                  </a:cubicBezTo>
                  <a:cubicBezTo>
                    <a:pt x="8731" y="11987"/>
                    <a:pt x="8734" y="11968"/>
                    <a:pt x="8713" y="11970"/>
                  </a:cubicBezTo>
                  <a:cubicBezTo>
                    <a:pt x="8703" y="11972"/>
                    <a:pt x="8682" y="11997"/>
                    <a:pt x="8675" y="12003"/>
                  </a:cubicBezTo>
                  <a:cubicBezTo>
                    <a:pt x="8693" y="11959"/>
                    <a:pt x="8630" y="11980"/>
                    <a:pt x="8600" y="11997"/>
                  </a:cubicBezTo>
                  <a:cubicBezTo>
                    <a:pt x="8621" y="12008"/>
                    <a:pt x="8605" y="12034"/>
                    <a:pt x="8597" y="12053"/>
                  </a:cubicBezTo>
                  <a:cubicBezTo>
                    <a:pt x="8584" y="12088"/>
                    <a:pt x="8592" y="12098"/>
                    <a:pt x="8594" y="12126"/>
                  </a:cubicBezTo>
                  <a:cubicBezTo>
                    <a:pt x="8595" y="12146"/>
                    <a:pt x="8595" y="12166"/>
                    <a:pt x="8583" y="12185"/>
                  </a:cubicBezTo>
                  <a:cubicBezTo>
                    <a:pt x="8572" y="12204"/>
                    <a:pt x="8536" y="12216"/>
                    <a:pt x="8548" y="12239"/>
                  </a:cubicBezTo>
                  <a:cubicBezTo>
                    <a:pt x="8559" y="12261"/>
                    <a:pt x="8618" y="12276"/>
                    <a:pt x="8639" y="12293"/>
                  </a:cubicBezTo>
                  <a:cubicBezTo>
                    <a:pt x="8673" y="12320"/>
                    <a:pt x="8687" y="12346"/>
                    <a:pt x="8685" y="12384"/>
                  </a:cubicBezTo>
                  <a:cubicBezTo>
                    <a:pt x="8684" y="12411"/>
                    <a:pt x="8680" y="12450"/>
                    <a:pt x="8704" y="12479"/>
                  </a:cubicBezTo>
                  <a:cubicBezTo>
                    <a:pt x="8716" y="12494"/>
                    <a:pt x="8740" y="12497"/>
                    <a:pt x="8750" y="12509"/>
                  </a:cubicBezTo>
                  <a:cubicBezTo>
                    <a:pt x="8776" y="12539"/>
                    <a:pt x="8750" y="12528"/>
                    <a:pt x="8743" y="12559"/>
                  </a:cubicBezTo>
                  <a:cubicBezTo>
                    <a:pt x="8734" y="12606"/>
                    <a:pt x="8716" y="12632"/>
                    <a:pt x="8730" y="12678"/>
                  </a:cubicBezTo>
                  <a:cubicBezTo>
                    <a:pt x="8739" y="12708"/>
                    <a:pt x="8767" y="12726"/>
                    <a:pt x="8767" y="12757"/>
                  </a:cubicBezTo>
                  <a:cubicBezTo>
                    <a:pt x="8769" y="12818"/>
                    <a:pt x="8743" y="12775"/>
                    <a:pt x="8715" y="12777"/>
                  </a:cubicBezTo>
                  <a:cubicBezTo>
                    <a:pt x="8695" y="12778"/>
                    <a:pt x="8672" y="12792"/>
                    <a:pt x="8642" y="12793"/>
                  </a:cubicBezTo>
                  <a:cubicBezTo>
                    <a:pt x="8633" y="12794"/>
                    <a:pt x="8609" y="12800"/>
                    <a:pt x="8604" y="12799"/>
                  </a:cubicBezTo>
                  <a:cubicBezTo>
                    <a:pt x="8586" y="12796"/>
                    <a:pt x="8593" y="12780"/>
                    <a:pt x="8575" y="12776"/>
                  </a:cubicBezTo>
                  <a:cubicBezTo>
                    <a:pt x="8561" y="12773"/>
                    <a:pt x="8553" y="12784"/>
                    <a:pt x="8539" y="12784"/>
                  </a:cubicBezTo>
                  <a:cubicBezTo>
                    <a:pt x="8524" y="12783"/>
                    <a:pt x="8512" y="12769"/>
                    <a:pt x="8496" y="12775"/>
                  </a:cubicBezTo>
                  <a:cubicBezTo>
                    <a:pt x="8436" y="12796"/>
                    <a:pt x="8535" y="12860"/>
                    <a:pt x="8555" y="12877"/>
                  </a:cubicBezTo>
                  <a:cubicBezTo>
                    <a:pt x="8573" y="12892"/>
                    <a:pt x="8586" y="12918"/>
                    <a:pt x="8602" y="12931"/>
                  </a:cubicBezTo>
                  <a:cubicBezTo>
                    <a:pt x="8612" y="12939"/>
                    <a:pt x="8596" y="12957"/>
                    <a:pt x="8625" y="12952"/>
                  </a:cubicBezTo>
                  <a:cubicBezTo>
                    <a:pt x="8641" y="12949"/>
                    <a:pt x="8641" y="12922"/>
                    <a:pt x="8641" y="12916"/>
                  </a:cubicBezTo>
                  <a:cubicBezTo>
                    <a:pt x="8673" y="12954"/>
                    <a:pt x="8624" y="12981"/>
                    <a:pt x="8598" y="13014"/>
                  </a:cubicBezTo>
                  <a:cubicBezTo>
                    <a:pt x="8620" y="12968"/>
                    <a:pt x="8586" y="12917"/>
                    <a:pt x="8542" y="12890"/>
                  </a:cubicBezTo>
                  <a:cubicBezTo>
                    <a:pt x="8518" y="12875"/>
                    <a:pt x="8489" y="12871"/>
                    <a:pt x="8470" y="12850"/>
                  </a:cubicBezTo>
                  <a:cubicBezTo>
                    <a:pt x="8462" y="12841"/>
                    <a:pt x="8466" y="12827"/>
                    <a:pt x="8457" y="12817"/>
                  </a:cubicBezTo>
                  <a:cubicBezTo>
                    <a:pt x="8447" y="12807"/>
                    <a:pt x="8428" y="12807"/>
                    <a:pt x="8416" y="12797"/>
                  </a:cubicBezTo>
                  <a:cubicBezTo>
                    <a:pt x="8392" y="12778"/>
                    <a:pt x="8316" y="12722"/>
                    <a:pt x="8344" y="12696"/>
                  </a:cubicBezTo>
                  <a:cubicBezTo>
                    <a:pt x="8361" y="12679"/>
                    <a:pt x="8391" y="12708"/>
                    <a:pt x="8400" y="12718"/>
                  </a:cubicBezTo>
                  <a:cubicBezTo>
                    <a:pt x="8409" y="12729"/>
                    <a:pt x="8396" y="12781"/>
                    <a:pt x="8447" y="12752"/>
                  </a:cubicBezTo>
                  <a:cubicBezTo>
                    <a:pt x="8449" y="12797"/>
                    <a:pt x="8478" y="12758"/>
                    <a:pt x="8485" y="12745"/>
                  </a:cubicBezTo>
                  <a:cubicBezTo>
                    <a:pt x="8494" y="12729"/>
                    <a:pt x="8488" y="12710"/>
                    <a:pt x="8505" y="12693"/>
                  </a:cubicBezTo>
                  <a:cubicBezTo>
                    <a:pt x="8505" y="12721"/>
                    <a:pt x="8509" y="12769"/>
                    <a:pt x="8556" y="12771"/>
                  </a:cubicBezTo>
                  <a:cubicBezTo>
                    <a:pt x="8580" y="12772"/>
                    <a:pt x="8599" y="12746"/>
                    <a:pt x="8619" y="12745"/>
                  </a:cubicBezTo>
                  <a:cubicBezTo>
                    <a:pt x="8638" y="12744"/>
                    <a:pt x="8637" y="12768"/>
                    <a:pt x="8673" y="12767"/>
                  </a:cubicBezTo>
                  <a:cubicBezTo>
                    <a:pt x="8731" y="12766"/>
                    <a:pt x="8741" y="12730"/>
                    <a:pt x="8728" y="12696"/>
                  </a:cubicBezTo>
                  <a:cubicBezTo>
                    <a:pt x="8726" y="12690"/>
                    <a:pt x="8704" y="12687"/>
                    <a:pt x="8700" y="12677"/>
                  </a:cubicBezTo>
                  <a:cubicBezTo>
                    <a:pt x="8697" y="12669"/>
                    <a:pt x="8711" y="12655"/>
                    <a:pt x="8709" y="12645"/>
                  </a:cubicBezTo>
                  <a:cubicBezTo>
                    <a:pt x="8704" y="12622"/>
                    <a:pt x="8700" y="12599"/>
                    <a:pt x="8669" y="12628"/>
                  </a:cubicBezTo>
                  <a:cubicBezTo>
                    <a:pt x="8668" y="12607"/>
                    <a:pt x="8668" y="12594"/>
                    <a:pt x="8648" y="12582"/>
                  </a:cubicBezTo>
                  <a:cubicBezTo>
                    <a:pt x="8630" y="12572"/>
                    <a:pt x="8605" y="12616"/>
                    <a:pt x="8606" y="12577"/>
                  </a:cubicBezTo>
                  <a:cubicBezTo>
                    <a:pt x="8591" y="12594"/>
                    <a:pt x="8578" y="12618"/>
                    <a:pt x="8547" y="12621"/>
                  </a:cubicBezTo>
                  <a:cubicBezTo>
                    <a:pt x="8558" y="12578"/>
                    <a:pt x="8618" y="12551"/>
                    <a:pt x="8630" y="12509"/>
                  </a:cubicBezTo>
                  <a:cubicBezTo>
                    <a:pt x="8652" y="12431"/>
                    <a:pt x="8586" y="12539"/>
                    <a:pt x="8569" y="12475"/>
                  </a:cubicBezTo>
                  <a:cubicBezTo>
                    <a:pt x="8545" y="12494"/>
                    <a:pt x="8527" y="12522"/>
                    <a:pt x="8505" y="12544"/>
                  </a:cubicBezTo>
                  <a:cubicBezTo>
                    <a:pt x="8511" y="12537"/>
                    <a:pt x="8482" y="12560"/>
                    <a:pt x="8478" y="12562"/>
                  </a:cubicBezTo>
                  <a:cubicBezTo>
                    <a:pt x="8464" y="12572"/>
                    <a:pt x="8460" y="12588"/>
                    <a:pt x="8438" y="12591"/>
                  </a:cubicBezTo>
                  <a:cubicBezTo>
                    <a:pt x="8455" y="12588"/>
                    <a:pt x="8410" y="12563"/>
                    <a:pt x="8416" y="12568"/>
                  </a:cubicBezTo>
                  <a:cubicBezTo>
                    <a:pt x="8401" y="12556"/>
                    <a:pt x="8396" y="12581"/>
                    <a:pt x="8394" y="12547"/>
                  </a:cubicBezTo>
                  <a:cubicBezTo>
                    <a:pt x="8393" y="12518"/>
                    <a:pt x="8421" y="12496"/>
                    <a:pt x="8427" y="12466"/>
                  </a:cubicBezTo>
                  <a:cubicBezTo>
                    <a:pt x="8437" y="12418"/>
                    <a:pt x="8428" y="12446"/>
                    <a:pt x="8382" y="12447"/>
                  </a:cubicBezTo>
                  <a:cubicBezTo>
                    <a:pt x="8354" y="12448"/>
                    <a:pt x="8352" y="12439"/>
                    <a:pt x="8332" y="12432"/>
                  </a:cubicBezTo>
                  <a:cubicBezTo>
                    <a:pt x="8332" y="12432"/>
                    <a:pt x="8333" y="12418"/>
                    <a:pt x="8330" y="12416"/>
                  </a:cubicBezTo>
                  <a:cubicBezTo>
                    <a:pt x="8321" y="12409"/>
                    <a:pt x="8305" y="12429"/>
                    <a:pt x="8298" y="12416"/>
                  </a:cubicBezTo>
                  <a:cubicBezTo>
                    <a:pt x="8280" y="12384"/>
                    <a:pt x="8317" y="12373"/>
                    <a:pt x="8325" y="12353"/>
                  </a:cubicBezTo>
                  <a:cubicBezTo>
                    <a:pt x="8337" y="12324"/>
                    <a:pt x="8321" y="12295"/>
                    <a:pt x="8333" y="12268"/>
                  </a:cubicBezTo>
                  <a:cubicBezTo>
                    <a:pt x="8341" y="12277"/>
                    <a:pt x="8352" y="12319"/>
                    <a:pt x="8377" y="12315"/>
                  </a:cubicBezTo>
                  <a:cubicBezTo>
                    <a:pt x="8410" y="12308"/>
                    <a:pt x="8371" y="12266"/>
                    <a:pt x="8369" y="12258"/>
                  </a:cubicBezTo>
                  <a:cubicBezTo>
                    <a:pt x="8357" y="12218"/>
                    <a:pt x="8366" y="12167"/>
                    <a:pt x="8374" y="12124"/>
                  </a:cubicBezTo>
                  <a:cubicBezTo>
                    <a:pt x="8382" y="12080"/>
                    <a:pt x="8400" y="12034"/>
                    <a:pt x="8401" y="11991"/>
                  </a:cubicBezTo>
                  <a:cubicBezTo>
                    <a:pt x="8403" y="11962"/>
                    <a:pt x="8387" y="11953"/>
                    <a:pt x="8392" y="11925"/>
                  </a:cubicBezTo>
                  <a:cubicBezTo>
                    <a:pt x="8396" y="11903"/>
                    <a:pt x="8421" y="11878"/>
                    <a:pt x="8429" y="11857"/>
                  </a:cubicBezTo>
                  <a:cubicBezTo>
                    <a:pt x="8371" y="11903"/>
                    <a:pt x="8239" y="11926"/>
                    <a:pt x="8228" y="12000"/>
                  </a:cubicBezTo>
                  <a:cubicBezTo>
                    <a:pt x="8253" y="11990"/>
                    <a:pt x="8251" y="12006"/>
                    <a:pt x="8257" y="12023"/>
                  </a:cubicBezTo>
                  <a:cubicBezTo>
                    <a:pt x="8269" y="12052"/>
                    <a:pt x="8210" y="12022"/>
                    <a:pt x="8208" y="12022"/>
                  </a:cubicBezTo>
                  <a:cubicBezTo>
                    <a:pt x="8183" y="12020"/>
                    <a:pt x="8192" y="12055"/>
                    <a:pt x="8163" y="12054"/>
                  </a:cubicBezTo>
                  <a:cubicBezTo>
                    <a:pt x="8132" y="12052"/>
                    <a:pt x="8141" y="12032"/>
                    <a:pt x="8150" y="12017"/>
                  </a:cubicBezTo>
                  <a:cubicBezTo>
                    <a:pt x="8155" y="12008"/>
                    <a:pt x="8186" y="11997"/>
                    <a:pt x="8196" y="11985"/>
                  </a:cubicBezTo>
                  <a:cubicBezTo>
                    <a:pt x="8202" y="11977"/>
                    <a:pt x="8189" y="11972"/>
                    <a:pt x="8193" y="11965"/>
                  </a:cubicBezTo>
                  <a:cubicBezTo>
                    <a:pt x="8199" y="11957"/>
                    <a:pt x="8214" y="11949"/>
                    <a:pt x="8217" y="11942"/>
                  </a:cubicBezTo>
                  <a:cubicBezTo>
                    <a:pt x="8234" y="11912"/>
                    <a:pt x="8232" y="11877"/>
                    <a:pt x="8249" y="11849"/>
                  </a:cubicBezTo>
                  <a:cubicBezTo>
                    <a:pt x="8203" y="11856"/>
                    <a:pt x="8184" y="11906"/>
                    <a:pt x="8192" y="11935"/>
                  </a:cubicBezTo>
                  <a:cubicBezTo>
                    <a:pt x="8151" y="11912"/>
                    <a:pt x="8204" y="11883"/>
                    <a:pt x="8171" y="11871"/>
                  </a:cubicBezTo>
                  <a:cubicBezTo>
                    <a:pt x="8151" y="11863"/>
                    <a:pt x="8061" y="11921"/>
                    <a:pt x="8035" y="11889"/>
                  </a:cubicBezTo>
                  <a:cubicBezTo>
                    <a:pt x="8016" y="11866"/>
                    <a:pt x="8058" y="11866"/>
                    <a:pt x="8059" y="11860"/>
                  </a:cubicBezTo>
                  <a:cubicBezTo>
                    <a:pt x="8062" y="11840"/>
                    <a:pt x="8051" y="11837"/>
                    <a:pt x="8042" y="11825"/>
                  </a:cubicBezTo>
                  <a:cubicBezTo>
                    <a:pt x="8037" y="11820"/>
                    <a:pt x="8016" y="11820"/>
                    <a:pt x="8009" y="11815"/>
                  </a:cubicBezTo>
                  <a:cubicBezTo>
                    <a:pt x="7998" y="11808"/>
                    <a:pt x="8018" y="11804"/>
                    <a:pt x="8009" y="11796"/>
                  </a:cubicBezTo>
                  <a:cubicBezTo>
                    <a:pt x="7996" y="11784"/>
                    <a:pt x="7977" y="11774"/>
                    <a:pt x="7963" y="11763"/>
                  </a:cubicBezTo>
                  <a:cubicBezTo>
                    <a:pt x="7943" y="11748"/>
                    <a:pt x="7886" y="11706"/>
                    <a:pt x="7848" y="11740"/>
                  </a:cubicBezTo>
                  <a:cubicBezTo>
                    <a:pt x="7823" y="11761"/>
                    <a:pt x="7864" y="11768"/>
                    <a:pt x="7864" y="11768"/>
                  </a:cubicBezTo>
                  <a:cubicBezTo>
                    <a:pt x="7863" y="11776"/>
                    <a:pt x="7869" y="11798"/>
                    <a:pt x="7836" y="11772"/>
                  </a:cubicBezTo>
                  <a:cubicBezTo>
                    <a:pt x="7800" y="11744"/>
                    <a:pt x="7834" y="11723"/>
                    <a:pt x="7765" y="11714"/>
                  </a:cubicBezTo>
                  <a:cubicBezTo>
                    <a:pt x="7725" y="11709"/>
                    <a:pt x="7695" y="11709"/>
                    <a:pt x="7708" y="11743"/>
                  </a:cubicBezTo>
                  <a:cubicBezTo>
                    <a:pt x="7712" y="11755"/>
                    <a:pt x="7734" y="11767"/>
                    <a:pt x="7743" y="11775"/>
                  </a:cubicBezTo>
                  <a:cubicBezTo>
                    <a:pt x="7747" y="11778"/>
                    <a:pt x="7749" y="11790"/>
                    <a:pt x="7756" y="11795"/>
                  </a:cubicBezTo>
                  <a:cubicBezTo>
                    <a:pt x="7763" y="11801"/>
                    <a:pt x="7780" y="11794"/>
                    <a:pt x="7789" y="11802"/>
                  </a:cubicBezTo>
                  <a:cubicBezTo>
                    <a:pt x="7815" y="11830"/>
                    <a:pt x="7783" y="11823"/>
                    <a:pt x="7761" y="11820"/>
                  </a:cubicBezTo>
                  <a:cubicBezTo>
                    <a:pt x="7730" y="11818"/>
                    <a:pt x="7751" y="11842"/>
                    <a:pt x="7744" y="11843"/>
                  </a:cubicBezTo>
                  <a:cubicBezTo>
                    <a:pt x="7742" y="11844"/>
                    <a:pt x="7718" y="11843"/>
                    <a:pt x="7716" y="11843"/>
                  </a:cubicBezTo>
                  <a:cubicBezTo>
                    <a:pt x="7694" y="11854"/>
                    <a:pt x="7675" y="11817"/>
                    <a:pt x="7684" y="11856"/>
                  </a:cubicBezTo>
                  <a:cubicBezTo>
                    <a:pt x="7690" y="11878"/>
                    <a:pt x="7641" y="11870"/>
                    <a:pt x="7630" y="11866"/>
                  </a:cubicBezTo>
                  <a:cubicBezTo>
                    <a:pt x="7595" y="11853"/>
                    <a:pt x="7570" y="11815"/>
                    <a:pt x="7530" y="11805"/>
                  </a:cubicBezTo>
                  <a:cubicBezTo>
                    <a:pt x="7541" y="11819"/>
                    <a:pt x="7567" y="11841"/>
                    <a:pt x="7535" y="11845"/>
                  </a:cubicBezTo>
                  <a:cubicBezTo>
                    <a:pt x="7536" y="11851"/>
                    <a:pt x="7538" y="11856"/>
                    <a:pt x="7539" y="11862"/>
                  </a:cubicBezTo>
                  <a:cubicBezTo>
                    <a:pt x="7506" y="11828"/>
                    <a:pt x="7459" y="11825"/>
                    <a:pt x="7498" y="11872"/>
                  </a:cubicBezTo>
                  <a:cubicBezTo>
                    <a:pt x="7525" y="11904"/>
                    <a:pt x="7543" y="11930"/>
                    <a:pt x="7573" y="11952"/>
                  </a:cubicBezTo>
                  <a:cubicBezTo>
                    <a:pt x="7595" y="11968"/>
                    <a:pt x="7610" y="11961"/>
                    <a:pt x="7617" y="11987"/>
                  </a:cubicBezTo>
                  <a:cubicBezTo>
                    <a:pt x="7621" y="12001"/>
                    <a:pt x="7609" y="12040"/>
                    <a:pt x="7587" y="12031"/>
                  </a:cubicBezTo>
                  <a:cubicBezTo>
                    <a:pt x="7563" y="12021"/>
                    <a:pt x="7590" y="11994"/>
                    <a:pt x="7580" y="11982"/>
                  </a:cubicBezTo>
                  <a:cubicBezTo>
                    <a:pt x="7556" y="11955"/>
                    <a:pt x="7550" y="11983"/>
                    <a:pt x="7527" y="11990"/>
                  </a:cubicBezTo>
                  <a:cubicBezTo>
                    <a:pt x="7553" y="12032"/>
                    <a:pt x="7589" y="12073"/>
                    <a:pt x="7628" y="12107"/>
                  </a:cubicBezTo>
                  <a:cubicBezTo>
                    <a:pt x="7652" y="12128"/>
                    <a:pt x="7658" y="12151"/>
                    <a:pt x="7677" y="12172"/>
                  </a:cubicBezTo>
                  <a:cubicBezTo>
                    <a:pt x="7714" y="12213"/>
                    <a:pt x="7712" y="12198"/>
                    <a:pt x="7719" y="12165"/>
                  </a:cubicBezTo>
                  <a:cubicBezTo>
                    <a:pt x="7729" y="12121"/>
                    <a:pt x="7731" y="12131"/>
                    <a:pt x="7766" y="12117"/>
                  </a:cubicBezTo>
                  <a:cubicBezTo>
                    <a:pt x="7778" y="12113"/>
                    <a:pt x="7811" y="12102"/>
                    <a:pt x="7819" y="12097"/>
                  </a:cubicBezTo>
                  <a:cubicBezTo>
                    <a:pt x="7833" y="12089"/>
                    <a:pt x="7838" y="12072"/>
                    <a:pt x="7855" y="12074"/>
                  </a:cubicBezTo>
                  <a:cubicBezTo>
                    <a:pt x="7896" y="12078"/>
                    <a:pt x="7966" y="12221"/>
                    <a:pt x="7998" y="12127"/>
                  </a:cubicBezTo>
                  <a:cubicBezTo>
                    <a:pt x="8012" y="12146"/>
                    <a:pt x="8035" y="12179"/>
                    <a:pt x="8042" y="12202"/>
                  </a:cubicBezTo>
                  <a:cubicBezTo>
                    <a:pt x="8049" y="12222"/>
                    <a:pt x="8043" y="12223"/>
                    <a:pt x="8040" y="12242"/>
                  </a:cubicBezTo>
                  <a:cubicBezTo>
                    <a:pt x="8038" y="12249"/>
                    <a:pt x="8017" y="12260"/>
                    <a:pt x="8019" y="12268"/>
                  </a:cubicBezTo>
                  <a:cubicBezTo>
                    <a:pt x="8023" y="12282"/>
                    <a:pt x="8038" y="12264"/>
                    <a:pt x="8041" y="12268"/>
                  </a:cubicBezTo>
                  <a:cubicBezTo>
                    <a:pt x="8055" y="12289"/>
                    <a:pt x="8064" y="12279"/>
                    <a:pt x="8059" y="12299"/>
                  </a:cubicBezTo>
                  <a:cubicBezTo>
                    <a:pt x="8060" y="12295"/>
                    <a:pt x="8013" y="12330"/>
                    <a:pt x="8019" y="12328"/>
                  </a:cubicBezTo>
                  <a:cubicBezTo>
                    <a:pt x="8016" y="12329"/>
                    <a:pt x="8010" y="12304"/>
                    <a:pt x="7972" y="12334"/>
                  </a:cubicBezTo>
                  <a:cubicBezTo>
                    <a:pt x="7960" y="12344"/>
                    <a:pt x="7927" y="12360"/>
                    <a:pt x="7908" y="12357"/>
                  </a:cubicBezTo>
                  <a:cubicBezTo>
                    <a:pt x="7870" y="12352"/>
                    <a:pt x="7849" y="12313"/>
                    <a:pt x="7819" y="12300"/>
                  </a:cubicBezTo>
                  <a:cubicBezTo>
                    <a:pt x="7800" y="12291"/>
                    <a:pt x="7783" y="12294"/>
                    <a:pt x="7765" y="12283"/>
                  </a:cubicBezTo>
                  <a:cubicBezTo>
                    <a:pt x="7749" y="12274"/>
                    <a:pt x="7765" y="12250"/>
                    <a:pt x="7728" y="12254"/>
                  </a:cubicBezTo>
                  <a:cubicBezTo>
                    <a:pt x="7708" y="12257"/>
                    <a:pt x="7634" y="12131"/>
                    <a:pt x="7613" y="12112"/>
                  </a:cubicBezTo>
                  <a:cubicBezTo>
                    <a:pt x="7595" y="12096"/>
                    <a:pt x="7568" y="12065"/>
                    <a:pt x="7546" y="12053"/>
                  </a:cubicBezTo>
                  <a:cubicBezTo>
                    <a:pt x="7529" y="12045"/>
                    <a:pt x="7530" y="12033"/>
                    <a:pt x="7498" y="12048"/>
                  </a:cubicBezTo>
                  <a:cubicBezTo>
                    <a:pt x="7469" y="12062"/>
                    <a:pt x="7483" y="12059"/>
                    <a:pt x="7482" y="12085"/>
                  </a:cubicBezTo>
                  <a:cubicBezTo>
                    <a:pt x="7480" y="12115"/>
                    <a:pt x="7493" y="12132"/>
                    <a:pt x="7517" y="12153"/>
                  </a:cubicBezTo>
                  <a:cubicBezTo>
                    <a:pt x="7545" y="12178"/>
                    <a:pt x="7587" y="12180"/>
                    <a:pt x="7604" y="12208"/>
                  </a:cubicBezTo>
                  <a:cubicBezTo>
                    <a:pt x="7634" y="12254"/>
                    <a:pt x="7568" y="12239"/>
                    <a:pt x="7528" y="12244"/>
                  </a:cubicBezTo>
                  <a:cubicBezTo>
                    <a:pt x="7522" y="12245"/>
                    <a:pt x="7515" y="12228"/>
                    <a:pt x="7502" y="12232"/>
                  </a:cubicBezTo>
                  <a:cubicBezTo>
                    <a:pt x="7496" y="12234"/>
                    <a:pt x="7502" y="12248"/>
                    <a:pt x="7496" y="12251"/>
                  </a:cubicBezTo>
                  <a:cubicBezTo>
                    <a:pt x="7491" y="12253"/>
                    <a:pt x="7475" y="12271"/>
                    <a:pt x="7470" y="12275"/>
                  </a:cubicBezTo>
                  <a:cubicBezTo>
                    <a:pt x="7468" y="12276"/>
                    <a:pt x="7440" y="12273"/>
                    <a:pt x="7434" y="12276"/>
                  </a:cubicBezTo>
                  <a:cubicBezTo>
                    <a:pt x="7427" y="12278"/>
                    <a:pt x="7433" y="12300"/>
                    <a:pt x="7426" y="12301"/>
                  </a:cubicBezTo>
                  <a:cubicBezTo>
                    <a:pt x="7415" y="12304"/>
                    <a:pt x="7413" y="12292"/>
                    <a:pt x="7406" y="12294"/>
                  </a:cubicBezTo>
                  <a:cubicBezTo>
                    <a:pt x="7392" y="12297"/>
                    <a:pt x="7366" y="12295"/>
                    <a:pt x="7350" y="12298"/>
                  </a:cubicBezTo>
                  <a:cubicBezTo>
                    <a:pt x="7313" y="12305"/>
                    <a:pt x="7324" y="12290"/>
                    <a:pt x="7299" y="12279"/>
                  </a:cubicBezTo>
                  <a:cubicBezTo>
                    <a:pt x="7281" y="12272"/>
                    <a:pt x="7263" y="12266"/>
                    <a:pt x="7240" y="12259"/>
                  </a:cubicBezTo>
                  <a:cubicBezTo>
                    <a:pt x="7225" y="12256"/>
                    <a:pt x="7227" y="12247"/>
                    <a:pt x="7211" y="12243"/>
                  </a:cubicBezTo>
                  <a:cubicBezTo>
                    <a:pt x="7213" y="12243"/>
                    <a:pt x="7158" y="12237"/>
                    <a:pt x="7165" y="12237"/>
                  </a:cubicBezTo>
                  <a:cubicBezTo>
                    <a:pt x="7127" y="12237"/>
                    <a:pt x="7100" y="12244"/>
                    <a:pt x="7063" y="12238"/>
                  </a:cubicBezTo>
                  <a:cubicBezTo>
                    <a:pt x="7037" y="12235"/>
                    <a:pt x="7009" y="12220"/>
                    <a:pt x="6986" y="12218"/>
                  </a:cubicBezTo>
                  <a:cubicBezTo>
                    <a:pt x="6933" y="12212"/>
                    <a:pt x="6894" y="12240"/>
                    <a:pt x="6847" y="12251"/>
                  </a:cubicBezTo>
                  <a:cubicBezTo>
                    <a:pt x="6858" y="12218"/>
                    <a:pt x="6805" y="12216"/>
                    <a:pt x="6780" y="12237"/>
                  </a:cubicBezTo>
                  <a:cubicBezTo>
                    <a:pt x="6737" y="12273"/>
                    <a:pt x="6746" y="12219"/>
                    <a:pt x="6737" y="12273"/>
                  </a:cubicBezTo>
                  <a:cubicBezTo>
                    <a:pt x="6732" y="12309"/>
                    <a:pt x="6661" y="12280"/>
                    <a:pt x="6659" y="12281"/>
                  </a:cubicBezTo>
                  <a:cubicBezTo>
                    <a:pt x="6637" y="12285"/>
                    <a:pt x="6630" y="12274"/>
                    <a:pt x="6616" y="12280"/>
                  </a:cubicBezTo>
                  <a:cubicBezTo>
                    <a:pt x="6613" y="12281"/>
                    <a:pt x="6621" y="12301"/>
                    <a:pt x="6615" y="12304"/>
                  </a:cubicBezTo>
                  <a:cubicBezTo>
                    <a:pt x="6604" y="12308"/>
                    <a:pt x="6593" y="12306"/>
                    <a:pt x="6582" y="12311"/>
                  </a:cubicBezTo>
                  <a:cubicBezTo>
                    <a:pt x="6572" y="12315"/>
                    <a:pt x="6562" y="12301"/>
                    <a:pt x="6554" y="12304"/>
                  </a:cubicBezTo>
                  <a:cubicBezTo>
                    <a:pt x="6547" y="12305"/>
                    <a:pt x="6545" y="12316"/>
                    <a:pt x="6541" y="12317"/>
                  </a:cubicBezTo>
                  <a:cubicBezTo>
                    <a:pt x="6510" y="12323"/>
                    <a:pt x="6527" y="12332"/>
                    <a:pt x="6487" y="12329"/>
                  </a:cubicBezTo>
                  <a:cubicBezTo>
                    <a:pt x="6443" y="12326"/>
                    <a:pt x="6430" y="12310"/>
                    <a:pt x="6405" y="12292"/>
                  </a:cubicBezTo>
                  <a:cubicBezTo>
                    <a:pt x="6397" y="12287"/>
                    <a:pt x="6381" y="12272"/>
                    <a:pt x="6372" y="12267"/>
                  </a:cubicBezTo>
                  <a:cubicBezTo>
                    <a:pt x="6357" y="12260"/>
                    <a:pt x="6354" y="12289"/>
                    <a:pt x="6338" y="12293"/>
                  </a:cubicBezTo>
                  <a:cubicBezTo>
                    <a:pt x="6316" y="12298"/>
                    <a:pt x="6322" y="12274"/>
                    <a:pt x="6295" y="12288"/>
                  </a:cubicBezTo>
                  <a:cubicBezTo>
                    <a:pt x="6279" y="12296"/>
                    <a:pt x="6274" y="12313"/>
                    <a:pt x="6275" y="12327"/>
                  </a:cubicBezTo>
                  <a:cubicBezTo>
                    <a:pt x="6261" y="12310"/>
                    <a:pt x="6228" y="12277"/>
                    <a:pt x="6197" y="12264"/>
                  </a:cubicBezTo>
                  <a:cubicBezTo>
                    <a:pt x="6157" y="12248"/>
                    <a:pt x="6105" y="12255"/>
                    <a:pt x="6070" y="12230"/>
                  </a:cubicBezTo>
                  <a:cubicBezTo>
                    <a:pt x="6058" y="12221"/>
                    <a:pt x="6054" y="12204"/>
                    <a:pt x="6043" y="12195"/>
                  </a:cubicBezTo>
                  <a:cubicBezTo>
                    <a:pt x="6024" y="12177"/>
                    <a:pt x="6017" y="12180"/>
                    <a:pt x="5992" y="12166"/>
                  </a:cubicBezTo>
                  <a:cubicBezTo>
                    <a:pt x="5964" y="12150"/>
                    <a:pt x="5935" y="12136"/>
                    <a:pt x="5911" y="12114"/>
                  </a:cubicBezTo>
                  <a:cubicBezTo>
                    <a:pt x="5878" y="12085"/>
                    <a:pt x="5900" y="12078"/>
                    <a:pt x="5895" y="12041"/>
                  </a:cubicBezTo>
                  <a:cubicBezTo>
                    <a:pt x="5890" y="11997"/>
                    <a:pt x="5856" y="11987"/>
                    <a:pt x="5827" y="12030"/>
                  </a:cubicBezTo>
                  <a:cubicBezTo>
                    <a:pt x="5814" y="12051"/>
                    <a:pt x="5829" y="12056"/>
                    <a:pt x="5802" y="12071"/>
                  </a:cubicBezTo>
                  <a:cubicBezTo>
                    <a:pt x="5799" y="12073"/>
                    <a:pt x="5776" y="12066"/>
                    <a:pt x="5768" y="12068"/>
                  </a:cubicBezTo>
                  <a:cubicBezTo>
                    <a:pt x="5749" y="12073"/>
                    <a:pt x="5737" y="12088"/>
                    <a:pt x="5717" y="12092"/>
                  </a:cubicBezTo>
                  <a:cubicBezTo>
                    <a:pt x="5668" y="12105"/>
                    <a:pt x="5593" y="12088"/>
                    <a:pt x="5544" y="12081"/>
                  </a:cubicBezTo>
                  <a:cubicBezTo>
                    <a:pt x="5529" y="12079"/>
                    <a:pt x="5512" y="12086"/>
                    <a:pt x="5498" y="12080"/>
                  </a:cubicBezTo>
                  <a:cubicBezTo>
                    <a:pt x="5487" y="12076"/>
                    <a:pt x="5503" y="12064"/>
                    <a:pt x="5498" y="12060"/>
                  </a:cubicBezTo>
                  <a:cubicBezTo>
                    <a:pt x="5482" y="12047"/>
                    <a:pt x="5478" y="12043"/>
                    <a:pt x="5466" y="12030"/>
                  </a:cubicBezTo>
                  <a:cubicBezTo>
                    <a:pt x="5462" y="12026"/>
                    <a:pt x="5444" y="11999"/>
                    <a:pt x="5444" y="11997"/>
                  </a:cubicBezTo>
                  <a:cubicBezTo>
                    <a:pt x="5444" y="11982"/>
                    <a:pt x="5475" y="11964"/>
                    <a:pt x="5469" y="11948"/>
                  </a:cubicBezTo>
                  <a:cubicBezTo>
                    <a:pt x="5463" y="11931"/>
                    <a:pt x="5449" y="11925"/>
                    <a:pt x="5423" y="11928"/>
                  </a:cubicBezTo>
                  <a:cubicBezTo>
                    <a:pt x="5426" y="11928"/>
                    <a:pt x="5353" y="11935"/>
                    <a:pt x="5368" y="11940"/>
                  </a:cubicBezTo>
                  <a:cubicBezTo>
                    <a:pt x="5321" y="11924"/>
                    <a:pt x="5407" y="11909"/>
                    <a:pt x="5389" y="11877"/>
                  </a:cubicBezTo>
                  <a:cubicBezTo>
                    <a:pt x="5378" y="11858"/>
                    <a:pt x="5358" y="11863"/>
                    <a:pt x="5337" y="11876"/>
                  </a:cubicBezTo>
                  <a:cubicBezTo>
                    <a:pt x="5299" y="11897"/>
                    <a:pt x="5332" y="11883"/>
                    <a:pt x="5325" y="11910"/>
                  </a:cubicBezTo>
                  <a:cubicBezTo>
                    <a:pt x="5321" y="11927"/>
                    <a:pt x="5254" y="11876"/>
                    <a:pt x="5243" y="11864"/>
                  </a:cubicBezTo>
                  <a:cubicBezTo>
                    <a:pt x="5233" y="11854"/>
                    <a:pt x="5229" y="11834"/>
                    <a:pt x="5222" y="11827"/>
                  </a:cubicBezTo>
                  <a:cubicBezTo>
                    <a:pt x="5214" y="11819"/>
                    <a:pt x="5217" y="11820"/>
                    <a:pt x="5203" y="11811"/>
                  </a:cubicBezTo>
                  <a:cubicBezTo>
                    <a:pt x="5194" y="11805"/>
                    <a:pt x="5172" y="11815"/>
                    <a:pt x="5164" y="11809"/>
                  </a:cubicBezTo>
                  <a:cubicBezTo>
                    <a:pt x="5134" y="11786"/>
                    <a:pt x="5201" y="11743"/>
                    <a:pt x="5231" y="11763"/>
                  </a:cubicBezTo>
                  <a:cubicBezTo>
                    <a:pt x="5239" y="11745"/>
                    <a:pt x="5205" y="11716"/>
                    <a:pt x="5195" y="11692"/>
                  </a:cubicBezTo>
                  <a:cubicBezTo>
                    <a:pt x="5190" y="11680"/>
                    <a:pt x="5178" y="11665"/>
                    <a:pt x="5176" y="11654"/>
                  </a:cubicBezTo>
                  <a:cubicBezTo>
                    <a:pt x="5173" y="11634"/>
                    <a:pt x="5185" y="11628"/>
                    <a:pt x="5186" y="11614"/>
                  </a:cubicBezTo>
                  <a:cubicBezTo>
                    <a:pt x="5189" y="11568"/>
                    <a:pt x="5125" y="11497"/>
                    <a:pt x="5073" y="11474"/>
                  </a:cubicBezTo>
                  <a:cubicBezTo>
                    <a:pt x="5055" y="11466"/>
                    <a:pt x="4973" y="11428"/>
                    <a:pt x="4953" y="11432"/>
                  </a:cubicBezTo>
                  <a:cubicBezTo>
                    <a:pt x="4949" y="11432"/>
                    <a:pt x="4923" y="11458"/>
                    <a:pt x="4913" y="11463"/>
                  </a:cubicBezTo>
                  <a:cubicBezTo>
                    <a:pt x="4897" y="11471"/>
                    <a:pt x="4878" y="11475"/>
                    <a:pt x="4860" y="11481"/>
                  </a:cubicBezTo>
                  <a:cubicBezTo>
                    <a:pt x="4786" y="11509"/>
                    <a:pt x="4701" y="11519"/>
                    <a:pt x="4627" y="11552"/>
                  </a:cubicBezTo>
                  <a:cubicBezTo>
                    <a:pt x="4534" y="11592"/>
                    <a:pt x="4423" y="11599"/>
                    <a:pt x="4313" y="11610"/>
                  </a:cubicBezTo>
                  <a:cubicBezTo>
                    <a:pt x="4240" y="11618"/>
                    <a:pt x="4221" y="11623"/>
                    <a:pt x="4187" y="11669"/>
                  </a:cubicBezTo>
                  <a:cubicBezTo>
                    <a:pt x="4168" y="11695"/>
                    <a:pt x="4154" y="11726"/>
                    <a:pt x="4131" y="11750"/>
                  </a:cubicBezTo>
                  <a:cubicBezTo>
                    <a:pt x="4109" y="11772"/>
                    <a:pt x="4082" y="11787"/>
                    <a:pt x="4063" y="11809"/>
                  </a:cubicBezTo>
                  <a:cubicBezTo>
                    <a:pt x="4053" y="11820"/>
                    <a:pt x="4019" y="11879"/>
                    <a:pt x="4076" y="11866"/>
                  </a:cubicBezTo>
                  <a:cubicBezTo>
                    <a:pt x="4101" y="11860"/>
                    <a:pt x="4155" y="11820"/>
                    <a:pt x="4172" y="11830"/>
                  </a:cubicBezTo>
                  <a:cubicBezTo>
                    <a:pt x="4206" y="11851"/>
                    <a:pt x="4134" y="11889"/>
                    <a:pt x="4171" y="11909"/>
                  </a:cubicBezTo>
                  <a:cubicBezTo>
                    <a:pt x="4174" y="11898"/>
                    <a:pt x="4184" y="11892"/>
                    <a:pt x="4189" y="11883"/>
                  </a:cubicBezTo>
                  <a:cubicBezTo>
                    <a:pt x="4203" y="11901"/>
                    <a:pt x="4199" y="11929"/>
                    <a:pt x="4177" y="11944"/>
                  </a:cubicBezTo>
                  <a:cubicBezTo>
                    <a:pt x="4153" y="11913"/>
                    <a:pt x="4149" y="11956"/>
                    <a:pt x="4184" y="11960"/>
                  </a:cubicBezTo>
                  <a:cubicBezTo>
                    <a:pt x="4203" y="11963"/>
                    <a:pt x="4236" y="11931"/>
                    <a:pt x="4254" y="11928"/>
                  </a:cubicBezTo>
                  <a:cubicBezTo>
                    <a:pt x="4284" y="11923"/>
                    <a:pt x="4309" y="11943"/>
                    <a:pt x="4336" y="11943"/>
                  </a:cubicBezTo>
                  <a:cubicBezTo>
                    <a:pt x="4354" y="11943"/>
                    <a:pt x="4367" y="11928"/>
                    <a:pt x="4385" y="11928"/>
                  </a:cubicBezTo>
                  <a:cubicBezTo>
                    <a:pt x="4404" y="11927"/>
                    <a:pt x="4422" y="11940"/>
                    <a:pt x="4441" y="11939"/>
                  </a:cubicBezTo>
                  <a:cubicBezTo>
                    <a:pt x="4413" y="11911"/>
                    <a:pt x="4358" y="11892"/>
                    <a:pt x="4358" y="11857"/>
                  </a:cubicBezTo>
                  <a:cubicBezTo>
                    <a:pt x="4357" y="11805"/>
                    <a:pt x="4442" y="11817"/>
                    <a:pt x="4481" y="11826"/>
                  </a:cubicBezTo>
                  <a:cubicBezTo>
                    <a:pt x="4499" y="11830"/>
                    <a:pt x="4531" y="11843"/>
                    <a:pt x="4550" y="11851"/>
                  </a:cubicBezTo>
                  <a:cubicBezTo>
                    <a:pt x="4589" y="11867"/>
                    <a:pt x="4570" y="11885"/>
                    <a:pt x="4611" y="11862"/>
                  </a:cubicBezTo>
                  <a:cubicBezTo>
                    <a:pt x="4629" y="11852"/>
                    <a:pt x="4642" y="11827"/>
                    <a:pt x="4662" y="11819"/>
                  </a:cubicBezTo>
                  <a:cubicBezTo>
                    <a:pt x="4696" y="11806"/>
                    <a:pt x="4738" y="11826"/>
                    <a:pt x="4734" y="11789"/>
                  </a:cubicBezTo>
                  <a:cubicBezTo>
                    <a:pt x="4744" y="11795"/>
                    <a:pt x="4746" y="11806"/>
                    <a:pt x="4755" y="11813"/>
                  </a:cubicBezTo>
                  <a:cubicBezTo>
                    <a:pt x="4755" y="11813"/>
                    <a:pt x="4778" y="11834"/>
                    <a:pt x="4778" y="11834"/>
                  </a:cubicBezTo>
                  <a:cubicBezTo>
                    <a:pt x="4784" y="11841"/>
                    <a:pt x="4784" y="11859"/>
                    <a:pt x="4794" y="11863"/>
                  </a:cubicBezTo>
                  <a:cubicBezTo>
                    <a:pt x="4828" y="11877"/>
                    <a:pt x="4801" y="11865"/>
                    <a:pt x="4810" y="11856"/>
                  </a:cubicBezTo>
                  <a:cubicBezTo>
                    <a:pt x="4812" y="11853"/>
                    <a:pt x="4837" y="11802"/>
                    <a:pt x="4835" y="11796"/>
                  </a:cubicBezTo>
                  <a:cubicBezTo>
                    <a:pt x="4832" y="11785"/>
                    <a:pt x="4805" y="11789"/>
                    <a:pt x="4799" y="11777"/>
                  </a:cubicBezTo>
                  <a:cubicBezTo>
                    <a:pt x="4792" y="11764"/>
                    <a:pt x="4802" y="11739"/>
                    <a:pt x="4817" y="11761"/>
                  </a:cubicBezTo>
                  <a:cubicBezTo>
                    <a:pt x="4825" y="11774"/>
                    <a:pt x="4825" y="11724"/>
                    <a:pt x="4833" y="11716"/>
                  </a:cubicBezTo>
                  <a:cubicBezTo>
                    <a:pt x="4857" y="11693"/>
                    <a:pt x="4929" y="11690"/>
                    <a:pt x="4962" y="11677"/>
                  </a:cubicBezTo>
                  <a:cubicBezTo>
                    <a:pt x="5027" y="11652"/>
                    <a:pt x="5055" y="11651"/>
                    <a:pt x="5129" y="11648"/>
                  </a:cubicBezTo>
                  <a:cubicBezTo>
                    <a:pt x="5121" y="11656"/>
                    <a:pt x="5090" y="11691"/>
                    <a:pt x="5089" y="11701"/>
                  </a:cubicBezTo>
                  <a:cubicBezTo>
                    <a:pt x="5086" y="11725"/>
                    <a:pt x="5106" y="11732"/>
                    <a:pt x="5107" y="11755"/>
                  </a:cubicBezTo>
                  <a:cubicBezTo>
                    <a:pt x="5107" y="11774"/>
                    <a:pt x="5084" y="11817"/>
                    <a:pt x="5066" y="11784"/>
                  </a:cubicBezTo>
                  <a:cubicBezTo>
                    <a:pt x="5058" y="11769"/>
                    <a:pt x="4986" y="11814"/>
                    <a:pt x="4970" y="11817"/>
                  </a:cubicBezTo>
                  <a:cubicBezTo>
                    <a:pt x="4939" y="11823"/>
                    <a:pt x="4927" y="11809"/>
                    <a:pt x="4897" y="11825"/>
                  </a:cubicBezTo>
                  <a:cubicBezTo>
                    <a:pt x="4882" y="11832"/>
                    <a:pt x="4865" y="11832"/>
                    <a:pt x="4850" y="11838"/>
                  </a:cubicBezTo>
                  <a:cubicBezTo>
                    <a:pt x="4824" y="11847"/>
                    <a:pt x="4854" y="11855"/>
                    <a:pt x="4851" y="11863"/>
                  </a:cubicBezTo>
                  <a:cubicBezTo>
                    <a:pt x="4843" y="11881"/>
                    <a:pt x="4822" y="11909"/>
                    <a:pt x="4827" y="11927"/>
                  </a:cubicBezTo>
                  <a:cubicBezTo>
                    <a:pt x="4833" y="11945"/>
                    <a:pt x="4897" y="11946"/>
                    <a:pt x="4836" y="11968"/>
                  </a:cubicBezTo>
                  <a:cubicBezTo>
                    <a:pt x="4834" y="11952"/>
                    <a:pt x="4819" y="11926"/>
                    <a:pt x="4799" y="11918"/>
                  </a:cubicBezTo>
                  <a:cubicBezTo>
                    <a:pt x="4755" y="11899"/>
                    <a:pt x="4789" y="11932"/>
                    <a:pt x="4764" y="11954"/>
                  </a:cubicBezTo>
                  <a:cubicBezTo>
                    <a:pt x="4757" y="11943"/>
                    <a:pt x="4731" y="11907"/>
                    <a:pt x="4715" y="11928"/>
                  </a:cubicBezTo>
                  <a:cubicBezTo>
                    <a:pt x="4710" y="11936"/>
                    <a:pt x="4736" y="11964"/>
                    <a:pt x="4731" y="11978"/>
                  </a:cubicBezTo>
                  <a:cubicBezTo>
                    <a:pt x="4716" y="12020"/>
                    <a:pt x="4683" y="11973"/>
                    <a:pt x="4658" y="11999"/>
                  </a:cubicBezTo>
                  <a:cubicBezTo>
                    <a:pt x="4625" y="12034"/>
                    <a:pt x="4591" y="11980"/>
                    <a:pt x="4592" y="11980"/>
                  </a:cubicBezTo>
                  <a:cubicBezTo>
                    <a:pt x="4577" y="11981"/>
                    <a:pt x="4548" y="12012"/>
                    <a:pt x="4533" y="12019"/>
                  </a:cubicBezTo>
                  <a:cubicBezTo>
                    <a:pt x="4497" y="12037"/>
                    <a:pt x="4474" y="12019"/>
                    <a:pt x="4434" y="12020"/>
                  </a:cubicBezTo>
                  <a:cubicBezTo>
                    <a:pt x="4393" y="12022"/>
                    <a:pt x="4396" y="12051"/>
                    <a:pt x="4365" y="12059"/>
                  </a:cubicBezTo>
                  <a:cubicBezTo>
                    <a:pt x="4345" y="12064"/>
                    <a:pt x="4359" y="12034"/>
                    <a:pt x="4381" y="12031"/>
                  </a:cubicBezTo>
                  <a:cubicBezTo>
                    <a:pt x="4378" y="12029"/>
                    <a:pt x="4369" y="12024"/>
                    <a:pt x="4366" y="12023"/>
                  </a:cubicBezTo>
                  <a:cubicBezTo>
                    <a:pt x="4442" y="12011"/>
                    <a:pt x="4358" y="11978"/>
                    <a:pt x="4342" y="11986"/>
                  </a:cubicBezTo>
                  <a:cubicBezTo>
                    <a:pt x="4323" y="11996"/>
                    <a:pt x="4329" y="12053"/>
                    <a:pt x="4333" y="12059"/>
                  </a:cubicBezTo>
                  <a:cubicBezTo>
                    <a:pt x="4352" y="12087"/>
                    <a:pt x="4413" y="12074"/>
                    <a:pt x="4398" y="12113"/>
                  </a:cubicBezTo>
                  <a:cubicBezTo>
                    <a:pt x="4389" y="12137"/>
                    <a:pt x="4329" y="12138"/>
                    <a:pt x="4309" y="12154"/>
                  </a:cubicBezTo>
                  <a:cubicBezTo>
                    <a:pt x="4295" y="12163"/>
                    <a:pt x="4283" y="12184"/>
                    <a:pt x="4277" y="12199"/>
                  </a:cubicBezTo>
                  <a:cubicBezTo>
                    <a:pt x="4250" y="12267"/>
                    <a:pt x="4305" y="12285"/>
                    <a:pt x="4348" y="12338"/>
                  </a:cubicBezTo>
                  <a:cubicBezTo>
                    <a:pt x="4359" y="12352"/>
                    <a:pt x="4397" y="12392"/>
                    <a:pt x="4399" y="12406"/>
                  </a:cubicBezTo>
                  <a:cubicBezTo>
                    <a:pt x="4403" y="12428"/>
                    <a:pt x="4375" y="12477"/>
                    <a:pt x="4347" y="12456"/>
                  </a:cubicBezTo>
                  <a:cubicBezTo>
                    <a:pt x="4349" y="12491"/>
                    <a:pt x="4381" y="12540"/>
                    <a:pt x="4392" y="12577"/>
                  </a:cubicBezTo>
                  <a:cubicBezTo>
                    <a:pt x="4398" y="12599"/>
                    <a:pt x="4403" y="12618"/>
                    <a:pt x="4423" y="12636"/>
                  </a:cubicBezTo>
                  <a:cubicBezTo>
                    <a:pt x="4433" y="12646"/>
                    <a:pt x="4502" y="12669"/>
                    <a:pt x="4502" y="12669"/>
                  </a:cubicBezTo>
                  <a:cubicBezTo>
                    <a:pt x="4515" y="12694"/>
                    <a:pt x="4443" y="12698"/>
                    <a:pt x="4435" y="12716"/>
                  </a:cubicBezTo>
                  <a:cubicBezTo>
                    <a:pt x="4429" y="12730"/>
                    <a:pt x="4459" y="12748"/>
                    <a:pt x="4471" y="12761"/>
                  </a:cubicBezTo>
                  <a:cubicBezTo>
                    <a:pt x="4502" y="12797"/>
                    <a:pt x="4518" y="12843"/>
                    <a:pt x="4520" y="12880"/>
                  </a:cubicBezTo>
                  <a:cubicBezTo>
                    <a:pt x="4487" y="12857"/>
                    <a:pt x="4480" y="12800"/>
                    <a:pt x="4435" y="12778"/>
                  </a:cubicBezTo>
                  <a:cubicBezTo>
                    <a:pt x="4393" y="12759"/>
                    <a:pt x="4430" y="12807"/>
                    <a:pt x="4417" y="12819"/>
                  </a:cubicBezTo>
                  <a:cubicBezTo>
                    <a:pt x="4383" y="12850"/>
                    <a:pt x="4413" y="12846"/>
                    <a:pt x="4405" y="12883"/>
                  </a:cubicBezTo>
                  <a:cubicBezTo>
                    <a:pt x="4395" y="12877"/>
                    <a:pt x="4367" y="12871"/>
                    <a:pt x="4360" y="12862"/>
                  </a:cubicBezTo>
                  <a:cubicBezTo>
                    <a:pt x="4349" y="12848"/>
                    <a:pt x="4385" y="12842"/>
                    <a:pt x="4359" y="12824"/>
                  </a:cubicBezTo>
                  <a:cubicBezTo>
                    <a:pt x="4355" y="12827"/>
                    <a:pt x="4355" y="12830"/>
                    <a:pt x="4351" y="12832"/>
                  </a:cubicBezTo>
                  <a:cubicBezTo>
                    <a:pt x="4341" y="12823"/>
                    <a:pt x="4331" y="12810"/>
                    <a:pt x="4329" y="12798"/>
                  </a:cubicBezTo>
                  <a:cubicBezTo>
                    <a:pt x="4322" y="12754"/>
                    <a:pt x="4343" y="12798"/>
                    <a:pt x="4353" y="12798"/>
                  </a:cubicBezTo>
                  <a:cubicBezTo>
                    <a:pt x="4395" y="12798"/>
                    <a:pt x="4401" y="12783"/>
                    <a:pt x="4388" y="12745"/>
                  </a:cubicBezTo>
                  <a:cubicBezTo>
                    <a:pt x="4384" y="12735"/>
                    <a:pt x="4375" y="12715"/>
                    <a:pt x="4363" y="12709"/>
                  </a:cubicBezTo>
                  <a:cubicBezTo>
                    <a:pt x="4325" y="12688"/>
                    <a:pt x="4350" y="12714"/>
                    <a:pt x="4346" y="12729"/>
                  </a:cubicBezTo>
                  <a:cubicBezTo>
                    <a:pt x="4336" y="12776"/>
                    <a:pt x="4355" y="12765"/>
                    <a:pt x="4299" y="12743"/>
                  </a:cubicBezTo>
                  <a:cubicBezTo>
                    <a:pt x="4293" y="12769"/>
                    <a:pt x="4327" y="12938"/>
                    <a:pt x="4270" y="12909"/>
                  </a:cubicBezTo>
                  <a:cubicBezTo>
                    <a:pt x="4278" y="12934"/>
                    <a:pt x="4312" y="12954"/>
                    <a:pt x="4325" y="12980"/>
                  </a:cubicBezTo>
                  <a:cubicBezTo>
                    <a:pt x="4339" y="13009"/>
                    <a:pt x="4356" y="13030"/>
                    <a:pt x="4372" y="13056"/>
                  </a:cubicBezTo>
                  <a:cubicBezTo>
                    <a:pt x="4389" y="13083"/>
                    <a:pt x="4397" y="13105"/>
                    <a:pt x="4419" y="13132"/>
                  </a:cubicBezTo>
                  <a:cubicBezTo>
                    <a:pt x="4432" y="13147"/>
                    <a:pt x="4473" y="13219"/>
                    <a:pt x="4425" y="13188"/>
                  </a:cubicBezTo>
                  <a:cubicBezTo>
                    <a:pt x="4412" y="13180"/>
                    <a:pt x="4414" y="13160"/>
                    <a:pt x="4407" y="13151"/>
                  </a:cubicBezTo>
                  <a:cubicBezTo>
                    <a:pt x="4396" y="13137"/>
                    <a:pt x="4381" y="13130"/>
                    <a:pt x="4372" y="13114"/>
                  </a:cubicBezTo>
                  <a:cubicBezTo>
                    <a:pt x="4365" y="13103"/>
                    <a:pt x="4372" y="13085"/>
                    <a:pt x="4362" y="13074"/>
                  </a:cubicBezTo>
                  <a:cubicBezTo>
                    <a:pt x="4344" y="13053"/>
                    <a:pt x="4346" y="13078"/>
                    <a:pt x="4325" y="13060"/>
                  </a:cubicBezTo>
                  <a:cubicBezTo>
                    <a:pt x="4302" y="13040"/>
                    <a:pt x="4279" y="12910"/>
                    <a:pt x="4243" y="12911"/>
                  </a:cubicBezTo>
                  <a:cubicBezTo>
                    <a:pt x="4242" y="12911"/>
                    <a:pt x="4240" y="12911"/>
                    <a:pt x="4239" y="12911"/>
                  </a:cubicBezTo>
                  <a:cubicBezTo>
                    <a:pt x="4249" y="12930"/>
                    <a:pt x="4239" y="12951"/>
                    <a:pt x="4232" y="12971"/>
                  </a:cubicBezTo>
                  <a:cubicBezTo>
                    <a:pt x="4212" y="12938"/>
                    <a:pt x="4231" y="12903"/>
                    <a:pt x="4212" y="12873"/>
                  </a:cubicBezTo>
                  <a:cubicBezTo>
                    <a:pt x="4193" y="12844"/>
                    <a:pt x="4186" y="12857"/>
                    <a:pt x="4140" y="12850"/>
                  </a:cubicBezTo>
                  <a:cubicBezTo>
                    <a:pt x="4088" y="12841"/>
                    <a:pt x="4159" y="12833"/>
                    <a:pt x="4161" y="12830"/>
                  </a:cubicBezTo>
                  <a:cubicBezTo>
                    <a:pt x="4193" y="12780"/>
                    <a:pt x="4145" y="12770"/>
                    <a:pt x="4111" y="12745"/>
                  </a:cubicBezTo>
                  <a:cubicBezTo>
                    <a:pt x="4089" y="12730"/>
                    <a:pt x="4054" y="12656"/>
                    <a:pt x="4035" y="12700"/>
                  </a:cubicBezTo>
                  <a:cubicBezTo>
                    <a:pt x="4018" y="12678"/>
                    <a:pt x="4021" y="12644"/>
                    <a:pt x="4014" y="12619"/>
                  </a:cubicBezTo>
                  <a:cubicBezTo>
                    <a:pt x="4040" y="12634"/>
                    <a:pt x="4060" y="12665"/>
                    <a:pt x="4086" y="12684"/>
                  </a:cubicBezTo>
                  <a:cubicBezTo>
                    <a:pt x="4100" y="12695"/>
                    <a:pt x="4113" y="12706"/>
                    <a:pt x="4130" y="12715"/>
                  </a:cubicBezTo>
                  <a:cubicBezTo>
                    <a:pt x="4156" y="12728"/>
                    <a:pt x="4150" y="12688"/>
                    <a:pt x="4176" y="12684"/>
                  </a:cubicBezTo>
                  <a:cubicBezTo>
                    <a:pt x="4193" y="12682"/>
                    <a:pt x="4208" y="12686"/>
                    <a:pt x="4223" y="12688"/>
                  </a:cubicBezTo>
                  <a:cubicBezTo>
                    <a:pt x="4257" y="12692"/>
                    <a:pt x="4242" y="12715"/>
                    <a:pt x="4262" y="12691"/>
                  </a:cubicBezTo>
                  <a:cubicBezTo>
                    <a:pt x="4278" y="12672"/>
                    <a:pt x="4263" y="12627"/>
                    <a:pt x="4257" y="12605"/>
                  </a:cubicBezTo>
                  <a:cubicBezTo>
                    <a:pt x="4241" y="12542"/>
                    <a:pt x="4198" y="12519"/>
                    <a:pt x="4153" y="12468"/>
                  </a:cubicBezTo>
                  <a:cubicBezTo>
                    <a:pt x="4143" y="12456"/>
                    <a:pt x="4139" y="12438"/>
                    <a:pt x="4124" y="12429"/>
                  </a:cubicBezTo>
                  <a:cubicBezTo>
                    <a:pt x="4091" y="12410"/>
                    <a:pt x="4098" y="12453"/>
                    <a:pt x="4091" y="12460"/>
                  </a:cubicBezTo>
                  <a:cubicBezTo>
                    <a:pt x="4057" y="12498"/>
                    <a:pt x="4065" y="12457"/>
                    <a:pt x="4066" y="12422"/>
                  </a:cubicBezTo>
                  <a:cubicBezTo>
                    <a:pt x="4067" y="12398"/>
                    <a:pt x="4066" y="12252"/>
                    <a:pt x="4006" y="12305"/>
                  </a:cubicBezTo>
                  <a:cubicBezTo>
                    <a:pt x="3990" y="12319"/>
                    <a:pt x="3998" y="12371"/>
                    <a:pt x="3995" y="12389"/>
                  </a:cubicBezTo>
                  <a:cubicBezTo>
                    <a:pt x="3988" y="12418"/>
                    <a:pt x="3982" y="12454"/>
                    <a:pt x="3954" y="12475"/>
                  </a:cubicBezTo>
                  <a:cubicBezTo>
                    <a:pt x="3952" y="12440"/>
                    <a:pt x="3897" y="12428"/>
                    <a:pt x="3896" y="12398"/>
                  </a:cubicBezTo>
                  <a:cubicBezTo>
                    <a:pt x="3895" y="12373"/>
                    <a:pt x="3915" y="12377"/>
                    <a:pt x="3921" y="12362"/>
                  </a:cubicBezTo>
                  <a:cubicBezTo>
                    <a:pt x="3930" y="12341"/>
                    <a:pt x="3922" y="12342"/>
                    <a:pt x="3920" y="12319"/>
                  </a:cubicBezTo>
                  <a:cubicBezTo>
                    <a:pt x="3918" y="12290"/>
                    <a:pt x="3927" y="12255"/>
                    <a:pt x="3903" y="12230"/>
                  </a:cubicBezTo>
                  <a:cubicBezTo>
                    <a:pt x="3874" y="12199"/>
                    <a:pt x="3791" y="12224"/>
                    <a:pt x="3784" y="12179"/>
                  </a:cubicBezTo>
                  <a:cubicBezTo>
                    <a:pt x="3747" y="12192"/>
                    <a:pt x="3753" y="12220"/>
                    <a:pt x="3716" y="12219"/>
                  </a:cubicBezTo>
                  <a:cubicBezTo>
                    <a:pt x="3708" y="12219"/>
                    <a:pt x="3680" y="12204"/>
                    <a:pt x="3677" y="12199"/>
                  </a:cubicBezTo>
                  <a:cubicBezTo>
                    <a:pt x="3675" y="12196"/>
                    <a:pt x="3705" y="12192"/>
                    <a:pt x="3704" y="12190"/>
                  </a:cubicBezTo>
                  <a:cubicBezTo>
                    <a:pt x="3707" y="12196"/>
                    <a:pt x="3698" y="12170"/>
                    <a:pt x="3697" y="12177"/>
                  </a:cubicBezTo>
                  <a:cubicBezTo>
                    <a:pt x="3695" y="12184"/>
                    <a:pt x="3674" y="12149"/>
                    <a:pt x="3676" y="12152"/>
                  </a:cubicBezTo>
                  <a:cubicBezTo>
                    <a:pt x="3680" y="12158"/>
                    <a:pt x="3678" y="12132"/>
                    <a:pt x="3676" y="12128"/>
                  </a:cubicBezTo>
                  <a:cubicBezTo>
                    <a:pt x="3668" y="12106"/>
                    <a:pt x="3645" y="12082"/>
                    <a:pt x="3613" y="12083"/>
                  </a:cubicBezTo>
                  <a:cubicBezTo>
                    <a:pt x="3622" y="12111"/>
                    <a:pt x="3598" y="12120"/>
                    <a:pt x="3593" y="12089"/>
                  </a:cubicBezTo>
                  <a:cubicBezTo>
                    <a:pt x="3589" y="12068"/>
                    <a:pt x="3621" y="12047"/>
                    <a:pt x="3612" y="12023"/>
                  </a:cubicBezTo>
                  <a:cubicBezTo>
                    <a:pt x="3605" y="12007"/>
                    <a:pt x="3574" y="11982"/>
                    <a:pt x="3550" y="11991"/>
                  </a:cubicBezTo>
                  <a:cubicBezTo>
                    <a:pt x="3527" y="12000"/>
                    <a:pt x="3539" y="12037"/>
                    <a:pt x="3541" y="12048"/>
                  </a:cubicBezTo>
                  <a:cubicBezTo>
                    <a:pt x="3515" y="11986"/>
                    <a:pt x="3417" y="12038"/>
                    <a:pt x="3372" y="12057"/>
                  </a:cubicBezTo>
                  <a:cubicBezTo>
                    <a:pt x="3341" y="12070"/>
                    <a:pt x="3328" y="12087"/>
                    <a:pt x="3302" y="12103"/>
                  </a:cubicBezTo>
                  <a:cubicBezTo>
                    <a:pt x="3254" y="12130"/>
                    <a:pt x="3210" y="12107"/>
                    <a:pt x="3167" y="12124"/>
                  </a:cubicBezTo>
                  <a:cubicBezTo>
                    <a:pt x="3182" y="12094"/>
                    <a:pt x="3195" y="12054"/>
                    <a:pt x="3129" y="12091"/>
                  </a:cubicBezTo>
                  <a:cubicBezTo>
                    <a:pt x="3104" y="12105"/>
                    <a:pt x="3089" y="12121"/>
                    <a:pt x="3071" y="12126"/>
                  </a:cubicBezTo>
                  <a:cubicBezTo>
                    <a:pt x="3068" y="12127"/>
                    <a:pt x="3030" y="12102"/>
                    <a:pt x="3041" y="12142"/>
                  </a:cubicBezTo>
                  <a:cubicBezTo>
                    <a:pt x="3016" y="12125"/>
                    <a:pt x="2949" y="12105"/>
                    <a:pt x="2916" y="12107"/>
                  </a:cubicBezTo>
                  <a:cubicBezTo>
                    <a:pt x="2916" y="12112"/>
                    <a:pt x="2925" y="12141"/>
                    <a:pt x="2923" y="12143"/>
                  </a:cubicBezTo>
                  <a:cubicBezTo>
                    <a:pt x="2901" y="12169"/>
                    <a:pt x="2894" y="12126"/>
                    <a:pt x="2894" y="12126"/>
                  </a:cubicBezTo>
                  <a:cubicBezTo>
                    <a:pt x="2862" y="12111"/>
                    <a:pt x="2790" y="12100"/>
                    <a:pt x="2765" y="12110"/>
                  </a:cubicBezTo>
                  <a:cubicBezTo>
                    <a:pt x="2748" y="12116"/>
                    <a:pt x="2753" y="12129"/>
                    <a:pt x="2720" y="12134"/>
                  </a:cubicBezTo>
                  <a:cubicBezTo>
                    <a:pt x="2701" y="12137"/>
                    <a:pt x="2676" y="12133"/>
                    <a:pt x="2656" y="12132"/>
                  </a:cubicBezTo>
                  <a:cubicBezTo>
                    <a:pt x="2620" y="12130"/>
                    <a:pt x="2580" y="12129"/>
                    <a:pt x="2545" y="12121"/>
                  </a:cubicBezTo>
                  <a:cubicBezTo>
                    <a:pt x="2513" y="12114"/>
                    <a:pt x="2504" y="12100"/>
                    <a:pt x="2479" y="12092"/>
                  </a:cubicBezTo>
                  <a:cubicBezTo>
                    <a:pt x="2417" y="12073"/>
                    <a:pt x="2328" y="12077"/>
                    <a:pt x="2263" y="12069"/>
                  </a:cubicBezTo>
                  <a:cubicBezTo>
                    <a:pt x="2237" y="12066"/>
                    <a:pt x="2228" y="12051"/>
                    <a:pt x="2206" y="12045"/>
                  </a:cubicBezTo>
                  <a:cubicBezTo>
                    <a:pt x="2167" y="12035"/>
                    <a:pt x="2124" y="12036"/>
                    <a:pt x="2089" y="12021"/>
                  </a:cubicBezTo>
                  <a:cubicBezTo>
                    <a:pt x="2048" y="12004"/>
                    <a:pt x="2022" y="11978"/>
                    <a:pt x="1976" y="11967"/>
                  </a:cubicBezTo>
                  <a:cubicBezTo>
                    <a:pt x="1909" y="11950"/>
                    <a:pt x="1846" y="11953"/>
                    <a:pt x="1805" y="11913"/>
                  </a:cubicBezTo>
                  <a:cubicBezTo>
                    <a:pt x="1796" y="11904"/>
                    <a:pt x="1796" y="11890"/>
                    <a:pt x="1784" y="11881"/>
                  </a:cubicBezTo>
                  <a:cubicBezTo>
                    <a:pt x="1770" y="11871"/>
                    <a:pt x="1746" y="11872"/>
                    <a:pt x="1732" y="11862"/>
                  </a:cubicBezTo>
                  <a:cubicBezTo>
                    <a:pt x="1697" y="11837"/>
                    <a:pt x="1704" y="11835"/>
                    <a:pt x="1745" y="11821"/>
                  </a:cubicBezTo>
                  <a:cubicBezTo>
                    <a:pt x="1772" y="11813"/>
                    <a:pt x="1810" y="11818"/>
                    <a:pt x="1835" y="11807"/>
                  </a:cubicBezTo>
                  <a:cubicBezTo>
                    <a:pt x="1886" y="11785"/>
                    <a:pt x="1839" y="11794"/>
                    <a:pt x="1835" y="11777"/>
                  </a:cubicBezTo>
                  <a:cubicBezTo>
                    <a:pt x="1828" y="11746"/>
                    <a:pt x="1855" y="11735"/>
                    <a:pt x="1867" y="11708"/>
                  </a:cubicBezTo>
                  <a:cubicBezTo>
                    <a:pt x="1881" y="11677"/>
                    <a:pt x="1853" y="11662"/>
                    <a:pt x="1915" y="11689"/>
                  </a:cubicBezTo>
                  <a:cubicBezTo>
                    <a:pt x="1939" y="11700"/>
                    <a:pt x="2008" y="11715"/>
                    <a:pt x="2016" y="11683"/>
                  </a:cubicBezTo>
                  <a:cubicBezTo>
                    <a:pt x="2019" y="11670"/>
                    <a:pt x="1977" y="11630"/>
                    <a:pt x="1970" y="11616"/>
                  </a:cubicBezTo>
                  <a:cubicBezTo>
                    <a:pt x="1986" y="11620"/>
                    <a:pt x="1996" y="11633"/>
                    <a:pt x="2013" y="11638"/>
                  </a:cubicBezTo>
                  <a:cubicBezTo>
                    <a:pt x="2049" y="11650"/>
                    <a:pt x="2091" y="11645"/>
                    <a:pt x="2129" y="11650"/>
                  </a:cubicBezTo>
                  <a:cubicBezTo>
                    <a:pt x="2159" y="11653"/>
                    <a:pt x="2231" y="11710"/>
                    <a:pt x="2271" y="11683"/>
                  </a:cubicBezTo>
                  <a:cubicBezTo>
                    <a:pt x="2286" y="11672"/>
                    <a:pt x="2266" y="11657"/>
                    <a:pt x="2273" y="11643"/>
                  </a:cubicBezTo>
                  <a:cubicBezTo>
                    <a:pt x="2280" y="11626"/>
                    <a:pt x="2296" y="11620"/>
                    <a:pt x="2308" y="11606"/>
                  </a:cubicBezTo>
                  <a:cubicBezTo>
                    <a:pt x="2320" y="11593"/>
                    <a:pt x="2338" y="11585"/>
                    <a:pt x="2330" y="11569"/>
                  </a:cubicBezTo>
                  <a:cubicBezTo>
                    <a:pt x="2311" y="11533"/>
                    <a:pt x="2305" y="11583"/>
                    <a:pt x="2285" y="11577"/>
                  </a:cubicBezTo>
                  <a:cubicBezTo>
                    <a:pt x="2259" y="11569"/>
                    <a:pt x="2296" y="11527"/>
                    <a:pt x="2288" y="11499"/>
                  </a:cubicBezTo>
                  <a:cubicBezTo>
                    <a:pt x="2279" y="11469"/>
                    <a:pt x="2254" y="11453"/>
                    <a:pt x="2229" y="11428"/>
                  </a:cubicBezTo>
                  <a:cubicBezTo>
                    <a:pt x="2200" y="11400"/>
                    <a:pt x="2211" y="11377"/>
                    <a:pt x="2195" y="11352"/>
                  </a:cubicBezTo>
                  <a:cubicBezTo>
                    <a:pt x="2177" y="11323"/>
                    <a:pt x="2131" y="11313"/>
                    <a:pt x="2109" y="11288"/>
                  </a:cubicBezTo>
                  <a:cubicBezTo>
                    <a:pt x="2091" y="11266"/>
                    <a:pt x="2096" y="11242"/>
                    <a:pt x="2056" y="11227"/>
                  </a:cubicBezTo>
                  <a:cubicBezTo>
                    <a:pt x="2016" y="11212"/>
                    <a:pt x="1996" y="11196"/>
                    <a:pt x="1966" y="11174"/>
                  </a:cubicBezTo>
                  <a:cubicBezTo>
                    <a:pt x="1912" y="11136"/>
                    <a:pt x="1837" y="11093"/>
                    <a:pt x="1768" y="11074"/>
                  </a:cubicBezTo>
                  <a:cubicBezTo>
                    <a:pt x="1776" y="11091"/>
                    <a:pt x="1822" y="11124"/>
                    <a:pt x="1778" y="11127"/>
                  </a:cubicBezTo>
                  <a:cubicBezTo>
                    <a:pt x="1750" y="11130"/>
                    <a:pt x="1720" y="11093"/>
                    <a:pt x="1696" y="11085"/>
                  </a:cubicBezTo>
                  <a:cubicBezTo>
                    <a:pt x="1640" y="11065"/>
                    <a:pt x="1629" y="11080"/>
                    <a:pt x="1658" y="11114"/>
                  </a:cubicBezTo>
                  <a:cubicBezTo>
                    <a:pt x="1668" y="11124"/>
                    <a:pt x="1685" y="11131"/>
                    <a:pt x="1693" y="11143"/>
                  </a:cubicBezTo>
                  <a:cubicBezTo>
                    <a:pt x="1700" y="11152"/>
                    <a:pt x="1685" y="11154"/>
                    <a:pt x="1693" y="11169"/>
                  </a:cubicBezTo>
                  <a:cubicBezTo>
                    <a:pt x="1703" y="11188"/>
                    <a:pt x="1748" y="11202"/>
                    <a:pt x="1700" y="11198"/>
                  </a:cubicBezTo>
                  <a:cubicBezTo>
                    <a:pt x="1655" y="11195"/>
                    <a:pt x="1650" y="11162"/>
                    <a:pt x="1618" y="11147"/>
                  </a:cubicBezTo>
                  <a:cubicBezTo>
                    <a:pt x="1583" y="11131"/>
                    <a:pt x="1532" y="11136"/>
                    <a:pt x="1490" y="11120"/>
                  </a:cubicBezTo>
                  <a:cubicBezTo>
                    <a:pt x="1468" y="11112"/>
                    <a:pt x="1458" y="11108"/>
                    <a:pt x="1443" y="11096"/>
                  </a:cubicBezTo>
                  <a:cubicBezTo>
                    <a:pt x="1429" y="11086"/>
                    <a:pt x="1435" y="11071"/>
                    <a:pt x="1410" y="11063"/>
                  </a:cubicBezTo>
                  <a:cubicBezTo>
                    <a:pt x="1421" y="11110"/>
                    <a:pt x="1340" y="11081"/>
                    <a:pt x="1315" y="11062"/>
                  </a:cubicBezTo>
                  <a:cubicBezTo>
                    <a:pt x="1283" y="11037"/>
                    <a:pt x="1263" y="11023"/>
                    <a:pt x="1218" y="11008"/>
                  </a:cubicBezTo>
                  <a:cubicBezTo>
                    <a:pt x="1140" y="10981"/>
                    <a:pt x="1106" y="10958"/>
                    <a:pt x="1050" y="10910"/>
                  </a:cubicBezTo>
                  <a:cubicBezTo>
                    <a:pt x="1024" y="10887"/>
                    <a:pt x="987" y="10872"/>
                    <a:pt x="966" y="10846"/>
                  </a:cubicBezTo>
                  <a:cubicBezTo>
                    <a:pt x="945" y="10819"/>
                    <a:pt x="945" y="10794"/>
                    <a:pt x="916" y="10770"/>
                  </a:cubicBezTo>
                  <a:cubicBezTo>
                    <a:pt x="862" y="10726"/>
                    <a:pt x="763" y="10695"/>
                    <a:pt x="692" y="10673"/>
                  </a:cubicBezTo>
                  <a:cubicBezTo>
                    <a:pt x="638" y="10656"/>
                    <a:pt x="588" y="10631"/>
                    <a:pt x="537" y="10611"/>
                  </a:cubicBezTo>
                  <a:cubicBezTo>
                    <a:pt x="485" y="10571"/>
                    <a:pt x="447" y="10532"/>
                    <a:pt x="411" y="10489"/>
                  </a:cubicBezTo>
                  <a:lnTo>
                    <a:pt x="0" y="11453"/>
                  </a:lnTo>
                  <a:lnTo>
                    <a:pt x="2529" y="13559"/>
                  </a:lnTo>
                  <a:lnTo>
                    <a:pt x="3288" y="13559"/>
                  </a:lnTo>
                  <a:lnTo>
                    <a:pt x="3752" y="14080"/>
                  </a:lnTo>
                  <a:lnTo>
                    <a:pt x="6620" y="14473"/>
                  </a:lnTo>
                  <a:lnTo>
                    <a:pt x="6790" y="17480"/>
                  </a:lnTo>
                  <a:cubicBezTo>
                    <a:pt x="7696" y="17442"/>
                    <a:pt x="8629" y="17370"/>
                    <a:pt x="9588" y="17258"/>
                  </a:cubicBezTo>
                  <a:cubicBezTo>
                    <a:pt x="9592" y="17222"/>
                    <a:pt x="9619" y="17199"/>
                    <a:pt x="9598" y="17162"/>
                  </a:cubicBezTo>
                  <a:cubicBezTo>
                    <a:pt x="9581" y="17133"/>
                    <a:pt x="9562" y="17130"/>
                    <a:pt x="9525" y="17119"/>
                  </a:cubicBezTo>
                  <a:cubicBezTo>
                    <a:pt x="9565" y="17116"/>
                    <a:pt x="9614" y="17100"/>
                    <a:pt x="9546" y="17090"/>
                  </a:cubicBezTo>
                  <a:cubicBezTo>
                    <a:pt x="9575" y="17079"/>
                    <a:pt x="9603" y="17101"/>
                    <a:pt x="9625" y="17091"/>
                  </a:cubicBezTo>
                  <a:cubicBezTo>
                    <a:pt x="9657" y="17077"/>
                    <a:pt x="9648" y="17018"/>
                    <a:pt x="9654" y="16994"/>
                  </a:cubicBezTo>
                  <a:cubicBezTo>
                    <a:pt x="9667" y="16951"/>
                    <a:pt x="9669" y="16895"/>
                    <a:pt x="9691" y="16855"/>
                  </a:cubicBezTo>
                  <a:cubicBezTo>
                    <a:pt x="9712" y="16818"/>
                    <a:pt x="9734" y="16783"/>
                    <a:pt x="9749" y="16741"/>
                  </a:cubicBezTo>
                  <a:cubicBezTo>
                    <a:pt x="9760" y="16708"/>
                    <a:pt x="9809" y="16706"/>
                    <a:pt x="9816" y="16683"/>
                  </a:cubicBezTo>
                  <a:cubicBezTo>
                    <a:pt x="9818" y="16676"/>
                    <a:pt x="9787" y="16685"/>
                    <a:pt x="9786" y="16683"/>
                  </a:cubicBezTo>
                  <a:cubicBezTo>
                    <a:pt x="9784" y="16679"/>
                    <a:pt x="9777" y="16645"/>
                    <a:pt x="9776" y="16648"/>
                  </a:cubicBezTo>
                  <a:cubicBezTo>
                    <a:pt x="9777" y="16639"/>
                    <a:pt x="9795" y="16614"/>
                    <a:pt x="9789" y="16594"/>
                  </a:cubicBezTo>
                  <a:cubicBezTo>
                    <a:pt x="9781" y="16569"/>
                    <a:pt x="9757" y="16563"/>
                    <a:pt x="9744" y="16541"/>
                  </a:cubicBezTo>
                  <a:cubicBezTo>
                    <a:pt x="9781" y="16550"/>
                    <a:pt x="9899" y="16554"/>
                    <a:pt x="9849" y="16497"/>
                  </a:cubicBezTo>
                  <a:cubicBezTo>
                    <a:pt x="9833" y="16478"/>
                    <a:pt x="9812" y="16494"/>
                    <a:pt x="9795" y="16471"/>
                  </a:cubicBezTo>
                  <a:cubicBezTo>
                    <a:pt x="9776" y="16444"/>
                    <a:pt x="9796" y="16436"/>
                    <a:pt x="9809" y="16413"/>
                  </a:cubicBezTo>
                  <a:cubicBezTo>
                    <a:pt x="9816" y="16400"/>
                    <a:pt x="9821" y="16379"/>
                    <a:pt x="9833" y="16368"/>
                  </a:cubicBezTo>
                  <a:cubicBezTo>
                    <a:pt x="9843" y="16359"/>
                    <a:pt x="9851" y="16379"/>
                    <a:pt x="9856" y="16376"/>
                  </a:cubicBezTo>
                  <a:cubicBezTo>
                    <a:pt x="9875" y="16360"/>
                    <a:pt x="9883" y="16336"/>
                    <a:pt x="9903" y="16319"/>
                  </a:cubicBezTo>
                  <a:cubicBezTo>
                    <a:pt x="9940" y="16288"/>
                    <a:pt x="10011" y="16272"/>
                    <a:pt x="10033" y="16237"/>
                  </a:cubicBezTo>
                  <a:cubicBezTo>
                    <a:pt x="10005" y="16250"/>
                    <a:pt x="9988" y="16245"/>
                    <a:pt x="9973" y="16224"/>
                  </a:cubicBezTo>
                  <a:cubicBezTo>
                    <a:pt x="9965" y="16214"/>
                    <a:pt x="10035" y="16231"/>
                    <a:pt x="10048" y="16225"/>
                  </a:cubicBezTo>
                  <a:cubicBezTo>
                    <a:pt x="10102" y="16199"/>
                    <a:pt x="10026" y="16203"/>
                    <a:pt x="10019" y="16201"/>
                  </a:cubicBezTo>
                  <a:cubicBezTo>
                    <a:pt x="10004" y="16196"/>
                    <a:pt x="9950" y="16185"/>
                    <a:pt x="10006" y="16181"/>
                  </a:cubicBezTo>
                  <a:cubicBezTo>
                    <a:pt x="9992" y="16178"/>
                    <a:pt x="9906" y="16166"/>
                    <a:pt x="9904" y="16163"/>
                  </a:cubicBezTo>
                  <a:cubicBezTo>
                    <a:pt x="9884" y="16132"/>
                    <a:pt x="9941" y="16154"/>
                    <a:pt x="9941" y="16140"/>
                  </a:cubicBezTo>
                  <a:cubicBezTo>
                    <a:pt x="9940" y="16124"/>
                    <a:pt x="9908" y="16127"/>
                    <a:pt x="9899" y="16113"/>
                  </a:cubicBezTo>
                  <a:cubicBezTo>
                    <a:pt x="9881" y="16081"/>
                    <a:pt x="9961" y="16117"/>
                    <a:pt x="9988" y="16121"/>
                  </a:cubicBezTo>
                  <a:cubicBezTo>
                    <a:pt x="10044" y="16131"/>
                    <a:pt x="10033" y="16110"/>
                    <a:pt x="9985" y="16093"/>
                  </a:cubicBezTo>
                  <a:cubicBezTo>
                    <a:pt x="10031" y="16081"/>
                    <a:pt x="10069" y="16098"/>
                    <a:pt x="10013" y="16065"/>
                  </a:cubicBezTo>
                  <a:cubicBezTo>
                    <a:pt x="9987" y="16049"/>
                    <a:pt x="9943" y="16027"/>
                    <a:pt x="10011" y="16039"/>
                  </a:cubicBezTo>
                  <a:cubicBezTo>
                    <a:pt x="10006" y="16034"/>
                    <a:pt x="10001" y="16026"/>
                    <a:pt x="9998" y="16022"/>
                  </a:cubicBezTo>
                  <a:cubicBezTo>
                    <a:pt x="10025" y="16022"/>
                    <a:pt x="10108" y="16096"/>
                    <a:pt x="10069" y="16015"/>
                  </a:cubicBezTo>
                  <a:cubicBezTo>
                    <a:pt x="10101" y="16028"/>
                    <a:pt x="10104" y="16003"/>
                    <a:pt x="10114" y="15995"/>
                  </a:cubicBezTo>
                  <a:cubicBezTo>
                    <a:pt x="10124" y="15986"/>
                    <a:pt x="10178" y="15979"/>
                    <a:pt x="10127" y="15961"/>
                  </a:cubicBezTo>
                  <a:cubicBezTo>
                    <a:pt x="10116" y="15957"/>
                    <a:pt x="10065" y="15993"/>
                    <a:pt x="10076" y="15950"/>
                  </a:cubicBezTo>
                  <a:cubicBezTo>
                    <a:pt x="10083" y="15920"/>
                    <a:pt x="10141" y="15935"/>
                    <a:pt x="10115" y="15909"/>
                  </a:cubicBezTo>
                  <a:cubicBezTo>
                    <a:pt x="10124" y="15910"/>
                    <a:pt x="10191" y="15916"/>
                    <a:pt x="10189" y="15917"/>
                  </a:cubicBezTo>
                  <a:cubicBezTo>
                    <a:pt x="10248" y="15888"/>
                    <a:pt x="10181" y="15870"/>
                    <a:pt x="10157" y="15863"/>
                  </a:cubicBezTo>
                  <a:cubicBezTo>
                    <a:pt x="10135" y="15856"/>
                    <a:pt x="10113" y="15843"/>
                    <a:pt x="10086" y="15835"/>
                  </a:cubicBezTo>
                  <a:cubicBezTo>
                    <a:pt x="10061" y="15828"/>
                    <a:pt x="10019" y="15822"/>
                    <a:pt x="9997" y="15808"/>
                  </a:cubicBezTo>
                  <a:cubicBezTo>
                    <a:pt x="10046" y="15839"/>
                    <a:pt x="10142" y="15821"/>
                    <a:pt x="10199" y="15841"/>
                  </a:cubicBezTo>
                  <a:cubicBezTo>
                    <a:pt x="10220" y="15849"/>
                    <a:pt x="10251" y="15866"/>
                    <a:pt x="10266" y="15884"/>
                  </a:cubicBezTo>
                  <a:cubicBezTo>
                    <a:pt x="10271" y="15891"/>
                    <a:pt x="10275" y="15915"/>
                    <a:pt x="10284" y="15919"/>
                  </a:cubicBezTo>
                  <a:cubicBezTo>
                    <a:pt x="10288" y="15922"/>
                    <a:pt x="10323" y="15917"/>
                    <a:pt x="10336" y="15921"/>
                  </a:cubicBezTo>
                  <a:cubicBezTo>
                    <a:pt x="10306" y="15892"/>
                    <a:pt x="10293" y="15881"/>
                    <a:pt x="10274" y="15844"/>
                  </a:cubicBezTo>
                  <a:cubicBezTo>
                    <a:pt x="10255" y="15808"/>
                    <a:pt x="10233" y="15800"/>
                    <a:pt x="10176" y="15798"/>
                  </a:cubicBezTo>
                  <a:cubicBezTo>
                    <a:pt x="10253" y="15790"/>
                    <a:pt x="10187" y="15760"/>
                    <a:pt x="10208" y="15724"/>
                  </a:cubicBezTo>
                  <a:cubicBezTo>
                    <a:pt x="10230" y="15687"/>
                    <a:pt x="10286" y="15755"/>
                    <a:pt x="10284" y="15679"/>
                  </a:cubicBezTo>
                  <a:cubicBezTo>
                    <a:pt x="10280" y="15683"/>
                    <a:pt x="10274" y="15688"/>
                    <a:pt x="10269" y="15692"/>
                  </a:cubicBezTo>
                  <a:cubicBezTo>
                    <a:pt x="10271" y="15662"/>
                    <a:pt x="10239" y="15637"/>
                    <a:pt x="10234" y="15609"/>
                  </a:cubicBezTo>
                  <a:cubicBezTo>
                    <a:pt x="10250" y="15632"/>
                    <a:pt x="10290" y="15626"/>
                    <a:pt x="10289" y="15633"/>
                  </a:cubicBezTo>
                  <a:cubicBezTo>
                    <a:pt x="10280" y="15672"/>
                    <a:pt x="10327" y="15656"/>
                    <a:pt x="10349" y="15648"/>
                  </a:cubicBezTo>
                  <a:cubicBezTo>
                    <a:pt x="10365" y="15641"/>
                    <a:pt x="10373" y="15614"/>
                    <a:pt x="10385" y="15612"/>
                  </a:cubicBezTo>
                  <a:cubicBezTo>
                    <a:pt x="10428" y="15605"/>
                    <a:pt x="10399" y="15626"/>
                    <a:pt x="10429" y="15642"/>
                  </a:cubicBezTo>
                  <a:cubicBezTo>
                    <a:pt x="10478" y="15668"/>
                    <a:pt x="10563" y="15597"/>
                    <a:pt x="10508" y="15567"/>
                  </a:cubicBezTo>
                  <a:cubicBezTo>
                    <a:pt x="10475" y="15549"/>
                    <a:pt x="10398" y="15567"/>
                    <a:pt x="10356" y="15556"/>
                  </a:cubicBezTo>
                  <a:cubicBezTo>
                    <a:pt x="10360" y="15554"/>
                    <a:pt x="10366" y="15552"/>
                    <a:pt x="10373" y="15550"/>
                  </a:cubicBezTo>
                  <a:cubicBezTo>
                    <a:pt x="10309" y="15537"/>
                    <a:pt x="10214" y="15439"/>
                    <a:pt x="10341" y="15454"/>
                  </a:cubicBezTo>
                  <a:cubicBezTo>
                    <a:pt x="10355" y="15455"/>
                    <a:pt x="10378" y="15469"/>
                    <a:pt x="10391" y="15467"/>
                  </a:cubicBezTo>
                  <a:cubicBezTo>
                    <a:pt x="10447" y="15458"/>
                    <a:pt x="10385" y="15451"/>
                    <a:pt x="10397" y="15437"/>
                  </a:cubicBezTo>
                  <a:cubicBezTo>
                    <a:pt x="10415" y="15417"/>
                    <a:pt x="10401" y="15426"/>
                    <a:pt x="10441" y="15428"/>
                  </a:cubicBezTo>
                  <a:cubicBezTo>
                    <a:pt x="10458" y="15430"/>
                    <a:pt x="10475" y="15435"/>
                    <a:pt x="10492" y="15437"/>
                  </a:cubicBezTo>
                  <a:cubicBezTo>
                    <a:pt x="10558" y="15442"/>
                    <a:pt x="10673" y="15460"/>
                    <a:pt x="10714" y="15432"/>
                  </a:cubicBezTo>
                  <a:cubicBezTo>
                    <a:pt x="10714" y="15432"/>
                    <a:pt x="10687" y="15429"/>
                    <a:pt x="10695" y="15422"/>
                  </a:cubicBezTo>
                  <a:cubicBezTo>
                    <a:pt x="10702" y="15416"/>
                    <a:pt x="10716" y="15420"/>
                    <a:pt x="10721" y="15417"/>
                  </a:cubicBezTo>
                  <a:cubicBezTo>
                    <a:pt x="10739" y="15401"/>
                    <a:pt x="10763" y="15400"/>
                    <a:pt x="10768" y="15373"/>
                  </a:cubicBezTo>
                  <a:cubicBezTo>
                    <a:pt x="10775" y="15345"/>
                    <a:pt x="10820" y="15327"/>
                    <a:pt x="10853" y="15320"/>
                  </a:cubicBezTo>
                  <a:cubicBezTo>
                    <a:pt x="10889" y="15313"/>
                    <a:pt x="10895" y="15324"/>
                    <a:pt x="10924" y="15304"/>
                  </a:cubicBezTo>
                  <a:cubicBezTo>
                    <a:pt x="10945" y="15289"/>
                    <a:pt x="10948" y="15272"/>
                    <a:pt x="10953" y="15248"/>
                  </a:cubicBezTo>
                  <a:cubicBezTo>
                    <a:pt x="10960" y="15214"/>
                    <a:pt x="10960" y="15218"/>
                    <a:pt x="10944" y="15185"/>
                  </a:cubicBezTo>
                  <a:cubicBezTo>
                    <a:pt x="10933" y="15161"/>
                    <a:pt x="10930" y="15133"/>
                    <a:pt x="10919" y="15110"/>
                  </a:cubicBezTo>
                  <a:cubicBezTo>
                    <a:pt x="10909" y="15090"/>
                    <a:pt x="10908" y="15068"/>
                    <a:pt x="10900" y="15051"/>
                  </a:cubicBezTo>
                  <a:cubicBezTo>
                    <a:pt x="10894" y="15041"/>
                    <a:pt x="10917" y="15041"/>
                    <a:pt x="10900" y="15028"/>
                  </a:cubicBezTo>
                  <a:cubicBezTo>
                    <a:pt x="10896" y="15025"/>
                    <a:pt x="10866" y="15030"/>
                    <a:pt x="10860" y="15029"/>
                  </a:cubicBezTo>
                  <a:cubicBezTo>
                    <a:pt x="10844" y="15026"/>
                    <a:pt x="10789" y="15019"/>
                    <a:pt x="10789" y="15002"/>
                  </a:cubicBezTo>
                  <a:cubicBezTo>
                    <a:pt x="10789" y="14999"/>
                    <a:pt x="10845" y="15014"/>
                    <a:pt x="10861" y="15008"/>
                  </a:cubicBezTo>
                  <a:cubicBezTo>
                    <a:pt x="10824" y="15000"/>
                    <a:pt x="10797" y="14978"/>
                    <a:pt x="10762" y="14971"/>
                  </a:cubicBezTo>
                  <a:cubicBezTo>
                    <a:pt x="10754" y="14969"/>
                    <a:pt x="10755" y="14986"/>
                    <a:pt x="10744" y="14984"/>
                  </a:cubicBezTo>
                  <a:cubicBezTo>
                    <a:pt x="10736" y="14982"/>
                    <a:pt x="10724" y="14974"/>
                    <a:pt x="10719" y="14974"/>
                  </a:cubicBezTo>
                  <a:cubicBezTo>
                    <a:pt x="10703" y="14972"/>
                    <a:pt x="10681" y="14961"/>
                    <a:pt x="10660" y="14960"/>
                  </a:cubicBezTo>
                  <a:cubicBezTo>
                    <a:pt x="10643" y="14960"/>
                    <a:pt x="10633" y="14975"/>
                    <a:pt x="10616" y="14971"/>
                  </a:cubicBezTo>
                  <a:cubicBezTo>
                    <a:pt x="10613" y="14970"/>
                    <a:pt x="10577" y="14941"/>
                    <a:pt x="10563" y="14936"/>
                  </a:cubicBezTo>
                  <a:cubicBezTo>
                    <a:pt x="10561" y="14935"/>
                    <a:pt x="10515" y="14917"/>
                    <a:pt x="10519" y="14920"/>
                  </a:cubicBezTo>
                  <a:cubicBezTo>
                    <a:pt x="10503" y="14907"/>
                    <a:pt x="10510" y="14890"/>
                    <a:pt x="10498" y="14875"/>
                  </a:cubicBezTo>
                  <a:cubicBezTo>
                    <a:pt x="10439" y="14804"/>
                    <a:pt x="10368" y="14865"/>
                    <a:pt x="10322" y="14898"/>
                  </a:cubicBezTo>
                  <a:cubicBezTo>
                    <a:pt x="10308" y="14909"/>
                    <a:pt x="10283" y="14917"/>
                    <a:pt x="10275" y="14930"/>
                  </a:cubicBezTo>
                  <a:cubicBezTo>
                    <a:pt x="10269" y="14940"/>
                    <a:pt x="10281" y="14964"/>
                    <a:pt x="10271" y="14971"/>
                  </a:cubicBezTo>
                  <a:cubicBezTo>
                    <a:pt x="10258" y="14981"/>
                    <a:pt x="10258" y="14966"/>
                    <a:pt x="10250" y="14968"/>
                  </a:cubicBezTo>
                  <a:cubicBezTo>
                    <a:pt x="10255" y="14967"/>
                    <a:pt x="10233" y="14960"/>
                    <a:pt x="10229" y="14960"/>
                  </a:cubicBezTo>
                  <a:cubicBezTo>
                    <a:pt x="10227" y="14960"/>
                    <a:pt x="10219" y="14974"/>
                    <a:pt x="10211" y="14976"/>
                  </a:cubicBezTo>
                  <a:cubicBezTo>
                    <a:pt x="10194" y="14981"/>
                    <a:pt x="10180" y="14993"/>
                    <a:pt x="10169" y="14991"/>
                  </a:cubicBezTo>
                  <a:cubicBezTo>
                    <a:pt x="10123" y="14980"/>
                    <a:pt x="10187" y="14951"/>
                    <a:pt x="10203" y="14937"/>
                  </a:cubicBezTo>
                  <a:cubicBezTo>
                    <a:pt x="10214" y="14928"/>
                    <a:pt x="10208" y="14916"/>
                    <a:pt x="10222" y="14908"/>
                  </a:cubicBezTo>
                  <a:cubicBezTo>
                    <a:pt x="10230" y="14904"/>
                    <a:pt x="10230" y="14928"/>
                    <a:pt x="10242" y="14921"/>
                  </a:cubicBezTo>
                  <a:cubicBezTo>
                    <a:pt x="10263" y="14910"/>
                    <a:pt x="10280" y="14909"/>
                    <a:pt x="10269" y="14891"/>
                  </a:cubicBezTo>
                  <a:cubicBezTo>
                    <a:pt x="10255" y="14868"/>
                    <a:pt x="10302" y="14874"/>
                    <a:pt x="10294" y="14858"/>
                  </a:cubicBezTo>
                  <a:cubicBezTo>
                    <a:pt x="10291" y="14853"/>
                    <a:pt x="10242" y="14842"/>
                    <a:pt x="10236" y="14841"/>
                  </a:cubicBezTo>
                  <a:cubicBezTo>
                    <a:pt x="10221" y="14840"/>
                    <a:pt x="10198" y="14854"/>
                    <a:pt x="10184" y="14849"/>
                  </a:cubicBezTo>
                  <a:cubicBezTo>
                    <a:pt x="10159" y="14841"/>
                    <a:pt x="10173" y="14824"/>
                    <a:pt x="10155" y="14813"/>
                  </a:cubicBezTo>
                  <a:cubicBezTo>
                    <a:pt x="10128" y="14797"/>
                    <a:pt x="10131" y="14806"/>
                    <a:pt x="10107" y="14809"/>
                  </a:cubicBezTo>
                  <a:cubicBezTo>
                    <a:pt x="10076" y="14815"/>
                    <a:pt x="10110" y="14829"/>
                    <a:pt x="10068" y="14823"/>
                  </a:cubicBezTo>
                  <a:cubicBezTo>
                    <a:pt x="10030" y="14817"/>
                    <a:pt x="9989" y="14802"/>
                    <a:pt x="9950" y="14795"/>
                  </a:cubicBezTo>
                  <a:cubicBezTo>
                    <a:pt x="9916" y="14790"/>
                    <a:pt x="9756" y="14722"/>
                    <a:pt x="9743" y="14735"/>
                  </a:cubicBezTo>
                  <a:cubicBezTo>
                    <a:pt x="9711" y="14766"/>
                    <a:pt x="9815" y="14811"/>
                    <a:pt x="9840" y="14812"/>
                  </a:cubicBezTo>
                  <a:cubicBezTo>
                    <a:pt x="9824" y="14822"/>
                    <a:pt x="9801" y="14823"/>
                    <a:pt x="9782" y="14819"/>
                  </a:cubicBezTo>
                  <a:cubicBezTo>
                    <a:pt x="9785" y="14823"/>
                    <a:pt x="9792" y="14832"/>
                    <a:pt x="9796" y="14835"/>
                  </a:cubicBezTo>
                  <a:cubicBezTo>
                    <a:pt x="9738" y="14814"/>
                    <a:pt x="9700" y="14819"/>
                    <a:pt x="9658" y="14780"/>
                  </a:cubicBezTo>
                  <a:cubicBezTo>
                    <a:pt x="9643" y="14767"/>
                    <a:pt x="9616" y="14737"/>
                    <a:pt x="9624" y="14730"/>
                  </a:cubicBezTo>
                  <a:cubicBezTo>
                    <a:pt x="9640" y="14715"/>
                    <a:pt x="9677" y="14731"/>
                    <a:pt x="9696" y="14714"/>
                  </a:cubicBezTo>
                  <a:cubicBezTo>
                    <a:pt x="9690" y="14712"/>
                    <a:pt x="9684" y="14713"/>
                    <a:pt x="9677" y="14711"/>
                  </a:cubicBezTo>
                  <a:cubicBezTo>
                    <a:pt x="9699" y="14692"/>
                    <a:pt x="9602" y="14619"/>
                    <a:pt x="9587" y="14592"/>
                  </a:cubicBezTo>
                  <a:cubicBezTo>
                    <a:pt x="9598" y="14602"/>
                    <a:pt x="9622" y="14607"/>
                    <a:pt x="9631" y="14613"/>
                  </a:cubicBezTo>
                  <a:cubicBezTo>
                    <a:pt x="9634" y="14616"/>
                    <a:pt x="9644" y="14607"/>
                    <a:pt x="9652" y="14614"/>
                  </a:cubicBezTo>
                  <a:cubicBezTo>
                    <a:pt x="9658" y="14619"/>
                    <a:pt x="9643" y="14633"/>
                    <a:pt x="9649" y="14640"/>
                  </a:cubicBezTo>
                  <a:cubicBezTo>
                    <a:pt x="9670" y="14661"/>
                    <a:pt x="9707" y="14685"/>
                    <a:pt x="9737" y="14700"/>
                  </a:cubicBezTo>
                  <a:cubicBezTo>
                    <a:pt x="9767" y="14715"/>
                    <a:pt x="9811" y="14714"/>
                    <a:pt x="9843" y="14722"/>
                  </a:cubicBezTo>
                  <a:cubicBezTo>
                    <a:pt x="9880" y="14732"/>
                    <a:pt x="9906" y="14740"/>
                    <a:pt x="9938" y="14745"/>
                  </a:cubicBezTo>
                  <a:cubicBezTo>
                    <a:pt x="9935" y="14744"/>
                    <a:pt x="9984" y="14755"/>
                    <a:pt x="9983" y="14755"/>
                  </a:cubicBezTo>
                  <a:cubicBezTo>
                    <a:pt x="10003" y="14762"/>
                    <a:pt x="10015" y="14773"/>
                    <a:pt x="10027" y="14778"/>
                  </a:cubicBezTo>
                  <a:cubicBezTo>
                    <a:pt x="10068" y="14795"/>
                    <a:pt x="10103" y="14786"/>
                    <a:pt x="10144" y="14797"/>
                  </a:cubicBezTo>
                  <a:cubicBezTo>
                    <a:pt x="10163" y="14803"/>
                    <a:pt x="10169" y="14816"/>
                    <a:pt x="10191" y="14821"/>
                  </a:cubicBezTo>
                  <a:cubicBezTo>
                    <a:pt x="10205" y="14823"/>
                    <a:pt x="10237" y="14820"/>
                    <a:pt x="10251" y="14821"/>
                  </a:cubicBezTo>
                  <a:cubicBezTo>
                    <a:pt x="10274" y="14822"/>
                    <a:pt x="10284" y="14842"/>
                    <a:pt x="10305" y="14821"/>
                  </a:cubicBezTo>
                  <a:cubicBezTo>
                    <a:pt x="10312" y="14813"/>
                    <a:pt x="10335" y="14754"/>
                    <a:pt x="10363" y="14783"/>
                  </a:cubicBezTo>
                  <a:cubicBezTo>
                    <a:pt x="10364" y="14784"/>
                    <a:pt x="10366" y="14785"/>
                    <a:pt x="10367" y="14786"/>
                  </a:cubicBezTo>
                  <a:cubicBezTo>
                    <a:pt x="10328" y="14797"/>
                    <a:pt x="10337" y="14819"/>
                    <a:pt x="10375" y="14826"/>
                  </a:cubicBezTo>
                  <a:cubicBezTo>
                    <a:pt x="10410" y="14832"/>
                    <a:pt x="10443" y="14792"/>
                    <a:pt x="10456" y="14795"/>
                  </a:cubicBezTo>
                  <a:cubicBezTo>
                    <a:pt x="10476" y="14799"/>
                    <a:pt x="10455" y="14823"/>
                    <a:pt x="10470" y="14829"/>
                  </a:cubicBezTo>
                  <a:cubicBezTo>
                    <a:pt x="10494" y="14838"/>
                    <a:pt x="10501" y="14818"/>
                    <a:pt x="10514" y="14818"/>
                  </a:cubicBezTo>
                  <a:cubicBezTo>
                    <a:pt x="10540" y="14818"/>
                    <a:pt x="10589" y="14827"/>
                    <a:pt x="10604" y="14843"/>
                  </a:cubicBezTo>
                  <a:cubicBezTo>
                    <a:pt x="10539" y="14849"/>
                    <a:pt x="10663" y="14863"/>
                    <a:pt x="10678" y="14865"/>
                  </a:cubicBezTo>
                  <a:cubicBezTo>
                    <a:pt x="10716" y="14871"/>
                    <a:pt x="10749" y="14898"/>
                    <a:pt x="10791" y="14899"/>
                  </a:cubicBezTo>
                  <a:cubicBezTo>
                    <a:pt x="10830" y="14901"/>
                    <a:pt x="10881" y="14877"/>
                    <a:pt x="10906" y="14855"/>
                  </a:cubicBezTo>
                  <a:cubicBezTo>
                    <a:pt x="10911" y="14851"/>
                    <a:pt x="10945" y="14848"/>
                    <a:pt x="10919" y="14824"/>
                  </a:cubicBezTo>
                  <a:cubicBezTo>
                    <a:pt x="10901" y="14808"/>
                    <a:pt x="10889" y="14822"/>
                    <a:pt x="10863" y="14824"/>
                  </a:cubicBezTo>
                  <a:cubicBezTo>
                    <a:pt x="10879" y="14775"/>
                    <a:pt x="10944" y="14806"/>
                    <a:pt x="10926" y="14820"/>
                  </a:cubicBezTo>
                  <a:cubicBezTo>
                    <a:pt x="10956" y="14821"/>
                    <a:pt x="10945" y="14842"/>
                    <a:pt x="10982" y="14840"/>
                  </a:cubicBezTo>
                  <a:cubicBezTo>
                    <a:pt x="11016" y="14837"/>
                    <a:pt x="11014" y="14801"/>
                    <a:pt x="11048" y="14821"/>
                  </a:cubicBezTo>
                  <a:cubicBezTo>
                    <a:pt x="11036" y="14832"/>
                    <a:pt x="11036" y="14849"/>
                    <a:pt x="11058" y="14834"/>
                  </a:cubicBezTo>
                  <a:cubicBezTo>
                    <a:pt x="11080" y="14820"/>
                    <a:pt x="11069" y="14815"/>
                    <a:pt x="11076" y="14799"/>
                  </a:cubicBezTo>
                  <a:cubicBezTo>
                    <a:pt x="11088" y="14775"/>
                    <a:pt x="11117" y="14735"/>
                    <a:pt x="11078" y="14717"/>
                  </a:cubicBezTo>
                  <a:cubicBezTo>
                    <a:pt x="11175" y="14708"/>
                    <a:pt x="11101" y="14680"/>
                    <a:pt x="11073" y="14653"/>
                  </a:cubicBezTo>
                  <a:cubicBezTo>
                    <a:pt x="11045" y="14626"/>
                    <a:pt x="11037" y="14585"/>
                    <a:pt x="10979" y="14572"/>
                  </a:cubicBezTo>
                  <a:cubicBezTo>
                    <a:pt x="11023" y="14553"/>
                    <a:pt x="11012" y="14585"/>
                    <a:pt x="11039" y="14589"/>
                  </a:cubicBezTo>
                  <a:cubicBezTo>
                    <a:pt x="11069" y="14593"/>
                    <a:pt x="11078" y="14564"/>
                    <a:pt x="11104" y="14580"/>
                  </a:cubicBezTo>
                  <a:cubicBezTo>
                    <a:pt x="11123" y="14593"/>
                    <a:pt x="11080" y="14608"/>
                    <a:pt x="11118" y="14616"/>
                  </a:cubicBezTo>
                  <a:cubicBezTo>
                    <a:pt x="11123" y="14617"/>
                    <a:pt x="11166" y="14598"/>
                    <a:pt x="11166" y="14595"/>
                  </a:cubicBezTo>
                  <a:cubicBezTo>
                    <a:pt x="11177" y="14561"/>
                    <a:pt x="11091" y="14563"/>
                    <a:pt x="11137" y="14540"/>
                  </a:cubicBezTo>
                  <a:cubicBezTo>
                    <a:pt x="11132" y="14536"/>
                    <a:pt x="11106" y="14523"/>
                    <a:pt x="11105" y="14521"/>
                  </a:cubicBezTo>
                  <a:cubicBezTo>
                    <a:pt x="11106" y="14523"/>
                    <a:pt x="11094" y="14486"/>
                    <a:pt x="11099" y="14488"/>
                  </a:cubicBezTo>
                  <a:cubicBezTo>
                    <a:pt x="11064" y="14472"/>
                    <a:pt x="11061" y="14512"/>
                    <a:pt x="11021" y="14481"/>
                  </a:cubicBezTo>
                  <a:cubicBezTo>
                    <a:pt x="11036" y="14475"/>
                    <a:pt x="11047" y="14466"/>
                    <a:pt x="11060" y="14456"/>
                  </a:cubicBezTo>
                  <a:cubicBezTo>
                    <a:pt x="11092" y="14456"/>
                    <a:pt x="11172" y="14451"/>
                    <a:pt x="11107" y="14424"/>
                  </a:cubicBezTo>
                  <a:cubicBezTo>
                    <a:pt x="11126" y="14420"/>
                    <a:pt x="11136" y="14409"/>
                    <a:pt x="11138" y="14394"/>
                  </a:cubicBezTo>
                  <a:cubicBezTo>
                    <a:pt x="11147" y="14402"/>
                    <a:pt x="11161" y="14428"/>
                    <a:pt x="11160" y="14442"/>
                  </a:cubicBezTo>
                  <a:cubicBezTo>
                    <a:pt x="11158" y="14455"/>
                    <a:pt x="11129" y="14470"/>
                    <a:pt x="11140" y="14483"/>
                  </a:cubicBezTo>
                  <a:cubicBezTo>
                    <a:pt x="11151" y="14497"/>
                    <a:pt x="11170" y="14513"/>
                    <a:pt x="11188" y="14520"/>
                  </a:cubicBezTo>
                  <a:cubicBezTo>
                    <a:pt x="11198" y="14524"/>
                    <a:pt x="11206" y="14509"/>
                    <a:pt x="11223" y="14516"/>
                  </a:cubicBezTo>
                  <a:cubicBezTo>
                    <a:pt x="11251" y="14527"/>
                    <a:pt x="11264" y="14558"/>
                    <a:pt x="11293" y="14571"/>
                  </a:cubicBezTo>
                  <a:cubicBezTo>
                    <a:pt x="11285" y="14560"/>
                    <a:pt x="11262" y="14549"/>
                    <a:pt x="11257" y="14538"/>
                  </a:cubicBezTo>
                  <a:cubicBezTo>
                    <a:pt x="11252" y="14527"/>
                    <a:pt x="11251" y="14475"/>
                    <a:pt x="11277" y="14499"/>
                  </a:cubicBezTo>
                  <a:cubicBezTo>
                    <a:pt x="11306" y="14527"/>
                    <a:pt x="11314" y="14497"/>
                    <a:pt x="11342" y="14520"/>
                  </a:cubicBezTo>
                  <a:cubicBezTo>
                    <a:pt x="11376" y="14549"/>
                    <a:pt x="11421" y="14551"/>
                    <a:pt x="11470" y="14545"/>
                  </a:cubicBezTo>
                  <a:cubicBezTo>
                    <a:pt x="11439" y="14543"/>
                    <a:pt x="11409" y="14505"/>
                    <a:pt x="11391" y="14486"/>
                  </a:cubicBezTo>
                  <a:cubicBezTo>
                    <a:pt x="11375" y="14470"/>
                    <a:pt x="11318" y="14402"/>
                    <a:pt x="11370" y="14435"/>
                  </a:cubicBezTo>
                  <a:cubicBezTo>
                    <a:pt x="11409" y="14459"/>
                    <a:pt x="11406" y="14488"/>
                    <a:pt x="11466" y="14501"/>
                  </a:cubicBezTo>
                  <a:cubicBezTo>
                    <a:pt x="11478" y="14504"/>
                    <a:pt x="11477" y="14513"/>
                    <a:pt x="11488" y="14515"/>
                  </a:cubicBezTo>
                  <a:cubicBezTo>
                    <a:pt x="11502" y="14517"/>
                    <a:pt x="11506" y="14500"/>
                    <a:pt x="11516" y="14501"/>
                  </a:cubicBezTo>
                  <a:cubicBezTo>
                    <a:pt x="11549" y="14505"/>
                    <a:pt x="11573" y="14531"/>
                    <a:pt x="11605" y="14501"/>
                  </a:cubicBezTo>
                  <a:cubicBezTo>
                    <a:pt x="11629" y="14460"/>
                    <a:pt x="11684" y="14419"/>
                    <a:pt x="11730" y="14388"/>
                  </a:cubicBezTo>
                  <a:cubicBezTo>
                    <a:pt x="11752" y="14373"/>
                    <a:pt x="11796" y="14356"/>
                    <a:pt x="11812" y="14338"/>
                  </a:cubicBezTo>
                  <a:cubicBezTo>
                    <a:pt x="11831" y="14317"/>
                    <a:pt x="11820" y="14324"/>
                    <a:pt x="11823" y="14309"/>
                  </a:cubicBezTo>
                  <a:cubicBezTo>
                    <a:pt x="11822" y="14315"/>
                    <a:pt x="11812" y="14291"/>
                    <a:pt x="11812" y="14284"/>
                  </a:cubicBezTo>
                  <a:cubicBezTo>
                    <a:pt x="11814" y="14265"/>
                    <a:pt x="11837" y="14246"/>
                    <a:pt x="11843" y="14227"/>
                  </a:cubicBezTo>
                  <a:cubicBezTo>
                    <a:pt x="11849" y="14205"/>
                    <a:pt x="11843" y="14189"/>
                    <a:pt x="11843" y="14167"/>
                  </a:cubicBezTo>
                  <a:cubicBezTo>
                    <a:pt x="11842" y="14147"/>
                    <a:pt x="11849" y="14128"/>
                    <a:pt x="11848" y="14107"/>
                  </a:cubicBezTo>
                  <a:cubicBezTo>
                    <a:pt x="11846" y="14090"/>
                    <a:pt x="11901" y="14069"/>
                    <a:pt x="11917" y="14052"/>
                  </a:cubicBezTo>
                  <a:cubicBezTo>
                    <a:pt x="11956" y="14012"/>
                    <a:pt x="11902" y="13964"/>
                    <a:pt x="11931" y="13926"/>
                  </a:cubicBezTo>
                  <a:cubicBezTo>
                    <a:pt x="11933" y="13933"/>
                    <a:pt x="11939" y="13940"/>
                    <a:pt x="11941" y="13946"/>
                  </a:cubicBezTo>
                  <a:cubicBezTo>
                    <a:pt x="11987" y="13905"/>
                    <a:pt x="11980" y="13891"/>
                    <a:pt x="11989" y="13843"/>
                  </a:cubicBezTo>
                  <a:cubicBezTo>
                    <a:pt x="11995" y="13812"/>
                    <a:pt x="12008" y="13788"/>
                    <a:pt x="12030" y="13762"/>
                  </a:cubicBezTo>
                  <a:cubicBezTo>
                    <a:pt x="12045" y="13745"/>
                    <a:pt x="12018" y="13739"/>
                    <a:pt x="12023" y="13727"/>
                  </a:cubicBezTo>
                  <a:cubicBezTo>
                    <a:pt x="12029" y="13710"/>
                    <a:pt x="12055" y="13700"/>
                    <a:pt x="12061" y="13682"/>
                  </a:cubicBezTo>
                  <a:cubicBezTo>
                    <a:pt x="12063" y="13672"/>
                    <a:pt x="12054" y="13631"/>
                    <a:pt x="12051" y="13619"/>
                  </a:cubicBezTo>
                  <a:cubicBezTo>
                    <a:pt x="12046" y="13598"/>
                    <a:pt x="11988" y="13574"/>
                    <a:pt x="11968" y="13569"/>
                  </a:cubicBezTo>
                  <a:cubicBezTo>
                    <a:pt x="11908" y="13556"/>
                    <a:pt x="11799" y="13561"/>
                    <a:pt x="11742" y="13571"/>
                  </a:cubicBezTo>
                  <a:cubicBezTo>
                    <a:pt x="11727" y="13573"/>
                    <a:pt x="11740" y="13586"/>
                    <a:pt x="11733" y="13588"/>
                  </a:cubicBezTo>
                  <a:cubicBezTo>
                    <a:pt x="11723" y="13590"/>
                    <a:pt x="11713" y="13585"/>
                    <a:pt x="11706" y="13586"/>
                  </a:cubicBezTo>
                  <a:cubicBezTo>
                    <a:pt x="11688" y="13590"/>
                    <a:pt x="11666" y="13586"/>
                    <a:pt x="11647" y="13590"/>
                  </a:cubicBezTo>
                  <a:cubicBezTo>
                    <a:pt x="11629" y="13594"/>
                    <a:pt x="11622" y="13605"/>
                    <a:pt x="11607" y="13608"/>
                  </a:cubicBezTo>
                  <a:cubicBezTo>
                    <a:pt x="11599" y="13610"/>
                    <a:pt x="11566" y="13607"/>
                    <a:pt x="11551" y="13609"/>
                  </a:cubicBezTo>
                  <a:cubicBezTo>
                    <a:pt x="11486" y="13616"/>
                    <a:pt x="11421" y="13614"/>
                    <a:pt x="11362" y="13616"/>
                  </a:cubicBezTo>
                  <a:cubicBezTo>
                    <a:pt x="11324" y="13618"/>
                    <a:pt x="11301" y="13609"/>
                    <a:pt x="11269" y="13606"/>
                  </a:cubicBezTo>
                  <a:cubicBezTo>
                    <a:pt x="11253" y="13605"/>
                    <a:pt x="11250" y="13623"/>
                    <a:pt x="11230" y="13616"/>
                  </a:cubicBezTo>
                  <a:cubicBezTo>
                    <a:pt x="11221" y="13613"/>
                    <a:pt x="11206" y="13593"/>
                    <a:pt x="11200" y="13587"/>
                  </a:cubicBezTo>
                  <a:cubicBezTo>
                    <a:pt x="11170" y="13554"/>
                    <a:pt x="11145" y="13556"/>
                    <a:pt x="11106" y="13533"/>
                  </a:cubicBezTo>
                  <a:cubicBezTo>
                    <a:pt x="11080" y="13518"/>
                    <a:pt x="11068" y="13492"/>
                    <a:pt x="11051" y="13471"/>
                  </a:cubicBezTo>
                  <a:cubicBezTo>
                    <a:pt x="11035" y="13451"/>
                    <a:pt x="11019" y="13456"/>
                    <a:pt x="10997" y="13443"/>
                  </a:cubicBezTo>
                  <a:cubicBezTo>
                    <a:pt x="10936" y="13408"/>
                    <a:pt x="10888" y="13367"/>
                    <a:pt x="10810" y="13349"/>
                  </a:cubicBezTo>
                  <a:cubicBezTo>
                    <a:pt x="10703" y="13333"/>
                    <a:pt x="10601" y="13317"/>
                    <a:pt x="10492" y="13315"/>
                  </a:cubicBezTo>
                  <a:cubicBezTo>
                    <a:pt x="10474" y="13315"/>
                    <a:pt x="10391" y="13306"/>
                    <a:pt x="10382" y="13321"/>
                  </a:cubicBezTo>
                  <a:cubicBezTo>
                    <a:pt x="10375" y="13332"/>
                    <a:pt x="10404" y="13346"/>
                    <a:pt x="10409" y="13355"/>
                  </a:cubicBezTo>
                  <a:cubicBezTo>
                    <a:pt x="10431" y="13401"/>
                    <a:pt x="10416" y="13383"/>
                    <a:pt x="10364" y="13365"/>
                  </a:cubicBezTo>
                  <a:cubicBezTo>
                    <a:pt x="10319" y="13350"/>
                    <a:pt x="10281" y="13341"/>
                    <a:pt x="10246" y="13313"/>
                  </a:cubicBezTo>
                  <a:cubicBezTo>
                    <a:pt x="10290" y="13302"/>
                    <a:pt x="10292" y="13302"/>
                    <a:pt x="10335" y="13301"/>
                  </a:cubicBezTo>
                  <a:cubicBezTo>
                    <a:pt x="10366" y="13301"/>
                    <a:pt x="10391" y="13300"/>
                    <a:pt x="10423" y="13302"/>
                  </a:cubicBezTo>
                  <a:cubicBezTo>
                    <a:pt x="10482" y="13307"/>
                    <a:pt x="10540" y="13314"/>
                    <a:pt x="10601" y="13305"/>
                  </a:cubicBezTo>
                  <a:cubicBezTo>
                    <a:pt x="10629" y="13300"/>
                    <a:pt x="10659" y="13284"/>
                    <a:pt x="10685" y="13281"/>
                  </a:cubicBezTo>
                  <a:cubicBezTo>
                    <a:pt x="10761" y="13274"/>
                    <a:pt x="10664" y="13296"/>
                    <a:pt x="10659" y="13299"/>
                  </a:cubicBezTo>
                  <a:cubicBezTo>
                    <a:pt x="10604" y="13341"/>
                    <a:pt x="10786" y="13291"/>
                    <a:pt x="10798" y="13297"/>
                  </a:cubicBezTo>
                  <a:cubicBezTo>
                    <a:pt x="10835" y="13304"/>
                    <a:pt x="10932" y="13334"/>
                    <a:pt x="10888" y="13283"/>
                  </a:cubicBezTo>
                  <a:cubicBezTo>
                    <a:pt x="10872" y="13264"/>
                    <a:pt x="10821" y="13254"/>
                    <a:pt x="10795" y="13249"/>
                  </a:cubicBezTo>
                  <a:cubicBezTo>
                    <a:pt x="10885" y="13226"/>
                    <a:pt x="10963" y="13262"/>
                    <a:pt x="11035" y="13288"/>
                  </a:cubicBezTo>
                  <a:cubicBezTo>
                    <a:pt x="11071" y="13301"/>
                    <a:pt x="11106" y="13323"/>
                    <a:pt x="11135" y="13341"/>
                  </a:cubicBezTo>
                  <a:cubicBezTo>
                    <a:pt x="11213" y="13391"/>
                    <a:pt x="11329" y="13369"/>
                    <a:pt x="11421" y="13386"/>
                  </a:cubicBezTo>
                  <a:cubicBezTo>
                    <a:pt x="11393" y="13392"/>
                    <a:pt x="11328" y="13395"/>
                    <a:pt x="11297" y="13392"/>
                  </a:cubicBezTo>
                  <a:cubicBezTo>
                    <a:pt x="11345" y="13415"/>
                    <a:pt x="11396" y="13429"/>
                    <a:pt x="11443" y="13454"/>
                  </a:cubicBezTo>
                  <a:cubicBezTo>
                    <a:pt x="11482" y="13477"/>
                    <a:pt x="11510" y="13506"/>
                    <a:pt x="11554" y="13525"/>
                  </a:cubicBezTo>
                  <a:cubicBezTo>
                    <a:pt x="11641" y="13562"/>
                    <a:pt x="11726" y="13557"/>
                    <a:pt x="11822" y="13537"/>
                  </a:cubicBezTo>
                  <a:cubicBezTo>
                    <a:pt x="11867" y="13527"/>
                    <a:pt x="11900" y="13505"/>
                    <a:pt x="11929" y="13477"/>
                  </a:cubicBezTo>
                  <a:cubicBezTo>
                    <a:pt x="11936" y="13470"/>
                    <a:pt x="11954" y="13467"/>
                    <a:pt x="11957" y="13457"/>
                  </a:cubicBezTo>
                  <a:cubicBezTo>
                    <a:pt x="11960" y="13447"/>
                    <a:pt x="11941" y="13443"/>
                    <a:pt x="11941" y="13442"/>
                  </a:cubicBezTo>
                  <a:cubicBezTo>
                    <a:pt x="11941" y="13442"/>
                    <a:pt x="11934" y="13426"/>
                    <a:pt x="11934" y="13422"/>
                  </a:cubicBezTo>
                  <a:cubicBezTo>
                    <a:pt x="11935" y="13414"/>
                    <a:pt x="11956" y="13407"/>
                    <a:pt x="11960" y="13399"/>
                  </a:cubicBezTo>
                  <a:cubicBezTo>
                    <a:pt x="11965" y="13389"/>
                    <a:pt x="11962" y="13367"/>
                    <a:pt x="11967" y="13363"/>
                  </a:cubicBezTo>
                  <a:cubicBezTo>
                    <a:pt x="11980" y="13349"/>
                    <a:pt x="12008" y="13343"/>
                    <a:pt x="12023" y="13329"/>
                  </a:cubicBezTo>
                  <a:cubicBezTo>
                    <a:pt x="12033" y="13319"/>
                    <a:pt x="12038" y="13300"/>
                    <a:pt x="12047" y="13289"/>
                  </a:cubicBezTo>
                  <a:cubicBezTo>
                    <a:pt x="12061" y="13273"/>
                    <a:pt x="12082" y="13262"/>
                    <a:pt x="12096" y="13246"/>
                  </a:cubicBezTo>
                  <a:cubicBezTo>
                    <a:pt x="12121" y="13218"/>
                    <a:pt x="12107" y="13185"/>
                    <a:pt x="12100" y="13159"/>
                  </a:cubicBezTo>
                  <a:cubicBezTo>
                    <a:pt x="12090" y="13122"/>
                    <a:pt x="12104" y="13106"/>
                    <a:pt x="12135" y="13071"/>
                  </a:cubicBezTo>
                  <a:cubicBezTo>
                    <a:pt x="12158" y="13045"/>
                    <a:pt x="12185" y="13022"/>
                    <a:pt x="12208" y="12996"/>
                  </a:cubicBezTo>
                  <a:cubicBezTo>
                    <a:pt x="12217" y="12985"/>
                    <a:pt x="12231" y="12978"/>
                    <a:pt x="12231" y="12965"/>
                  </a:cubicBezTo>
                  <a:cubicBezTo>
                    <a:pt x="12232" y="12951"/>
                    <a:pt x="12207" y="12937"/>
                    <a:pt x="12207" y="12929"/>
                  </a:cubicBezTo>
                  <a:close/>
                  <a:moveTo>
                    <a:pt x="12665" y="12971"/>
                  </a:moveTo>
                  <a:cubicBezTo>
                    <a:pt x="12640" y="12958"/>
                    <a:pt x="12653" y="12935"/>
                    <a:pt x="12623" y="12921"/>
                  </a:cubicBezTo>
                  <a:cubicBezTo>
                    <a:pt x="12577" y="12934"/>
                    <a:pt x="12508" y="12897"/>
                    <a:pt x="12538" y="12973"/>
                  </a:cubicBezTo>
                  <a:cubicBezTo>
                    <a:pt x="12558" y="13025"/>
                    <a:pt x="12587" y="13099"/>
                    <a:pt x="12655" y="13125"/>
                  </a:cubicBezTo>
                  <a:cubicBezTo>
                    <a:pt x="12708" y="13145"/>
                    <a:pt x="12700" y="13149"/>
                    <a:pt x="12732" y="13183"/>
                  </a:cubicBezTo>
                  <a:cubicBezTo>
                    <a:pt x="12767" y="13220"/>
                    <a:pt x="12797" y="13217"/>
                    <a:pt x="12814" y="13173"/>
                  </a:cubicBezTo>
                  <a:cubicBezTo>
                    <a:pt x="12834" y="13119"/>
                    <a:pt x="12784" y="13090"/>
                    <a:pt x="12747" y="13045"/>
                  </a:cubicBezTo>
                  <a:cubicBezTo>
                    <a:pt x="12722" y="13015"/>
                    <a:pt x="12704" y="12992"/>
                    <a:pt x="12665" y="12971"/>
                  </a:cubicBezTo>
                  <a:close/>
                  <a:moveTo>
                    <a:pt x="4237" y="12402"/>
                  </a:moveTo>
                  <a:cubicBezTo>
                    <a:pt x="4257" y="12388"/>
                    <a:pt x="4221" y="12366"/>
                    <a:pt x="4265" y="12359"/>
                  </a:cubicBezTo>
                  <a:cubicBezTo>
                    <a:pt x="4268" y="12362"/>
                    <a:pt x="4277" y="12371"/>
                    <a:pt x="4278" y="12372"/>
                  </a:cubicBezTo>
                  <a:cubicBezTo>
                    <a:pt x="4284" y="12347"/>
                    <a:pt x="4275" y="12320"/>
                    <a:pt x="4271" y="12294"/>
                  </a:cubicBezTo>
                  <a:cubicBezTo>
                    <a:pt x="4255" y="12264"/>
                    <a:pt x="4232" y="12270"/>
                    <a:pt x="4219" y="12295"/>
                  </a:cubicBezTo>
                  <a:cubicBezTo>
                    <a:pt x="4212" y="12307"/>
                    <a:pt x="4220" y="12323"/>
                    <a:pt x="4219" y="12336"/>
                  </a:cubicBezTo>
                  <a:cubicBezTo>
                    <a:pt x="4218" y="12342"/>
                    <a:pt x="4231" y="12346"/>
                    <a:pt x="4230" y="12352"/>
                  </a:cubicBezTo>
                  <a:cubicBezTo>
                    <a:pt x="4230" y="12358"/>
                    <a:pt x="4213" y="12355"/>
                    <a:pt x="4213" y="12357"/>
                  </a:cubicBezTo>
                  <a:cubicBezTo>
                    <a:pt x="4212" y="12372"/>
                    <a:pt x="4201" y="12427"/>
                    <a:pt x="4237" y="12402"/>
                  </a:cubicBezTo>
                  <a:close/>
                  <a:moveTo>
                    <a:pt x="15538" y="10697"/>
                  </a:moveTo>
                  <a:cubicBezTo>
                    <a:pt x="15492" y="10723"/>
                    <a:pt x="15478" y="10738"/>
                    <a:pt x="15511" y="10781"/>
                  </a:cubicBezTo>
                  <a:cubicBezTo>
                    <a:pt x="15546" y="10825"/>
                    <a:pt x="15625" y="10877"/>
                    <a:pt x="15696" y="10874"/>
                  </a:cubicBezTo>
                  <a:cubicBezTo>
                    <a:pt x="15739" y="10872"/>
                    <a:pt x="15755" y="10853"/>
                    <a:pt x="15790" y="10838"/>
                  </a:cubicBezTo>
                  <a:cubicBezTo>
                    <a:pt x="15828" y="10821"/>
                    <a:pt x="15867" y="10821"/>
                    <a:pt x="15908" y="10813"/>
                  </a:cubicBezTo>
                  <a:cubicBezTo>
                    <a:pt x="15927" y="10809"/>
                    <a:pt x="16004" y="10795"/>
                    <a:pt x="16015" y="10784"/>
                  </a:cubicBezTo>
                  <a:cubicBezTo>
                    <a:pt x="16047" y="10755"/>
                    <a:pt x="16002" y="10722"/>
                    <a:pt x="15982" y="10702"/>
                  </a:cubicBezTo>
                  <a:cubicBezTo>
                    <a:pt x="15960" y="10678"/>
                    <a:pt x="15911" y="10600"/>
                    <a:pt x="15858" y="10650"/>
                  </a:cubicBezTo>
                  <a:cubicBezTo>
                    <a:pt x="15816" y="10688"/>
                    <a:pt x="15710" y="10682"/>
                    <a:pt x="15650" y="10676"/>
                  </a:cubicBezTo>
                  <a:cubicBezTo>
                    <a:pt x="15621" y="10673"/>
                    <a:pt x="15649" y="10651"/>
                    <a:pt x="15640" y="10643"/>
                  </a:cubicBezTo>
                  <a:cubicBezTo>
                    <a:pt x="15624" y="10628"/>
                    <a:pt x="15602" y="10618"/>
                    <a:pt x="15578" y="10615"/>
                  </a:cubicBezTo>
                  <a:cubicBezTo>
                    <a:pt x="15585" y="10660"/>
                    <a:pt x="15587" y="10670"/>
                    <a:pt x="15538" y="10697"/>
                  </a:cubicBezTo>
                  <a:close/>
                  <a:moveTo>
                    <a:pt x="8219" y="11121"/>
                  </a:moveTo>
                  <a:cubicBezTo>
                    <a:pt x="8184" y="11099"/>
                    <a:pt x="8142" y="11081"/>
                    <a:pt x="8106" y="11062"/>
                  </a:cubicBezTo>
                  <a:cubicBezTo>
                    <a:pt x="8027" y="11019"/>
                    <a:pt x="7966" y="10967"/>
                    <a:pt x="7902" y="10912"/>
                  </a:cubicBezTo>
                  <a:cubicBezTo>
                    <a:pt x="7836" y="10854"/>
                    <a:pt x="7882" y="10956"/>
                    <a:pt x="7849" y="10961"/>
                  </a:cubicBezTo>
                  <a:cubicBezTo>
                    <a:pt x="7842" y="10962"/>
                    <a:pt x="7823" y="10935"/>
                    <a:pt x="7821" y="10930"/>
                  </a:cubicBezTo>
                  <a:cubicBezTo>
                    <a:pt x="7814" y="10903"/>
                    <a:pt x="7838" y="10911"/>
                    <a:pt x="7840" y="10901"/>
                  </a:cubicBezTo>
                  <a:cubicBezTo>
                    <a:pt x="7847" y="10852"/>
                    <a:pt x="7780" y="10835"/>
                    <a:pt x="7737" y="10808"/>
                  </a:cubicBezTo>
                  <a:cubicBezTo>
                    <a:pt x="7708" y="10790"/>
                    <a:pt x="7662" y="10752"/>
                    <a:pt x="7623" y="10780"/>
                  </a:cubicBezTo>
                  <a:cubicBezTo>
                    <a:pt x="7613" y="10787"/>
                    <a:pt x="7602" y="10817"/>
                    <a:pt x="7594" y="10826"/>
                  </a:cubicBezTo>
                  <a:cubicBezTo>
                    <a:pt x="7580" y="10842"/>
                    <a:pt x="7560" y="10847"/>
                    <a:pt x="7550" y="10872"/>
                  </a:cubicBezTo>
                  <a:cubicBezTo>
                    <a:pt x="7542" y="10893"/>
                    <a:pt x="7545" y="10910"/>
                    <a:pt x="7542" y="10931"/>
                  </a:cubicBezTo>
                  <a:cubicBezTo>
                    <a:pt x="7538" y="10963"/>
                    <a:pt x="7541" y="10963"/>
                    <a:pt x="7555" y="10984"/>
                  </a:cubicBezTo>
                  <a:cubicBezTo>
                    <a:pt x="7563" y="10996"/>
                    <a:pt x="7582" y="11019"/>
                    <a:pt x="7594" y="11031"/>
                  </a:cubicBezTo>
                  <a:cubicBezTo>
                    <a:pt x="7604" y="11043"/>
                    <a:pt x="7647" y="11061"/>
                    <a:pt x="7651" y="11073"/>
                  </a:cubicBezTo>
                  <a:cubicBezTo>
                    <a:pt x="7666" y="11120"/>
                    <a:pt x="7575" y="11046"/>
                    <a:pt x="7556" y="11033"/>
                  </a:cubicBezTo>
                  <a:cubicBezTo>
                    <a:pt x="7530" y="11014"/>
                    <a:pt x="7477" y="10972"/>
                    <a:pt x="7461" y="11011"/>
                  </a:cubicBezTo>
                  <a:cubicBezTo>
                    <a:pt x="7452" y="11035"/>
                    <a:pt x="7474" y="11049"/>
                    <a:pt x="7501" y="11056"/>
                  </a:cubicBezTo>
                  <a:cubicBezTo>
                    <a:pt x="7432" y="11064"/>
                    <a:pt x="7473" y="11105"/>
                    <a:pt x="7497" y="11126"/>
                  </a:cubicBezTo>
                  <a:cubicBezTo>
                    <a:pt x="7528" y="11156"/>
                    <a:pt x="7561" y="11170"/>
                    <a:pt x="7503" y="11188"/>
                  </a:cubicBezTo>
                  <a:cubicBezTo>
                    <a:pt x="7483" y="11194"/>
                    <a:pt x="7459" y="11188"/>
                    <a:pt x="7447" y="11199"/>
                  </a:cubicBezTo>
                  <a:cubicBezTo>
                    <a:pt x="7427" y="11216"/>
                    <a:pt x="7449" y="11233"/>
                    <a:pt x="7440" y="11248"/>
                  </a:cubicBezTo>
                  <a:cubicBezTo>
                    <a:pt x="7429" y="11269"/>
                    <a:pt x="7340" y="11305"/>
                    <a:pt x="7306" y="11306"/>
                  </a:cubicBezTo>
                  <a:cubicBezTo>
                    <a:pt x="7237" y="11308"/>
                    <a:pt x="7207" y="11290"/>
                    <a:pt x="7174" y="11344"/>
                  </a:cubicBezTo>
                  <a:cubicBezTo>
                    <a:pt x="7152" y="11380"/>
                    <a:pt x="7160" y="11389"/>
                    <a:pt x="7178" y="11419"/>
                  </a:cubicBezTo>
                  <a:cubicBezTo>
                    <a:pt x="7185" y="11430"/>
                    <a:pt x="7197" y="11447"/>
                    <a:pt x="7204" y="11457"/>
                  </a:cubicBezTo>
                  <a:cubicBezTo>
                    <a:pt x="7222" y="11483"/>
                    <a:pt x="7215" y="11476"/>
                    <a:pt x="7246" y="11495"/>
                  </a:cubicBezTo>
                  <a:cubicBezTo>
                    <a:pt x="7250" y="11497"/>
                    <a:pt x="7290" y="11524"/>
                    <a:pt x="7291" y="11524"/>
                  </a:cubicBezTo>
                  <a:cubicBezTo>
                    <a:pt x="7298" y="11524"/>
                    <a:pt x="7338" y="11499"/>
                    <a:pt x="7340" y="11494"/>
                  </a:cubicBezTo>
                  <a:cubicBezTo>
                    <a:pt x="7341" y="11488"/>
                    <a:pt x="7318" y="11464"/>
                    <a:pt x="7316" y="11459"/>
                  </a:cubicBezTo>
                  <a:cubicBezTo>
                    <a:pt x="7369" y="11485"/>
                    <a:pt x="7340" y="11411"/>
                    <a:pt x="7397" y="11445"/>
                  </a:cubicBezTo>
                  <a:cubicBezTo>
                    <a:pt x="7433" y="11467"/>
                    <a:pt x="7382" y="11495"/>
                    <a:pt x="7420" y="11525"/>
                  </a:cubicBezTo>
                  <a:cubicBezTo>
                    <a:pt x="7436" y="11539"/>
                    <a:pt x="7455" y="11537"/>
                    <a:pt x="7469" y="11543"/>
                  </a:cubicBezTo>
                  <a:cubicBezTo>
                    <a:pt x="7470" y="11543"/>
                    <a:pt x="7488" y="11541"/>
                    <a:pt x="7496" y="11544"/>
                  </a:cubicBezTo>
                  <a:cubicBezTo>
                    <a:pt x="7505" y="11547"/>
                    <a:pt x="7505" y="11564"/>
                    <a:pt x="7511" y="11565"/>
                  </a:cubicBezTo>
                  <a:cubicBezTo>
                    <a:pt x="7588" y="11581"/>
                    <a:pt x="7534" y="11535"/>
                    <a:pt x="7550" y="11509"/>
                  </a:cubicBezTo>
                  <a:cubicBezTo>
                    <a:pt x="7570" y="11474"/>
                    <a:pt x="7614" y="11519"/>
                    <a:pt x="7602" y="11550"/>
                  </a:cubicBezTo>
                  <a:cubicBezTo>
                    <a:pt x="7593" y="11572"/>
                    <a:pt x="7638" y="11615"/>
                    <a:pt x="7663" y="11620"/>
                  </a:cubicBezTo>
                  <a:cubicBezTo>
                    <a:pt x="7663" y="11620"/>
                    <a:pt x="7688" y="11606"/>
                    <a:pt x="7703" y="11607"/>
                  </a:cubicBezTo>
                  <a:cubicBezTo>
                    <a:pt x="7722" y="11609"/>
                    <a:pt x="7750" y="11624"/>
                    <a:pt x="7764" y="11631"/>
                  </a:cubicBezTo>
                  <a:cubicBezTo>
                    <a:pt x="7787" y="11642"/>
                    <a:pt x="7816" y="11667"/>
                    <a:pt x="7845" y="11684"/>
                  </a:cubicBezTo>
                  <a:cubicBezTo>
                    <a:pt x="7880" y="11704"/>
                    <a:pt x="7881" y="11691"/>
                    <a:pt x="7911" y="11695"/>
                  </a:cubicBezTo>
                  <a:cubicBezTo>
                    <a:pt x="7927" y="11697"/>
                    <a:pt x="7960" y="11719"/>
                    <a:pt x="7978" y="11716"/>
                  </a:cubicBezTo>
                  <a:cubicBezTo>
                    <a:pt x="8037" y="11705"/>
                    <a:pt x="7980" y="11678"/>
                    <a:pt x="7994" y="11668"/>
                  </a:cubicBezTo>
                  <a:cubicBezTo>
                    <a:pt x="8011" y="11656"/>
                    <a:pt x="8025" y="11684"/>
                    <a:pt x="8043" y="11694"/>
                  </a:cubicBezTo>
                  <a:cubicBezTo>
                    <a:pt x="8128" y="11744"/>
                    <a:pt x="8255" y="11775"/>
                    <a:pt x="8307" y="11691"/>
                  </a:cubicBezTo>
                  <a:cubicBezTo>
                    <a:pt x="8326" y="11670"/>
                    <a:pt x="8355" y="11611"/>
                    <a:pt x="8397" y="11618"/>
                  </a:cubicBezTo>
                  <a:cubicBezTo>
                    <a:pt x="8429" y="11624"/>
                    <a:pt x="8423" y="11591"/>
                    <a:pt x="8429" y="11570"/>
                  </a:cubicBezTo>
                  <a:cubicBezTo>
                    <a:pt x="8438" y="11532"/>
                    <a:pt x="8437" y="11542"/>
                    <a:pt x="8481" y="11522"/>
                  </a:cubicBezTo>
                  <a:cubicBezTo>
                    <a:pt x="8518" y="11506"/>
                    <a:pt x="8520" y="11551"/>
                    <a:pt x="8523" y="11567"/>
                  </a:cubicBezTo>
                  <a:cubicBezTo>
                    <a:pt x="8543" y="11547"/>
                    <a:pt x="8679" y="11380"/>
                    <a:pt x="8550" y="11416"/>
                  </a:cubicBezTo>
                  <a:cubicBezTo>
                    <a:pt x="8529" y="11422"/>
                    <a:pt x="8527" y="11446"/>
                    <a:pt x="8512" y="11454"/>
                  </a:cubicBezTo>
                  <a:cubicBezTo>
                    <a:pt x="8478" y="11471"/>
                    <a:pt x="8489" y="11461"/>
                    <a:pt x="8465" y="11451"/>
                  </a:cubicBezTo>
                  <a:cubicBezTo>
                    <a:pt x="8459" y="11448"/>
                    <a:pt x="8438" y="11431"/>
                    <a:pt x="8428" y="11426"/>
                  </a:cubicBezTo>
                  <a:cubicBezTo>
                    <a:pt x="8420" y="11422"/>
                    <a:pt x="8405" y="11453"/>
                    <a:pt x="8401" y="11413"/>
                  </a:cubicBezTo>
                  <a:cubicBezTo>
                    <a:pt x="8397" y="11376"/>
                    <a:pt x="8374" y="11370"/>
                    <a:pt x="8359" y="11341"/>
                  </a:cubicBezTo>
                  <a:cubicBezTo>
                    <a:pt x="8342" y="11308"/>
                    <a:pt x="8354" y="11277"/>
                    <a:pt x="8336" y="11243"/>
                  </a:cubicBezTo>
                  <a:cubicBezTo>
                    <a:pt x="8264" y="11108"/>
                    <a:pt x="8296" y="11339"/>
                    <a:pt x="8296" y="11338"/>
                  </a:cubicBezTo>
                  <a:cubicBezTo>
                    <a:pt x="8259" y="11351"/>
                    <a:pt x="8262" y="11262"/>
                    <a:pt x="8248" y="11252"/>
                  </a:cubicBezTo>
                  <a:cubicBezTo>
                    <a:pt x="8261" y="11196"/>
                    <a:pt x="8279" y="11160"/>
                    <a:pt x="8219" y="11121"/>
                  </a:cubicBezTo>
                  <a:close/>
                  <a:moveTo>
                    <a:pt x="13217" y="13050"/>
                  </a:moveTo>
                  <a:cubicBezTo>
                    <a:pt x="13251" y="13054"/>
                    <a:pt x="13263" y="13082"/>
                    <a:pt x="13291" y="13051"/>
                  </a:cubicBezTo>
                  <a:cubicBezTo>
                    <a:pt x="13341" y="12994"/>
                    <a:pt x="13225" y="12976"/>
                    <a:pt x="13190" y="13015"/>
                  </a:cubicBezTo>
                  <a:cubicBezTo>
                    <a:pt x="13163" y="12975"/>
                    <a:pt x="13084" y="12991"/>
                    <a:pt x="13076" y="12956"/>
                  </a:cubicBezTo>
                  <a:cubicBezTo>
                    <a:pt x="13074" y="12945"/>
                    <a:pt x="13097" y="12928"/>
                    <a:pt x="13089" y="12909"/>
                  </a:cubicBezTo>
                  <a:cubicBezTo>
                    <a:pt x="13076" y="12880"/>
                    <a:pt x="13008" y="12861"/>
                    <a:pt x="12976" y="12847"/>
                  </a:cubicBezTo>
                  <a:cubicBezTo>
                    <a:pt x="12942" y="12846"/>
                    <a:pt x="12951" y="12824"/>
                    <a:pt x="12937" y="12820"/>
                  </a:cubicBezTo>
                  <a:cubicBezTo>
                    <a:pt x="12939" y="12820"/>
                    <a:pt x="12911" y="12812"/>
                    <a:pt x="12918" y="12814"/>
                  </a:cubicBezTo>
                  <a:cubicBezTo>
                    <a:pt x="12934" y="12819"/>
                    <a:pt x="12879" y="12815"/>
                    <a:pt x="12879" y="12815"/>
                  </a:cubicBezTo>
                  <a:cubicBezTo>
                    <a:pt x="12860" y="12815"/>
                    <a:pt x="12846" y="12813"/>
                    <a:pt x="12827" y="12809"/>
                  </a:cubicBezTo>
                  <a:cubicBezTo>
                    <a:pt x="12779" y="12801"/>
                    <a:pt x="12735" y="12784"/>
                    <a:pt x="12764" y="12838"/>
                  </a:cubicBezTo>
                  <a:cubicBezTo>
                    <a:pt x="12777" y="12863"/>
                    <a:pt x="12800" y="12879"/>
                    <a:pt x="12831" y="12887"/>
                  </a:cubicBezTo>
                  <a:cubicBezTo>
                    <a:pt x="12885" y="12901"/>
                    <a:pt x="12899" y="12901"/>
                    <a:pt x="12930" y="12940"/>
                  </a:cubicBezTo>
                  <a:cubicBezTo>
                    <a:pt x="12944" y="12958"/>
                    <a:pt x="12941" y="13003"/>
                    <a:pt x="12952" y="13015"/>
                  </a:cubicBezTo>
                  <a:cubicBezTo>
                    <a:pt x="12961" y="13024"/>
                    <a:pt x="13008" y="13036"/>
                    <a:pt x="13028" y="13026"/>
                  </a:cubicBezTo>
                  <a:cubicBezTo>
                    <a:pt x="13035" y="13023"/>
                    <a:pt x="13099" y="12951"/>
                    <a:pt x="13072" y="13011"/>
                  </a:cubicBezTo>
                  <a:cubicBezTo>
                    <a:pt x="13075" y="13009"/>
                    <a:pt x="13105" y="12991"/>
                    <a:pt x="13109" y="12999"/>
                  </a:cubicBezTo>
                  <a:cubicBezTo>
                    <a:pt x="13117" y="13013"/>
                    <a:pt x="13104" y="13003"/>
                    <a:pt x="13105" y="13017"/>
                  </a:cubicBezTo>
                  <a:cubicBezTo>
                    <a:pt x="13105" y="13024"/>
                    <a:pt x="13077" y="13058"/>
                    <a:pt x="13081" y="13065"/>
                  </a:cubicBezTo>
                  <a:cubicBezTo>
                    <a:pt x="13091" y="13083"/>
                    <a:pt x="13113" y="13073"/>
                    <a:pt x="13133" y="13064"/>
                  </a:cubicBezTo>
                  <a:cubicBezTo>
                    <a:pt x="13141" y="13061"/>
                    <a:pt x="13167" y="13079"/>
                    <a:pt x="13163" y="13061"/>
                  </a:cubicBezTo>
                  <a:cubicBezTo>
                    <a:pt x="13161" y="13044"/>
                    <a:pt x="13158" y="13040"/>
                    <a:pt x="13166" y="13028"/>
                  </a:cubicBezTo>
                  <a:cubicBezTo>
                    <a:pt x="13146" y="13070"/>
                    <a:pt x="13190" y="13047"/>
                    <a:pt x="13217" y="13050"/>
                  </a:cubicBezTo>
                  <a:close/>
                  <a:moveTo>
                    <a:pt x="13110" y="10120"/>
                  </a:moveTo>
                  <a:cubicBezTo>
                    <a:pt x="13087" y="10129"/>
                    <a:pt x="13080" y="10171"/>
                    <a:pt x="13114" y="10178"/>
                  </a:cubicBezTo>
                  <a:cubicBezTo>
                    <a:pt x="13148" y="10185"/>
                    <a:pt x="13175" y="10159"/>
                    <a:pt x="13214" y="10172"/>
                  </a:cubicBezTo>
                  <a:cubicBezTo>
                    <a:pt x="13242" y="10180"/>
                    <a:pt x="13260" y="10197"/>
                    <a:pt x="13271" y="10220"/>
                  </a:cubicBezTo>
                  <a:cubicBezTo>
                    <a:pt x="13276" y="10206"/>
                    <a:pt x="13275" y="10183"/>
                    <a:pt x="13287" y="10168"/>
                  </a:cubicBezTo>
                  <a:cubicBezTo>
                    <a:pt x="13300" y="10184"/>
                    <a:pt x="13291" y="10215"/>
                    <a:pt x="13308" y="10228"/>
                  </a:cubicBezTo>
                  <a:cubicBezTo>
                    <a:pt x="13315" y="10233"/>
                    <a:pt x="13373" y="10237"/>
                    <a:pt x="13388" y="10241"/>
                  </a:cubicBezTo>
                  <a:cubicBezTo>
                    <a:pt x="13422" y="10201"/>
                    <a:pt x="13364" y="10196"/>
                    <a:pt x="13346" y="10169"/>
                  </a:cubicBezTo>
                  <a:cubicBezTo>
                    <a:pt x="13314" y="10119"/>
                    <a:pt x="13354" y="10158"/>
                    <a:pt x="13374" y="10157"/>
                  </a:cubicBezTo>
                  <a:cubicBezTo>
                    <a:pt x="13456" y="10150"/>
                    <a:pt x="13583" y="10052"/>
                    <a:pt x="13492" y="10008"/>
                  </a:cubicBezTo>
                  <a:cubicBezTo>
                    <a:pt x="13463" y="9994"/>
                    <a:pt x="13450" y="9992"/>
                    <a:pt x="13424" y="10000"/>
                  </a:cubicBezTo>
                  <a:cubicBezTo>
                    <a:pt x="13378" y="10015"/>
                    <a:pt x="13410" y="10016"/>
                    <a:pt x="13390" y="10045"/>
                  </a:cubicBezTo>
                  <a:cubicBezTo>
                    <a:pt x="13390" y="10045"/>
                    <a:pt x="13341" y="10080"/>
                    <a:pt x="13334" y="10083"/>
                  </a:cubicBezTo>
                  <a:cubicBezTo>
                    <a:pt x="13314" y="10090"/>
                    <a:pt x="13291" y="10061"/>
                    <a:pt x="13280" y="10093"/>
                  </a:cubicBezTo>
                  <a:cubicBezTo>
                    <a:pt x="13288" y="10005"/>
                    <a:pt x="13059" y="10093"/>
                    <a:pt x="13214" y="10124"/>
                  </a:cubicBezTo>
                  <a:cubicBezTo>
                    <a:pt x="13188" y="10127"/>
                    <a:pt x="13133" y="10111"/>
                    <a:pt x="13110" y="10120"/>
                  </a:cubicBezTo>
                  <a:close/>
                  <a:moveTo>
                    <a:pt x="11594" y="11498"/>
                  </a:moveTo>
                  <a:cubicBezTo>
                    <a:pt x="11535" y="11468"/>
                    <a:pt x="11526" y="11479"/>
                    <a:pt x="11505" y="11524"/>
                  </a:cubicBezTo>
                  <a:cubicBezTo>
                    <a:pt x="11490" y="11558"/>
                    <a:pt x="11482" y="11590"/>
                    <a:pt x="11482" y="11621"/>
                  </a:cubicBezTo>
                  <a:cubicBezTo>
                    <a:pt x="11482" y="11645"/>
                    <a:pt x="11467" y="11644"/>
                    <a:pt x="11493" y="11668"/>
                  </a:cubicBezTo>
                  <a:cubicBezTo>
                    <a:pt x="11508" y="11682"/>
                    <a:pt x="11525" y="11670"/>
                    <a:pt x="11538" y="11689"/>
                  </a:cubicBezTo>
                  <a:cubicBezTo>
                    <a:pt x="11558" y="11718"/>
                    <a:pt x="11514" y="11735"/>
                    <a:pt x="11521" y="11760"/>
                  </a:cubicBezTo>
                  <a:cubicBezTo>
                    <a:pt x="11535" y="11805"/>
                    <a:pt x="11628" y="11889"/>
                    <a:pt x="11684" y="11857"/>
                  </a:cubicBezTo>
                  <a:cubicBezTo>
                    <a:pt x="11782" y="11801"/>
                    <a:pt x="11665" y="11615"/>
                    <a:pt x="11642" y="11560"/>
                  </a:cubicBezTo>
                  <a:cubicBezTo>
                    <a:pt x="11656" y="11530"/>
                    <a:pt x="11624" y="11512"/>
                    <a:pt x="11594" y="11498"/>
                  </a:cubicBezTo>
                  <a:close/>
                  <a:moveTo>
                    <a:pt x="17543" y="14127"/>
                  </a:moveTo>
                  <a:cubicBezTo>
                    <a:pt x="17574" y="14124"/>
                    <a:pt x="17696" y="14108"/>
                    <a:pt x="17623" y="14075"/>
                  </a:cubicBezTo>
                  <a:cubicBezTo>
                    <a:pt x="17596" y="14064"/>
                    <a:pt x="17542" y="14081"/>
                    <a:pt x="17514" y="14088"/>
                  </a:cubicBezTo>
                  <a:cubicBezTo>
                    <a:pt x="17465" y="14101"/>
                    <a:pt x="17460" y="14097"/>
                    <a:pt x="17408" y="14077"/>
                  </a:cubicBezTo>
                  <a:cubicBezTo>
                    <a:pt x="17361" y="14075"/>
                    <a:pt x="17335" y="14117"/>
                    <a:pt x="17396" y="14127"/>
                  </a:cubicBezTo>
                  <a:cubicBezTo>
                    <a:pt x="17436" y="14134"/>
                    <a:pt x="17500" y="14131"/>
                    <a:pt x="17543" y="14127"/>
                  </a:cubicBezTo>
                  <a:close/>
                  <a:moveTo>
                    <a:pt x="15706" y="14917"/>
                  </a:moveTo>
                  <a:cubicBezTo>
                    <a:pt x="15685" y="14895"/>
                    <a:pt x="15563" y="14823"/>
                    <a:pt x="15527" y="14835"/>
                  </a:cubicBezTo>
                  <a:cubicBezTo>
                    <a:pt x="15513" y="14839"/>
                    <a:pt x="15512" y="14857"/>
                    <a:pt x="15503" y="14861"/>
                  </a:cubicBezTo>
                  <a:cubicBezTo>
                    <a:pt x="15498" y="14863"/>
                    <a:pt x="15499" y="14873"/>
                    <a:pt x="15492" y="14876"/>
                  </a:cubicBezTo>
                  <a:cubicBezTo>
                    <a:pt x="15484" y="14880"/>
                    <a:pt x="15479" y="14863"/>
                    <a:pt x="15477" y="14863"/>
                  </a:cubicBezTo>
                  <a:cubicBezTo>
                    <a:pt x="15445" y="14869"/>
                    <a:pt x="15416" y="14867"/>
                    <a:pt x="15391" y="14890"/>
                  </a:cubicBezTo>
                  <a:cubicBezTo>
                    <a:pt x="15361" y="14918"/>
                    <a:pt x="15378" y="14947"/>
                    <a:pt x="15368" y="14978"/>
                  </a:cubicBezTo>
                  <a:cubicBezTo>
                    <a:pt x="15359" y="15009"/>
                    <a:pt x="15344" y="15028"/>
                    <a:pt x="15343" y="15061"/>
                  </a:cubicBezTo>
                  <a:cubicBezTo>
                    <a:pt x="15340" y="15128"/>
                    <a:pt x="15368" y="15181"/>
                    <a:pt x="15396" y="15242"/>
                  </a:cubicBezTo>
                  <a:cubicBezTo>
                    <a:pt x="15412" y="15275"/>
                    <a:pt x="15415" y="15299"/>
                    <a:pt x="15465" y="15317"/>
                  </a:cubicBezTo>
                  <a:cubicBezTo>
                    <a:pt x="15493" y="15327"/>
                    <a:pt x="15513" y="15312"/>
                    <a:pt x="15541" y="15327"/>
                  </a:cubicBezTo>
                  <a:cubicBezTo>
                    <a:pt x="15587" y="15350"/>
                    <a:pt x="15625" y="15378"/>
                    <a:pt x="15665" y="15407"/>
                  </a:cubicBezTo>
                  <a:cubicBezTo>
                    <a:pt x="15696" y="15398"/>
                    <a:pt x="15713" y="15348"/>
                    <a:pt x="15716" y="15324"/>
                  </a:cubicBezTo>
                  <a:cubicBezTo>
                    <a:pt x="15719" y="15303"/>
                    <a:pt x="15702" y="15286"/>
                    <a:pt x="15702" y="15268"/>
                  </a:cubicBezTo>
                  <a:cubicBezTo>
                    <a:pt x="15702" y="15251"/>
                    <a:pt x="15714" y="15241"/>
                    <a:pt x="15717" y="15227"/>
                  </a:cubicBezTo>
                  <a:cubicBezTo>
                    <a:pt x="15722" y="15197"/>
                    <a:pt x="15726" y="15160"/>
                    <a:pt x="15726" y="15129"/>
                  </a:cubicBezTo>
                  <a:cubicBezTo>
                    <a:pt x="15725" y="15110"/>
                    <a:pt x="15711" y="15064"/>
                    <a:pt x="15750" y="15088"/>
                  </a:cubicBezTo>
                  <a:cubicBezTo>
                    <a:pt x="15744" y="15059"/>
                    <a:pt x="15731" y="15033"/>
                    <a:pt x="15729" y="15000"/>
                  </a:cubicBezTo>
                  <a:cubicBezTo>
                    <a:pt x="15727" y="14980"/>
                    <a:pt x="15722" y="14932"/>
                    <a:pt x="15706" y="14917"/>
                  </a:cubicBezTo>
                  <a:close/>
                  <a:moveTo>
                    <a:pt x="20750" y="14527"/>
                  </a:moveTo>
                  <a:cubicBezTo>
                    <a:pt x="20643" y="14508"/>
                    <a:pt x="20688" y="14597"/>
                    <a:pt x="20688" y="14637"/>
                  </a:cubicBezTo>
                  <a:cubicBezTo>
                    <a:pt x="20688" y="14669"/>
                    <a:pt x="20658" y="14769"/>
                    <a:pt x="20713" y="14787"/>
                  </a:cubicBezTo>
                  <a:cubicBezTo>
                    <a:pt x="20764" y="14804"/>
                    <a:pt x="20818" y="14718"/>
                    <a:pt x="20838" y="14692"/>
                  </a:cubicBezTo>
                  <a:cubicBezTo>
                    <a:pt x="20856" y="14668"/>
                    <a:pt x="20867" y="14638"/>
                    <a:pt x="20865" y="14610"/>
                  </a:cubicBezTo>
                  <a:cubicBezTo>
                    <a:pt x="20861" y="14557"/>
                    <a:pt x="20811" y="14551"/>
                    <a:pt x="20750" y="14527"/>
                  </a:cubicBezTo>
                  <a:close/>
                  <a:moveTo>
                    <a:pt x="18975" y="13616"/>
                  </a:moveTo>
                  <a:cubicBezTo>
                    <a:pt x="18983" y="13565"/>
                    <a:pt x="18911" y="13569"/>
                    <a:pt x="18861" y="13566"/>
                  </a:cubicBezTo>
                  <a:cubicBezTo>
                    <a:pt x="18809" y="13566"/>
                    <a:pt x="18773" y="13560"/>
                    <a:pt x="18719" y="13567"/>
                  </a:cubicBezTo>
                  <a:cubicBezTo>
                    <a:pt x="18673" y="13573"/>
                    <a:pt x="18626" y="13573"/>
                    <a:pt x="18579" y="13582"/>
                  </a:cubicBezTo>
                  <a:cubicBezTo>
                    <a:pt x="18602" y="13605"/>
                    <a:pt x="18638" y="13599"/>
                    <a:pt x="18672" y="13600"/>
                  </a:cubicBezTo>
                  <a:cubicBezTo>
                    <a:pt x="18627" y="13607"/>
                    <a:pt x="18624" y="13639"/>
                    <a:pt x="18660" y="13615"/>
                  </a:cubicBezTo>
                  <a:cubicBezTo>
                    <a:pt x="18687" y="13597"/>
                    <a:pt x="18768" y="13601"/>
                    <a:pt x="18800" y="13606"/>
                  </a:cubicBezTo>
                  <a:cubicBezTo>
                    <a:pt x="18783" y="13619"/>
                    <a:pt x="18752" y="13617"/>
                    <a:pt x="18755" y="13632"/>
                  </a:cubicBezTo>
                  <a:cubicBezTo>
                    <a:pt x="18753" y="13624"/>
                    <a:pt x="18804" y="13659"/>
                    <a:pt x="18807" y="13661"/>
                  </a:cubicBezTo>
                  <a:cubicBezTo>
                    <a:pt x="18822" y="13674"/>
                    <a:pt x="18828" y="13705"/>
                    <a:pt x="18856" y="13700"/>
                  </a:cubicBezTo>
                  <a:cubicBezTo>
                    <a:pt x="18883" y="13695"/>
                    <a:pt x="18862" y="13717"/>
                    <a:pt x="18898" y="13721"/>
                  </a:cubicBezTo>
                  <a:cubicBezTo>
                    <a:pt x="18918" y="13723"/>
                    <a:pt x="18915" y="13705"/>
                    <a:pt x="18924" y="13704"/>
                  </a:cubicBezTo>
                  <a:cubicBezTo>
                    <a:pt x="18935" y="13702"/>
                    <a:pt x="18943" y="13711"/>
                    <a:pt x="18956" y="13709"/>
                  </a:cubicBezTo>
                  <a:cubicBezTo>
                    <a:pt x="18980" y="13703"/>
                    <a:pt x="19010" y="13699"/>
                    <a:pt x="19031" y="13687"/>
                  </a:cubicBezTo>
                  <a:cubicBezTo>
                    <a:pt x="19040" y="13682"/>
                    <a:pt x="19070" y="13653"/>
                    <a:pt x="19070" y="13645"/>
                  </a:cubicBezTo>
                  <a:cubicBezTo>
                    <a:pt x="19069" y="13620"/>
                    <a:pt x="19004" y="13603"/>
                    <a:pt x="18975" y="13616"/>
                  </a:cubicBezTo>
                  <a:close/>
                  <a:moveTo>
                    <a:pt x="11978" y="7443"/>
                  </a:moveTo>
                  <a:cubicBezTo>
                    <a:pt x="11992" y="7471"/>
                    <a:pt x="11978" y="7497"/>
                    <a:pt x="11986" y="7521"/>
                  </a:cubicBezTo>
                  <a:cubicBezTo>
                    <a:pt x="11998" y="7554"/>
                    <a:pt x="12033" y="7565"/>
                    <a:pt x="12061" y="7586"/>
                  </a:cubicBezTo>
                  <a:cubicBezTo>
                    <a:pt x="11998" y="7569"/>
                    <a:pt x="12055" y="7713"/>
                    <a:pt x="12117" y="7725"/>
                  </a:cubicBezTo>
                  <a:cubicBezTo>
                    <a:pt x="12160" y="7734"/>
                    <a:pt x="12209" y="7715"/>
                    <a:pt x="12247" y="7720"/>
                  </a:cubicBezTo>
                  <a:cubicBezTo>
                    <a:pt x="12298" y="7727"/>
                    <a:pt x="12298" y="7761"/>
                    <a:pt x="12307" y="7792"/>
                  </a:cubicBezTo>
                  <a:cubicBezTo>
                    <a:pt x="12323" y="7847"/>
                    <a:pt x="12360" y="7906"/>
                    <a:pt x="12416" y="7950"/>
                  </a:cubicBezTo>
                  <a:cubicBezTo>
                    <a:pt x="12462" y="7988"/>
                    <a:pt x="12557" y="8009"/>
                    <a:pt x="12628" y="8011"/>
                  </a:cubicBezTo>
                  <a:cubicBezTo>
                    <a:pt x="12670" y="7980"/>
                    <a:pt x="12713" y="7949"/>
                    <a:pt x="12755" y="7918"/>
                  </a:cubicBezTo>
                  <a:cubicBezTo>
                    <a:pt x="12784" y="7897"/>
                    <a:pt x="12849" y="7828"/>
                    <a:pt x="12888" y="7823"/>
                  </a:cubicBezTo>
                  <a:cubicBezTo>
                    <a:pt x="12930" y="7818"/>
                    <a:pt x="12968" y="7803"/>
                    <a:pt x="13006" y="7790"/>
                  </a:cubicBezTo>
                  <a:cubicBezTo>
                    <a:pt x="13054" y="7773"/>
                    <a:pt x="13095" y="7784"/>
                    <a:pt x="13144" y="7784"/>
                  </a:cubicBezTo>
                  <a:cubicBezTo>
                    <a:pt x="13188" y="7784"/>
                    <a:pt x="13230" y="7774"/>
                    <a:pt x="13272" y="7765"/>
                  </a:cubicBezTo>
                  <a:cubicBezTo>
                    <a:pt x="13325" y="7753"/>
                    <a:pt x="13422" y="7750"/>
                    <a:pt x="13449" y="7707"/>
                  </a:cubicBezTo>
                  <a:cubicBezTo>
                    <a:pt x="13470" y="7671"/>
                    <a:pt x="13446" y="7650"/>
                    <a:pt x="13407" y="7639"/>
                  </a:cubicBezTo>
                  <a:cubicBezTo>
                    <a:pt x="13391" y="7634"/>
                    <a:pt x="13382" y="7650"/>
                    <a:pt x="13361" y="7638"/>
                  </a:cubicBezTo>
                  <a:cubicBezTo>
                    <a:pt x="13369" y="7643"/>
                    <a:pt x="13352" y="7601"/>
                    <a:pt x="13353" y="7603"/>
                  </a:cubicBezTo>
                  <a:cubicBezTo>
                    <a:pt x="13349" y="7593"/>
                    <a:pt x="13342" y="7583"/>
                    <a:pt x="13335" y="7573"/>
                  </a:cubicBezTo>
                  <a:cubicBezTo>
                    <a:pt x="13312" y="7538"/>
                    <a:pt x="13352" y="7559"/>
                    <a:pt x="13304" y="7547"/>
                  </a:cubicBezTo>
                  <a:cubicBezTo>
                    <a:pt x="13261" y="7536"/>
                    <a:pt x="13244" y="7545"/>
                    <a:pt x="13215" y="7514"/>
                  </a:cubicBezTo>
                  <a:cubicBezTo>
                    <a:pt x="13204" y="7502"/>
                    <a:pt x="13199" y="7486"/>
                    <a:pt x="13184" y="7473"/>
                  </a:cubicBezTo>
                  <a:cubicBezTo>
                    <a:pt x="13166" y="7456"/>
                    <a:pt x="13158" y="7455"/>
                    <a:pt x="13146" y="7434"/>
                  </a:cubicBezTo>
                  <a:cubicBezTo>
                    <a:pt x="13139" y="7422"/>
                    <a:pt x="13083" y="7440"/>
                    <a:pt x="13058" y="7429"/>
                  </a:cubicBezTo>
                  <a:cubicBezTo>
                    <a:pt x="13032" y="7417"/>
                    <a:pt x="12998" y="7374"/>
                    <a:pt x="12977" y="7353"/>
                  </a:cubicBezTo>
                  <a:cubicBezTo>
                    <a:pt x="12959" y="7336"/>
                    <a:pt x="12896" y="7323"/>
                    <a:pt x="12867" y="7317"/>
                  </a:cubicBezTo>
                  <a:cubicBezTo>
                    <a:pt x="12826" y="7309"/>
                    <a:pt x="12776" y="7315"/>
                    <a:pt x="12732" y="7306"/>
                  </a:cubicBezTo>
                  <a:cubicBezTo>
                    <a:pt x="12644" y="7289"/>
                    <a:pt x="12553" y="7314"/>
                    <a:pt x="12473" y="7350"/>
                  </a:cubicBezTo>
                  <a:cubicBezTo>
                    <a:pt x="12466" y="7354"/>
                    <a:pt x="12466" y="7366"/>
                    <a:pt x="12454" y="7371"/>
                  </a:cubicBezTo>
                  <a:cubicBezTo>
                    <a:pt x="12438" y="7379"/>
                    <a:pt x="12414" y="7381"/>
                    <a:pt x="12396" y="7385"/>
                  </a:cubicBezTo>
                  <a:cubicBezTo>
                    <a:pt x="12342" y="7400"/>
                    <a:pt x="12336" y="7393"/>
                    <a:pt x="12284" y="7385"/>
                  </a:cubicBezTo>
                  <a:cubicBezTo>
                    <a:pt x="12266" y="7383"/>
                    <a:pt x="12181" y="7370"/>
                    <a:pt x="12170" y="7372"/>
                  </a:cubicBezTo>
                  <a:cubicBezTo>
                    <a:pt x="12148" y="7376"/>
                    <a:pt x="12174" y="7397"/>
                    <a:pt x="12149" y="7399"/>
                  </a:cubicBezTo>
                  <a:cubicBezTo>
                    <a:pt x="12126" y="7401"/>
                    <a:pt x="12113" y="7383"/>
                    <a:pt x="12094" y="7378"/>
                  </a:cubicBezTo>
                  <a:cubicBezTo>
                    <a:pt x="12052" y="7367"/>
                    <a:pt x="12021" y="7370"/>
                    <a:pt x="11983" y="7394"/>
                  </a:cubicBezTo>
                  <a:cubicBezTo>
                    <a:pt x="11944" y="7419"/>
                    <a:pt x="11960" y="7408"/>
                    <a:pt x="11978" y="7443"/>
                  </a:cubicBezTo>
                  <a:close/>
                  <a:moveTo>
                    <a:pt x="21598" y="13556"/>
                  </a:moveTo>
                  <a:cubicBezTo>
                    <a:pt x="21599" y="13541"/>
                    <a:pt x="21592" y="13523"/>
                    <a:pt x="21592" y="13514"/>
                  </a:cubicBezTo>
                  <a:cubicBezTo>
                    <a:pt x="21591" y="13498"/>
                    <a:pt x="21600" y="13489"/>
                    <a:pt x="21592" y="13470"/>
                  </a:cubicBezTo>
                  <a:cubicBezTo>
                    <a:pt x="21581" y="13440"/>
                    <a:pt x="21531" y="13441"/>
                    <a:pt x="21553" y="13399"/>
                  </a:cubicBezTo>
                  <a:cubicBezTo>
                    <a:pt x="21530" y="13391"/>
                    <a:pt x="21510" y="13387"/>
                    <a:pt x="21491" y="13400"/>
                  </a:cubicBezTo>
                  <a:cubicBezTo>
                    <a:pt x="21513" y="13359"/>
                    <a:pt x="21472" y="13377"/>
                    <a:pt x="21434" y="13385"/>
                  </a:cubicBezTo>
                  <a:cubicBezTo>
                    <a:pt x="21380" y="13396"/>
                    <a:pt x="21344" y="13409"/>
                    <a:pt x="21301" y="13436"/>
                  </a:cubicBezTo>
                  <a:cubicBezTo>
                    <a:pt x="21242" y="13473"/>
                    <a:pt x="21191" y="13529"/>
                    <a:pt x="21303" y="13542"/>
                  </a:cubicBezTo>
                  <a:cubicBezTo>
                    <a:pt x="21341" y="13546"/>
                    <a:pt x="21373" y="13541"/>
                    <a:pt x="21406" y="13548"/>
                  </a:cubicBezTo>
                  <a:cubicBezTo>
                    <a:pt x="21438" y="13554"/>
                    <a:pt x="21453" y="13565"/>
                    <a:pt x="21489" y="13570"/>
                  </a:cubicBezTo>
                  <a:cubicBezTo>
                    <a:pt x="21500" y="13571"/>
                    <a:pt x="21505" y="13551"/>
                    <a:pt x="21520" y="13556"/>
                  </a:cubicBezTo>
                  <a:cubicBezTo>
                    <a:pt x="21534" y="13560"/>
                    <a:pt x="21528" y="13583"/>
                    <a:pt x="21549" y="13592"/>
                  </a:cubicBezTo>
                  <a:cubicBezTo>
                    <a:pt x="21536" y="13586"/>
                    <a:pt x="21599" y="13583"/>
                    <a:pt x="21591" y="13590"/>
                  </a:cubicBezTo>
                  <a:cubicBezTo>
                    <a:pt x="21596" y="13586"/>
                    <a:pt x="21598" y="13563"/>
                    <a:pt x="21598" y="13556"/>
                  </a:cubicBezTo>
                  <a:close/>
                  <a:moveTo>
                    <a:pt x="21237" y="12913"/>
                  </a:moveTo>
                  <a:cubicBezTo>
                    <a:pt x="21247" y="12893"/>
                    <a:pt x="21225" y="12886"/>
                    <a:pt x="21227" y="12876"/>
                  </a:cubicBezTo>
                  <a:cubicBezTo>
                    <a:pt x="21228" y="12871"/>
                    <a:pt x="21280" y="12831"/>
                    <a:pt x="21218" y="12852"/>
                  </a:cubicBezTo>
                  <a:cubicBezTo>
                    <a:pt x="21235" y="12838"/>
                    <a:pt x="21251" y="12821"/>
                    <a:pt x="21229" y="12807"/>
                  </a:cubicBezTo>
                  <a:cubicBezTo>
                    <a:pt x="21234" y="12803"/>
                    <a:pt x="21198" y="12826"/>
                    <a:pt x="21208" y="12824"/>
                  </a:cubicBezTo>
                  <a:cubicBezTo>
                    <a:pt x="21194" y="12827"/>
                    <a:pt x="21195" y="12806"/>
                    <a:pt x="21177" y="12811"/>
                  </a:cubicBezTo>
                  <a:cubicBezTo>
                    <a:pt x="21147" y="12819"/>
                    <a:pt x="21157" y="12830"/>
                    <a:pt x="21123" y="12843"/>
                  </a:cubicBezTo>
                  <a:cubicBezTo>
                    <a:pt x="21104" y="12850"/>
                    <a:pt x="21082" y="12837"/>
                    <a:pt x="21062" y="12853"/>
                  </a:cubicBezTo>
                  <a:cubicBezTo>
                    <a:pt x="21035" y="12875"/>
                    <a:pt x="21069" y="12894"/>
                    <a:pt x="21096" y="12892"/>
                  </a:cubicBezTo>
                  <a:cubicBezTo>
                    <a:pt x="21061" y="12901"/>
                    <a:pt x="21026" y="12935"/>
                    <a:pt x="21073" y="12955"/>
                  </a:cubicBezTo>
                  <a:cubicBezTo>
                    <a:pt x="21099" y="12965"/>
                    <a:pt x="21162" y="12946"/>
                    <a:pt x="21186" y="12939"/>
                  </a:cubicBezTo>
                  <a:cubicBezTo>
                    <a:pt x="21213" y="12932"/>
                    <a:pt x="21225" y="12938"/>
                    <a:pt x="21237" y="12913"/>
                  </a:cubicBezTo>
                  <a:close/>
                  <a:moveTo>
                    <a:pt x="21399" y="13364"/>
                  </a:moveTo>
                  <a:cubicBezTo>
                    <a:pt x="21429" y="13346"/>
                    <a:pt x="21404" y="13322"/>
                    <a:pt x="21383" y="13310"/>
                  </a:cubicBezTo>
                  <a:cubicBezTo>
                    <a:pt x="21370" y="13302"/>
                    <a:pt x="21348" y="13307"/>
                    <a:pt x="21347" y="13306"/>
                  </a:cubicBezTo>
                  <a:cubicBezTo>
                    <a:pt x="21346" y="13306"/>
                    <a:pt x="21320" y="13287"/>
                    <a:pt x="21321" y="13287"/>
                  </a:cubicBezTo>
                  <a:cubicBezTo>
                    <a:pt x="21307" y="13286"/>
                    <a:pt x="21297" y="13269"/>
                    <a:pt x="21305" y="13299"/>
                  </a:cubicBezTo>
                  <a:cubicBezTo>
                    <a:pt x="21285" y="13292"/>
                    <a:pt x="21269" y="13279"/>
                    <a:pt x="21252" y="13268"/>
                  </a:cubicBezTo>
                  <a:cubicBezTo>
                    <a:pt x="21197" y="13268"/>
                    <a:pt x="21177" y="13293"/>
                    <a:pt x="21211" y="13330"/>
                  </a:cubicBezTo>
                  <a:cubicBezTo>
                    <a:pt x="21243" y="13363"/>
                    <a:pt x="21290" y="13358"/>
                    <a:pt x="21336" y="13360"/>
                  </a:cubicBezTo>
                  <a:cubicBezTo>
                    <a:pt x="21355" y="13361"/>
                    <a:pt x="21382" y="13373"/>
                    <a:pt x="21399" y="13364"/>
                  </a:cubicBezTo>
                  <a:close/>
                  <a:moveTo>
                    <a:pt x="16331" y="13855"/>
                  </a:moveTo>
                  <a:cubicBezTo>
                    <a:pt x="16369" y="13800"/>
                    <a:pt x="16182" y="13780"/>
                    <a:pt x="16127" y="13774"/>
                  </a:cubicBezTo>
                  <a:cubicBezTo>
                    <a:pt x="16113" y="13772"/>
                    <a:pt x="16030" y="13780"/>
                    <a:pt x="16015" y="13788"/>
                  </a:cubicBezTo>
                  <a:cubicBezTo>
                    <a:pt x="15977" y="13807"/>
                    <a:pt x="15978" y="13848"/>
                    <a:pt x="16037" y="13833"/>
                  </a:cubicBezTo>
                  <a:cubicBezTo>
                    <a:pt x="15965" y="13860"/>
                    <a:pt x="16051" y="13865"/>
                    <a:pt x="16080" y="13873"/>
                  </a:cubicBezTo>
                  <a:cubicBezTo>
                    <a:pt x="16114" y="13883"/>
                    <a:pt x="16150" y="13898"/>
                    <a:pt x="16184" y="13912"/>
                  </a:cubicBezTo>
                  <a:cubicBezTo>
                    <a:pt x="16227" y="13930"/>
                    <a:pt x="16406" y="13961"/>
                    <a:pt x="16363" y="13885"/>
                  </a:cubicBezTo>
                  <a:cubicBezTo>
                    <a:pt x="16417" y="13862"/>
                    <a:pt x="16366" y="13854"/>
                    <a:pt x="16331" y="13855"/>
                  </a:cubicBezTo>
                  <a:close/>
                  <a:moveTo>
                    <a:pt x="15817" y="13623"/>
                  </a:moveTo>
                  <a:cubicBezTo>
                    <a:pt x="15826" y="13613"/>
                    <a:pt x="15819" y="13606"/>
                    <a:pt x="15837" y="13601"/>
                  </a:cubicBezTo>
                  <a:cubicBezTo>
                    <a:pt x="15801" y="13596"/>
                    <a:pt x="15697" y="13626"/>
                    <a:pt x="15691" y="13655"/>
                  </a:cubicBezTo>
                  <a:cubicBezTo>
                    <a:pt x="15684" y="13683"/>
                    <a:pt x="15713" y="13682"/>
                    <a:pt x="15740" y="13683"/>
                  </a:cubicBezTo>
                  <a:cubicBezTo>
                    <a:pt x="15797" y="13685"/>
                    <a:pt x="15798" y="13663"/>
                    <a:pt x="15817" y="13623"/>
                  </a:cubicBezTo>
                  <a:close/>
                  <a:moveTo>
                    <a:pt x="15997" y="14011"/>
                  </a:moveTo>
                  <a:cubicBezTo>
                    <a:pt x="15977" y="13981"/>
                    <a:pt x="15959" y="14006"/>
                    <a:pt x="15943" y="14004"/>
                  </a:cubicBezTo>
                  <a:cubicBezTo>
                    <a:pt x="15937" y="14003"/>
                    <a:pt x="15912" y="14003"/>
                    <a:pt x="15908" y="14002"/>
                  </a:cubicBezTo>
                  <a:cubicBezTo>
                    <a:pt x="15914" y="14003"/>
                    <a:pt x="15892" y="13988"/>
                    <a:pt x="15885" y="13987"/>
                  </a:cubicBezTo>
                  <a:cubicBezTo>
                    <a:pt x="15839" y="13979"/>
                    <a:pt x="15798" y="14011"/>
                    <a:pt x="15747" y="14004"/>
                  </a:cubicBezTo>
                  <a:cubicBezTo>
                    <a:pt x="15685" y="14042"/>
                    <a:pt x="15591" y="14072"/>
                    <a:pt x="15676" y="14116"/>
                  </a:cubicBezTo>
                  <a:cubicBezTo>
                    <a:pt x="15702" y="14129"/>
                    <a:pt x="15736" y="14137"/>
                    <a:pt x="15762" y="14149"/>
                  </a:cubicBezTo>
                  <a:cubicBezTo>
                    <a:pt x="15814" y="14176"/>
                    <a:pt x="15883" y="14222"/>
                    <a:pt x="15944" y="14229"/>
                  </a:cubicBezTo>
                  <a:cubicBezTo>
                    <a:pt x="16006" y="14237"/>
                    <a:pt x="16066" y="14160"/>
                    <a:pt x="16080" y="14128"/>
                  </a:cubicBezTo>
                  <a:cubicBezTo>
                    <a:pt x="16109" y="14061"/>
                    <a:pt x="16031" y="14062"/>
                    <a:pt x="15997" y="14011"/>
                  </a:cubicBezTo>
                  <a:close/>
                  <a:moveTo>
                    <a:pt x="3292" y="11626"/>
                  </a:moveTo>
                  <a:cubicBezTo>
                    <a:pt x="3327" y="11640"/>
                    <a:pt x="3374" y="11637"/>
                    <a:pt x="3413" y="11640"/>
                  </a:cubicBezTo>
                  <a:cubicBezTo>
                    <a:pt x="3456" y="11577"/>
                    <a:pt x="3323" y="11607"/>
                    <a:pt x="3292" y="11626"/>
                  </a:cubicBezTo>
                  <a:close/>
                  <a:moveTo>
                    <a:pt x="8061" y="7220"/>
                  </a:moveTo>
                  <a:cubicBezTo>
                    <a:pt x="8078" y="7222"/>
                    <a:pt x="8111" y="7259"/>
                    <a:pt x="8115" y="7271"/>
                  </a:cubicBezTo>
                  <a:cubicBezTo>
                    <a:pt x="8121" y="7288"/>
                    <a:pt x="8124" y="7298"/>
                    <a:pt x="8143" y="7305"/>
                  </a:cubicBezTo>
                  <a:cubicBezTo>
                    <a:pt x="8156" y="7309"/>
                    <a:pt x="8176" y="7300"/>
                    <a:pt x="8172" y="7299"/>
                  </a:cubicBezTo>
                  <a:cubicBezTo>
                    <a:pt x="8189" y="7303"/>
                    <a:pt x="8212" y="7327"/>
                    <a:pt x="8240" y="7332"/>
                  </a:cubicBezTo>
                  <a:cubicBezTo>
                    <a:pt x="8278" y="7338"/>
                    <a:pt x="8298" y="7312"/>
                    <a:pt x="8330" y="7306"/>
                  </a:cubicBezTo>
                  <a:cubicBezTo>
                    <a:pt x="8332" y="7306"/>
                    <a:pt x="8367" y="7311"/>
                    <a:pt x="8374" y="7311"/>
                  </a:cubicBezTo>
                  <a:cubicBezTo>
                    <a:pt x="8384" y="7311"/>
                    <a:pt x="8403" y="7309"/>
                    <a:pt x="8414" y="7308"/>
                  </a:cubicBezTo>
                  <a:cubicBezTo>
                    <a:pt x="8445" y="7304"/>
                    <a:pt x="8474" y="7304"/>
                    <a:pt x="8499" y="7289"/>
                  </a:cubicBezTo>
                  <a:cubicBezTo>
                    <a:pt x="8527" y="7273"/>
                    <a:pt x="8550" y="7232"/>
                    <a:pt x="8504" y="7222"/>
                  </a:cubicBezTo>
                  <a:cubicBezTo>
                    <a:pt x="8562" y="7219"/>
                    <a:pt x="8521" y="6992"/>
                    <a:pt x="8450" y="7008"/>
                  </a:cubicBezTo>
                  <a:cubicBezTo>
                    <a:pt x="8513" y="6970"/>
                    <a:pt x="8461" y="6938"/>
                    <a:pt x="8449" y="6896"/>
                  </a:cubicBezTo>
                  <a:cubicBezTo>
                    <a:pt x="8440" y="6860"/>
                    <a:pt x="8471" y="6806"/>
                    <a:pt x="8381" y="6816"/>
                  </a:cubicBezTo>
                  <a:cubicBezTo>
                    <a:pt x="8448" y="6797"/>
                    <a:pt x="8324" y="6727"/>
                    <a:pt x="8295" y="6699"/>
                  </a:cubicBezTo>
                  <a:cubicBezTo>
                    <a:pt x="8270" y="6675"/>
                    <a:pt x="8237" y="6629"/>
                    <a:pt x="8199" y="6615"/>
                  </a:cubicBezTo>
                  <a:cubicBezTo>
                    <a:pt x="8168" y="6603"/>
                    <a:pt x="8116" y="6602"/>
                    <a:pt x="8080" y="6597"/>
                  </a:cubicBezTo>
                  <a:cubicBezTo>
                    <a:pt x="8021" y="6634"/>
                    <a:pt x="7858" y="6663"/>
                    <a:pt x="7865" y="6743"/>
                  </a:cubicBezTo>
                  <a:cubicBezTo>
                    <a:pt x="7867" y="6772"/>
                    <a:pt x="7917" y="6774"/>
                    <a:pt x="7866" y="6789"/>
                  </a:cubicBezTo>
                  <a:cubicBezTo>
                    <a:pt x="7881" y="6785"/>
                    <a:pt x="7844" y="6774"/>
                    <a:pt x="7839" y="6774"/>
                  </a:cubicBezTo>
                  <a:cubicBezTo>
                    <a:pt x="7815" y="6775"/>
                    <a:pt x="7793" y="6791"/>
                    <a:pt x="7789" y="6806"/>
                  </a:cubicBezTo>
                  <a:cubicBezTo>
                    <a:pt x="7819" y="6783"/>
                    <a:pt x="7888" y="6784"/>
                    <a:pt x="7868" y="6820"/>
                  </a:cubicBezTo>
                  <a:cubicBezTo>
                    <a:pt x="7861" y="6833"/>
                    <a:pt x="7785" y="6854"/>
                    <a:pt x="7798" y="6873"/>
                  </a:cubicBezTo>
                  <a:cubicBezTo>
                    <a:pt x="7803" y="6879"/>
                    <a:pt x="7838" y="6861"/>
                    <a:pt x="7857" y="6868"/>
                  </a:cubicBezTo>
                  <a:cubicBezTo>
                    <a:pt x="7834" y="6877"/>
                    <a:pt x="7802" y="6894"/>
                    <a:pt x="7841" y="6901"/>
                  </a:cubicBezTo>
                  <a:cubicBezTo>
                    <a:pt x="7812" y="6916"/>
                    <a:pt x="7730" y="6913"/>
                    <a:pt x="7751" y="6958"/>
                  </a:cubicBezTo>
                  <a:cubicBezTo>
                    <a:pt x="7746" y="6955"/>
                    <a:pt x="7737" y="6952"/>
                    <a:pt x="7733" y="6949"/>
                  </a:cubicBezTo>
                  <a:cubicBezTo>
                    <a:pt x="7729" y="6981"/>
                    <a:pt x="7711" y="7011"/>
                    <a:pt x="7708" y="7042"/>
                  </a:cubicBezTo>
                  <a:cubicBezTo>
                    <a:pt x="7707" y="7049"/>
                    <a:pt x="7708" y="7097"/>
                    <a:pt x="7712" y="7099"/>
                  </a:cubicBezTo>
                  <a:cubicBezTo>
                    <a:pt x="7720" y="7105"/>
                    <a:pt x="7738" y="7085"/>
                    <a:pt x="7758" y="7088"/>
                  </a:cubicBezTo>
                  <a:cubicBezTo>
                    <a:pt x="7817" y="7096"/>
                    <a:pt x="7734" y="7116"/>
                    <a:pt x="7773" y="7149"/>
                  </a:cubicBezTo>
                  <a:cubicBezTo>
                    <a:pt x="7820" y="7188"/>
                    <a:pt x="7822" y="7083"/>
                    <a:pt x="7840" y="7067"/>
                  </a:cubicBezTo>
                  <a:cubicBezTo>
                    <a:pt x="7841" y="7085"/>
                    <a:pt x="7831" y="7102"/>
                    <a:pt x="7833" y="7120"/>
                  </a:cubicBezTo>
                  <a:cubicBezTo>
                    <a:pt x="7839" y="7116"/>
                    <a:pt x="7847" y="7111"/>
                    <a:pt x="7852" y="7106"/>
                  </a:cubicBezTo>
                  <a:cubicBezTo>
                    <a:pt x="7860" y="7142"/>
                    <a:pt x="7840" y="7140"/>
                    <a:pt x="7873" y="7175"/>
                  </a:cubicBezTo>
                  <a:cubicBezTo>
                    <a:pt x="7894" y="7198"/>
                    <a:pt x="7902" y="7216"/>
                    <a:pt x="7942" y="7210"/>
                  </a:cubicBezTo>
                  <a:cubicBezTo>
                    <a:pt x="7943" y="7205"/>
                    <a:pt x="7945" y="7199"/>
                    <a:pt x="7946" y="7197"/>
                  </a:cubicBezTo>
                  <a:cubicBezTo>
                    <a:pt x="7958" y="7214"/>
                    <a:pt x="7989" y="7210"/>
                    <a:pt x="7997" y="7218"/>
                  </a:cubicBezTo>
                  <a:cubicBezTo>
                    <a:pt x="8006" y="7228"/>
                    <a:pt x="7994" y="7280"/>
                    <a:pt x="8022" y="7257"/>
                  </a:cubicBezTo>
                  <a:cubicBezTo>
                    <a:pt x="8018" y="7260"/>
                    <a:pt x="8017" y="7223"/>
                    <a:pt x="8017" y="7220"/>
                  </a:cubicBezTo>
                  <a:cubicBezTo>
                    <a:pt x="8018" y="7218"/>
                    <a:pt x="8039" y="7219"/>
                    <a:pt x="8020" y="7239"/>
                  </a:cubicBezTo>
                  <a:cubicBezTo>
                    <a:pt x="8032" y="7233"/>
                    <a:pt x="8045" y="7218"/>
                    <a:pt x="8061" y="7220"/>
                  </a:cubicBezTo>
                  <a:close/>
                  <a:moveTo>
                    <a:pt x="11851" y="6606"/>
                  </a:moveTo>
                  <a:cubicBezTo>
                    <a:pt x="11886" y="6604"/>
                    <a:pt x="11911" y="6577"/>
                    <a:pt x="11936" y="6558"/>
                  </a:cubicBezTo>
                  <a:cubicBezTo>
                    <a:pt x="11943" y="6553"/>
                    <a:pt x="11989" y="6528"/>
                    <a:pt x="11987" y="6519"/>
                  </a:cubicBezTo>
                  <a:cubicBezTo>
                    <a:pt x="11984" y="6509"/>
                    <a:pt x="11960" y="6514"/>
                    <a:pt x="11954" y="6507"/>
                  </a:cubicBezTo>
                  <a:cubicBezTo>
                    <a:pt x="11925" y="6478"/>
                    <a:pt x="11905" y="6434"/>
                    <a:pt x="11845" y="6453"/>
                  </a:cubicBezTo>
                  <a:cubicBezTo>
                    <a:pt x="11823" y="6460"/>
                    <a:pt x="11810" y="6482"/>
                    <a:pt x="11797" y="6496"/>
                  </a:cubicBezTo>
                  <a:cubicBezTo>
                    <a:pt x="11782" y="6512"/>
                    <a:pt x="11787" y="6517"/>
                    <a:pt x="11758" y="6532"/>
                  </a:cubicBezTo>
                  <a:cubicBezTo>
                    <a:pt x="11770" y="6486"/>
                    <a:pt x="11662" y="6519"/>
                    <a:pt x="11701" y="6471"/>
                  </a:cubicBezTo>
                  <a:cubicBezTo>
                    <a:pt x="11715" y="6454"/>
                    <a:pt x="11740" y="6450"/>
                    <a:pt x="11756" y="6434"/>
                  </a:cubicBezTo>
                  <a:cubicBezTo>
                    <a:pt x="11781" y="6409"/>
                    <a:pt x="11766" y="6383"/>
                    <a:pt x="11789" y="6358"/>
                  </a:cubicBezTo>
                  <a:cubicBezTo>
                    <a:pt x="11803" y="6343"/>
                    <a:pt x="11833" y="6349"/>
                    <a:pt x="11838" y="6320"/>
                  </a:cubicBezTo>
                  <a:cubicBezTo>
                    <a:pt x="11841" y="6306"/>
                    <a:pt x="11849" y="6282"/>
                    <a:pt x="11843" y="6270"/>
                  </a:cubicBezTo>
                  <a:cubicBezTo>
                    <a:pt x="11833" y="6250"/>
                    <a:pt x="11815" y="6270"/>
                    <a:pt x="11809" y="6259"/>
                  </a:cubicBezTo>
                  <a:cubicBezTo>
                    <a:pt x="11794" y="6228"/>
                    <a:pt x="11812" y="6208"/>
                    <a:pt x="11787" y="6185"/>
                  </a:cubicBezTo>
                  <a:cubicBezTo>
                    <a:pt x="11775" y="6174"/>
                    <a:pt x="11726" y="6174"/>
                    <a:pt x="11756" y="6148"/>
                  </a:cubicBezTo>
                  <a:cubicBezTo>
                    <a:pt x="11715" y="6124"/>
                    <a:pt x="11656" y="6159"/>
                    <a:pt x="11616" y="6170"/>
                  </a:cubicBezTo>
                  <a:cubicBezTo>
                    <a:pt x="11579" y="6180"/>
                    <a:pt x="11571" y="6191"/>
                    <a:pt x="11594" y="6160"/>
                  </a:cubicBezTo>
                  <a:cubicBezTo>
                    <a:pt x="11608" y="6140"/>
                    <a:pt x="11640" y="6130"/>
                    <a:pt x="11643" y="6105"/>
                  </a:cubicBezTo>
                  <a:cubicBezTo>
                    <a:pt x="11624" y="6110"/>
                    <a:pt x="11579" y="6071"/>
                    <a:pt x="11546" y="6064"/>
                  </a:cubicBezTo>
                  <a:cubicBezTo>
                    <a:pt x="11488" y="6051"/>
                    <a:pt x="11463" y="6074"/>
                    <a:pt x="11408" y="6088"/>
                  </a:cubicBezTo>
                  <a:cubicBezTo>
                    <a:pt x="11370" y="6098"/>
                    <a:pt x="11316" y="6104"/>
                    <a:pt x="11303" y="6078"/>
                  </a:cubicBezTo>
                  <a:cubicBezTo>
                    <a:pt x="11296" y="6063"/>
                    <a:pt x="11318" y="6044"/>
                    <a:pt x="11315" y="6030"/>
                  </a:cubicBezTo>
                  <a:cubicBezTo>
                    <a:pt x="11306" y="5994"/>
                    <a:pt x="11308" y="6015"/>
                    <a:pt x="11267" y="6010"/>
                  </a:cubicBezTo>
                  <a:cubicBezTo>
                    <a:pt x="11189" y="6000"/>
                    <a:pt x="11062" y="6006"/>
                    <a:pt x="10989" y="6032"/>
                  </a:cubicBezTo>
                  <a:cubicBezTo>
                    <a:pt x="10895" y="6066"/>
                    <a:pt x="10896" y="6147"/>
                    <a:pt x="10780" y="6132"/>
                  </a:cubicBezTo>
                  <a:cubicBezTo>
                    <a:pt x="10772" y="6131"/>
                    <a:pt x="10755" y="6116"/>
                    <a:pt x="10744" y="6113"/>
                  </a:cubicBezTo>
                  <a:cubicBezTo>
                    <a:pt x="10739" y="6112"/>
                    <a:pt x="10704" y="6114"/>
                    <a:pt x="10697" y="6114"/>
                  </a:cubicBezTo>
                  <a:cubicBezTo>
                    <a:pt x="10690" y="6114"/>
                    <a:pt x="10696" y="6100"/>
                    <a:pt x="10688" y="6100"/>
                  </a:cubicBezTo>
                  <a:cubicBezTo>
                    <a:pt x="10680" y="6099"/>
                    <a:pt x="10677" y="6109"/>
                    <a:pt x="10674" y="6109"/>
                  </a:cubicBezTo>
                  <a:cubicBezTo>
                    <a:pt x="10661" y="6108"/>
                    <a:pt x="10642" y="6113"/>
                    <a:pt x="10630" y="6113"/>
                  </a:cubicBezTo>
                  <a:cubicBezTo>
                    <a:pt x="10660" y="6118"/>
                    <a:pt x="10648" y="6136"/>
                    <a:pt x="10637" y="6152"/>
                  </a:cubicBezTo>
                  <a:cubicBezTo>
                    <a:pt x="10630" y="6162"/>
                    <a:pt x="10605" y="6157"/>
                    <a:pt x="10600" y="6164"/>
                  </a:cubicBezTo>
                  <a:cubicBezTo>
                    <a:pt x="10592" y="6173"/>
                    <a:pt x="10602" y="6189"/>
                    <a:pt x="10594" y="6197"/>
                  </a:cubicBezTo>
                  <a:cubicBezTo>
                    <a:pt x="10578" y="6214"/>
                    <a:pt x="10538" y="6217"/>
                    <a:pt x="10523" y="6234"/>
                  </a:cubicBezTo>
                  <a:cubicBezTo>
                    <a:pt x="10510" y="6250"/>
                    <a:pt x="10518" y="6275"/>
                    <a:pt x="10557" y="6271"/>
                  </a:cubicBezTo>
                  <a:cubicBezTo>
                    <a:pt x="10521" y="6289"/>
                    <a:pt x="10469" y="6263"/>
                    <a:pt x="10425" y="6277"/>
                  </a:cubicBezTo>
                  <a:cubicBezTo>
                    <a:pt x="10453" y="6303"/>
                    <a:pt x="10339" y="6331"/>
                    <a:pt x="10404" y="6355"/>
                  </a:cubicBezTo>
                  <a:cubicBezTo>
                    <a:pt x="10376" y="6359"/>
                    <a:pt x="10322" y="6373"/>
                    <a:pt x="10321" y="6341"/>
                  </a:cubicBezTo>
                  <a:cubicBezTo>
                    <a:pt x="10309" y="6353"/>
                    <a:pt x="10298" y="6374"/>
                    <a:pt x="10282" y="6385"/>
                  </a:cubicBezTo>
                  <a:cubicBezTo>
                    <a:pt x="10265" y="6397"/>
                    <a:pt x="10210" y="6400"/>
                    <a:pt x="10204" y="6424"/>
                  </a:cubicBezTo>
                  <a:cubicBezTo>
                    <a:pt x="10195" y="6465"/>
                    <a:pt x="10329" y="6470"/>
                    <a:pt x="10368" y="6481"/>
                  </a:cubicBezTo>
                  <a:cubicBezTo>
                    <a:pt x="10327" y="6485"/>
                    <a:pt x="10276" y="6478"/>
                    <a:pt x="10238" y="6488"/>
                  </a:cubicBezTo>
                  <a:cubicBezTo>
                    <a:pt x="10191" y="6501"/>
                    <a:pt x="10173" y="6551"/>
                    <a:pt x="10120" y="6548"/>
                  </a:cubicBezTo>
                  <a:cubicBezTo>
                    <a:pt x="10130" y="6536"/>
                    <a:pt x="10165" y="6521"/>
                    <a:pt x="10154" y="6506"/>
                  </a:cubicBezTo>
                  <a:cubicBezTo>
                    <a:pt x="10136" y="6480"/>
                    <a:pt x="10113" y="6478"/>
                    <a:pt x="10082" y="6473"/>
                  </a:cubicBezTo>
                  <a:cubicBezTo>
                    <a:pt x="10049" y="6467"/>
                    <a:pt x="10031" y="6472"/>
                    <a:pt x="10000" y="6456"/>
                  </a:cubicBezTo>
                  <a:cubicBezTo>
                    <a:pt x="9975" y="6443"/>
                    <a:pt x="9953" y="6410"/>
                    <a:pt x="9924" y="6403"/>
                  </a:cubicBezTo>
                  <a:cubicBezTo>
                    <a:pt x="9897" y="6396"/>
                    <a:pt x="9902" y="6396"/>
                    <a:pt x="9881" y="6410"/>
                  </a:cubicBezTo>
                  <a:cubicBezTo>
                    <a:pt x="9889" y="6405"/>
                    <a:pt x="9863" y="6456"/>
                    <a:pt x="9862" y="6447"/>
                  </a:cubicBezTo>
                  <a:cubicBezTo>
                    <a:pt x="9865" y="6471"/>
                    <a:pt x="9939" y="6520"/>
                    <a:pt x="9864" y="6528"/>
                  </a:cubicBezTo>
                  <a:cubicBezTo>
                    <a:pt x="9887" y="6512"/>
                    <a:pt x="9849" y="6459"/>
                    <a:pt x="9819" y="6450"/>
                  </a:cubicBezTo>
                  <a:cubicBezTo>
                    <a:pt x="9784" y="6440"/>
                    <a:pt x="9770" y="6468"/>
                    <a:pt x="9749" y="6489"/>
                  </a:cubicBezTo>
                  <a:cubicBezTo>
                    <a:pt x="9746" y="6493"/>
                    <a:pt x="9730" y="6512"/>
                    <a:pt x="9726" y="6515"/>
                  </a:cubicBezTo>
                  <a:cubicBezTo>
                    <a:pt x="9695" y="6534"/>
                    <a:pt x="9703" y="6527"/>
                    <a:pt x="9693" y="6517"/>
                  </a:cubicBezTo>
                  <a:cubicBezTo>
                    <a:pt x="9686" y="6511"/>
                    <a:pt x="9720" y="6498"/>
                    <a:pt x="9689" y="6486"/>
                  </a:cubicBezTo>
                  <a:cubicBezTo>
                    <a:pt x="9665" y="6476"/>
                    <a:pt x="9647" y="6464"/>
                    <a:pt x="9626" y="6450"/>
                  </a:cubicBezTo>
                  <a:cubicBezTo>
                    <a:pt x="9605" y="6436"/>
                    <a:pt x="9587" y="6416"/>
                    <a:pt x="9560" y="6406"/>
                  </a:cubicBezTo>
                  <a:cubicBezTo>
                    <a:pt x="9534" y="6396"/>
                    <a:pt x="9553" y="6426"/>
                    <a:pt x="9548" y="6434"/>
                  </a:cubicBezTo>
                  <a:cubicBezTo>
                    <a:pt x="9526" y="6474"/>
                    <a:pt x="9530" y="6469"/>
                    <a:pt x="9558" y="6514"/>
                  </a:cubicBezTo>
                  <a:cubicBezTo>
                    <a:pt x="9573" y="6537"/>
                    <a:pt x="9610" y="6598"/>
                    <a:pt x="9540" y="6589"/>
                  </a:cubicBezTo>
                  <a:cubicBezTo>
                    <a:pt x="9505" y="6585"/>
                    <a:pt x="9488" y="6529"/>
                    <a:pt x="9468" y="6511"/>
                  </a:cubicBezTo>
                  <a:cubicBezTo>
                    <a:pt x="9403" y="6452"/>
                    <a:pt x="9401" y="6541"/>
                    <a:pt x="9340" y="6522"/>
                  </a:cubicBezTo>
                  <a:cubicBezTo>
                    <a:pt x="9382" y="6511"/>
                    <a:pt x="9351" y="6492"/>
                    <a:pt x="9323" y="6510"/>
                  </a:cubicBezTo>
                  <a:cubicBezTo>
                    <a:pt x="9326" y="6506"/>
                    <a:pt x="9337" y="6488"/>
                    <a:pt x="9341" y="6486"/>
                  </a:cubicBezTo>
                  <a:cubicBezTo>
                    <a:pt x="9353" y="6479"/>
                    <a:pt x="9359" y="6486"/>
                    <a:pt x="9377" y="6480"/>
                  </a:cubicBezTo>
                  <a:cubicBezTo>
                    <a:pt x="9409" y="6467"/>
                    <a:pt x="9422" y="6461"/>
                    <a:pt x="9431" y="6440"/>
                  </a:cubicBezTo>
                  <a:cubicBezTo>
                    <a:pt x="9457" y="6376"/>
                    <a:pt x="9405" y="6309"/>
                    <a:pt x="9316" y="6301"/>
                  </a:cubicBezTo>
                  <a:cubicBezTo>
                    <a:pt x="9322" y="6316"/>
                    <a:pt x="9287" y="6384"/>
                    <a:pt x="9274" y="6327"/>
                  </a:cubicBezTo>
                  <a:cubicBezTo>
                    <a:pt x="9270" y="6313"/>
                    <a:pt x="9289" y="6297"/>
                    <a:pt x="9283" y="6282"/>
                  </a:cubicBezTo>
                  <a:cubicBezTo>
                    <a:pt x="9277" y="6265"/>
                    <a:pt x="9253" y="6258"/>
                    <a:pt x="9237" y="6244"/>
                  </a:cubicBezTo>
                  <a:cubicBezTo>
                    <a:pt x="9229" y="6238"/>
                    <a:pt x="9196" y="6203"/>
                    <a:pt x="9195" y="6203"/>
                  </a:cubicBezTo>
                  <a:cubicBezTo>
                    <a:pt x="9161" y="6204"/>
                    <a:pt x="9191" y="6229"/>
                    <a:pt x="9177" y="6238"/>
                  </a:cubicBezTo>
                  <a:cubicBezTo>
                    <a:pt x="9160" y="6249"/>
                    <a:pt x="9140" y="6238"/>
                    <a:pt x="9120" y="6248"/>
                  </a:cubicBezTo>
                  <a:cubicBezTo>
                    <a:pt x="9113" y="6251"/>
                    <a:pt x="9091" y="6291"/>
                    <a:pt x="9086" y="6299"/>
                  </a:cubicBezTo>
                  <a:cubicBezTo>
                    <a:pt x="9075" y="6271"/>
                    <a:pt x="9105" y="6252"/>
                    <a:pt x="9067" y="6242"/>
                  </a:cubicBezTo>
                  <a:cubicBezTo>
                    <a:pt x="9048" y="6237"/>
                    <a:pt x="9032" y="6280"/>
                    <a:pt x="9010" y="6237"/>
                  </a:cubicBezTo>
                  <a:cubicBezTo>
                    <a:pt x="9004" y="6263"/>
                    <a:pt x="8992" y="6282"/>
                    <a:pt x="8979" y="6305"/>
                  </a:cubicBezTo>
                  <a:cubicBezTo>
                    <a:pt x="8972" y="6317"/>
                    <a:pt x="8963" y="6346"/>
                    <a:pt x="8952" y="6357"/>
                  </a:cubicBezTo>
                  <a:cubicBezTo>
                    <a:pt x="8951" y="6349"/>
                    <a:pt x="8945" y="6336"/>
                    <a:pt x="8946" y="6328"/>
                  </a:cubicBezTo>
                  <a:cubicBezTo>
                    <a:pt x="8947" y="6313"/>
                    <a:pt x="8962" y="6304"/>
                    <a:pt x="8965" y="6295"/>
                  </a:cubicBezTo>
                  <a:cubicBezTo>
                    <a:pt x="8967" y="6287"/>
                    <a:pt x="8970" y="6279"/>
                    <a:pt x="8971" y="6269"/>
                  </a:cubicBezTo>
                  <a:cubicBezTo>
                    <a:pt x="8973" y="6251"/>
                    <a:pt x="8933" y="6256"/>
                    <a:pt x="8959" y="6233"/>
                  </a:cubicBezTo>
                  <a:cubicBezTo>
                    <a:pt x="8949" y="6233"/>
                    <a:pt x="8930" y="6229"/>
                    <a:pt x="8923" y="6229"/>
                  </a:cubicBezTo>
                  <a:cubicBezTo>
                    <a:pt x="8952" y="6220"/>
                    <a:pt x="8981" y="6223"/>
                    <a:pt x="9011" y="6216"/>
                  </a:cubicBezTo>
                  <a:cubicBezTo>
                    <a:pt x="9032" y="6212"/>
                    <a:pt x="9109" y="6203"/>
                    <a:pt x="9122" y="6193"/>
                  </a:cubicBezTo>
                  <a:cubicBezTo>
                    <a:pt x="9158" y="6168"/>
                    <a:pt x="9082" y="6154"/>
                    <a:pt x="9056" y="6160"/>
                  </a:cubicBezTo>
                  <a:cubicBezTo>
                    <a:pt x="9025" y="6167"/>
                    <a:pt x="9025" y="6201"/>
                    <a:pt x="8981" y="6187"/>
                  </a:cubicBezTo>
                  <a:cubicBezTo>
                    <a:pt x="9031" y="6171"/>
                    <a:pt x="9004" y="6145"/>
                    <a:pt x="8967" y="6136"/>
                  </a:cubicBezTo>
                  <a:cubicBezTo>
                    <a:pt x="8922" y="6125"/>
                    <a:pt x="8884" y="6133"/>
                    <a:pt x="8842" y="6140"/>
                  </a:cubicBezTo>
                  <a:cubicBezTo>
                    <a:pt x="8877" y="6107"/>
                    <a:pt x="8806" y="6085"/>
                    <a:pt x="8779" y="6064"/>
                  </a:cubicBezTo>
                  <a:cubicBezTo>
                    <a:pt x="8835" y="6050"/>
                    <a:pt x="8905" y="6107"/>
                    <a:pt x="8967" y="6111"/>
                  </a:cubicBezTo>
                  <a:cubicBezTo>
                    <a:pt x="8996" y="6114"/>
                    <a:pt x="9028" y="6107"/>
                    <a:pt x="9059" y="6110"/>
                  </a:cubicBezTo>
                  <a:cubicBezTo>
                    <a:pt x="9091" y="6113"/>
                    <a:pt x="9122" y="6126"/>
                    <a:pt x="9151" y="6115"/>
                  </a:cubicBezTo>
                  <a:cubicBezTo>
                    <a:pt x="9114" y="6108"/>
                    <a:pt x="9023" y="6107"/>
                    <a:pt x="9097" y="6089"/>
                  </a:cubicBezTo>
                  <a:cubicBezTo>
                    <a:pt x="9132" y="6080"/>
                    <a:pt x="9178" y="6089"/>
                    <a:pt x="9215" y="6085"/>
                  </a:cubicBezTo>
                  <a:cubicBezTo>
                    <a:pt x="9326" y="6074"/>
                    <a:pt x="9391" y="5984"/>
                    <a:pt x="9250" y="5966"/>
                  </a:cubicBezTo>
                  <a:cubicBezTo>
                    <a:pt x="9209" y="5961"/>
                    <a:pt x="9172" y="5955"/>
                    <a:pt x="9132" y="5946"/>
                  </a:cubicBezTo>
                  <a:cubicBezTo>
                    <a:pt x="9089" y="5937"/>
                    <a:pt x="9046" y="5938"/>
                    <a:pt x="9007" y="5934"/>
                  </a:cubicBezTo>
                  <a:cubicBezTo>
                    <a:pt x="8968" y="5930"/>
                    <a:pt x="8927" y="5913"/>
                    <a:pt x="8887" y="5910"/>
                  </a:cubicBezTo>
                  <a:cubicBezTo>
                    <a:pt x="8867" y="5909"/>
                    <a:pt x="8704" y="5899"/>
                    <a:pt x="8780" y="5875"/>
                  </a:cubicBezTo>
                  <a:cubicBezTo>
                    <a:pt x="8821" y="5862"/>
                    <a:pt x="9018" y="5931"/>
                    <a:pt x="8993" y="5863"/>
                  </a:cubicBezTo>
                  <a:cubicBezTo>
                    <a:pt x="8976" y="5816"/>
                    <a:pt x="8870" y="5762"/>
                    <a:pt x="8811" y="5751"/>
                  </a:cubicBezTo>
                  <a:cubicBezTo>
                    <a:pt x="8765" y="5742"/>
                    <a:pt x="8723" y="5745"/>
                    <a:pt x="8680" y="5759"/>
                  </a:cubicBezTo>
                  <a:cubicBezTo>
                    <a:pt x="8636" y="5774"/>
                    <a:pt x="8627" y="5800"/>
                    <a:pt x="8592" y="5817"/>
                  </a:cubicBezTo>
                  <a:cubicBezTo>
                    <a:pt x="8563" y="5831"/>
                    <a:pt x="8556" y="5819"/>
                    <a:pt x="8531" y="5825"/>
                  </a:cubicBezTo>
                  <a:cubicBezTo>
                    <a:pt x="8518" y="5828"/>
                    <a:pt x="8486" y="5844"/>
                    <a:pt x="8477" y="5841"/>
                  </a:cubicBezTo>
                  <a:cubicBezTo>
                    <a:pt x="8368" y="5811"/>
                    <a:pt x="8394" y="5877"/>
                    <a:pt x="8352" y="5935"/>
                  </a:cubicBezTo>
                  <a:cubicBezTo>
                    <a:pt x="8347" y="5942"/>
                    <a:pt x="8320" y="5964"/>
                    <a:pt x="8320" y="5966"/>
                  </a:cubicBezTo>
                  <a:cubicBezTo>
                    <a:pt x="8316" y="5976"/>
                    <a:pt x="8329" y="6012"/>
                    <a:pt x="8318" y="6013"/>
                  </a:cubicBezTo>
                  <a:cubicBezTo>
                    <a:pt x="8254" y="6017"/>
                    <a:pt x="8313" y="5948"/>
                    <a:pt x="8320" y="5939"/>
                  </a:cubicBezTo>
                  <a:cubicBezTo>
                    <a:pt x="8347" y="5905"/>
                    <a:pt x="8390" y="5787"/>
                    <a:pt x="8346" y="5753"/>
                  </a:cubicBezTo>
                  <a:cubicBezTo>
                    <a:pt x="8300" y="5717"/>
                    <a:pt x="8229" y="5594"/>
                    <a:pt x="8151" y="5626"/>
                  </a:cubicBezTo>
                  <a:cubicBezTo>
                    <a:pt x="8134" y="5632"/>
                    <a:pt x="8148" y="5650"/>
                    <a:pt x="8122" y="5655"/>
                  </a:cubicBezTo>
                  <a:cubicBezTo>
                    <a:pt x="8122" y="5655"/>
                    <a:pt x="8051" y="5637"/>
                    <a:pt x="8050" y="5637"/>
                  </a:cubicBezTo>
                  <a:cubicBezTo>
                    <a:pt x="8030" y="5626"/>
                    <a:pt x="8035" y="5607"/>
                    <a:pt x="8010" y="5598"/>
                  </a:cubicBezTo>
                  <a:cubicBezTo>
                    <a:pt x="7993" y="5593"/>
                    <a:pt x="7971" y="5607"/>
                    <a:pt x="7948" y="5599"/>
                  </a:cubicBezTo>
                  <a:cubicBezTo>
                    <a:pt x="7887" y="5578"/>
                    <a:pt x="7825" y="5545"/>
                    <a:pt x="7759" y="5551"/>
                  </a:cubicBezTo>
                  <a:cubicBezTo>
                    <a:pt x="7736" y="5552"/>
                    <a:pt x="7651" y="5564"/>
                    <a:pt x="7635" y="5577"/>
                  </a:cubicBezTo>
                  <a:cubicBezTo>
                    <a:pt x="7602" y="5603"/>
                    <a:pt x="7661" y="5595"/>
                    <a:pt x="7614" y="5618"/>
                  </a:cubicBezTo>
                  <a:cubicBezTo>
                    <a:pt x="7584" y="5633"/>
                    <a:pt x="7565" y="5622"/>
                    <a:pt x="7525" y="5628"/>
                  </a:cubicBezTo>
                  <a:cubicBezTo>
                    <a:pt x="7587" y="5656"/>
                    <a:pt x="7515" y="5655"/>
                    <a:pt x="7509" y="5679"/>
                  </a:cubicBezTo>
                  <a:cubicBezTo>
                    <a:pt x="7501" y="5713"/>
                    <a:pt x="7611" y="5745"/>
                    <a:pt x="7640" y="5757"/>
                  </a:cubicBezTo>
                  <a:cubicBezTo>
                    <a:pt x="7610" y="5757"/>
                    <a:pt x="7595" y="5756"/>
                    <a:pt x="7589" y="5781"/>
                  </a:cubicBezTo>
                  <a:cubicBezTo>
                    <a:pt x="7608" y="5783"/>
                    <a:pt x="7629" y="5786"/>
                    <a:pt x="7647" y="5791"/>
                  </a:cubicBezTo>
                  <a:cubicBezTo>
                    <a:pt x="7631" y="5797"/>
                    <a:pt x="7600" y="5795"/>
                    <a:pt x="7584" y="5792"/>
                  </a:cubicBezTo>
                  <a:cubicBezTo>
                    <a:pt x="7558" y="5787"/>
                    <a:pt x="7543" y="5768"/>
                    <a:pt x="7513" y="5761"/>
                  </a:cubicBezTo>
                  <a:cubicBezTo>
                    <a:pt x="7523" y="5795"/>
                    <a:pt x="7487" y="5825"/>
                    <a:pt x="7543" y="5841"/>
                  </a:cubicBezTo>
                  <a:cubicBezTo>
                    <a:pt x="7563" y="5846"/>
                    <a:pt x="7582" y="5830"/>
                    <a:pt x="7608" y="5842"/>
                  </a:cubicBezTo>
                  <a:cubicBezTo>
                    <a:pt x="7622" y="5849"/>
                    <a:pt x="7632" y="5871"/>
                    <a:pt x="7646" y="5882"/>
                  </a:cubicBezTo>
                  <a:cubicBezTo>
                    <a:pt x="7650" y="5885"/>
                    <a:pt x="7666" y="5884"/>
                    <a:pt x="7672" y="5888"/>
                  </a:cubicBezTo>
                  <a:cubicBezTo>
                    <a:pt x="7681" y="5894"/>
                    <a:pt x="7684" y="5907"/>
                    <a:pt x="7692" y="5912"/>
                  </a:cubicBezTo>
                  <a:cubicBezTo>
                    <a:pt x="7699" y="5916"/>
                    <a:pt x="7733" y="5929"/>
                    <a:pt x="7731" y="5928"/>
                  </a:cubicBezTo>
                  <a:cubicBezTo>
                    <a:pt x="7742" y="5931"/>
                    <a:pt x="7747" y="5947"/>
                    <a:pt x="7777" y="5936"/>
                  </a:cubicBezTo>
                  <a:cubicBezTo>
                    <a:pt x="7802" y="5928"/>
                    <a:pt x="7799" y="5906"/>
                    <a:pt x="7822" y="5895"/>
                  </a:cubicBezTo>
                  <a:cubicBezTo>
                    <a:pt x="7815" y="5920"/>
                    <a:pt x="7805" y="5948"/>
                    <a:pt x="7773" y="5960"/>
                  </a:cubicBezTo>
                  <a:cubicBezTo>
                    <a:pt x="7739" y="5972"/>
                    <a:pt x="7712" y="5946"/>
                    <a:pt x="7719" y="5990"/>
                  </a:cubicBezTo>
                  <a:cubicBezTo>
                    <a:pt x="7729" y="6047"/>
                    <a:pt x="7839" y="6068"/>
                    <a:pt x="7889" y="6048"/>
                  </a:cubicBezTo>
                  <a:cubicBezTo>
                    <a:pt x="7856" y="6089"/>
                    <a:pt x="7998" y="6071"/>
                    <a:pt x="8027" y="6088"/>
                  </a:cubicBezTo>
                  <a:cubicBezTo>
                    <a:pt x="7977" y="6075"/>
                    <a:pt x="7989" y="6100"/>
                    <a:pt x="7960" y="6112"/>
                  </a:cubicBezTo>
                  <a:cubicBezTo>
                    <a:pt x="7934" y="6122"/>
                    <a:pt x="7883" y="6111"/>
                    <a:pt x="7902" y="6147"/>
                  </a:cubicBezTo>
                  <a:cubicBezTo>
                    <a:pt x="7909" y="6160"/>
                    <a:pt x="7964" y="6170"/>
                    <a:pt x="7985" y="6164"/>
                  </a:cubicBezTo>
                  <a:cubicBezTo>
                    <a:pt x="8000" y="6160"/>
                    <a:pt x="8026" y="6115"/>
                    <a:pt x="8040" y="6109"/>
                  </a:cubicBezTo>
                  <a:cubicBezTo>
                    <a:pt x="8072" y="6094"/>
                    <a:pt x="8053" y="6109"/>
                    <a:pt x="8094" y="6118"/>
                  </a:cubicBezTo>
                  <a:cubicBezTo>
                    <a:pt x="8114" y="6122"/>
                    <a:pt x="8169" y="6114"/>
                    <a:pt x="8190" y="6115"/>
                  </a:cubicBezTo>
                  <a:cubicBezTo>
                    <a:pt x="8209" y="6117"/>
                    <a:pt x="8247" y="6126"/>
                    <a:pt x="8269" y="6119"/>
                  </a:cubicBezTo>
                  <a:cubicBezTo>
                    <a:pt x="8298" y="6110"/>
                    <a:pt x="8292" y="6129"/>
                    <a:pt x="8282" y="6097"/>
                  </a:cubicBezTo>
                  <a:cubicBezTo>
                    <a:pt x="8278" y="6083"/>
                    <a:pt x="8283" y="6074"/>
                    <a:pt x="8298" y="6066"/>
                  </a:cubicBezTo>
                  <a:cubicBezTo>
                    <a:pt x="8294" y="6124"/>
                    <a:pt x="8359" y="6033"/>
                    <a:pt x="8382" y="6027"/>
                  </a:cubicBezTo>
                  <a:cubicBezTo>
                    <a:pt x="8438" y="6012"/>
                    <a:pt x="8433" y="6062"/>
                    <a:pt x="8455" y="6090"/>
                  </a:cubicBezTo>
                  <a:cubicBezTo>
                    <a:pt x="8481" y="6122"/>
                    <a:pt x="8512" y="6140"/>
                    <a:pt x="8535" y="6174"/>
                  </a:cubicBezTo>
                  <a:cubicBezTo>
                    <a:pt x="8556" y="6206"/>
                    <a:pt x="8555" y="6235"/>
                    <a:pt x="8572" y="6268"/>
                  </a:cubicBezTo>
                  <a:cubicBezTo>
                    <a:pt x="8602" y="6326"/>
                    <a:pt x="8724" y="6340"/>
                    <a:pt x="8725" y="6412"/>
                  </a:cubicBezTo>
                  <a:cubicBezTo>
                    <a:pt x="8726" y="6425"/>
                    <a:pt x="8714" y="6442"/>
                    <a:pt x="8717" y="6454"/>
                  </a:cubicBezTo>
                  <a:cubicBezTo>
                    <a:pt x="8723" y="6475"/>
                    <a:pt x="8751" y="6486"/>
                    <a:pt x="8759" y="6506"/>
                  </a:cubicBezTo>
                  <a:cubicBezTo>
                    <a:pt x="8767" y="6525"/>
                    <a:pt x="8774" y="6562"/>
                    <a:pt x="8768" y="6580"/>
                  </a:cubicBezTo>
                  <a:cubicBezTo>
                    <a:pt x="8765" y="6590"/>
                    <a:pt x="8740" y="6606"/>
                    <a:pt x="8733" y="6615"/>
                  </a:cubicBezTo>
                  <a:cubicBezTo>
                    <a:pt x="8720" y="6633"/>
                    <a:pt x="8716" y="6650"/>
                    <a:pt x="8710" y="6669"/>
                  </a:cubicBezTo>
                  <a:cubicBezTo>
                    <a:pt x="8706" y="6684"/>
                    <a:pt x="8700" y="6700"/>
                    <a:pt x="8703" y="6716"/>
                  </a:cubicBezTo>
                  <a:cubicBezTo>
                    <a:pt x="8705" y="6729"/>
                    <a:pt x="8728" y="6729"/>
                    <a:pt x="8729" y="6737"/>
                  </a:cubicBezTo>
                  <a:cubicBezTo>
                    <a:pt x="8729" y="6745"/>
                    <a:pt x="8713" y="6751"/>
                    <a:pt x="8712" y="6760"/>
                  </a:cubicBezTo>
                  <a:cubicBezTo>
                    <a:pt x="8712" y="6790"/>
                    <a:pt x="8701" y="6831"/>
                    <a:pt x="8716" y="6855"/>
                  </a:cubicBezTo>
                  <a:cubicBezTo>
                    <a:pt x="8721" y="6863"/>
                    <a:pt x="8752" y="6892"/>
                    <a:pt x="8760" y="6895"/>
                  </a:cubicBezTo>
                  <a:cubicBezTo>
                    <a:pt x="8790" y="6907"/>
                    <a:pt x="8791" y="6895"/>
                    <a:pt x="8827" y="6892"/>
                  </a:cubicBezTo>
                  <a:cubicBezTo>
                    <a:pt x="8804" y="6913"/>
                    <a:pt x="8847" y="6914"/>
                    <a:pt x="8843" y="6924"/>
                  </a:cubicBezTo>
                  <a:cubicBezTo>
                    <a:pt x="8836" y="6942"/>
                    <a:pt x="8807" y="6938"/>
                    <a:pt x="8799" y="6955"/>
                  </a:cubicBezTo>
                  <a:cubicBezTo>
                    <a:pt x="8788" y="6981"/>
                    <a:pt x="8840" y="7015"/>
                    <a:pt x="8855" y="7035"/>
                  </a:cubicBezTo>
                  <a:cubicBezTo>
                    <a:pt x="8878" y="7068"/>
                    <a:pt x="8870" y="7097"/>
                    <a:pt x="8872" y="7134"/>
                  </a:cubicBezTo>
                  <a:cubicBezTo>
                    <a:pt x="8873" y="7177"/>
                    <a:pt x="8961" y="7165"/>
                    <a:pt x="8940" y="7211"/>
                  </a:cubicBezTo>
                  <a:cubicBezTo>
                    <a:pt x="8945" y="7195"/>
                    <a:pt x="9001" y="7171"/>
                    <a:pt x="8995" y="7205"/>
                  </a:cubicBezTo>
                  <a:cubicBezTo>
                    <a:pt x="8992" y="7223"/>
                    <a:pt x="9011" y="7249"/>
                    <a:pt x="9046" y="7242"/>
                  </a:cubicBezTo>
                  <a:cubicBezTo>
                    <a:pt x="9100" y="7232"/>
                    <a:pt x="9050" y="7215"/>
                    <a:pt x="9063" y="7194"/>
                  </a:cubicBezTo>
                  <a:cubicBezTo>
                    <a:pt x="9083" y="7163"/>
                    <a:pt x="9085" y="7222"/>
                    <a:pt x="9089" y="7232"/>
                  </a:cubicBezTo>
                  <a:cubicBezTo>
                    <a:pt x="9094" y="7243"/>
                    <a:pt x="9112" y="7249"/>
                    <a:pt x="9127" y="7244"/>
                  </a:cubicBezTo>
                  <a:cubicBezTo>
                    <a:pt x="9152" y="7234"/>
                    <a:pt x="9126" y="7229"/>
                    <a:pt x="9121" y="7215"/>
                  </a:cubicBezTo>
                  <a:cubicBezTo>
                    <a:pt x="9112" y="7189"/>
                    <a:pt x="9090" y="7179"/>
                    <a:pt x="9104" y="7151"/>
                  </a:cubicBezTo>
                  <a:cubicBezTo>
                    <a:pt x="9101" y="7156"/>
                    <a:pt x="9139" y="7126"/>
                    <a:pt x="9146" y="7113"/>
                  </a:cubicBezTo>
                  <a:cubicBezTo>
                    <a:pt x="9157" y="7091"/>
                    <a:pt x="9159" y="7060"/>
                    <a:pt x="9187" y="7048"/>
                  </a:cubicBezTo>
                  <a:cubicBezTo>
                    <a:pt x="9209" y="7078"/>
                    <a:pt x="9123" y="7196"/>
                    <a:pt x="9177" y="7194"/>
                  </a:cubicBezTo>
                  <a:cubicBezTo>
                    <a:pt x="9198" y="7194"/>
                    <a:pt x="9178" y="7159"/>
                    <a:pt x="9202" y="7162"/>
                  </a:cubicBezTo>
                  <a:cubicBezTo>
                    <a:pt x="9222" y="7163"/>
                    <a:pt x="9220" y="7194"/>
                    <a:pt x="9228" y="7203"/>
                  </a:cubicBezTo>
                  <a:cubicBezTo>
                    <a:pt x="9257" y="7238"/>
                    <a:pt x="9301" y="7252"/>
                    <a:pt x="9337" y="7219"/>
                  </a:cubicBezTo>
                  <a:cubicBezTo>
                    <a:pt x="9328" y="7239"/>
                    <a:pt x="9350" y="7257"/>
                    <a:pt x="9378" y="7261"/>
                  </a:cubicBezTo>
                  <a:cubicBezTo>
                    <a:pt x="9412" y="7265"/>
                    <a:pt x="9419" y="7236"/>
                    <a:pt x="9423" y="7237"/>
                  </a:cubicBezTo>
                  <a:cubicBezTo>
                    <a:pt x="9444" y="7241"/>
                    <a:pt x="9436" y="7267"/>
                    <a:pt x="9462" y="7272"/>
                  </a:cubicBezTo>
                  <a:cubicBezTo>
                    <a:pt x="9486" y="7276"/>
                    <a:pt x="9517" y="7254"/>
                    <a:pt x="9534" y="7248"/>
                  </a:cubicBezTo>
                  <a:cubicBezTo>
                    <a:pt x="9538" y="7247"/>
                    <a:pt x="9557" y="7251"/>
                    <a:pt x="9569" y="7245"/>
                  </a:cubicBezTo>
                  <a:cubicBezTo>
                    <a:pt x="9583" y="7238"/>
                    <a:pt x="9572" y="7224"/>
                    <a:pt x="9583" y="7218"/>
                  </a:cubicBezTo>
                  <a:cubicBezTo>
                    <a:pt x="9604" y="7206"/>
                    <a:pt x="9619" y="7223"/>
                    <a:pt x="9637" y="7198"/>
                  </a:cubicBezTo>
                  <a:cubicBezTo>
                    <a:pt x="9672" y="7150"/>
                    <a:pt x="9601" y="7127"/>
                    <a:pt x="9585" y="7091"/>
                  </a:cubicBezTo>
                  <a:cubicBezTo>
                    <a:pt x="9677" y="7135"/>
                    <a:pt x="9622" y="7063"/>
                    <a:pt x="9613" y="7026"/>
                  </a:cubicBezTo>
                  <a:cubicBezTo>
                    <a:pt x="9632" y="7044"/>
                    <a:pt x="9669" y="7055"/>
                    <a:pt x="9671" y="7078"/>
                  </a:cubicBezTo>
                  <a:cubicBezTo>
                    <a:pt x="9673" y="7098"/>
                    <a:pt x="9686" y="7156"/>
                    <a:pt x="9710" y="7134"/>
                  </a:cubicBezTo>
                  <a:cubicBezTo>
                    <a:pt x="9729" y="7117"/>
                    <a:pt x="9708" y="7075"/>
                    <a:pt x="9707" y="7055"/>
                  </a:cubicBezTo>
                  <a:cubicBezTo>
                    <a:pt x="9707" y="7036"/>
                    <a:pt x="9716" y="6977"/>
                    <a:pt x="9734" y="7022"/>
                  </a:cubicBezTo>
                  <a:cubicBezTo>
                    <a:pt x="9756" y="6999"/>
                    <a:pt x="9729" y="6979"/>
                    <a:pt x="9734" y="6956"/>
                  </a:cubicBezTo>
                  <a:cubicBezTo>
                    <a:pt x="9748" y="6972"/>
                    <a:pt x="9760" y="6993"/>
                    <a:pt x="9771" y="7010"/>
                  </a:cubicBezTo>
                  <a:cubicBezTo>
                    <a:pt x="9790" y="7036"/>
                    <a:pt x="9770" y="7034"/>
                    <a:pt x="9821" y="7043"/>
                  </a:cubicBezTo>
                  <a:cubicBezTo>
                    <a:pt x="9786" y="7048"/>
                    <a:pt x="9787" y="7143"/>
                    <a:pt x="9788" y="7176"/>
                  </a:cubicBezTo>
                  <a:cubicBezTo>
                    <a:pt x="9789" y="7199"/>
                    <a:pt x="9796" y="7235"/>
                    <a:pt x="9822" y="7247"/>
                  </a:cubicBezTo>
                  <a:cubicBezTo>
                    <a:pt x="9845" y="7257"/>
                    <a:pt x="9901" y="7251"/>
                    <a:pt x="9907" y="7230"/>
                  </a:cubicBezTo>
                  <a:cubicBezTo>
                    <a:pt x="9936" y="7271"/>
                    <a:pt x="9994" y="7235"/>
                    <a:pt x="10006" y="7209"/>
                  </a:cubicBezTo>
                  <a:cubicBezTo>
                    <a:pt x="10007" y="7238"/>
                    <a:pt x="10039" y="7256"/>
                    <a:pt x="10073" y="7233"/>
                  </a:cubicBezTo>
                  <a:cubicBezTo>
                    <a:pt x="10100" y="7215"/>
                    <a:pt x="10072" y="7180"/>
                    <a:pt x="10112" y="7171"/>
                  </a:cubicBezTo>
                  <a:cubicBezTo>
                    <a:pt x="10077" y="7223"/>
                    <a:pt x="10194" y="7241"/>
                    <a:pt x="10195" y="7184"/>
                  </a:cubicBezTo>
                  <a:cubicBezTo>
                    <a:pt x="10219" y="7224"/>
                    <a:pt x="10261" y="7204"/>
                    <a:pt x="10305" y="7192"/>
                  </a:cubicBezTo>
                  <a:cubicBezTo>
                    <a:pt x="10257" y="7167"/>
                    <a:pt x="10232" y="7141"/>
                    <a:pt x="10231" y="7096"/>
                  </a:cubicBezTo>
                  <a:cubicBezTo>
                    <a:pt x="10252" y="7123"/>
                    <a:pt x="10315" y="7199"/>
                    <a:pt x="10368" y="7168"/>
                  </a:cubicBezTo>
                  <a:cubicBezTo>
                    <a:pt x="10392" y="7153"/>
                    <a:pt x="10386" y="7117"/>
                    <a:pt x="10376" y="7099"/>
                  </a:cubicBezTo>
                  <a:cubicBezTo>
                    <a:pt x="10353" y="7057"/>
                    <a:pt x="10403" y="7086"/>
                    <a:pt x="10414" y="7105"/>
                  </a:cubicBezTo>
                  <a:cubicBezTo>
                    <a:pt x="10428" y="7130"/>
                    <a:pt x="10412" y="7156"/>
                    <a:pt x="10447" y="7161"/>
                  </a:cubicBezTo>
                  <a:cubicBezTo>
                    <a:pt x="10463" y="7164"/>
                    <a:pt x="10521" y="7140"/>
                    <a:pt x="10535" y="7134"/>
                  </a:cubicBezTo>
                  <a:cubicBezTo>
                    <a:pt x="10614" y="7093"/>
                    <a:pt x="10526" y="7048"/>
                    <a:pt x="10528" y="6991"/>
                  </a:cubicBezTo>
                  <a:cubicBezTo>
                    <a:pt x="10573" y="7016"/>
                    <a:pt x="10588" y="7137"/>
                    <a:pt x="10656" y="7113"/>
                  </a:cubicBezTo>
                  <a:cubicBezTo>
                    <a:pt x="10703" y="7096"/>
                    <a:pt x="10678" y="7066"/>
                    <a:pt x="10668" y="7039"/>
                  </a:cubicBezTo>
                  <a:cubicBezTo>
                    <a:pt x="10656" y="7009"/>
                    <a:pt x="10662" y="6988"/>
                    <a:pt x="10657" y="6960"/>
                  </a:cubicBezTo>
                  <a:cubicBezTo>
                    <a:pt x="10681" y="6969"/>
                    <a:pt x="10682" y="7021"/>
                    <a:pt x="10689" y="7043"/>
                  </a:cubicBezTo>
                  <a:cubicBezTo>
                    <a:pt x="10691" y="7048"/>
                    <a:pt x="10715" y="7086"/>
                    <a:pt x="10721" y="7088"/>
                  </a:cubicBezTo>
                  <a:cubicBezTo>
                    <a:pt x="10753" y="7097"/>
                    <a:pt x="10747" y="7075"/>
                    <a:pt x="10772" y="7069"/>
                  </a:cubicBezTo>
                  <a:cubicBezTo>
                    <a:pt x="10778" y="7068"/>
                    <a:pt x="10815" y="7070"/>
                    <a:pt x="10827" y="7070"/>
                  </a:cubicBezTo>
                  <a:cubicBezTo>
                    <a:pt x="10846" y="7068"/>
                    <a:pt x="10873" y="7066"/>
                    <a:pt x="10892" y="7060"/>
                  </a:cubicBezTo>
                  <a:cubicBezTo>
                    <a:pt x="10931" y="7046"/>
                    <a:pt x="10966" y="7020"/>
                    <a:pt x="11006" y="7006"/>
                  </a:cubicBezTo>
                  <a:cubicBezTo>
                    <a:pt x="11062" y="6987"/>
                    <a:pt x="11056" y="6981"/>
                    <a:pt x="11056" y="6936"/>
                  </a:cubicBezTo>
                  <a:cubicBezTo>
                    <a:pt x="11056" y="6910"/>
                    <a:pt x="11071" y="6859"/>
                    <a:pt x="11056" y="6835"/>
                  </a:cubicBezTo>
                  <a:cubicBezTo>
                    <a:pt x="11044" y="6815"/>
                    <a:pt x="10959" y="6791"/>
                    <a:pt x="10970" y="6757"/>
                  </a:cubicBezTo>
                  <a:cubicBezTo>
                    <a:pt x="10977" y="6734"/>
                    <a:pt x="11045" y="6777"/>
                    <a:pt x="11070" y="6785"/>
                  </a:cubicBezTo>
                  <a:cubicBezTo>
                    <a:pt x="11085" y="6790"/>
                    <a:pt x="11083" y="6773"/>
                    <a:pt x="11103" y="6786"/>
                  </a:cubicBezTo>
                  <a:cubicBezTo>
                    <a:pt x="11124" y="6800"/>
                    <a:pt x="11114" y="6807"/>
                    <a:pt x="11117" y="6821"/>
                  </a:cubicBezTo>
                  <a:cubicBezTo>
                    <a:pt x="11122" y="6847"/>
                    <a:pt x="11117" y="6867"/>
                    <a:pt x="11135" y="6894"/>
                  </a:cubicBezTo>
                  <a:cubicBezTo>
                    <a:pt x="11161" y="6933"/>
                    <a:pt x="11217" y="6985"/>
                    <a:pt x="11281" y="6972"/>
                  </a:cubicBezTo>
                  <a:cubicBezTo>
                    <a:pt x="11327" y="6963"/>
                    <a:pt x="11297" y="6943"/>
                    <a:pt x="11320" y="6930"/>
                  </a:cubicBezTo>
                  <a:cubicBezTo>
                    <a:pt x="11339" y="6919"/>
                    <a:pt x="11346" y="6955"/>
                    <a:pt x="11351" y="6958"/>
                  </a:cubicBezTo>
                  <a:cubicBezTo>
                    <a:pt x="11358" y="6961"/>
                    <a:pt x="11410" y="6964"/>
                    <a:pt x="11420" y="6965"/>
                  </a:cubicBezTo>
                  <a:cubicBezTo>
                    <a:pt x="11449" y="6968"/>
                    <a:pt x="11479" y="6969"/>
                    <a:pt x="11509" y="6968"/>
                  </a:cubicBezTo>
                  <a:cubicBezTo>
                    <a:pt x="11574" y="6906"/>
                    <a:pt x="11611" y="6853"/>
                    <a:pt x="11710" y="6838"/>
                  </a:cubicBezTo>
                  <a:cubicBezTo>
                    <a:pt x="11749" y="6833"/>
                    <a:pt x="11800" y="6823"/>
                    <a:pt x="11834" y="6803"/>
                  </a:cubicBezTo>
                  <a:cubicBezTo>
                    <a:pt x="11878" y="6778"/>
                    <a:pt x="11863" y="6774"/>
                    <a:pt x="11858" y="6748"/>
                  </a:cubicBezTo>
                  <a:cubicBezTo>
                    <a:pt x="11855" y="6734"/>
                    <a:pt x="11854" y="6711"/>
                    <a:pt x="11849" y="6698"/>
                  </a:cubicBezTo>
                  <a:cubicBezTo>
                    <a:pt x="11845" y="6687"/>
                    <a:pt x="11827" y="6684"/>
                    <a:pt x="11826" y="6675"/>
                  </a:cubicBezTo>
                  <a:cubicBezTo>
                    <a:pt x="11823" y="6662"/>
                    <a:pt x="11836" y="6649"/>
                    <a:pt x="11831" y="6635"/>
                  </a:cubicBezTo>
                  <a:cubicBezTo>
                    <a:pt x="11816" y="6597"/>
                    <a:pt x="11697" y="6607"/>
                    <a:pt x="11745" y="6551"/>
                  </a:cubicBezTo>
                  <a:cubicBezTo>
                    <a:pt x="11763" y="6598"/>
                    <a:pt x="11787" y="6585"/>
                    <a:pt x="11773" y="6543"/>
                  </a:cubicBezTo>
                  <a:cubicBezTo>
                    <a:pt x="11809" y="6566"/>
                    <a:pt x="11780" y="6610"/>
                    <a:pt x="11851" y="6606"/>
                  </a:cubicBezTo>
                  <a:close/>
                  <a:moveTo>
                    <a:pt x="9474" y="7780"/>
                  </a:moveTo>
                  <a:cubicBezTo>
                    <a:pt x="9501" y="7743"/>
                    <a:pt x="9474" y="7734"/>
                    <a:pt x="9444" y="7728"/>
                  </a:cubicBezTo>
                  <a:cubicBezTo>
                    <a:pt x="9417" y="7722"/>
                    <a:pt x="9368" y="7712"/>
                    <a:pt x="9333" y="7705"/>
                  </a:cubicBezTo>
                  <a:cubicBezTo>
                    <a:pt x="9266" y="7691"/>
                    <a:pt x="9183" y="7682"/>
                    <a:pt x="9112" y="7689"/>
                  </a:cubicBezTo>
                  <a:cubicBezTo>
                    <a:pt x="9075" y="7692"/>
                    <a:pt x="9027" y="7700"/>
                    <a:pt x="8999" y="7719"/>
                  </a:cubicBezTo>
                  <a:cubicBezTo>
                    <a:pt x="8975" y="7736"/>
                    <a:pt x="8978" y="7769"/>
                    <a:pt x="8938" y="7766"/>
                  </a:cubicBezTo>
                  <a:cubicBezTo>
                    <a:pt x="8914" y="7765"/>
                    <a:pt x="8928" y="7723"/>
                    <a:pt x="8895" y="7700"/>
                  </a:cubicBezTo>
                  <a:cubicBezTo>
                    <a:pt x="8872" y="7684"/>
                    <a:pt x="8811" y="7652"/>
                    <a:pt x="8800" y="7681"/>
                  </a:cubicBezTo>
                  <a:cubicBezTo>
                    <a:pt x="8749" y="7656"/>
                    <a:pt x="8725" y="7638"/>
                    <a:pt x="8659" y="7635"/>
                  </a:cubicBezTo>
                  <a:cubicBezTo>
                    <a:pt x="8594" y="7631"/>
                    <a:pt x="8548" y="7630"/>
                    <a:pt x="8521" y="7671"/>
                  </a:cubicBezTo>
                  <a:cubicBezTo>
                    <a:pt x="8512" y="7686"/>
                    <a:pt x="8538" y="7704"/>
                    <a:pt x="8507" y="7704"/>
                  </a:cubicBezTo>
                  <a:cubicBezTo>
                    <a:pt x="8503" y="7704"/>
                    <a:pt x="8473" y="7673"/>
                    <a:pt x="8458" y="7670"/>
                  </a:cubicBezTo>
                  <a:cubicBezTo>
                    <a:pt x="8423" y="7664"/>
                    <a:pt x="8361" y="7692"/>
                    <a:pt x="8330" y="7701"/>
                  </a:cubicBezTo>
                  <a:cubicBezTo>
                    <a:pt x="8272" y="7718"/>
                    <a:pt x="8195" y="7758"/>
                    <a:pt x="8146" y="7789"/>
                  </a:cubicBezTo>
                  <a:cubicBezTo>
                    <a:pt x="8119" y="7807"/>
                    <a:pt x="8123" y="7858"/>
                    <a:pt x="8137" y="7880"/>
                  </a:cubicBezTo>
                  <a:cubicBezTo>
                    <a:pt x="8146" y="7895"/>
                    <a:pt x="8171" y="7916"/>
                    <a:pt x="8190" y="7918"/>
                  </a:cubicBezTo>
                  <a:cubicBezTo>
                    <a:pt x="8206" y="7921"/>
                    <a:pt x="8210" y="7880"/>
                    <a:pt x="8222" y="7908"/>
                  </a:cubicBezTo>
                  <a:cubicBezTo>
                    <a:pt x="8225" y="7915"/>
                    <a:pt x="8200" y="7934"/>
                    <a:pt x="8208" y="7953"/>
                  </a:cubicBezTo>
                  <a:cubicBezTo>
                    <a:pt x="8213" y="7967"/>
                    <a:pt x="8236" y="7980"/>
                    <a:pt x="8250" y="7990"/>
                  </a:cubicBezTo>
                  <a:cubicBezTo>
                    <a:pt x="8275" y="8009"/>
                    <a:pt x="8346" y="8024"/>
                    <a:pt x="8326" y="8038"/>
                  </a:cubicBezTo>
                  <a:cubicBezTo>
                    <a:pt x="8298" y="8057"/>
                    <a:pt x="8243" y="8036"/>
                    <a:pt x="8218" y="8021"/>
                  </a:cubicBezTo>
                  <a:cubicBezTo>
                    <a:pt x="8181" y="7999"/>
                    <a:pt x="8158" y="7957"/>
                    <a:pt x="8101" y="7972"/>
                  </a:cubicBezTo>
                  <a:cubicBezTo>
                    <a:pt x="8049" y="7986"/>
                    <a:pt x="8045" y="8029"/>
                    <a:pt x="8053" y="8062"/>
                  </a:cubicBezTo>
                  <a:cubicBezTo>
                    <a:pt x="8055" y="8073"/>
                    <a:pt x="8090" y="8081"/>
                    <a:pt x="8093" y="8098"/>
                  </a:cubicBezTo>
                  <a:cubicBezTo>
                    <a:pt x="8098" y="8120"/>
                    <a:pt x="8056" y="8109"/>
                    <a:pt x="8076" y="8140"/>
                  </a:cubicBezTo>
                  <a:cubicBezTo>
                    <a:pt x="8085" y="8153"/>
                    <a:pt x="8073" y="8173"/>
                    <a:pt x="8075" y="8188"/>
                  </a:cubicBezTo>
                  <a:cubicBezTo>
                    <a:pt x="8077" y="8207"/>
                    <a:pt x="8088" y="8222"/>
                    <a:pt x="8093" y="8240"/>
                  </a:cubicBezTo>
                  <a:cubicBezTo>
                    <a:pt x="8102" y="8273"/>
                    <a:pt x="8108" y="8303"/>
                    <a:pt x="8116" y="8337"/>
                  </a:cubicBezTo>
                  <a:cubicBezTo>
                    <a:pt x="8121" y="8355"/>
                    <a:pt x="8147" y="8417"/>
                    <a:pt x="8143" y="8431"/>
                  </a:cubicBezTo>
                  <a:cubicBezTo>
                    <a:pt x="8140" y="8441"/>
                    <a:pt x="8112" y="8453"/>
                    <a:pt x="8106" y="8466"/>
                  </a:cubicBezTo>
                  <a:cubicBezTo>
                    <a:pt x="8108" y="8463"/>
                    <a:pt x="8109" y="8516"/>
                    <a:pt x="8108" y="8513"/>
                  </a:cubicBezTo>
                  <a:cubicBezTo>
                    <a:pt x="8113" y="8536"/>
                    <a:pt x="8127" y="8557"/>
                    <a:pt x="8131" y="8583"/>
                  </a:cubicBezTo>
                  <a:cubicBezTo>
                    <a:pt x="8134" y="8605"/>
                    <a:pt x="8121" y="8633"/>
                    <a:pt x="8131" y="8654"/>
                  </a:cubicBezTo>
                  <a:cubicBezTo>
                    <a:pt x="8147" y="8684"/>
                    <a:pt x="8164" y="8670"/>
                    <a:pt x="8174" y="8704"/>
                  </a:cubicBezTo>
                  <a:cubicBezTo>
                    <a:pt x="8178" y="8716"/>
                    <a:pt x="8151" y="8715"/>
                    <a:pt x="8161" y="8730"/>
                  </a:cubicBezTo>
                  <a:cubicBezTo>
                    <a:pt x="8174" y="8749"/>
                    <a:pt x="8185" y="8739"/>
                    <a:pt x="8194" y="8745"/>
                  </a:cubicBezTo>
                  <a:cubicBezTo>
                    <a:pt x="8212" y="8758"/>
                    <a:pt x="8246" y="8778"/>
                    <a:pt x="8244" y="8802"/>
                  </a:cubicBezTo>
                  <a:cubicBezTo>
                    <a:pt x="8242" y="8840"/>
                    <a:pt x="8271" y="8834"/>
                    <a:pt x="8290" y="8856"/>
                  </a:cubicBezTo>
                  <a:cubicBezTo>
                    <a:pt x="8307" y="8875"/>
                    <a:pt x="8309" y="8903"/>
                    <a:pt x="8312" y="8919"/>
                  </a:cubicBezTo>
                  <a:cubicBezTo>
                    <a:pt x="8272" y="8922"/>
                    <a:pt x="8313" y="8966"/>
                    <a:pt x="8318" y="8987"/>
                  </a:cubicBezTo>
                  <a:cubicBezTo>
                    <a:pt x="8325" y="9016"/>
                    <a:pt x="8311" y="9047"/>
                    <a:pt x="8317" y="9075"/>
                  </a:cubicBezTo>
                  <a:cubicBezTo>
                    <a:pt x="8321" y="9099"/>
                    <a:pt x="8327" y="9125"/>
                    <a:pt x="8354" y="9128"/>
                  </a:cubicBezTo>
                  <a:cubicBezTo>
                    <a:pt x="8382" y="9130"/>
                    <a:pt x="8416" y="9106"/>
                    <a:pt x="8450" y="9109"/>
                  </a:cubicBezTo>
                  <a:cubicBezTo>
                    <a:pt x="8426" y="9117"/>
                    <a:pt x="8286" y="9171"/>
                    <a:pt x="8358" y="9160"/>
                  </a:cubicBezTo>
                  <a:cubicBezTo>
                    <a:pt x="8343" y="9177"/>
                    <a:pt x="8310" y="9245"/>
                    <a:pt x="8363" y="9233"/>
                  </a:cubicBezTo>
                  <a:cubicBezTo>
                    <a:pt x="8360" y="9238"/>
                    <a:pt x="8358" y="9246"/>
                    <a:pt x="8355" y="9251"/>
                  </a:cubicBezTo>
                  <a:cubicBezTo>
                    <a:pt x="8415" y="9235"/>
                    <a:pt x="8483" y="9198"/>
                    <a:pt x="8548" y="9197"/>
                  </a:cubicBezTo>
                  <a:cubicBezTo>
                    <a:pt x="8581" y="9196"/>
                    <a:pt x="8618" y="9213"/>
                    <a:pt x="8642" y="9211"/>
                  </a:cubicBezTo>
                  <a:cubicBezTo>
                    <a:pt x="8696" y="9207"/>
                    <a:pt x="8660" y="9194"/>
                    <a:pt x="8667" y="9158"/>
                  </a:cubicBezTo>
                  <a:cubicBezTo>
                    <a:pt x="8661" y="9176"/>
                    <a:pt x="8610" y="9211"/>
                    <a:pt x="8619" y="9174"/>
                  </a:cubicBezTo>
                  <a:cubicBezTo>
                    <a:pt x="8622" y="9161"/>
                    <a:pt x="8649" y="9164"/>
                    <a:pt x="8657" y="9152"/>
                  </a:cubicBezTo>
                  <a:cubicBezTo>
                    <a:pt x="8667" y="9138"/>
                    <a:pt x="8658" y="9126"/>
                    <a:pt x="8660" y="9112"/>
                  </a:cubicBezTo>
                  <a:cubicBezTo>
                    <a:pt x="8671" y="9060"/>
                    <a:pt x="8690" y="9000"/>
                    <a:pt x="8729" y="8960"/>
                  </a:cubicBezTo>
                  <a:cubicBezTo>
                    <a:pt x="8776" y="8911"/>
                    <a:pt x="8806" y="8864"/>
                    <a:pt x="8758" y="8801"/>
                  </a:cubicBezTo>
                  <a:cubicBezTo>
                    <a:pt x="8747" y="8787"/>
                    <a:pt x="8739" y="8776"/>
                    <a:pt x="8722" y="8765"/>
                  </a:cubicBezTo>
                  <a:cubicBezTo>
                    <a:pt x="8714" y="8760"/>
                    <a:pt x="8683" y="8751"/>
                    <a:pt x="8680" y="8748"/>
                  </a:cubicBezTo>
                  <a:cubicBezTo>
                    <a:pt x="8661" y="8727"/>
                    <a:pt x="8671" y="8695"/>
                    <a:pt x="8666" y="8671"/>
                  </a:cubicBezTo>
                  <a:cubicBezTo>
                    <a:pt x="8655" y="8698"/>
                    <a:pt x="8627" y="8698"/>
                    <a:pt x="8599" y="8697"/>
                  </a:cubicBezTo>
                  <a:cubicBezTo>
                    <a:pt x="8582" y="8696"/>
                    <a:pt x="8567" y="8688"/>
                    <a:pt x="8550" y="8685"/>
                  </a:cubicBezTo>
                  <a:cubicBezTo>
                    <a:pt x="8547" y="8685"/>
                    <a:pt x="8488" y="8707"/>
                    <a:pt x="8515" y="8672"/>
                  </a:cubicBezTo>
                  <a:cubicBezTo>
                    <a:pt x="8531" y="8650"/>
                    <a:pt x="8592" y="8655"/>
                    <a:pt x="8628" y="8649"/>
                  </a:cubicBezTo>
                  <a:cubicBezTo>
                    <a:pt x="8668" y="8641"/>
                    <a:pt x="8702" y="8634"/>
                    <a:pt x="8736" y="8624"/>
                  </a:cubicBezTo>
                  <a:cubicBezTo>
                    <a:pt x="8779" y="8611"/>
                    <a:pt x="8805" y="8608"/>
                    <a:pt x="8844" y="8620"/>
                  </a:cubicBezTo>
                  <a:cubicBezTo>
                    <a:pt x="8888" y="8632"/>
                    <a:pt x="8922" y="8637"/>
                    <a:pt x="8969" y="8642"/>
                  </a:cubicBezTo>
                  <a:cubicBezTo>
                    <a:pt x="9015" y="8647"/>
                    <a:pt x="9063" y="8664"/>
                    <a:pt x="9106" y="8646"/>
                  </a:cubicBezTo>
                  <a:cubicBezTo>
                    <a:pt x="9142" y="8631"/>
                    <a:pt x="9154" y="8594"/>
                    <a:pt x="9170" y="8570"/>
                  </a:cubicBezTo>
                  <a:cubicBezTo>
                    <a:pt x="9207" y="8512"/>
                    <a:pt x="9218" y="8453"/>
                    <a:pt x="9238" y="8391"/>
                  </a:cubicBezTo>
                  <a:cubicBezTo>
                    <a:pt x="9247" y="8362"/>
                    <a:pt x="9263" y="8336"/>
                    <a:pt x="9267" y="8306"/>
                  </a:cubicBezTo>
                  <a:cubicBezTo>
                    <a:pt x="9273" y="8260"/>
                    <a:pt x="9266" y="8264"/>
                    <a:pt x="9205" y="8261"/>
                  </a:cubicBezTo>
                  <a:cubicBezTo>
                    <a:pt x="9226" y="8247"/>
                    <a:pt x="9259" y="8249"/>
                    <a:pt x="9279" y="8236"/>
                  </a:cubicBezTo>
                  <a:cubicBezTo>
                    <a:pt x="9309" y="8216"/>
                    <a:pt x="9300" y="8188"/>
                    <a:pt x="9310" y="8160"/>
                  </a:cubicBezTo>
                  <a:cubicBezTo>
                    <a:pt x="9317" y="8135"/>
                    <a:pt x="9329" y="8111"/>
                    <a:pt x="9337" y="8087"/>
                  </a:cubicBezTo>
                  <a:cubicBezTo>
                    <a:pt x="9341" y="8075"/>
                    <a:pt x="9354" y="8066"/>
                    <a:pt x="9355" y="8053"/>
                  </a:cubicBezTo>
                  <a:cubicBezTo>
                    <a:pt x="9355" y="8043"/>
                    <a:pt x="9322" y="8020"/>
                    <a:pt x="9339" y="8017"/>
                  </a:cubicBezTo>
                  <a:cubicBezTo>
                    <a:pt x="9399" y="8007"/>
                    <a:pt x="9416" y="7937"/>
                    <a:pt x="9433" y="7894"/>
                  </a:cubicBezTo>
                  <a:cubicBezTo>
                    <a:pt x="9442" y="7871"/>
                    <a:pt x="9456" y="7839"/>
                    <a:pt x="9457" y="7816"/>
                  </a:cubicBezTo>
                  <a:cubicBezTo>
                    <a:pt x="9457" y="7805"/>
                    <a:pt x="9445" y="7732"/>
                    <a:pt x="9474" y="7780"/>
                  </a:cubicBezTo>
                  <a:close/>
                  <a:moveTo>
                    <a:pt x="4262" y="12528"/>
                  </a:moveTo>
                  <a:cubicBezTo>
                    <a:pt x="4270" y="12493"/>
                    <a:pt x="4285" y="12460"/>
                    <a:pt x="4292" y="12422"/>
                  </a:cubicBezTo>
                  <a:cubicBezTo>
                    <a:pt x="4287" y="12390"/>
                    <a:pt x="4264" y="12413"/>
                    <a:pt x="4248" y="12428"/>
                  </a:cubicBezTo>
                  <a:cubicBezTo>
                    <a:pt x="4230" y="12443"/>
                    <a:pt x="4223" y="12443"/>
                    <a:pt x="4228" y="12468"/>
                  </a:cubicBezTo>
                  <a:cubicBezTo>
                    <a:pt x="4221" y="12460"/>
                    <a:pt x="4210" y="12454"/>
                    <a:pt x="4203" y="12446"/>
                  </a:cubicBezTo>
                  <a:cubicBezTo>
                    <a:pt x="4199" y="12458"/>
                    <a:pt x="4247" y="12512"/>
                    <a:pt x="4262" y="12528"/>
                  </a:cubicBezTo>
                  <a:close/>
                  <a:moveTo>
                    <a:pt x="5870" y="5889"/>
                  </a:moveTo>
                  <a:cubicBezTo>
                    <a:pt x="5834" y="5886"/>
                    <a:pt x="5773" y="5912"/>
                    <a:pt x="5753" y="5935"/>
                  </a:cubicBezTo>
                  <a:cubicBezTo>
                    <a:pt x="5739" y="5951"/>
                    <a:pt x="5752" y="6007"/>
                    <a:pt x="5767" y="6025"/>
                  </a:cubicBezTo>
                  <a:cubicBezTo>
                    <a:pt x="5780" y="6041"/>
                    <a:pt x="5798" y="6028"/>
                    <a:pt x="5805" y="6060"/>
                  </a:cubicBezTo>
                  <a:cubicBezTo>
                    <a:pt x="5807" y="6069"/>
                    <a:pt x="5793" y="6077"/>
                    <a:pt x="5794" y="6084"/>
                  </a:cubicBezTo>
                  <a:cubicBezTo>
                    <a:pt x="5794" y="6084"/>
                    <a:pt x="5801" y="6106"/>
                    <a:pt x="5802" y="6097"/>
                  </a:cubicBezTo>
                  <a:cubicBezTo>
                    <a:pt x="5802" y="6088"/>
                    <a:pt x="5807" y="6149"/>
                    <a:pt x="5798" y="6137"/>
                  </a:cubicBezTo>
                  <a:cubicBezTo>
                    <a:pt x="5811" y="6153"/>
                    <a:pt x="5829" y="6149"/>
                    <a:pt x="5853" y="6151"/>
                  </a:cubicBezTo>
                  <a:cubicBezTo>
                    <a:pt x="5934" y="6159"/>
                    <a:pt x="6043" y="6176"/>
                    <a:pt x="6097" y="6109"/>
                  </a:cubicBezTo>
                  <a:cubicBezTo>
                    <a:pt x="6156" y="6037"/>
                    <a:pt x="5988" y="6046"/>
                    <a:pt x="5996" y="5983"/>
                  </a:cubicBezTo>
                  <a:cubicBezTo>
                    <a:pt x="6001" y="5937"/>
                    <a:pt x="5912" y="5961"/>
                    <a:pt x="5891" y="5968"/>
                  </a:cubicBezTo>
                  <a:cubicBezTo>
                    <a:pt x="5903" y="5930"/>
                    <a:pt x="5933" y="5921"/>
                    <a:pt x="5870" y="5889"/>
                  </a:cubicBezTo>
                  <a:close/>
                  <a:moveTo>
                    <a:pt x="6426" y="4971"/>
                  </a:moveTo>
                  <a:cubicBezTo>
                    <a:pt x="6375" y="4974"/>
                    <a:pt x="6281" y="4963"/>
                    <a:pt x="6253" y="5000"/>
                  </a:cubicBezTo>
                  <a:cubicBezTo>
                    <a:pt x="6235" y="5024"/>
                    <a:pt x="6255" y="5052"/>
                    <a:pt x="6262" y="5074"/>
                  </a:cubicBezTo>
                  <a:cubicBezTo>
                    <a:pt x="6278" y="5124"/>
                    <a:pt x="6366" y="5144"/>
                    <a:pt x="6425" y="5124"/>
                  </a:cubicBezTo>
                  <a:cubicBezTo>
                    <a:pt x="6465" y="5110"/>
                    <a:pt x="6469" y="5102"/>
                    <a:pt x="6519" y="5100"/>
                  </a:cubicBezTo>
                  <a:cubicBezTo>
                    <a:pt x="6547" y="5098"/>
                    <a:pt x="6581" y="5106"/>
                    <a:pt x="6581" y="5076"/>
                  </a:cubicBezTo>
                  <a:cubicBezTo>
                    <a:pt x="6581" y="5027"/>
                    <a:pt x="6465" y="4996"/>
                    <a:pt x="6426" y="4971"/>
                  </a:cubicBezTo>
                  <a:close/>
                  <a:moveTo>
                    <a:pt x="6204" y="6178"/>
                  </a:moveTo>
                  <a:cubicBezTo>
                    <a:pt x="6163" y="6128"/>
                    <a:pt x="5944" y="6201"/>
                    <a:pt x="5888" y="6212"/>
                  </a:cubicBezTo>
                  <a:cubicBezTo>
                    <a:pt x="5837" y="6222"/>
                    <a:pt x="5776" y="6244"/>
                    <a:pt x="5777" y="6291"/>
                  </a:cubicBezTo>
                  <a:cubicBezTo>
                    <a:pt x="5778" y="6347"/>
                    <a:pt x="5865" y="6340"/>
                    <a:pt x="5912" y="6353"/>
                  </a:cubicBezTo>
                  <a:cubicBezTo>
                    <a:pt x="5906" y="6356"/>
                    <a:pt x="5900" y="6358"/>
                    <a:pt x="5894" y="6361"/>
                  </a:cubicBezTo>
                  <a:cubicBezTo>
                    <a:pt x="5951" y="6380"/>
                    <a:pt x="6063" y="6359"/>
                    <a:pt x="6121" y="6343"/>
                  </a:cubicBezTo>
                  <a:cubicBezTo>
                    <a:pt x="6228" y="6312"/>
                    <a:pt x="6247" y="6254"/>
                    <a:pt x="6204" y="6178"/>
                  </a:cubicBezTo>
                  <a:close/>
                  <a:moveTo>
                    <a:pt x="6060" y="6581"/>
                  </a:moveTo>
                  <a:cubicBezTo>
                    <a:pt x="6075" y="6585"/>
                    <a:pt x="6129" y="6582"/>
                    <a:pt x="6145" y="6578"/>
                  </a:cubicBezTo>
                  <a:cubicBezTo>
                    <a:pt x="6192" y="6567"/>
                    <a:pt x="6215" y="6561"/>
                    <a:pt x="6239" y="6524"/>
                  </a:cubicBezTo>
                  <a:cubicBezTo>
                    <a:pt x="6268" y="6477"/>
                    <a:pt x="6294" y="6469"/>
                    <a:pt x="6360" y="6441"/>
                  </a:cubicBezTo>
                  <a:cubicBezTo>
                    <a:pt x="6330" y="6392"/>
                    <a:pt x="6269" y="6409"/>
                    <a:pt x="6197" y="6431"/>
                  </a:cubicBezTo>
                  <a:cubicBezTo>
                    <a:pt x="6172" y="6438"/>
                    <a:pt x="6121" y="6452"/>
                    <a:pt x="6104" y="6468"/>
                  </a:cubicBezTo>
                  <a:cubicBezTo>
                    <a:pt x="6089" y="6483"/>
                    <a:pt x="6100" y="6507"/>
                    <a:pt x="6098" y="6509"/>
                  </a:cubicBezTo>
                  <a:cubicBezTo>
                    <a:pt x="6090" y="6519"/>
                    <a:pt x="6073" y="6512"/>
                    <a:pt x="6063" y="6522"/>
                  </a:cubicBezTo>
                  <a:cubicBezTo>
                    <a:pt x="6039" y="6546"/>
                    <a:pt x="6012" y="6567"/>
                    <a:pt x="6060" y="6581"/>
                  </a:cubicBezTo>
                  <a:close/>
                  <a:moveTo>
                    <a:pt x="7798" y="8413"/>
                  </a:moveTo>
                  <a:cubicBezTo>
                    <a:pt x="7697" y="8383"/>
                    <a:pt x="7677" y="8569"/>
                    <a:pt x="7759" y="8598"/>
                  </a:cubicBezTo>
                  <a:cubicBezTo>
                    <a:pt x="7821" y="8621"/>
                    <a:pt x="7857" y="8561"/>
                    <a:pt x="7860" y="8524"/>
                  </a:cubicBezTo>
                  <a:cubicBezTo>
                    <a:pt x="7862" y="8489"/>
                    <a:pt x="7838" y="8469"/>
                    <a:pt x="7824" y="8454"/>
                  </a:cubicBezTo>
                  <a:cubicBezTo>
                    <a:pt x="7830" y="8461"/>
                    <a:pt x="7814" y="8454"/>
                    <a:pt x="7810" y="8449"/>
                  </a:cubicBezTo>
                  <a:cubicBezTo>
                    <a:pt x="7802" y="8441"/>
                    <a:pt x="7812" y="8425"/>
                    <a:pt x="7798" y="8413"/>
                  </a:cubicBezTo>
                  <a:close/>
                  <a:moveTo>
                    <a:pt x="7233" y="7948"/>
                  </a:moveTo>
                  <a:cubicBezTo>
                    <a:pt x="7274" y="8017"/>
                    <a:pt x="7542" y="7842"/>
                    <a:pt x="7502" y="7762"/>
                  </a:cubicBezTo>
                  <a:cubicBezTo>
                    <a:pt x="7402" y="7759"/>
                    <a:pt x="7340" y="7779"/>
                    <a:pt x="7250" y="7812"/>
                  </a:cubicBezTo>
                  <a:cubicBezTo>
                    <a:pt x="7197" y="7832"/>
                    <a:pt x="7068" y="7882"/>
                    <a:pt x="7047" y="7924"/>
                  </a:cubicBezTo>
                  <a:cubicBezTo>
                    <a:pt x="7024" y="7966"/>
                    <a:pt x="7146" y="7954"/>
                    <a:pt x="7169" y="7958"/>
                  </a:cubicBezTo>
                  <a:cubicBezTo>
                    <a:pt x="7252" y="7971"/>
                    <a:pt x="7144" y="7964"/>
                    <a:pt x="7121" y="7980"/>
                  </a:cubicBezTo>
                  <a:cubicBezTo>
                    <a:pt x="7178" y="7996"/>
                    <a:pt x="7229" y="7986"/>
                    <a:pt x="7233" y="7948"/>
                  </a:cubicBezTo>
                  <a:close/>
                  <a:moveTo>
                    <a:pt x="6519" y="5911"/>
                  </a:moveTo>
                  <a:cubicBezTo>
                    <a:pt x="6488" y="5925"/>
                    <a:pt x="6384" y="5964"/>
                    <a:pt x="6477" y="5979"/>
                  </a:cubicBezTo>
                  <a:cubicBezTo>
                    <a:pt x="6555" y="5991"/>
                    <a:pt x="6689" y="5882"/>
                    <a:pt x="6744" y="5851"/>
                  </a:cubicBezTo>
                  <a:cubicBezTo>
                    <a:pt x="6756" y="5824"/>
                    <a:pt x="6650" y="5828"/>
                    <a:pt x="6623" y="5838"/>
                  </a:cubicBezTo>
                  <a:cubicBezTo>
                    <a:pt x="6574" y="5855"/>
                    <a:pt x="6564" y="5890"/>
                    <a:pt x="6519" y="5911"/>
                  </a:cubicBezTo>
                  <a:close/>
                  <a:moveTo>
                    <a:pt x="8227" y="5076"/>
                  </a:moveTo>
                  <a:cubicBezTo>
                    <a:pt x="8241" y="5059"/>
                    <a:pt x="8276" y="5061"/>
                    <a:pt x="8237" y="5026"/>
                  </a:cubicBezTo>
                  <a:cubicBezTo>
                    <a:pt x="8226" y="5003"/>
                    <a:pt x="8150" y="4978"/>
                    <a:pt x="8121" y="4984"/>
                  </a:cubicBezTo>
                  <a:cubicBezTo>
                    <a:pt x="8096" y="4990"/>
                    <a:pt x="8097" y="5014"/>
                    <a:pt x="8072" y="5018"/>
                  </a:cubicBezTo>
                  <a:cubicBezTo>
                    <a:pt x="8065" y="5019"/>
                    <a:pt x="8058" y="5003"/>
                    <a:pt x="8053" y="5003"/>
                  </a:cubicBezTo>
                  <a:cubicBezTo>
                    <a:pt x="8045" y="5002"/>
                    <a:pt x="8029" y="5007"/>
                    <a:pt x="8028" y="5007"/>
                  </a:cubicBezTo>
                  <a:cubicBezTo>
                    <a:pt x="7987" y="5002"/>
                    <a:pt x="7949" y="4993"/>
                    <a:pt x="7898" y="4992"/>
                  </a:cubicBezTo>
                  <a:cubicBezTo>
                    <a:pt x="7857" y="4991"/>
                    <a:pt x="7806" y="5048"/>
                    <a:pt x="7781" y="5021"/>
                  </a:cubicBezTo>
                  <a:cubicBezTo>
                    <a:pt x="7766" y="5056"/>
                    <a:pt x="7763" y="4991"/>
                    <a:pt x="7725" y="4998"/>
                  </a:cubicBezTo>
                  <a:cubicBezTo>
                    <a:pt x="7724" y="4998"/>
                    <a:pt x="7688" y="5024"/>
                    <a:pt x="7681" y="5027"/>
                  </a:cubicBezTo>
                  <a:cubicBezTo>
                    <a:pt x="7668" y="5035"/>
                    <a:pt x="7655" y="5037"/>
                    <a:pt x="7643" y="5044"/>
                  </a:cubicBezTo>
                  <a:cubicBezTo>
                    <a:pt x="7570" y="5089"/>
                    <a:pt x="7564" y="5143"/>
                    <a:pt x="7618" y="5204"/>
                  </a:cubicBezTo>
                  <a:cubicBezTo>
                    <a:pt x="7689" y="5283"/>
                    <a:pt x="7812" y="5239"/>
                    <a:pt x="7920" y="5226"/>
                  </a:cubicBezTo>
                  <a:cubicBezTo>
                    <a:pt x="7967" y="5220"/>
                    <a:pt x="8001" y="5230"/>
                    <a:pt x="8046" y="5234"/>
                  </a:cubicBezTo>
                  <a:cubicBezTo>
                    <a:pt x="8077" y="5238"/>
                    <a:pt x="8129" y="5245"/>
                    <a:pt x="8131" y="5229"/>
                  </a:cubicBezTo>
                  <a:cubicBezTo>
                    <a:pt x="8213" y="5236"/>
                    <a:pt x="8188" y="5191"/>
                    <a:pt x="8191" y="5144"/>
                  </a:cubicBezTo>
                  <a:cubicBezTo>
                    <a:pt x="8194" y="5107"/>
                    <a:pt x="8208" y="5101"/>
                    <a:pt x="8227" y="5076"/>
                  </a:cubicBezTo>
                  <a:close/>
                  <a:moveTo>
                    <a:pt x="6833" y="10248"/>
                  </a:moveTo>
                  <a:cubicBezTo>
                    <a:pt x="6812" y="10228"/>
                    <a:pt x="6789" y="10257"/>
                    <a:pt x="6760" y="10236"/>
                  </a:cubicBezTo>
                  <a:cubicBezTo>
                    <a:pt x="6772" y="10273"/>
                    <a:pt x="6759" y="10306"/>
                    <a:pt x="6791" y="10336"/>
                  </a:cubicBezTo>
                  <a:cubicBezTo>
                    <a:pt x="6822" y="10366"/>
                    <a:pt x="6874" y="10368"/>
                    <a:pt x="6905" y="10394"/>
                  </a:cubicBezTo>
                  <a:cubicBezTo>
                    <a:pt x="6904" y="10362"/>
                    <a:pt x="6882" y="10333"/>
                    <a:pt x="6882" y="10301"/>
                  </a:cubicBezTo>
                  <a:cubicBezTo>
                    <a:pt x="6893" y="10307"/>
                    <a:pt x="6910" y="10309"/>
                    <a:pt x="6917" y="10311"/>
                  </a:cubicBezTo>
                  <a:cubicBezTo>
                    <a:pt x="6897" y="10286"/>
                    <a:pt x="6862" y="10268"/>
                    <a:pt x="6833" y="10248"/>
                  </a:cubicBezTo>
                  <a:close/>
                  <a:moveTo>
                    <a:pt x="6821" y="11581"/>
                  </a:moveTo>
                  <a:cubicBezTo>
                    <a:pt x="6842" y="11597"/>
                    <a:pt x="6843" y="11560"/>
                    <a:pt x="6855" y="11561"/>
                  </a:cubicBezTo>
                  <a:cubicBezTo>
                    <a:pt x="6893" y="11565"/>
                    <a:pt x="6871" y="11656"/>
                    <a:pt x="6935" y="11572"/>
                  </a:cubicBezTo>
                  <a:cubicBezTo>
                    <a:pt x="6952" y="11551"/>
                    <a:pt x="6973" y="11529"/>
                    <a:pt x="6966" y="11492"/>
                  </a:cubicBezTo>
                  <a:cubicBezTo>
                    <a:pt x="6963" y="11473"/>
                    <a:pt x="6932" y="11447"/>
                    <a:pt x="6913" y="11416"/>
                  </a:cubicBezTo>
                  <a:cubicBezTo>
                    <a:pt x="6893" y="11386"/>
                    <a:pt x="6847" y="11383"/>
                    <a:pt x="6827" y="11408"/>
                  </a:cubicBezTo>
                  <a:cubicBezTo>
                    <a:pt x="6814" y="11424"/>
                    <a:pt x="6823" y="11449"/>
                    <a:pt x="6822" y="11469"/>
                  </a:cubicBezTo>
                  <a:cubicBezTo>
                    <a:pt x="6820" y="11492"/>
                    <a:pt x="6811" y="11519"/>
                    <a:pt x="6815" y="11545"/>
                  </a:cubicBezTo>
                  <a:cubicBezTo>
                    <a:pt x="6817" y="11557"/>
                    <a:pt x="6809" y="11571"/>
                    <a:pt x="6821" y="11581"/>
                  </a:cubicBezTo>
                  <a:close/>
                  <a:moveTo>
                    <a:pt x="8427" y="11124"/>
                  </a:moveTo>
                  <a:cubicBezTo>
                    <a:pt x="8464" y="11128"/>
                    <a:pt x="8499" y="11087"/>
                    <a:pt x="8507" y="11067"/>
                  </a:cubicBezTo>
                  <a:cubicBezTo>
                    <a:pt x="8523" y="11020"/>
                    <a:pt x="8504" y="10981"/>
                    <a:pt x="8464" y="10949"/>
                  </a:cubicBezTo>
                  <a:cubicBezTo>
                    <a:pt x="8433" y="10938"/>
                    <a:pt x="8416" y="10915"/>
                    <a:pt x="8392" y="10915"/>
                  </a:cubicBezTo>
                  <a:cubicBezTo>
                    <a:pt x="8371" y="10914"/>
                    <a:pt x="8335" y="10919"/>
                    <a:pt x="8323" y="10938"/>
                  </a:cubicBezTo>
                  <a:cubicBezTo>
                    <a:pt x="8308" y="10961"/>
                    <a:pt x="8306" y="11012"/>
                    <a:pt x="8307" y="11036"/>
                  </a:cubicBezTo>
                  <a:cubicBezTo>
                    <a:pt x="8308" y="11047"/>
                    <a:pt x="8320" y="11064"/>
                    <a:pt x="8323" y="11072"/>
                  </a:cubicBezTo>
                  <a:cubicBezTo>
                    <a:pt x="8326" y="11084"/>
                    <a:pt x="8303" y="11108"/>
                    <a:pt x="8338" y="11113"/>
                  </a:cubicBezTo>
                  <a:cubicBezTo>
                    <a:pt x="8356" y="11115"/>
                    <a:pt x="8377" y="11038"/>
                    <a:pt x="8375" y="11020"/>
                  </a:cubicBezTo>
                  <a:cubicBezTo>
                    <a:pt x="8374" y="11008"/>
                    <a:pt x="8340" y="10921"/>
                    <a:pt x="8402" y="10977"/>
                  </a:cubicBezTo>
                  <a:cubicBezTo>
                    <a:pt x="8413" y="10987"/>
                    <a:pt x="8425" y="11049"/>
                    <a:pt x="8424" y="11062"/>
                  </a:cubicBezTo>
                  <a:cubicBezTo>
                    <a:pt x="8424" y="11084"/>
                    <a:pt x="8372" y="11118"/>
                    <a:pt x="8427" y="11124"/>
                  </a:cubicBezTo>
                  <a:close/>
                  <a:moveTo>
                    <a:pt x="5331" y="11706"/>
                  </a:moveTo>
                  <a:cubicBezTo>
                    <a:pt x="5315" y="11724"/>
                    <a:pt x="5354" y="11766"/>
                    <a:pt x="5373" y="11782"/>
                  </a:cubicBezTo>
                  <a:cubicBezTo>
                    <a:pt x="5400" y="11803"/>
                    <a:pt x="5458" y="11838"/>
                    <a:pt x="5501" y="11826"/>
                  </a:cubicBezTo>
                  <a:cubicBezTo>
                    <a:pt x="5589" y="11801"/>
                    <a:pt x="5482" y="11729"/>
                    <a:pt x="5453" y="11702"/>
                  </a:cubicBezTo>
                  <a:cubicBezTo>
                    <a:pt x="5427" y="11693"/>
                    <a:pt x="5351" y="11684"/>
                    <a:pt x="5331" y="11706"/>
                  </a:cubicBezTo>
                  <a:close/>
                  <a:moveTo>
                    <a:pt x="5582" y="8466"/>
                  </a:moveTo>
                  <a:cubicBezTo>
                    <a:pt x="5638" y="8374"/>
                    <a:pt x="5651" y="8290"/>
                    <a:pt x="5681" y="8194"/>
                  </a:cubicBezTo>
                  <a:cubicBezTo>
                    <a:pt x="5694" y="8154"/>
                    <a:pt x="5645" y="8137"/>
                    <a:pt x="5615" y="8117"/>
                  </a:cubicBezTo>
                  <a:cubicBezTo>
                    <a:pt x="5590" y="8100"/>
                    <a:pt x="5565" y="8076"/>
                    <a:pt x="5538" y="8055"/>
                  </a:cubicBezTo>
                  <a:cubicBezTo>
                    <a:pt x="5462" y="7992"/>
                    <a:pt x="5407" y="8034"/>
                    <a:pt x="5314" y="8035"/>
                  </a:cubicBezTo>
                  <a:cubicBezTo>
                    <a:pt x="5247" y="8036"/>
                    <a:pt x="5152" y="8017"/>
                    <a:pt x="5098" y="8057"/>
                  </a:cubicBezTo>
                  <a:cubicBezTo>
                    <a:pt x="5069" y="8079"/>
                    <a:pt x="5050" y="8123"/>
                    <a:pt x="5026" y="8149"/>
                  </a:cubicBezTo>
                  <a:cubicBezTo>
                    <a:pt x="4998" y="8178"/>
                    <a:pt x="4977" y="8194"/>
                    <a:pt x="5019" y="8215"/>
                  </a:cubicBezTo>
                  <a:cubicBezTo>
                    <a:pt x="5027" y="8219"/>
                    <a:pt x="5057" y="8221"/>
                    <a:pt x="5072" y="8227"/>
                  </a:cubicBezTo>
                  <a:cubicBezTo>
                    <a:pt x="5078" y="8230"/>
                    <a:pt x="5111" y="8251"/>
                    <a:pt x="5115" y="8254"/>
                  </a:cubicBezTo>
                  <a:cubicBezTo>
                    <a:pt x="5144" y="8276"/>
                    <a:pt x="5162" y="8299"/>
                    <a:pt x="5187" y="8323"/>
                  </a:cubicBezTo>
                  <a:cubicBezTo>
                    <a:pt x="5193" y="8329"/>
                    <a:pt x="5206" y="8332"/>
                    <a:pt x="5210" y="8339"/>
                  </a:cubicBezTo>
                  <a:cubicBezTo>
                    <a:pt x="5213" y="8343"/>
                    <a:pt x="5216" y="8361"/>
                    <a:pt x="5211" y="8354"/>
                  </a:cubicBezTo>
                  <a:cubicBezTo>
                    <a:pt x="5215" y="8360"/>
                    <a:pt x="5234" y="8384"/>
                    <a:pt x="5238" y="8392"/>
                  </a:cubicBezTo>
                  <a:cubicBezTo>
                    <a:pt x="5247" y="8413"/>
                    <a:pt x="5232" y="8415"/>
                    <a:pt x="5242" y="8432"/>
                  </a:cubicBezTo>
                  <a:cubicBezTo>
                    <a:pt x="5246" y="8439"/>
                    <a:pt x="5272" y="8451"/>
                    <a:pt x="5276" y="8455"/>
                  </a:cubicBezTo>
                  <a:cubicBezTo>
                    <a:pt x="5330" y="8506"/>
                    <a:pt x="5356" y="8592"/>
                    <a:pt x="5403" y="8646"/>
                  </a:cubicBezTo>
                  <a:cubicBezTo>
                    <a:pt x="5411" y="8657"/>
                    <a:pt x="5431" y="8674"/>
                    <a:pt x="5448" y="8669"/>
                  </a:cubicBezTo>
                  <a:cubicBezTo>
                    <a:pt x="5468" y="8664"/>
                    <a:pt x="5442" y="8658"/>
                    <a:pt x="5443" y="8653"/>
                  </a:cubicBezTo>
                  <a:cubicBezTo>
                    <a:pt x="5443" y="8642"/>
                    <a:pt x="5421" y="8609"/>
                    <a:pt x="5427" y="8601"/>
                  </a:cubicBezTo>
                  <a:cubicBezTo>
                    <a:pt x="5435" y="8589"/>
                    <a:pt x="5505" y="8571"/>
                    <a:pt x="5523" y="8556"/>
                  </a:cubicBezTo>
                  <a:cubicBezTo>
                    <a:pt x="5545" y="8539"/>
                    <a:pt x="5569" y="8488"/>
                    <a:pt x="5582" y="8466"/>
                  </a:cubicBezTo>
                  <a:close/>
                  <a:moveTo>
                    <a:pt x="5806" y="7105"/>
                  </a:moveTo>
                  <a:cubicBezTo>
                    <a:pt x="5895" y="7094"/>
                    <a:pt x="5972" y="7036"/>
                    <a:pt x="5942" y="6970"/>
                  </a:cubicBezTo>
                  <a:cubicBezTo>
                    <a:pt x="5931" y="6946"/>
                    <a:pt x="5906" y="6902"/>
                    <a:pt x="5911" y="6872"/>
                  </a:cubicBezTo>
                  <a:cubicBezTo>
                    <a:pt x="5914" y="6848"/>
                    <a:pt x="5851" y="6821"/>
                    <a:pt x="5829" y="6805"/>
                  </a:cubicBezTo>
                  <a:cubicBezTo>
                    <a:pt x="5681" y="6830"/>
                    <a:pt x="5701" y="6906"/>
                    <a:pt x="5649" y="6988"/>
                  </a:cubicBezTo>
                  <a:cubicBezTo>
                    <a:pt x="5620" y="7034"/>
                    <a:pt x="5650" y="7050"/>
                    <a:pt x="5699" y="7080"/>
                  </a:cubicBezTo>
                  <a:cubicBezTo>
                    <a:pt x="5732" y="7099"/>
                    <a:pt x="5771" y="7109"/>
                    <a:pt x="5806" y="7105"/>
                  </a:cubicBezTo>
                  <a:close/>
                  <a:moveTo>
                    <a:pt x="7101" y="9576"/>
                  </a:moveTo>
                  <a:cubicBezTo>
                    <a:pt x="7121" y="9593"/>
                    <a:pt x="7126" y="9586"/>
                    <a:pt x="7137" y="9607"/>
                  </a:cubicBezTo>
                  <a:cubicBezTo>
                    <a:pt x="7141" y="9616"/>
                    <a:pt x="7143" y="9640"/>
                    <a:pt x="7148" y="9654"/>
                  </a:cubicBezTo>
                  <a:cubicBezTo>
                    <a:pt x="7155" y="9672"/>
                    <a:pt x="7167" y="9738"/>
                    <a:pt x="7185" y="9749"/>
                  </a:cubicBezTo>
                  <a:cubicBezTo>
                    <a:pt x="7225" y="9772"/>
                    <a:pt x="7237" y="9716"/>
                    <a:pt x="7278" y="9739"/>
                  </a:cubicBezTo>
                  <a:cubicBezTo>
                    <a:pt x="7309" y="9756"/>
                    <a:pt x="7303" y="9790"/>
                    <a:pt x="7345" y="9803"/>
                  </a:cubicBezTo>
                  <a:cubicBezTo>
                    <a:pt x="7434" y="9761"/>
                    <a:pt x="7494" y="9708"/>
                    <a:pt x="7527" y="9633"/>
                  </a:cubicBezTo>
                  <a:cubicBezTo>
                    <a:pt x="7538" y="9608"/>
                    <a:pt x="7487" y="9580"/>
                    <a:pt x="7465" y="9558"/>
                  </a:cubicBezTo>
                  <a:cubicBezTo>
                    <a:pt x="7454" y="9548"/>
                    <a:pt x="7431" y="9530"/>
                    <a:pt x="7427" y="9516"/>
                  </a:cubicBezTo>
                  <a:cubicBezTo>
                    <a:pt x="7422" y="9492"/>
                    <a:pt x="7399" y="9484"/>
                    <a:pt x="7397" y="9462"/>
                  </a:cubicBezTo>
                  <a:cubicBezTo>
                    <a:pt x="7393" y="9416"/>
                    <a:pt x="7457" y="9388"/>
                    <a:pt x="7454" y="9351"/>
                  </a:cubicBezTo>
                  <a:cubicBezTo>
                    <a:pt x="7488" y="9365"/>
                    <a:pt x="7401" y="9473"/>
                    <a:pt x="7467" y="9516"/>
                  </a:cubicBezTo>
                  <a:cubicBezTo>
                    <a:pt x="7482" y="9527"/>
                    <a:pt x="7497" y="9543"/>
                    <a:pt x="7521" y="9530"/>
                  </a:cubicBezTo>
                  <a:cubicBezTo>
                    <a:pt x="7551" y="9513"/>
                    <a:pt x="7540" y="9527"/>
                    <a:pt x="7568" y="9528"/>
                  </a:cubicBezTo>
                  <a:cubicBezTo>
                    <a:pt x="7610" y="9529"/>
                    <a:pt x="7642" y="9549"/>
                    <a:pt x="7684" y="9542"/>
                  </a:cubicBezTo>
                  <a:cubicBezTo>
                    <a:pt x="7756" y="9531"/>
                    <a:pt x="7802" y="9482"/>
                    <a:pt x="7828" y="9436"/>
                  </a:cubicBezTo>
                  <a:cubicBezTo>
                    <a:pt x="7840" y="9414"/>
                    <a:pt x="7851" y="9389"/>
                    <a:pt x="7881" y="9376"/>
                  </a:cubicBezTo>
                  <a:cubicBezTo>
                    <a:pt x="7936" y="9353"/>
                    <a:pt x="7891" y="9384"/>
                    <a:pt x="7903" y="9389"/>
                  </a:cubicBezTo>
                  <a:cubicBezTo>
                    <a:pt x="7915" y="9394"/>
                    <a:pt x="7927" y="9407"/>
                    <a:pt x="7952" y="9383"/>
                  </a:cubicBezTo>
                  <a:cubicBezTo>
                    <a:pt x="7961" y="9375"/>
                    <a:pt x="7967" y="9341"/>
                    <a:pt x="7965" y="9330"/>
                  </a:cubicBezTo>
                  <a:cubicBezTo>
                    <a:pt x="7957" y="9271"/>
                    <a:pt x="7894" y="9338"/>
                    <a:pt x="7896" y="9315"/>
                  </a:cubicBezTo>
                  <a:cubicBezTo>
                    <a:pt x="7898" y="9299"/>
                    <a:pt x="8002" y="9253"/>
                    <a:pt x="7959" y="9229"/>
                  </a:cubicBezTo>
                  <a:cubicBezTo>
                    <a:pt x="7942" y="9219"/>
                    <a:pt x="7926" y="9245"/>
                    <a:pt x="7909" y="9246"/>
                  </a:cubicBezTo>
                  <a:cubicBezTo>
                    <a:pt x="7898" y="9247"/>
                    <a:pt x="7868" y="9233"/>
                    <a:pt x="7856" y="9231"/>
                  </a:cubicBezTo>
                  <a:cubicBezTo>
                    <a:pt x="7925" y="9191"/>
                    <a:pt x="7975" y="9198"/>
                    <a:pt x="7939" y="9118"/>
                  </a:cubicBezTo>
                  <a:cubicBezTo>
                    <a:pt x="7931" y="9100"/>
                    <a:pt x="7934" y="9069"/>
                    <a:pt x="7918" y="9058"/>
                  </a:cubicBezTo>
                  <a:cubicBezTo>
                    <a:pt x="7922" y="9061"/>
                    <a:pt x="7883" y="9049"/>
                    <a:pt x="7880" y="9048"/>
                  </a:cubicBezTo>
                  <a:cubicBezTo>
                    <a:pt x="7864" y="9042"/>
                    <a:pt x="7849" y="9039"/>
                    <a:pt x="7834" y="9030"/>
                  </a:cubicBezTo>
                  <a:cubicBezTo>
                    <a:pt x="7854" y="9026"/>
                    <a:pt x="7876" y="9037"/>
                    <a:pt x="7891" y="9032"/>
                  </a:cubicBezTo>
                  <a:cubicBezTo>
                    <a:pt x="7918" y="9023"/>
                    <a:pt x="7940" y="8982"/>
                    <a:pt x="7958" y="8966"/>
                  </a:cubicBezTo>
                  <a:cubicBezTo>
                    <a:pt x="7993" y="8936"/>
                    <a:pt x="7980" y="8917"/>
                    <a:pt x="7960" y="8878"/>
                  </a:cubicBezTo>
                  <a:cubicBezTo>
                    <a:pt x="7945" y="8850"/>
                    <a:pt x="7929" y="8819"/>
                    <a:pt x="7918" y="8789"/>
                  </a:cubicBezTo>
                  <a:cubicBezTo>
                    <a:pt x="7913" y="8775"/>
                    <a:pt x="7909" y="8745"/>
                    <a:pt x="7899" y="8733"/>
                  </a:cubicBezTo>
                  <a:cubicBezTo>
                    <a:pt x="7876" y="8705"/>
                    <a:pt x="7896" y="8730"/>
                    <a:pt x="7874" y="8740"/>
                  </a:cubicBezTo>
                  <a:cubicBezTo>
                    <a:pt x="7836" y="8756"/>
                    <a:pt x="7803" y="8769"/>
                    <a:pt x="7774" y="8797"/>
                  </a:cubicBezTo>
                  <a:cubicBezTo>
                    <a:pt x="7742" y="8826"/>
                    <a:pt x="7712" y="8854"/>
                    <a:pt x="7722" y="8788"/>
                  </a:cubicBezTo>
                  <a:cubicBezTo>
                    <a:pt x="7727" y="8750"/>
                    <a:pt x="7770" y="8748"/>
                    <a:pt x="7739" y="8707"/>
                  </a:cubicBezTo>
                  <a:cubicBezTo>
                    <a:pt x="7736" y="8703"/>
                    <a:pt x="7722" y="8709"/>
                    <a:pt x="7716" y="8703"/>
                  </a:cubicBezTo>
                  <a:cubicBezTo>
                    <a:pt x="7710" y="8697"/>
                    <a:pt x="7714" y="8684"/>
                    <a:pt x="7705" y="8679"/>
                  </a:cubicBezTo>
                  <a:cubicBezTo>
                    <a:pt x="7702" y="8677"/>
                    <a:pt x="7646" y="8649"/>
                    <a:pt x="7648" y="8653"/>
                  </a:cubicBezTo>
                  <a:cubicBezTo>
                    <a:pt x="7647" y="8652"/>
                    <a:pt x="7646" y="8651"/>
                    <a:pt x="7644" y="8650"/>
                  </a:cubicBezTo>
                  <a:cubicBezTo>
                    <a:pt x="7772" y="8599"/>
                    <a:pt x="7568" y="8518"/>
                    <a:pt x="7504" y="8525"/>
                  </a:cubicBezTo>
                  <a:cubicBezTo>
                    <a:pt x="7428" y="8532"/>
                    <a:pt x="7366" y="8607"/>
                    <a:pt x="7360" y="8665"/>
                  </a:cubicBezTo>
                  <a:cubicBezTo>
                    <a:pt x="7348" y="8644"/>
                    <a:pt x="7348" y="8613"/>
                    <a:pt x="7342" y="8592"/>
                  </a:cubicBezTo>
                  <a:cubicBezTo>
                    <a:pt x="7335" y="8566"/>
                    <a:pt x="7336" y="8567"/>
                    <a:pt x="7349" y="8547"/>
                  </a:cubicBezTo>
                  <a:cubicBezTo>
                    <a:pt x="7371" y="8514"/>
                    <a:pt x="7419" y="8477"/>
                    <a:pt x="7449" y="8445"/>
                  </a:cubicBezTo>
                  <a:cubicBezTo>
                    <a:pt x="7479" y="8413"/>
                    <a:pt x="7488" y="8367"/>
                    <a:pt x="7527" y="8341"/>
                  </a:cubicBezTo>
                  <a:cubicBezTo>
                    <a:pt x="7549" y="8326"/>
                    <a:pt x="7646" y="8283"/>
                    <a:pt x="7660" y="8298"/>
                  </a:cubicBezTo>
                  <a:cubicBezTo>
                    <a:pt x="7685" y="8278"/>
                    <a:pt x="7667" y="8266"/>
                    <a:pt x="7667" y="8250"/>
                  </a:cubicBezTo>
                  <a:cubicBezTo>
                    <a:pt x="7667" y="8244"/>
                    <a:pt x="7670" y="8218"/>
                    <a:pt x="7658" y="8210"/>
                  </a:cubicBezTo>
                  <a:cubicBezTo>
                    <a:pt x="7664" y="8215"/>
                    <a:pt x="7605" y="8209"/>
                    <a:pt x="7609" y="8208"/>
                  </a:cubicBezTo>
                  <a:cubicBezTo>
                    <a:pt x="7610" y="8208"/>
                    <a:pt x="7600" y="8200"/>
                    <a:pt x="7590" y="8201"/>
                  </a:cubicBezTo>
                  <a:cubicBezTo>
                    <a:pt x="7579" y="8202"/>
                    <a:pt x="7568" y="8224"/>
                    <a:pt x="7564" y="8223"/>
                  </a:cubicBezTo>
                  <a:cubicBezTo>
                    <a:pt x="7541" y="8223"/>
                    <a:pt x="7538" y="8201"/>
                    <a:pt x="7543" y="8178"/>
                  </a:cubicBezTo>
                  <a:cubicBezTo>
                    <a:pt x="7547" y="8156"/>
                    <a:pt x="7564" y="8181"/>
                    <a:pt x="7568" y="8176"/>
                  </a:cubicBezTo>
                  <a:cubicBezTo>
                    <a:pt x="7559" y="8186"/>
                    <a:pt x="7600" y="8160"/>
                    <a:pt x="7593" y="8164"/>
                  </a:cubicBezTo>
                  <a:cubicBezTo>
                    <a:pt x="7596" y="8162"/>
                    <a:pt x="7582" y="8142"/>
                    <a:pt x="7587" y="8139"/>
                  </a:cubicBezTo>
                  <a:cubicBezTo>
                    <a:pt x="7599" y="8132"/>
                    <a:pt x="7605" y="8147"/>
                    <a:pt x="7612" y="8144"/>
                  </a:cubicBezTo>
                  <a:cubicBezTo>
                    <a:pt x="7616" y="8143"/>
                    <a:pt x="7636" y="8151"/>
                    <a:pt x="7644" y="8149"/>
                  </a:cubicBezTo>
                  <a:cubicBezTo>
                    <a:pt x="7654" y="8147"/>
                    <a:pt x="7659" y="8131"/>
                    <a:pt x="7666" y="8125"/>
                  </a:cubicBezTo>
                  <a:cubicBezTo>
                    <a:pt x="7751" y="8056"/>
                    <a:pt x="7699" y="8001"/>
                    <a:pt x="7634" y="7937"/>
                  </a:cubicBezTo>
                  <a:cubicBezTo>
                    <a:pt x="7616" y="7920"/>
                    <a:pt x="7600" y="7938"/>
                    <a:pt x="7588" y="7935"/>
                  </a:cubicBezTo>
                  <a:cubicBezTo>
                    <a:pt x="7576" y="7932"/>
                    <a:pt x="7538" y="7911"/>
                    <a:pt x="7533" y="7911"/>
                  </a:cubicBezTo>
                  <a:cubicBezTo>
                    <a:pt x="7515" y="7911"/>
                    <a:pt x="7488" y="7942"/>
                    <a:pt x="7475" y="7936"/>
                  </a:cubicBezTo>
                  <a:cubicBezTo>
                    <a:pt x="7457" y="7929"/>
                    <a:pt x="7508" y="7901"/>
                    <a:pt x="7472" y="7901"/>
                  </a:cubicBezTo>
                  <a:cubicBezTo>
                    <a:pt x="7442" y="7901"/>
                    <a:pt x="7431" y="7951"/>
                    <a:pt x="7409" y="7964"/>
                  </a:cubicBezTo>
                  <a:cubicBezTo>
                    <a:pt x="7376" y="7985"/>
                    <a:pt x="7339" y="7985"/>
                    <a:pt x="7296" y="7995"/>
                  </a:cubicBezTo>
                  <a:cubicBezTo>
                    <a:pt x="7257" y="8004"/>
                    <a:pt x="7229" y="8021"/>
                    <a:pt x="7199" y="8026"/>
                  </a:cubicBezTo>
                  <a:cubicBezTo>
                    <a:pt x="7185" y="8029"/>
                    <a:pt x="7162" y="8025"/>
                    <a:pt x="7149" y="8030"/>
                  </a:cubicBezTo>
                  <a:cubicBezTo>
                    <a:pt x="7122" y="8040"/>
                    <a:pt x="7139" y="8044"/>
                    <a:pt x="7120" y="8056"/>
                  </a:cubicBezTo>
                  <a:cubicBezTo>
                    <a:pt x="7105" y="8065"/>
                    <a:pt x="7132" y="8088"/>
                    <a:pt x="7100" y="8067"/>
                  </a:cubicBezTo>
                  <a:cubicBezTo>
                    <a:pt x="7103" y="8069"/>
                    <a:pt x="7081" y="8027"/>
                    <a:pt x="7076" y="8022"/>
                  </a:cubicBezTo>
                  <a:cubicBezTo>
                    <a:pt x="7042" y="7987"/>
                    <a:pt x="7009" y="7986"/>
                    <a:pt x="6967" y="7964"/>
                  </a:cubicBezTo>
                  <a:cubicBezTo>
                    <a:pt x="6932" y="7945"/>
                    <a:pt x="6950" y="7906"/>
                    <a:pt x="6915" y="7895"/>
                  </a:cubicBezTo>
                  <a:cubicBezTo>
                    <a:pt x="6887" y="7886"/>
                    <a:pt x="6848" y="7907"/>
                    <a:pt x="6833" y="7921"/>
                  </a:cubicBezTo>
                  <a:cubicBezTo>
                    <a:pt x="6811" y="7942"/>
                    <a:pt x="6803" y="7987"/>
                    <a:pt x="6860" y="7980"/>
                  </a:cubicBezTo>
                  <a:cubicBezTo>
                    <a:pt x="6894" y="7976"/>
                    <a:pt x="6905" y="7944"/>
                    <a:pt x="6923" y="7932"/>
                  </a:cubicBezTo>
                  <a:cubicBezTo>
                    <a:pt x="6949" y="7960"/>
                    <a:pt x="6884" y="8015"/>
                    <a:pt x="6886" y="8050"/>
                  </a:cubicBezTo>
                  <a:cubicBezTo>
                    <a:pt x="6870" y="8008"/>
                    <a:pt x="6847" y="8007"/>
                    <a:pt x="6801" y="7990"/>
                  </a:cubicBezTo>
                  <a:cubicBezTo>
                    <a:pt x="6781" y="7982"/>
                    <a:pt x="6781" y="7967"/>
                    <a:pt x="6752" y="7965"/>
                  </a:cubicBezTo>
                  <a:cubicBezTo>
                    <a:pt x="6723" y="7964"/>
                    <a:pt x="6722" y="7981"/>
                    <a:pt x="6704" y="7985"/>
                  </a:cubicBezTo>
                  <a:cubicBezTo>
                    <a:pt x="6677" y="7991"/>
                    <a:pt x="6641" y="7981"/>
                    <a:pt x="6621" y="8007"/>
                  </a:cubicBezTo>
                  <a:cubicBezTo>
                    <a:pt x="6613" y="8018"/>
                    <a:pt x="6625" y="8030"/>
                    <a:pt x="6624" y="8040"/>
                  </a:cubicBezTo>
                  <a:cubicBezTo>
                    <a:pt x="6623" y="8045"/>
                    <a:pt x="6603" y="8050"/>
                    <a:pt x="6599" y="8056"/>
                  </a:cubicBezTo>
                  <a:cubicBezTo>
                    <a:pt x="6592" y="8066"/>
                    <a:pt x="6617" y="8058"/>
                    <a:pt x="6618" y="8067"/>
                  </a:cubicBezTo>
                  <a:cubicBezTo>
                    <a:pt x="6624" y="8106"/>
                    <a:pt x="6628" y="8083"/>
                    <a:pt x="6664" y="8112"/>
                  </a:cubicBezTo>
                  <a:cubicBezTo>
                    <a:pt x="6672" y="8119"/>
                    <a:pt x="6657" y="8128"/>
                    <a:pt x="6678" y="8141"/>
                  </a:cubicBezTo>
                  <a:cubicBezTo>
                    <a:pt x="6690" y="8148"/>
                    <a:pt x="6705" y="8140"/>
                    <a:pt x="6724" y="8150"/>
                  </a:cubicBezTo>
                  <a:cubicBezTo>
                    <a:pt x="6774" y="8173"/>
                    <a:pt x="6723" y="8188"/>
                    <a:pt x="6740" y="8230"/>
                  </a:cubicBezTo>
                  <a:cubicBezTo>
                    <a:pt x="6745" y="8241"/>
                    <a:pt x="6822" y="8321"/>
                    <a:pt x="6757" y="8266"/>
                  </a:cubicBezTo>
                  <a:cubicBezTo>
                    <a:pt x="6723" y="8236"/>
                    <a:pt x="6690" y="8203"/>
                    <a:pt x="6666" y="8165"/>
                  </a:cubicBezTo>
                  <a:cubicBezTo>
                    <a:pt x="6660" y="8157"/>
                    <a:pt x="6587" y="8141"/>
                    <a:pt x="6569" y="8148"/>
                  </a:cubicBezTo>
                  <a:cubicBezTo>
                    <a:pt x="6558" y="8152"/>
                    <a:pt x="6551" y="8178"/>
                    <a:pt x="6542" y="8185"/>
                  </a:cubicBezTo>
                  <a:cubicBezTo>
                    <a:pt x="6539" y="8188"/>
                    <a:pt x="6505" y="8197"/>
                    <a:pt x="6496" y="8203"/>
                  </a:cubicBezTo>
                  <a:cubicBezTo>
                    <a:pt x="6501" y="8199"/>
                    <a:pt x="6461" y="8247"/>
                    <a:pt x="6463" y="8231"/>
                  </a:cubicBezTo>
                  <a:cubicBezTo>
                    <a:pt x="6461" y="8252"/>
                    <a:pt x="6484" y="8256"/>
                    <a:pt x="6496" y="8265"/>
                  </a:cubicBezTo>
                  <a:cubicBezTo>
                    <a:pt x="6527" y="8288"/>
                    <a:pt x="6540" y="8315"/>
                    <a:pt x="6573" y="8336"/>
                  </a:cubicBezTo>
                  <a:cubicBezTo>
                    <a:pt x="6589" y="8347"/>
                    <a:pt x="6610" y="8354"/>
                    <a:pt x="6622" y="8362"/>
                  </a:cubicBezTo>
                  <a:cubicBezTo>
                    <a:pt x="6637" y="8371"/>
                    <a:pt x="6635" y="8382"/>
                    <a:pt x="6657" y="8389"/>
                  </a:cubicBezTo>
                  <a:cubicBezTo>
                    <a:pt x="6695" y="8400"/>
                    <a:pt x="6730" y="8374"/>
                    <a:pt x="6759" y="8363"/>
                  </a:cubicBezTo>
                  <a:cubicBezTo>
                    <a:pt x="6767" y="8360"/>
                    <a:pt x="6807" y="8349"/>
                    <a:pt x="6809" y="8346"/>
                  </a:cubicBezTo>
                  <a:cubicBezTo>
                    <a:pt x="6815" y="8338"/>
                    <a:pt x="6781" y="8307"/>
                    <a:pt x="6797" y="8297"/>
                  </a:cubicBezTo>
                  <a:cubicBezTo>
                    <a:pt x="6804" y="8293"/>
                    <a:pt x="6900" y="8410"/>
                    <a:pt x="6923" y="8421"/>
                  </a:cubicBezTo>
                  <a:cubicBezTo>
                    <a:pt x="6932" y="8425"/>
                    <a:pt x="6973" y="8416"/>
                    <a:pt x="6970" y="8432"/>
                  </a:cubicBezTo>
                  <a:cubicBezTo>
                    <a:pt x="6968" y="8439"/>
                    <a:pt x="6922" y="8445"/>
                    <a:pt x="6914" y="8444"/>
                  </a:cubicBezTo>
                  <a:cubicBezTo>
                    <a:pt x="6895" y="8442"/>
                    <a:pt x="6900" y="8435"/>
                    <a:pt x="6881" y="8426"/>
                  </a:cubicBezTo>
                  <a:cubicBezTo>
                    <a:pt x="6871" y="8422"/>
                    <a:pt x="6879" y="8411"/>
                    <a:pt x="6876" y="8408"/>
                  </a:cubicBezTo>
                  <a:cubicBezTo>
                    <a:pt x="6871" y="8404"/>
                    <a:pt x="6858" y="8408"/>
                    <a:pt x="6860" y="8409"/>
                  </a:cubicBezTo>
                  <a:cubicBezTo>
                    <a:pt x="6830" y="8385"/>
                    <a:pt x="6824" y="8370"/>
                    <a:pt x="6790" y="8388"/>
                  </a:cubicBezTo>
                  <a:cubicBezTo>
                    <a:pt x="6758" y="8406"/>
                    <a:pt x="6775" y="8430"/>
                    <a:pt x="6769" y="8444"/>
                  </a:cubicBezTo>
                  <a:cubicBezTo>
                    <a:pt x="6766" y="8455"/>
                    <a:pt x="6747" y="8452"/>
                    <a:pt x="6746" y="8466"/>
                  </a:cubicBezTo>
                  <a:cubicBezTo>
                    <a:pt x="6745" y="8486"/>
                    <a:pt x="6765" y="8488"/>
                    <a:pt x="6767" y="8507"/>
                  </a:cubicBezTo>
                  <a:cubicBezTo>
                    <a:pt x="6771" y="8541"/>
                    <a:pt x="6811" y="8474"/>
                    <a:pt x="6845" y="8486"/>
                  </a:cubicBezTo>
                  <a:cubicBezTo>
                    <a:pt x="6834" y="8494"/>
                    <a:pt x="6836" y="8502"/>
                    <a:pt x="6825" y="8511"/>
                  </a:cubicBezTo>
                  <a:cubicBezTo>
                    <a:pt x="6876" y="8508"/>
                    <a:pt x="6846" y="8528"/>
                    <a:pt x="6856" y="8547"/>
                  </a:cubicBezTo>
                  <a:cubicBezTo>
                    <a:pt x="6861" y="8555"/>
                    <a:pt x="6884" y="8560"/>
                    <a:pt x="6882" y="8581"/>
                  </a:cubicBezTo>
                  <a:cubicBezTo>
                    <a:pt x="6852" y="8580"/>
                    <a:pt x="6926" y="8625"/>
                    <a:pt x="6897" y="8654"/>
                  </a:cubicBezTo>
                  <a:cubicBezTo>
                    <a:pt x="6889" y="8662"/>
                    <a:pt x="6838" y="8675"/>
                    <a:pt x="6826" y="8664"/>
                  </a:cubicBezTo>
                  <a:cubicBezTo>
                    <a:pt x="6813" y="8652"/>
                    <a:pt x="6846" y="8626"/>
                    <a:pt x="6837" y="8610"/>
                  </a:cubicBezTo>
                  <a:cubicBezTo>
                    <a:pt x="6836" y="8615"/>
                    <a:pt x="6835" y="8622"/>
                    <a:pt x="6833" y="8627"/>
                  </a:cubicBezTo>
                  <a:cubicBezTo>
                    <a:pt x="6775" y="8600"/>
                    <a:pt x="6824" y="8577"/>
                    <a:pt x="6811" y="8547"/>
                  </a:cubicBezTo>
                  <a:cubicBezTo>
                    <a:pt x="6796" y="8560"/>
                    <a:pt x="6796" y="8561"/>
                    <a:pt x="6789" y="8582"/>
                  </a:cubicBezTo>
                  <a:cubicBezTo>
                    <a:pt x="6782" y="8600"/>
                    <a:pt x="6788" y="8608"/>
                    <a:pt x="6789" y="8614"/>
                  </a:cubicBezTo>
                  <a:cubicBezTo>
                    <a:pt x="6788" y="8609"/>
                    <a:pt x="6803" y="8621"/>
                    <a:pt x="6803" y="8623"/>
                  </a:cubicBezTo>
                  <a:cubicBezTo>
                    <a:pt x="6805" y="8627"/>
                    <a:pt x="6791" y="8631"/>
                    <a:pt x="6794" y="8637"/>
                  </a:cubicBezTo>
                  <a:cubicBezTo>
                    <a:pt x="6810" y="8675"/>
                    <a:pt x="6865" y="8748"/>
                    <a:pt x="6788" y="8766"/>
                  </a:cubicBezTo>
                  <a:cubicBezTo>
                    <a:pt x="6773" y="8770"/>
                    <a:pt x="6729" y="8755"/>
                    <a:pt x="6711" y="8759"/>
                  </a:cubicBezTo>
                  <a:cubicBezTo>
                    <a:pt x="6654" y="8768"/>
                    <a:pt x="6715" y="8772"/>
                    <a:pt x="6675" y="8802"/>
                  </a:cubicBezTo>
                  <a:cubicBezTo>
                    <a:pt x="6653" y="8819"/>
                    <a:pt x="6539" y="8790"/>
                    <a:pt x="6529" y="8763"/>
                  </a:cubicBezTo>
                  <a:cubicBezTo>
                    <a:pt x="6565" y="8775"/>
                    <a:pt x="6562" y="8741"/>
                    <a:pt x="6542" y="8725"/>
                  </a:cubicBezTo>
                  <a:cubicBezTo>
                    <a:pt x="6543" y="8730"/>
                    <a:pt x="6545" y="8737"/>
                    <a:pt x="6546" y="8742"/>
                  </a:cubicBezTo>
                  <a:cubicBezTo>
                    <a:pt x="6503" y="8738"/>
                    <a:pt x="6464" y="8667"/>
                    <a:pt x="6480" y="8640"/>
                  </a:cubicBezTo>
                  <a:cubicBezTo>
                    <a:pt x="6474" y="8647"/>
                    <a:pt x="6469" y="8649"/>
                    <a:pt x="6464" y="8660"/>
                  </a:cubicBezTo>
                  <a:cubicBezTo>
                    <a:pt x="6406" y="8624"/>
                    <a:pt x="6430" y="8610"/>
                    <a:pt x="6418" y="8570"/>
                  </a:cubicBezTo>
                  <a:cubicBezTo>
                    <a:pt x="6399" y="8578"/>
                    <a:pt x="6359" y="8540"/>
                    <a:pt x="6369" y="8522"/>
                  </a:cubicBezTo>
                  <a:cubicBezTo>
                    <a:pt x="6322" y="8536"/>
                    <a:pt x="6288" y="8524"/>
                    <a:pt x="6257" y="8540"/>
                  </a:cubicBezTo>
                  <a:cubicBezTo>
                    <a:pt x="6197" y="8573"/>
                    <a:pt x="6204" y="8604"/>
                    <a:pt x="6185" y="8658"/>
                  </a:cubicBezTo>
                  <a:cubicBezTo>
                    <a:pt x="6163" y="8721"/>
                    <a:pt x="6123" y="8751"/>
                    <a:pt x="6172" y="8813"/>
                  </a:cubicBezTo>
                  <a:cubicBezTo>
                    <a:pt x="6209" y="8859"/>
                    <a:pt x="6263" y="8884"/>
                    <a:pt x="6304" y="8924"/>
                  </a:cubicBezTo>
                  <a:cubicBezTo>
                    <a:pt x="6318" y="8919"/>
                    <a:pt x="6367" y="8943"/>
                    <a:pt x="6378" y="8959"/>
                  </a:cubicBezTo>
                  <a:cubicBezTo>
                    <a:pt x="6383" y="8966"/>
                    <a:pt x="6371" y="8980"/>
                    <a:pt x="6380" y="8993"/>
                  </a:cubicBezTo>
                  <a:cubicBezTo>
                    <a:pt x="6392" y="9009"/>
                    <a:pt x="6403" y="9010"/>
                    <a:pt x="6419" y="9024"/>
                  </a:cubicBezTo>
                  <a:cubicBezTo>
                    <a:pt x="6370" y="9000"/>
                    <a:pt x="6391" y="9098"/>
                    <a:pt x="6437" y="9081"/>
                  </a:cubicBezTo>
                  <a:cubicBezTo>
                    <a:pt x="6446" y="9099"/>
                    <a:pt x="6460" y="9077"/>
                    <a:pt x="6490" y="9094"/>
                  </a:cubicBezTo>
                  <a:cubicBezTo>
                    <a:pt x="6498" y="9098"/>
                    <a:pt x="6513" y="9128"/>
                    <a:pt x="6506" y="9127"/>
                  </a:cubicBezTo>
                  <a:cubicBezTo>
                    <a:pt x="6537" y="9131"/>
                    <a:pt x="6518" y="9109"/>
                    <a:pt x="6529" y="9099"/>
                  </a:cubicBezTo>
                  <a:cubicBezTo>
                    <a:pt x="6549" y="9080"/>
                    <a:pt x="6558" y="9062"/>
                    <a:pt x="6588" y="9068"/>
                  </a:cubicBezTo>
                  <a:cubicBezTo>
                    <a:pt x="6602" y="9071"/>
                    <a:pt x="6638" y="9119"/>
                    <a:pt x="6637" y="9116"/>
                  </a:cubicBezTo>
                  <a:cubicBezTo>
                    <a:pt x="6642" y="9127"/>
                    <a:pt x="6625" y="9155"/>
                    <a:pt x="6647" y="9167"/>
                  </a:cubicBezTo>
                  <a:cubicBezTo>
                    <a:pt x="6659" y="9173"/>
                    <a:pt x="6679" y="9154"/>
                    <a:pt x="6696" y="9153"/>
                  </a:cubicBezTo>
                  <a:cubicBezTo>
                    <a:pt x="6759" y="9148"/>
                    <a:pt x="6787" y="9237"/>
                    <a:pt x="6813" y="9227"/>
                  </a:cubicBezTo>
                  <a:cubicBezTo>
                    <a:pt x="6807" y="9271"/>
                    <a:pt x="6874" y="9346"/>
                    <a:pt x="6914" y="9377"/>
                  </a:cubicBezTo>
                  <a:cubicBezTo>
                    <a:pt x="6928" y="9388"/>
                    <a:pt x="6941" y="9389"/>
                    <a:pt x="6956" y="9397"/>
                  </a:cubicBezTo>
                  <a:cubicBezTo>
                    <a:pt x="6962" y="9400"/>
                    <a:pt x="6975" y="9391"/>
                    <a:pt x="6981" y="9395"/>
                  </a:cubicBezTo>
                  <a:cubicBezTo>
                    <a:pt x="6990" y="9400"/>
                    <a:pt x="6986" y="9410"/>
                    <a:pt x="6992" y="9415"/>
                  </a:cubicBezTo>
                  <a:cubicBezTo>
                    <a:pt x="7017" y="9434"/>
                    <a:pt x="7031" y="9465"/>
                    <a:pt x="7044" y="9488"/>
                  </a:cubicBezTo>
                  <a:cubicBezTo>
                    <a:pt x="7062" y="9521"/>
                    <a:pt x="7071" y="9550"/>
                    <a:pt x="7101" y="9576"/>
                  </a:cubicBezTo>
                  <a:close/>
                  <a:moveTo>
                    <a:pt x="6970" y="11314"/>
                  </a:moveTo>
                  <a:cubicBezTo>
                    <a:pt x="6939" y="11383"/>
                    <a:pt x="6911" y="11415"/>
                    <a:pt x="7019" y="11453"/>
                  </a:cubicBezTo>
                  <a:cubicBezTo>
                    <a:pt x="7020" y="11390"/>
                    <a:pt x="7012" y="11366"/>
                    <a:pt x="6970" y="11314"/>
                  </a:cubicBezTo>
                  <a:close/>
                  <a:moveTo>
                    <a:pt x="4756" y="4757"/>
                  </a:moveTo>
                  <a:lnTo>
                    <a:pt x="4741" y="4847"/>
                  </a:lnTo>
                  <a:cubicBezTo>
                    <a:pt x="4764" y="4832"/>
                    <a:pt x="4779" y="4811"/>
                    <a:pt x="4777" y="4781"/>
                  </a:cubicBezTo>
                  <a:cubicBezTo>
                    <a:pt x="4776" y="4772"/>
                    <a:pt x="4768" y="4764"/>
                    <a:pt x="4756" y="4757"/>
                  </a:cubicBezTo>
                  <a:close/>
                  <a:moveTo>
                    <a:pt x="4865" y="4528"/>
                  </a:moveTo>
                  <a:cubicBezTo>
                    <a:pt x="4876" y="4493"/>
                    <a:pt x="4894" y="4469"/>
                    <a:pt x="4878" y="4432"/>
                  </a:cubicBezTo>
                  <a:cubicBezTo>
                    <a:pt x="4865" y="4402"/>
                    <a:pt x="4843" y="4389"/>
                    <a:pt x="4822" y="4371"/>
                  </a:cubicBezTo>
                  <a:lnTo>
                    <a:pt x="4785" y="4588"/>
                  </a:lnTo>
                  <a:cubicBezTo>
                    <a:pt x="4848" y="4600"/>
                    <a:pt x="4849" y="4577"/>
                    <a:pt x="4865" y="4528"/>
                  </a:cubicBezTo>
                  <a:close/>
                  <a:moveTo>
                    <a:pt x="5531" y="5198"/>
                  </a:moveTo>
                  <a:cubicBezTo>
                    <a:pt x="5526" y="5224"/>
                    <a:pt x="5548" y="5233"/>
                    <a:pt x="5557" y="5256"/>
                  </a:cubicBezTo>
                  <a:cubicBezTo>
                    <a:pt x="5559" y="5260"/>
                    <a:pt x="5545" y="5276"/>
                    <a:pt x="5545" y="5283"/>
                  </a:cubicBezTo>
                  <a:cubicBezTo>
                    <a:pt x="5545" y="5293"/>
                    <a:pt x="5563" y="5297"/>
                    <a:pt x="5559" y="5311"/>
                  </a:cubicBezTo>
                  <a:cubicBezTo>
                    <a:pt x="5553" y="5336"/>
                    <a:pt x="5583" y="5347"/>
                    <a:pt x="5580" y="5366"/>
                  </a:cubicBezTo>
                  <a:cubicBezTo>
                    <a:pt x="5575" y="5403"/>
                    <a:pt x="5639" y="5447"/>
                    <a:pt x="5614" y="5476"/>
                  </a:cubicBezTo>
                  <a:cubicBezTo>
                    <a:pt x="5653" y="5479"/>
                    <a:pt x="5623" y="5500"/>
                    <a:pt x="5644" y="5510"/>
                  </a:cubicBezTo>
                  <a:cubicBezTo>
                    <a:pt x="5657" y="5516"/>
                    <a:pt x="5669" y="5499"/>
                    <a:pt x="5693" y="5511"/>
                  </a:cubicBezTo>
                  <a:cubicBezTo>
                    <a:pt x="5753" y="5540"/>
                    <a:pt x="5708" y="5562"/>
                    <a:pt x="5779" y="5534"/>
                  </a:cubicBezTo>
                  <a:cubicBezTo>
                    <a:pt x="5797" y="5527"/>
                    <a:pt x="5802" y="5541"/>
                    <a:pt x="5822" y="5518"/>
                  </a:cubicBezTo>
                  <a:cubicBezTo>
                    <a:pt x="5831" y="5507"/>
                    <a:pt x="5832" y="5483"/>
                    <a:pt x="5834" y="5470"/>
                  </a:cubicBezTo>
                  <a:cubicBezTo>
                    <a:pt x="5840" y="5438"/>
                    <a:pt x="5820" y="5412"/>
                    <a:pt x="5803" y="5388"/>
                  </a:cubicBezTo>
                  <a:cubicBezTo>
                    <a:pt x="5794" y="5373"/>
                    <a:pt x="5778" y="5356"/>
                    <a:pt x="5763" y="5345"/>
                  </a:cubicBezTo>
                  <a:cubicBezTo>
                    <a:pt x="5757" y="5340"/>
                    <a:pt x="5767" y="5330"/>
                    <a:pt x="5757" y="5325"/>
                  </a:cubicBezTo>
                  <a:cubicBezTo>
                    <a:pt x="5749" y="5321"/>
                    <a:pt x="5728" y="5333"/>
                    <a:pt x="5724" y="5330"/>
                  </a:cubicBezTo>
                  <a:cubicBezTo>
                    <a:pt x="5688" y="5305"/>
                    <a:pt x="5723" y="5281"/>
                    <a:pt x="5711" y="5240"/>
                  </a:cubicBezTo>
                  <a:cubicBezTo>
                    <a:pt x="5694" y="5183"/>
                    <a:pt x="5635" y="5107"/>
                    <a:pt x="5580" y="5066"/>
                  </a:cubicBezTo>
                  <a:cubicBezTo>
                    <a:pt x="5478" y="5038"/>
                    <a:pt x="5490" y="5084"/>
                    <a:pt x="5518" y="5133"/>
                  </a:cubicBezTo>
                  <a:cubicBezTo>
                    <a:pt x="5530" y="5155"/>
                    <a:pt x="5536" y="5174"/>
                    <a:pt x="5531" y="5198"/>
                  </a:cubicBezTo>
                  <a:close/>
                  <a:moveTo>
                    <a:pt x="1534" y="10532"/>
                  </a:moveTo>
                  <a:cubicBezTo>
                    <a:pt x="1554" y="10550"/>
                    <a:pt x="1576" y="10567"/>
                    <a:pt x="1597" y="10587"/>
                  </a:cubicBezTo>
                  <a:cubicBezTo>
                    <a:pt x="1556" y="10619"/>
                    <a:pt x="1586" y="10636"/>
                    <a:pt x="1615" y="10663"/>
                  </a:cubicBezTo>
                  <a:cubicBezTo>
                    <a:pt x="1610" y="10646"/>
                    <a:pt x="1613" y="10637"/>
                    <a:pt x="1638" y="10648"/>
                  </a:cubicBezTo>
                  <a:cubicBezTo>
                    <a:pt x="1670" y="10661"/>
                    <a:pt x="1658" y="10675"/>
                    <a:pt x="1658" y="10699"/>
                  </a:cubicBezTo>
                  <a:cubicBezTo>
                    <a:pt x="1658" y="10716"/>
                    <a:pt x="1640" y="10729"/>
                    <a:pt x="1648" y="10749"/>
                  </a:cubicBezTo>
                  <a:cubicBezTo>
                    <a:pt x="1657" y="10773"/>
                    <a:pt x="1671" y="10767"/>
                    <a:pt x="1693" y="10782"/>
                  </a:cubicBezTo>
                  <a:cubicBezTo>
                    <a:pt x="1769" y="10835"/>
                    <a:pt x="1826" y="10874"/>
                    <a:pt x="1922" y="10906"/>
                  </a:cubicBezTo>
                  <a:cubicBezTo>
                    <a:pt x="1959" y="10919"/>
                    <a:pt x="2023" y="10948"/>
                    <a:pt x="2061" y="10949"/>
                  </a:cubicBezTo>
                  <a:cubicBezTo>
                    <a:pt x="2083" y="10949"/>
                    <a:pt x="2094" y="10933"/>
                    <a:pt x="2109" y="10934"/>
                  </a:cubicBezTo>
                  <a:cubicBezTo>
                    <a:pt x="2134" y="10934"/>
                    <a:pt x="2161" y="10952"/>
                    <a:pt x="2186" y="10956"/>
                  </a:cubicBezTo>
                  <a:cubicBezTo>
                    <a:pt x="2223" y="10961"/>
                    <a:pt x="2265" y="10949"/>
                    <a:pt x="2298" y="10953"/>
                  </a:cubicBezTo>
                  <a:cubicBezTo>
                    <a:pt x="2389" y="10964"/>
                    <a:pt x="2507" y="11027"/>
                    <a:pt x="2583" y="11066"/>
                  </a:cubicBezTo>
                  <a:cubicBezTo>
                    <a:pt x="2575" y="11065"/>
                    <a:pt x="2533" y="11045"/>
                    <a:pt x="2530" y="11047"/>
                  </a:cubicBezTo>
                  <a:cubicBezTo>
                    <a:pt x="2531" y="11046"/>
                    <a:pt x="2525" y="11095"/>
                    <a:pt x="2524" y="11093"/>
                  </a:cubicBezTo>
                  <a:cubicBezTo>
                    <a:pt x="2531" y="11135"/>
                    <a:pt x="2550" y="11143"/>
                    <a:pt x="2535" y="11180"/>
                  </a:cubicBezTo>
                  <a:cubicBezTo>
                    <a:pt x="2511" y="11242"/>
                    <a:pt x="2471" y="11276"/>
                    <a:pt x="2499" y="11337"/>
                  </a:cubicBezTo>
                  <a:cubicBezTo>
                    <a:pt x="2506" y="11352"/>
                    <a:pt x="2507" y="11364"/>
                    <a:pt x="2520" y="11378"/>
                  </a:cubicBezTo>
                  <a:cubicBezTo>
                    <a:pt x="2540" y="11400"/>
                    <a:pt x="2521" y="11405"/>
                    <a:pt x="2527" y="11427"/>
                  </a:cubicBezTo>
                  <a:cubicBezTo>
                    <a:pt x="2540" y="11477"/>
                    <a:pt x="2627" y="11492"/>
                    <a:pt x="2635" y="11535"/>
                  </a:cubicBezTo>
                  <a:cubicBezTo>
                    <a:pt x="2643" y="11575"/>
                    <a:pt x="2529" y="11522"/>
                    <a:pt x="2562" y="11566"/>
                  </a:cubicBezTo>
                  <a:cubicBezTo>
                    <a:pt x="2576" y="11585"/>
                    <a:pt x="2644" y="11566"/>
                    <a:pt x="2669" y="11568"/>
                  </a:cubicBezTo>
                  <a:cubicBezTo>
                    <a:pt x="2699" y="11570"/>
                    <a:pt x="2723" y="11585"/>
                    <a:pt x="2755" y="11582"/>
                  </a:cubicBezTo>
                  <a:cubicBezTo>
                    <a:pt x="2773" y="11581"/>
                    <a:pt x="2771" y="11565"/>
                    <a:pt x="2781" y="11564"/>
                  </a:cubicBezTo>
                  <a:cubicBezTo>
                    <a:pt x="2796" y="11562"/>
                    <a:pt x="2808" y="11569"/>
                    <a:pt x="2823" y="11569"/>
                  </a:cubicBezTo>
                  <a:cubicBezTo>
                    <a:pt x="2882" y="11568"/>
                    <a:pt x="2932" y="11571"/>
                    <a:pt x="2990" y="11573"/>
                  </a:cubicBezTo>
                  <a:cubicBezTo>
                    <a:pt x="3038" y="11575"/>
                    <a:pt x="3088" y="11564"/>
                    <a:pt x="3138" y="11572"/>
                  </a:cubicBezTo>
                  <a:cubicBezTo>
                    <a:pt x="3200" y="11581"/>
                    <a:pt x="3316" y="11623"/>
                    <a:pt x="3196" y="11555"/>
                  </a:cubicBezTo>
                  <a:cubicBezTo>
                    <a:pt x="3225" y="11543"/>
                    <a:pt x="3247" y="11562"/>
                    <a:pt x="3277" y="11563"/>
                  </a:cubicBezTo>
                  <a:cubicBezTo>
                    <a:pt x="3302" y="11563"/>
                    <a:pt x="3317" y="11553"/>
                    <a:pt x="3340" y="11553"/>
                  </a:cubicBezTo>
                  <a:cubicBezTo>
                    <a:pt x="3456" y="11550"/>
                    <a:pt x="3292" y="11577"/>
                    <a:pt x="3341" y="11586"/>
                  </a:cubicBezTo>
                  <a:cubicBezTo>
                    <a:pt x="3386" y="11594"/>
                    <a:pt x="3441" y="11558"/>
                    <a:pt x="3483" y="11558"/>
                  </a:cubicBezTo>
                  <a:cubicBezTo>
                    <a:pt x="3509" y="11559"/>
                    <a:pt x="3528" y="11582"/>
                    <a:pt x="3539" y="11583"/>
                  </a:cubicBezTo>
                  <a:cubicBezTo>
                    <a:pt x="3560" y="11584"/>
                    <a:pt x="3552" y="11577"/>
                    <a:pt x="3571" y="11574"/>
                  </a:cubicBezTo>
                  <a:cubicBezTo>
                    <a:pt x="3579" y="11572"/>
                    <a:pt x="3588" y="11558"/>
                    <a:pt x="3599" y="11556"/>
                  </a:cubicBezTo>
                  <a:cubicBezTo>
                    <a:pt x="3619" y="11551"/>
                    <a:pt x="3654" y="11563"/>
                    <a:pt x="3672" y="11566"/>
                  </a:cubicBezTo>
                  <a:cubicBezTo>
                    <a:pt x="3836" y="11569"/>
                    <a:pt x="3990" y="11534"/>
                    <a:pt x="4122" y="11463"/>
                  </a:cubicBezTo>
                  <a:cubicBezTo>
                    <a:pt x="4167" y="11440"/>
                    <a:pt x="4171" y="11424"/>
                    <a:pt x="4187" y="11390"/>
                  </a:cubicBezTo>
                  <a:cubicBezTo>
                    <a:pt x="4199" y="11365"/>
                    <a:pt x="4298" y="11397"/>
                    <a:pt x="4323" y="11398"/>
                  </a:cubicBezTo>
                  <a:cubicBezTo>
                    <a:pt x="4391" y="11400"/>
                    <a:pt x="4540" y="11382"/>
                    <a:pt x="4593" y="11352"/>
                  </a:cubicBezTo>
                  <a:cubicBezTo>
                    <a:pt x="4629" y="11331"/>
                    <a:pt x="4636" y="11275"/>
                    <a:pt x="4685" y="11268"/>
                  </a:cubicBezTo>
                  <a:cubicBezTo>
                    <a:pt x="4727" y="11262"/>
                    <a:pt x="4737" y="11214"/>
                    <a:pt x="4735" y="11188"/>
                  </a:cubicBezTo>
                  <a:cubicBezTo>
                    <a:pt x="4732" y="11134"/>
                    <a:pt x="4728" y="11134"/>
                    <a:pt x="4796" y="11114"/>
                  </a:cubicBezTo>
                  <a:cubicBezTo>
                    <a:pt x="4815" y="11109"/>
                    <a:pt x="4835" y="11052"/>
                    <a:pt x="4862" y="11037"/>
                  </a:cubicBezTo>
                  <a:cubicBezTo>
                    <a:pt x="4881" y="11026"/>
                    <a:pt x="4921" y="11075"/>
                    <a:pt x="4930" y="11088"/>
                  </a:cubicBezTo>
                  <a:cubicBezTo>
                    <a:pt x="4947" y="11111"/>
                    <a:pt x="4953" y="11131"/>
                    <a:pt x="4951" y="11162"/>
                  </a:cubicBezTo>
                  <a:cubicBezTo>
                    <a:pt x="4950" y="11200"/>
                    <a:pt x="4923" y="11195"/>
                    <a:pt x="4911" y="11227"/>
                  </a:cubicBezTo>
                  <a:cubicBezTo>
                    <a:pt x="4878" y="11311"/>
                    <a:pt x="5105" y="11262"/>
                    <a:pt x="5161" y="11281"/>
                  </a:cubicBezTo>
                  <a:cubicBezTo>
                    <a:pt x="5198" y="11294"/>
                    <a:pt x="5203" y="11319"/>
                    <a:pt x="5233" y="11332"/>
                  </a:cubicBezTo>
                  <a:cubicBezTo>
                    <a:pt x="5255" y="11341"/>
                    <a:pt x="5330" y="11356"/>
                    <a:pt x="5352" y="11355"/>
                  </a:cubicBezTo>
                  <a:cubicBezTo>
                    <a:pt x="5319" y="11322"/>
                    <a:pt x="5409" y="11335"/>
                    <a:pt x="5385" y="11381"/>
                  </a:cubicBezTo>
                  <a:cubicBezTo>
                    <a:pt x="5382" y="11387"/>
                    <a:pt x="5338" y="11404"/>
                    <a:pt x="5330" y="11405"/>
                  </a:cubicBezTo>
                  <a:cubicBezTo>
                    <a:pt x="5297" y="11406"/>
                    <a:pt x="5299" y="11424"/>
                    <a:pt x="5273" y="11434"/>
                  </a:cubicBezTo>
                  <a:cubicBezTo>
                    <a:pt x="5321" y="11476"/>
                    <a:pt x="5372" y="11490"/>
                    <a:pt x="5447" y="11498"/>
                  </a:cubicBezTo>
                  <a:cubicBezTo>
                    <a:pt x="5468" y="11500"/>
                    <a:pt x="5498" y="11508"/>
                    <a:pt x="5517" y="11498"/>
                  </a:cubicBezTo>
                  <a:cubicBezTo>
                    <a:pt x="5530" y="11490"/>
                    <a:pt x="5528" y="11470"/>
                    <a:pt x="5539" y="11464"/>
                  </a:cubicBezTo>
                  <a:cubicBezTo>
                    <a:pt x="5563" y="11452"/>
                    <a:pt x="5606" y="11489"/>
                    <a:pt x="5606" y="11452"/>
                  </a:cubicBezTo>
                  <a:cubicBezTo>
                    <a:pt x="5621" y="11527"/>
                    <a:pt x="5759" y="11514"/>
                    <a:pt x="5838" y="11537"/>
                  </a:cubicBezTo>
                  <a:cubicBezTo>
                    <a:pt x="5854" y="11541"/>
                    <a:pt x="5861" y="11566"/>
                    <a:pt x="5889" y="11565"/>
                  </a:cubicBezTo>
                  <a:cubicBezTo>
                    <a:pt x="5905" y="11565"/>
                    <a:pt x="5906" y="11543"/>
                    <a:pt x="5933" y="11534"/>
                  </a:cubicBezTo>
                  <a:cubicBezTo>
                    <a:pt x="5985" y="11516"/>
                    <a:pt x="6049" y="11582"/>
                    <a:pt x="6105" y="11537"/>
                  </a:cubicBezTo>
                  <a:cubicBezTo>
                    <a:pt x="6118" y="11526"/>
                    <a:pt x="6107" y="11508"/>
                    <a:pt x="6107" y="11507"/>
                  </a:cubicBezTo>
                  <a:cubicBezTo>
                    <a:pt x="6137" y="11486"/>
                    <a:pt x="6132" y="11508"/>
                    <a:pt x="6178" y="11508"/>
                  </a:cubicBezTo>
                  <a:cubicBezTo>
                    <a:pt x="6200" y="11508"/>
                    <a:pt x="6208" y="11491"/>
                    <a:pt x="6224" y="11481"/>
                  </a:cubicBezTo>
                  <a:cubicBezTo>
                    <a:pt x="6232" y="11476"/>
                    <a:pt x="6226" y="11462"/>
                    <a:pt x="6238" y="11457"/>
                  </a:cubicBezTo>
                  <a:cubicBezTo>
                    <a:pt x="6251" y="11452"/>
                    <a:pt x="6283" y="11461"/>
                    <a:pt x="6300" y="11454"/>
                  </a:cubicBezTo>
                  <a:cubicBezTo>
                    <a:pt x="6321" y="11447"/>
                    <a:pt x="6321" y="11427"/>
                    <a:pt x="6345" y="11422"/>
                  </a:cubicBezTo>
                  <a:cubicBezTo>
                    <a:pt x="6363" y="11419"/>
                    <a:pt x="6378" y="11449"/>
                    <a:pt x="6406" y="11428"/>
                  </a:cubicBezTo>
                  <a:cubicBezTo>
                    <a:pt x="6430" y="11411"/>
                    <a:pt x="6405" y="11416"/>
                    <a:pt x="6410" y="11400"/>
                  </a:cubicBezTo>
                  <a:cubicBezTo>
                    <a:pt x="6414" y="11387"/>
                    <a:pt x="6417" y="11371"/>
                    <a:pt x="6425" y="11354"/>
                  </a:cubicBezTo>
                  <a:cubicBezTo>
                    <a:pt x="6442" y="11316"/>
                    <a:pt x="6442" y="11295"/>
                    <a:pt x="6408" y="11265"/>
                  </a:cubicBezTo>
                  <a:cubicBezTo>
                    <a:pt x="6340" y="11205"/>
                    <a:pt x="6373" y="11278"/>
                    <a:pt x="6328" y="11288"/>
                  </a:cubicBezTo>
                  <a:cubicBezTo>
                    <a:pt x="6319" y="11290"/>
                    <a:pt x="6290" y="11269"/>
                    <a:pt x="6287" y="11260"/>
                  </a:cubicBezTo>
                  <a:cubicBezTo>
                    <a:pt x="6277" y="11226"/>
                    <a:pt x="6304" y="11238"/>
                    <a:pt x="6312" y="11235"/>
                  </a:cubicBezTo>
                  <a:cubicBezTo>
                    <a:pt x="6311" y="11235"/>
                    <a:pt x="6355" y="11259"/>
                    <a:pt x="6345" y="11221"/>
                  </a:cubicBezTo>
                  <a:cubicBezTo>
                    <a:pt x="6341" y="11204"/>
                    <a:pt x="6320" y="11195"/>
                    <a:pt x="6301" y="11192"/>
                  </a:cubicBezTo>
                  <a:cubicBezTo>
                    <a:pt x="6332" y="11170"/>
                    <a:pt x="6384" y="11160"/>
                    <a:pt x="6375" y="11119"/>
                  </a:cubicBezTo>
                  <a:cubicBezTo>
                    <a:pt x="6368" y="11084"/>
                    <a:pt x="6319" y="11084"/>
                    <a:pt x="6288" y="11077"/>
                  </a:cubicBezTo>
                  <a:cubicBezTo>
                    <a:pt x="6202" y="11058"/>
                    <a:pt x="6208" y="11106"/>
                    <a:pt x="6161" y="11130"/>
                  </a:cubicBezTo>
                  <a:cubicBezTo>
                    <a:pt x="6139" y="11141"/>
                    <a:pt x="6105" y="11138"/>
                    <a:pt x="6085" y="11151"/>
                  </a:cubicBezTo>
                  <a:cubicBezTo>
                    <a:pt x="6068" y="11161"/>
                    <a:pt x="6072" y="11181"/>
                    <a:pt x="6064" y="11195"/>
                  </a:cubicBezTo>
                  <a:cubicBezTo>
                    <a:pt x="6048" y="11223"/>
                    <a:pt x="6027" y="11254"/>
                    <a:pt x="6006" y="11282"/>
                  </a:cubicBezTo>
                  <a:cubicBezTo>
                    <a:pt x="5988" y="11306"/>
                    <a:pt x="5956" y="11361"/>
                    <a:pt x="5957" y="11305"/>
                  </a:cubicBezTo>
                  <a:cubicBezTo>
                    <a:pt x="5959" y="11265"/>
                    <a:pt x="5999" y="11264"/>
                    <a:pt x="6019" y="11231"/>
                  </a:cubicBezTo>
                  <a:cubicBezTo>
                    <a:pt x="6032" y="11207"/>
                    <a:pt x="6029" y="11161"/>
                    <a:pt x="6030" y="11137"/>
                  </a:cubicBezTo>
                  <a:cubicBezTo>
                    <a:pt x="6031" y="11119"/>
                    <a:pt x="6036" y="11090"/>
                    <a:pt x="6025" y="11074"/>
                  </a:cubicBezTo>
                  <a:cubicBezTo>
                    <a:pt x="5993" y="11030"/>
                    <a:pt x="6008" y="11091"/>
                    <a:pt x="5989" y="11108"/>
                  </a:cubicBezTo>
                  <a:cubicBezTo>
                    <a:pt x="5984" y="11087"/>
                    <a:pt x="5984" y="11055"/>
                    <a:pt x="5967" y="11036"/>
                  </a:cubicBezTo>
                  <a:cubicBezTo>
                    <a:pt x="5948" y="11015"/>
                    <a:pt x="5889" y="11006"/>
                    <a:pt x="5876" y="10985"/>
                  </a:cubicBezTo>
                  <a:cubicBezTo>
                    <a:pt x="5860" y="10959"/>
                    <a:pt x="5888" y="10915"/>
                    <a:pt x="5929" y="10928"/>
                  </a:cubicBezTo>
                  <a:cubicBezTo>
                    <a:pt x="5951" y="10935"/>
                    <a:pt x="5972" y="10974"/>
                    <a:pt x="5994" y="10990"/>
                  </a:cubicBezTo>
                  <a:cubicBezTo>
                    <a:pt x="6037" y="11021"/>
                    <a:pt x="6149" y="11073"/>
                    <a:pt x="6191" y="11019"/>
                  </a:cubicBezTo>
                  <a:cubicBezTo>
                    <a:pt x="6197" y="11012"/>
                    <a:pt x="6206" y="10943"/>
                    <a:pt x="6201" y="10936"/>
                  </a:cubicBezTo>
                  <a:cubicBezTo>
                    <a:pt x="6197" y="10929"/>
                    <a:pt x="6171" y="10933"/>
                    <a:pt x="6160" y="10922"/>
                  </a:cubicBezTo>
                  <a:cubicBezTo>
                    <a:pt x="6148" y="10911"/>
                    <a:pt x="6143" y="10896"/>
                    <a:pt x="6145" y="10883"/>
                  </a:cubicBezTo>
                  <a:cubicBezTo>
                    <a:pt x="6172" y="10909"/>
                    <a:pt x="6226" y="10869"/>
                    <a:pt x="6235" y="10853"/>
                  </a:cubicBezTo>
                  <a:cubicBezTo>
                    <a:pt x="6236" y="10861"/>
                    <a:pt x="6243" y="10873"/>
                    <a:pt x="6243" y="10882"/>
                  </a:cubicBezTo>
                  <a:cubicBezTo>
                    <a:pt x="6272" y="10867"/>
                    <a:pt x="6245" y="10856"/>
                    <a:pt x="6251" y="10842"/>
                  </a:cubicBezTo>
                  <a:cubicBezTo>
                    <a:pt x="6255" y="10833"/>
                    <a:pt x="6274" y="10830"/>
                    <a:pt x="6277" y="10822"/>
                  </a:cubicBezTo>
                  <a:cubicBezTo>
                    <a:pt x="6278" y="10818"/>
                    <a:pt x="6273" y="10798"/>
                    <a:pt x="6276" y="10796"/>
                  </a:cubicBezTo>
                  <a:cubicBezTo>
                    <a:pt x="6305" y="10774"/>
                    <a:pt x="6281" y="10782"/>
                    <a:pt x="6304" y="10803"/>
                  </a:cubicBezTo>
                  <a:cubicBezTo>
                    <a:pt x="6310" y="10810"/>
                    <a:pt x="6296" y="10822"/>
                    <a:pt x="6306" y="10831"/>
                  </a:cubicBezTo>
                  <a:cubicBezTo>
                    <a:pt x="6319" y="10842"/>
                    <a:pt x="6337" y="10820"/>
                    <a:pt x="6339" y="10821"/>
                  </a:cubicBezTo>
                  <a:cubicBezTo>
                    <a:pt x="6359" y="10838"/>
                    <a:pt x="6346" y="10878"/>
                    <a:pt x="6372" y="10896"/>
                  </a:cubicBezTo>
                  <a:cubicBezTo>
                    <a:pt x="6388" y="10907"/>
                    <a:pt x="6417" y="10903"/>
                    <a:pt x="6436" y="10918"/>
                  </a:cubicBezTo>
                  <a:cubicBezTo>
                    <a:pt x="6449" y="10929"/>
                    <a:pt x="6459" y="10949"/>
                    <a:pt x="6464" y="10961"/>
                  </a:cubicBezTo>
                  <a:cubicBezTo>
                    <a:pt x="6466" y="10932"/>
                    <a:pt x="6492" y="10903"/>
                    <a:pt x="6500" y="10874"/>
                  </a:cubicBezTo>
                  <a:cubicBezTo>
                    <a:pt x="6509" y="10845"/>
                    <a:pt x="6513" y="10808"/>
                    <a:pt x="6537" y="10785"/>
                  </a:cubicBezTo>
                  <a:cubicBezTo>
                    <a:pt x="6550" y="10811"/>
                    <a:pt x="6523" y="10840"/>
                    <a:pt x="6536" y="10871"/>
                  </a:cubicBezTo>
                  <a:cubicBezTo>
                    <a:pt x="6545" y="10897"/>
                    <a:pt x="6562" y="10934"/>
                    <a:pt x="6588" y="10944"/>
                  </a:cubicBezTo>
                  <a:cubicBezTo>
                    <a:pt x="6591" y="10945"/>
                    <a:pt x="6655" y="10949"/>
                    <a:pt x="6666" y="10950"/>
                  </a:cubicBezTo>
                  <a:cubicBezTo>
                    <a:pt x="6707" y="10955"/>
                    <a:pt x="6695" y="10938"/>
                    <a:pt x="6704" y="10918"/>
                  </a:cubicBezTo>
                  <a:cubicBezTo>
                    <a:pt x="6715" y="10893"/>
                    <a:pt x="6719" y="10853"/>
                    <a:pt x="6714" y="10822"/>
                  </a:cubicBezTo>
                  <a:cubicBezTo>
                    <a:pt x="6705" y="10766"/>
                    <a:pt x="6684" y="10716"/>
                    <a:pt x="6674" y="10655"/>
                  </a:cubicBezTo>
                  <a:cubicBezTo>
                    <a:pt x="6670" y="10633"/>
                    <a:pt x="6699" y="10594"/>
                    <a:pt x="6655" y="10584"/>
                  </a:cubicBezTo>
                  <a:cubicBezTo>
                    <a:pt x="6623" y="10577"/>
                    <a:pt x="6646" y="10600"/>
                    <a:pt x="6619" y="10609"/>
                  </a:cubicBezTo>
                  <a:cubicBezTo>
                    <a:pt x="6584" y="10620"/>
                    <a:pt x="6603" y="10604"/>
                    <a:pt x="6573" y="10606"/>
                  </a:cubicBezTo>
                  <a:cubicBezTo>
                    <a:pt x="6574" y="10606"/>
                    <a:pt x="6556" y="10594"/>
                    <a:pt x="6556" y="10593"/>
                  </a:cubicBezTo>
                  <a:cubicBezTo>
                    <a:pt x="6553" y="10636"/>
                    <a:pt x="6509" y="10646"/>
                    <a:pt x="6484" y="10615"/>
                  </a:cubicBezTo>
                  <a:cubicBezTo>
                    <a:pt x="6455" y="10580"/>
                    <a:pt x="6496" y="10539"/>
                    <a:pt x="6471" y="10515"/>
                  </a:cubicBezTo>
                  <a:cubicBezTo>
                    <a:pt x="6428" y="10473"/>
                    <a:pt x="6420" y="10542"/>
                    <a:pt x="6377" y="10531"/>
                  </a:cubicBezTo>
                  <a:cubicBezTo>
                    <a:pt x="6346" y="10523"/>
                    <a:pt x="6330" y="10460"/>
                    <a:pt x="6300" y="10489"/>
                  </a:cubicBezTo>
                  <a:cubicBezTo>
                    <a:pt x="6265" y="10427"/>
                    <a:pt x="6185" y="10409"/>
                    <a:pt x="6125" y="10368"/>
                  </a:cubicBezTo>
                  <a:cubicBezTo>
                    <a:pt x="6094" y="10347"/>
                    <a:pt x="6107" y="10364"/>
                    <a:pt x="6095" y="10334"/>
                  </a:cubicBezTo>
                  <a:cubicBezTo>
                    <a:pt x="6088" y="10318"/>
                    <a:pt x="6092" y="10307"/>
                    <a:pt x="6082" y="10292"/>
                  </a:cubicBezTo>
                  <a:cubicBezTo>
                    <a:pt x="6073" y="10278"/>
                    <a:pt x="6029" y="10230"/>
                    <a:pt x="6002" y="10246"/>
                  </a:cubicBezTo>
                  <a:cubicBezTo>
                    <a:pt x="5982" y="10258"/>
                    <a:pt x="6014" y="10319"/>
                    <a:pt x="6025" y="10331"/>
                  </a:cubicBezTo>
                  <a:cubicBezTo>
                    <a:pt x="6040" y="10346"/>
                    <a:pt x="6104" y="10369"/>
                    <a:pt x="6040" y="10368"/>
                  </a:cubicBezTo>
                  <a:cubicBezTo>
                    <a:pt x="5987" y="10367"/>
                    <a:pt x="5999" y="10327"/>
                    <a:pt x="5966" y="10308"/>
                  </a:cubicBezTo>
                  <a:cubicBezTo>
                    <a:pt x="5932" y="10287"/>
                    <a:pt x="5898" y="10309"/>
                    <a:pt x="5864" y="10281"/>
                  </a:cubicBezTo>
                  <a:cubicBezTo>
                    <a:pt x="5839" y="10260"/>
                    <a:pt x="5836" y="10229"/>
                    <a:pt x="5805" y="10207"/>
                  </a:cubicBezTo>
                  <a:cubicBezTo>
                    <a:pt x="5778" y="10189"/>
                    <a:pt x="5754" y="10189"/>
                    <a:pt x="5736" y="10167"/>
                  </a:cubicBezTo>
                  <a:cubicBezTo>
                    <a:pt x="5718" y="10144"/>
                    <a:pt x="5725" y="10106"/>
                    <a:pt x="5713" y="10081"/>
                  </a:cubicBezTo>
                  <a:cubicBezTo>
                    <a:pt x="5696" y="10047"/>
                    <a:pt x="5675" y="10039"/>
                    <a:pt x="5645" y="10020"/>
                  </a:cubicBezTo>
                  <a:cubicBezTo>
                    <a:pt x="5621" y="10004"/>
                    <a:pt x="5592" y="9983"/>
                    <a:pt x="5577" y="9962"/>
                  </a:cubicBezTo>
                  <a:cubicBezTo>
                    <a:pt x="5543" y="9913"/>
                    <a:pt x="5597" y="9897"/>
                    <a:pt x="5614" y="9851"/>
                  </a:cubicBezTo>
                  <a:cubicBezTo>
                    <a:pt x="5625" y="9823"/>
                    <a:pt x="5591" y="9770"/>
                    <a:pt x="5620" y="9750"/>
                  </a:cubicBezTo>
                  <a:cubicBezTo>
                    <a:pt x="5636" y="9739"/>
                    <a:pt x="5662" y="9761"/>
                    <a:pt x="5670" y="9750"/>
                  </a:cubicBezTo>
                  <a:cubicBezTo>
                    <a:pt x="5677" y="9741"/>
                    <a:pt x="5654" y="9719"/>
                    <a:pt x="5655" y="9708"/>
                  </a:cubicBezTo>
                  <a:cubicBezTo>
                    <a:pt x="5661" y="9669"/>
                    <a:pt x="5636" y="9651"/>
                    <a:pt x="5650" y="9610"/>
                  </a:cubicBezTo>
                  <a:cubicBezTo>
                    <a:pt x="5661" y="9578"/>
                    <a:pt x="5634" y="9553"/>
                    <a:pt x="5620" y="9524"/>
                  </a:cubicBezTo>
                  <a:cubicBezTo>
                    <a:pt x="5607" y="9497"/>
                    <a:pt x="5596" y="9472"/>
                    <a:pt x="5579" y="9446"/>
                  </a:cubicBezTo>
                  <a:cubicBezTo>
                    <a:pt x="5571" y="9433"/>
                    <a:pt x="5565" y="9420"/>
                    <a:pt x="5557" y="9409"/>
                  </a:cubicBezTo>
                  <a:cubicBezTo>
                    <a:pt x="5548" y="9397"/>
                    <a:pt x="5529" y="9396"/>
                    <a:pt x="5529" y="9373"/>
                  </a:cubicBezTo>
                  <a:cubicBezTo>
                    <a:pt x="5529" y="9342"/>
                    <a:pt x="5525" y="9317"/>
                    <a:pt x="5514" y="9287"/>
                  </a:cubicBezTo>
                  <a:cubicBezTo>
                    <a:pt x="5504" y="9262"/>
                    <a:pt x="5478" y="9242"/>
                    <a:pt x="5483" y="9218"/>
                  </a:cubicBezTo>
                  <a:cubicBezTo>
                    <a:pt x="5491" y="9175"/>
                    <a:pt x="5500" y="9158"/>
                    <a:pt x="5481" y="9119"/>
                  </a:cubicBezTo>
                  <a:cubicBezTo>
                    <a:pt x="5467" y="9090"/>
                    <a:pt x="5463" y="9061"/>
                    <a:pt x="5452" y="9033"/>
                  </a:cubicBezTo>
                  <a:cubicBezTo>
                    <a:pt x="5442" y="9009"/>
                    <a:pt x="5426" y="8988"/>
                    <a:pt x="5417" y="8963"/>
                  </a:cubicBezTo>
                  <a:cubicBezTo>
                    <a:pt x="5415" y="8955"/>
                    <a:pt x="5441" y="8935"/>
                    <a:pt x="5438" y="8917"/>
                  </a:cubicBezTo>
                  <a:cubicBezTo>
                    <a:pt x="5436" y="8896"/>
                    <a:pt x="5419" y="8894"/>
                    <a:pt x="5415" y="8880"/>
                  </a:cubicBezTo>
                  <a:cubicBezTo>
                    <a:pt x="5408" y="8850"/>
                    <a:pt x="5418" y="8828"/>
                    <a:pt x="5408" y="8801"/>
                  </a:cubicBezTo>
                  <a:cubicBezTo>
                    <a:pt x="5399" y="8777"/>
                    <a:pt x="5383" y="8751"/>
                    <a:pt x="5374" y="8725"/>
                  </a:cubicBezTo>
                  <a:cubicBezTo>
                    <a:pt x="5406" y="8745"/>
                    <a:pt x="5425" y="8777"/>
                    <a:pt x="5408" y="8720"/>
                  </a:cubicBezTo>
                  <a:cubicBezTo>
                    <a:pt x="5399" y="8690"/>
                    <a:pt x="5375" y="8659"/>
                    <a:pt x="5360" y="8631"/>
                  </a:cubicBezTo>
                  <a:cubicBezTo>
                    <a:pt x="5343" y="8601"/>
                    <a:pt x="5314" y="8592"/>
                    <a:pt x="5295" y="8563"/>
                  </a:cubicBezTo>
                  <a:cubicBezTo>
                    <a:pt x="5287" y="8550"/>
                    <a:pt x="5304" y="8532"/>
                    <a:pt x="5286" y="8521"/>
                  </a:cubicBezTo>
                  <a:cubicBezTo>
                    <a:pt x="5267" y="8510"/>
                    <a:pt x="5256" y="8529"/>
                    <a:pt x="5241" y="8525"/>
                  </a:cubicBezTo>
                  <a:cubicBezTo>
                    <a:pt x="5203" y="8515"/>
                    <a:pt x="5187" y="8489"/>
                    <a:pt x="5165" y="8463"/>
                  </a:cubicBezTo>
                  <a:cubicBezTo>
                    <a:pt x="5154" y="8450"/>
                    <a:pt x="5141" y="8443"/>
                    <a:pt x="5132" y="8429"/>
                  </a:cubicBezTo>
                  <a:cubicBezTo>
                    <a:pt x="5129" y="8424"/>
                    <a:pt x="5128" y="8406"/>
                    <a:pt x="5124" y="8404"/>
                  </a:cubicBezTo>
                  <a:cubicBezTo>
                    <a:pt x="5116" y="8396"/>
                    <a:pt x="5105" y="8396"/>
                    <a:pt x="5105" y="8396"/>
                  </a:cubicBezTo>
                  <a:cubicBezTo>
                    <a:pt x="5095" y="8389"/>
                    <a:pt x="5075" y="8387"/>
                    <a:pt x="5061" y="8374"/>
                  </a:cubicBezTo>
                  <a:cubicBezTo>
                    <a:pt x="5045" y="8358"/>
                    <a:pt x="5060" y="8346"/>
                    <a:pt x="5035" y="8333"/>
                  </a:cubicBezTo>
                  <a:cubicBezTo>
                    <a:pt x="5006" y="8318"/>
                    <a:pt x="4957" y="8336"/>
                    <a:pt x="4953" y="8367"/>
                  </a:cubicBezTo>
                  <a:cubicBezTo>
                    <a:pt x="4950" y="8390"/>
                    <a:pt x="4994" y="8447"/>
                    <a:pt x="4924" y="8401"/>
                  </a:cubicBezTo>
                  <a:cubicBezTo>
                    <a:pt x="4896" y="8383"/>
                    <a:pt x="4879" y="8351"/>
                    <a:pt x="4851" y="8331"/>
                  </a:cubicBezTo>
                  <a:cubicBezTo>
                    <a:pt x="4820" y="8310"/>
                    <a:pt x="4781" y="8297"/>
                    <a:pt x="4743" y="8288"/>
                  </a:cubicBezTo>
                  <a:cubicBezTo>
                    <a:pt x="4724" y="8284"/>
                    <a:pt x="4718" y="8273"/>
                    <a:pt x="4696" y="8278"/>
                  </a:cubicBezTo>
                  <a:cubicBezTo>
                    <a:pt x="4725" y="8271"/>
                    <a:pt x="4678" y="8330"/>
                    <a:pt x="4683" y="8307"/>
                  </a:cubicBezTo>
                  <a:cubicBezTo>
                    <a:pt x="4676" y="8340"/>
                    <a:pt x="4693" y="8344"/>
                    <a:pt x="4716" y="8375"/>
                  </a:cubicBezTo>
                  <a:cubicBezTo>
                    <a:pt x="4753" y="8425"/>
                    <a:pt x="4704" y="8373"/>
                    <a:pt x="4664" y="8380"/>
                  </a:cubicBezTo>
                  <a:cubicBezTo>
                    <a:pt x="4612" y="8389"/>
                    <a:pt x="4619" y="8435"/>
                    <a:pt x="4625" y="8463"/>
                  </a:cubicBezTo>
                  <a:cubicBezTo>
                    <a:pt x="4631" y="8492"/>
                    <a:pt x="4645" y="8500"/>
                    <a:pt x="4645" y="8528"/>
                  </a:cubicBezTo>
                  <a:cubicBezTo>
                    <a:pt x="4643" y="8590"/>
                    <a:pt x="4642" y="8649"/>
                    <a:pt x="4646" y="8713"/>
                  </a:cubicBezTo>
                  <a:cubicBezTo>
                    <a:pt x="4648" y="8738"/>
                    <a:pt x="4661" y="8766"/>
                    <a:pt x="4668" y="8791"/>
                  </a:cubicBezTo>
                  <a:cubicBezTo>
                    <a:pt x="4669" y="8795"/>
                    <a:pt x="4661" y="8800"/>
                    <a:pt x="4664" y="8810"/>
                  </a:cubicBezTo>
                  <a:cubicBezTo>
                    <a:pt x="4671" y="8831"/>
                    <a:pt x="4691" y="8827"/>
                    <a:pt x="4684" y="8857"/>
                  </a:cubicBezTo>
                  <a:cubicBezTo>
                    <a:pt x="4682" y="8868"/>
                    <a:pt x="4656" y="8884"/>
                    <a:pt x="4657" y="8887"/>
                  </a:cubicBezTo>
                  <a:cubicBezTo>
                    <a:pt x="4659" y="8902"/>
                    <a:pt x="4686" y="8909"/>
                    <a:pt x="4689" y="8917"/>
                  </a:cubicBezTo>
                  <a:cubicBezTo>
                    <a:pt x="4698" y="8941"/>
                    <a:pt x="4679" y="8924"/>
                    <a:pt x="4677" y="8948"/>
                  </a:cubicBezTo>
                  <a:cubicBezTo>
                    <a:pt x="4677" y="8953"/>
                    <a:pt x="4682" y="8994"/>
                    <a:pt x="4682" y="8995"/>
                  </a:cubicBezTo>
                  <a:cubicBezTo>
                    <a:pt x="4689" y="9010"/>
                    <a:pt x="4710" y="9013"/>
                    <a:pt x="4711" y="9032"/>
                  </a:cubicBezTo>
                  <a:cubicBezTo>
                    <a:pt x="4714" y="9068"/>
                    <a:pt x="4681" y="9019"/>
                    <a:pt x="4672" y="9038"/>
                  </a:cubicBezTo>
                  <a:cubicBezTo>
                    <a:pt x="4670" y="9042"/>
                    <a:pt x="4683" y="9119"/>
                    <a:pt x="4686" y="9127"/>
                  </a:cubicBezTo>
                  <a:cubicBezTo>
                    <a:pt x="4688" y="9135"/>
                    <a:pt x="4681" y="9143"/>
                    <a:pt x="4685" y="9150"/>
                  </a:cubicBezTo>
                  <a:cubicBezTo>
                    <a:pt x="4688" y="9157"/>
                    <a:pt x="4707" y="9147"/>
                    <a:pt x="4710" y="9154"/>
                  </a:cubicBezTo>
                  <a:cubicBezTo>
                    <a:pt x="4721" y="9175"/>
                    <a:pt x="4712" y="9187"/>
                    <a:pt x="4714" y="9207"/>
                  </a:cubicBezTo>
                  <a:cubicBezTo>
                    <a:pt x="4720" y="9254"/>
                    <a:pt x="4743" y="9238"/>
                    <a:pt x="4768" y="9268"/>
                  </a:cubicBezTo>
                  <a:cubicBezTo>
                    <a:pt x="4778" y="9281"/>
                    <a:pt x="4775" y="9297"/>
                    <a:pt x="4782" y="9310"/>
                  </a:cubicBezTo>
                  <a:cubicBezTo>
                    <a:pt x="4792" y="9329"/>
                    <a:pt x="4829" y="9322"/>
                    <a:pt x="4803" y="9346"/>
                  </a:cubicBezTo>
                  <a:cubicBezTo>
                    <a:pt x="4788" y="9360"/>
                    <a:pt x="4760" y="9323"/>
                    <a:pt x="4755" y="9352"/>
                  </a:cubicBezTo>
                  <a:cubicBezTo>
                    <a:pt x="4753" y="9370"/>
                    <a:pt x="4796" y="9377"/>
                    <a:pt x="4799" y="9387"/>
                  </a:cubicBezTo>
                  <a:cubicBezTo>
                    <a:pt x="4809" y="9418"/>
                    <a:pt x="4749" y="9396"/>
                    <a:pt x="4716" y="9417"/>
                  </a:cubicBezTo>
                  <a:cubicBezTo>
                    <a:pt x="4702" y="9426"/>
                    <a:pt x="4697" y="9456"/>
                    <a:pt x="4683" y="9461"/>
                  </a:cubicBezTo>
                  <a:cubicBezTo>
                    <a:pt x="4659" y="9468"/>
                    <a:pt x="4669" y="9430"/>
                    <a:pt x="4640" y="9448"/>
                  </a:cubicBezTo>
                  <a:cubicBezTo>
                    <a:pt x="4598" y="9474"/>
                    <a:pt x="4693" y="9515"/>
                    <a:pt x="4637" y="9523"/>
                  </a:cubicBezTo>
                  <a:cubicBezTo>
                    <a:pt x="4594" y="9529"/>
                    <a:pt x="4599" y="9491"/>
                    <a:pt x="4582" y="9469"/>
                  </a:cubicBezTo>
                  <a:cubicBezTo>
                    <a:pt x="4576" y="9461"/>
                    <a:pt x="4576" y="9450"/>
                    <a:pt x="4565" y="9444"/>
                  </a:cubicBezTo>
                  <a:cubicBezTo>
                    <a:pt x="4551" y="9437"/>
                    <a:pt x="4532" y="9460"/>
                    <a:pt x="4523" y="9451"/>
                  </a:cubicBezTo>
                  <a:cubicBezTo>
                    <a:pt x="4507" y="9434"/>
                    <a:pt x="4536" y="9432"/>
                    <a:pt x="4534" y="9419"/>
                  </a:cubicBezTo>
                  <a:cubicBezTo>
                    <a:pt x="4533" y="9408"/>
                    <a:pt x="4520" y="9401"/>
                    <a:pt x="4518" y="9387"/>
                  </a:cubicBezTo>
                  <a:cubicBezTo>
                    <a:pt x="4515" y="9358"/>
                    <a:pt x="4514" y="9329"/>
                    <a:pt x="4532" y="9307"/>
                  </a:cubicBezTo>
                  <a:cubicBezTo>
                    <a:pt x="4560" y="9273"/>
                    <a:pt x="4536" y="9251"/>
                    <a:pt x="4508" y="9284"/>
                  </a:cubicBezTo>
                  <a:cubicBezTo>
                    <a:pt x="4530" y="9257"/>
                    <a:pt x="4496" y="9238"/>
                    <a:pt x="4497" y="9208"/>
                  </a:cubicBezTo>
                  <a:cubicBezTo>
                    <a:pt x="4498" y="9180"/>
                    <a:pt x="4503" y="9149"/>
                    <a:pt x="4496" y="9125"/>
                  </a:cubicBezTo>
                  <a:cubicBezTo>
                    <a:pt x="4493" y="9128"/>
                    <a:pt x="4484" y="9134"/>
                    <a:pt x="4480" y="9138"/>
                  </a:cubicBezTo>
                  <a:cubicBezTo>
                    <a:pt x="4431" y="9054"/>
                    <a:pt x="4475" y="8956"/>
                    <a:pt x="4479" y="8873"/>
                  </a:cubicBezTo>
                  <a:cubicBezTo>
                    <a:pt x="4480" y="8845"/>
                    <a:pt x="4462" y="8805"/>
                    <a:pt x="4419" y="8801"/>
                  </a:cubicBezTo>
                  <a:cubicBezTo>
                    <a:pt x="4420" y="8801"/>
                    <a:pt x="4387" y="8840"/>
                    <a:pt x="4364" y="8815"/>
                  </a:cubicBezTo>
                  <a:cubicBezTo>
                    <a:pt x="4348" y="8798"/>
                    <a:pt x="4377" y="8772"/>
                    <a:pt x="4378" y="8758"/>
                  </a:cubicBezTo>
                  <a:cubicBezTo>
                    <a:pt x="4378" y="8747"/>
                    <a:pt x="4387" y="8755"/>
                    <a:pt x="4381" y="8741"/>
                  </a:cubicBezTo>
                  <a:cubicBezTo>
                    <a:pt x="4381" y="8741"/>
                    <a:pt x="4350" y="8720"/>
                    <a:pt x="4345" y="8714"/>
                  </a:cubicBezTo>
                  <a:cubicBezTo>
                    <a:pt x="4332" y="8696"/>
                    <a:pt x="4361" y="8694"/>
                    <a:pt x="4330" y="8678"/>
                  </a:cubicBezTo>
                  <a:cubicBezTo>
                    <a:pt x="4321" y="8672"/>
                    <a:pt x="4277" y="8691"/>
                    <a:pt x="4281" y="8675"/>
                  </a:cubicBezTo>
                  <a:cubicBezTo>
                    <a:pt x="4285" y="8660"/>
                    <a:pt x="4262" y="8647"/>
                    <a:pt x="4251" y="8636"/>
                  </a:cubicBezTo>
                  <a:cubicBezTo>
                    <a:pt x="4239" y="8625"/>
                    <a:pt x="4219" y="8617"/>
                    <a:pt x="4210" y="8604"/>
                  </a:cubicBezTo>
                  <a:cubicBezTo>
                    <a:pt x="4193" y="8579"/>
                    <a:pt x="4213" y="8580"/>
                    <a:pt x="4212" y="8571"/>
                  </a:cubicBezTo>
                  <a:cubicBezTo>
                    <a:pt x="4211" y="8564"/>
                    <a:pt x="4237" y="8566"/>
                    <a:pt x="4220" y="8550"/>
                  </a:cubicBezTo>
                  <a:cubicBezTo>
                    <a:pt x="4207" y="8537"/>
                    <a:pt x="4184" y="8551"/>
                    <a:pt x="4179" y="8549"/>
                  </a:cubicBezTo>
                  <a:cubicBezTo>
                    <a:pt x="4164" y="8540"/>
                    <a:pt x="4163" y="8511"/>
                    <a:pt x="4130" y="8506"/>
                  </a:cubicBezTo>
                  <a:cubicBezTo>
                    <a:pt x="4127" y="8505"/>
                    <a:pt x="4123" y="8504"/>
                    <a:pt x="4120" y="8502"/>
                  </a:cubicBezTo>
                  <a:lnTo>
                    <a:pt x="4092" y="8665"/>
                  </a:lnTo>
                  <a:cubicBezTo>
                    <a:pt x="4097" y="8666"/>
                    <a:pt x="4101" y="8667"/>
                    <a:pt x="4106" y="8670"/>
                  </a:cubicBezTo>
                  <a:cubicBezTo>
                    <a:pt x="4127" y="8678"/>
                    <a:pt x="4149" y="8684"/>
                    <a:pt x="4163" y="8697"/>
                  </a:cubicBezTo>
                  <a:cubicBezTo>
                    <a:pt x="4149" y="8705"/>
                    <a:pt x="4143" y="8717"/>
                    <a:pt x="4145" y="8732"/>
                  </a:cubicBezTo>
                  <a:cubicBezTo>
                    <a:pt x="4131" y="8721"/>
                    <a:pt x="4116" y="8709"/>
                    <a:pt x="4101" y="8699"/>
                  </a:cubicBezTo>
                  <a:cubicBezTo>
                    <a:pt x="4097" y="8697"/>
                    <a:pt x="4092" y="8695"/>
                    <a:pt x="4087" y="8694"/>
                  </a:cubicBezTo>
                  <a:lnTo>
                    <a:pt x="4079" y="8743"/>
                  </a:lnTo>
                  <a:cubicBezTo>
                    <a:pt x="4084" y="8746"/>
                    <a:pt x="4088" y="8751"/>
                    <a:pt x="4092" y="8759"/>
                  </a:cubicBezTo>
                  <a:cubicBezTo>
                    <a:pt x="4099" y="8772"/>
                    <a:pt x="4155" y="8848"/>
                    <a:pt x="4129" y="8857"/>
                  </a:cubicBezTo>
                  <a:cubicBezTo>
                    <a:pt x="4109" y="8863"/>
                    <a:pt x="4091" y="8843"/>
                    <a:pt x="4081" y="8831"/>
                  </a:cubicBezTo>
                  <a:cubicBezTo>
                    <a:pt x="4078" y="8827"/>
                    <a:pt x="4073" y="8822"/>
                    <a:pt x="4066" y="8817"/>
                  </a:cubicBezTo>
                  <a:lnTo>
                    <a:pt x="4062" y="8839"/>
                  </a:lnTo>
                  <a:cubicBezTo>
                    <a:pt x="4069" y="8843"/>
                    <a:pt x="4075" y="8846"/>
                    <a:pt x="4079" y="8849"/>
                  </a:cubicBezTo>
                  <a:cubicBezTo>
                    <a:pt x="4097" y="8866"/>
                    <a:pt x="4120" y="8880"/>
                    <a:pt x="4130" y="8901"/>
                  </a:cubicBezTo>
                  <a:cubicBezTo>
                    <a:pt x="4114" y="8889"/>
                    <a:pt x="4097" y="8875"/>
                    <a:pt x="4074" y="8879"/>
                  </a:cubicBezTo>
                  <a:cubicBezTo>
                    <a:pt x="4067" y="8883"/>
                    <a:pt x="4061" y="8883"/>
                    <a:pt x="4055" y="8882"/>
                  </a:cubicBezTo>
                  <a:lnTo>
                    <a:pt x="3782" y="10488"/>
                  </a:lnTo>
                  <a:lnTo>
                    <a:pt x="1720" y="10252"/>
                  </a:lnTo>
                  <a:cubicBezTo>
                    <a:pt x="1720" y="10252"/>
                    <a:pt x="1514" y="10292"/>
                    <a:pt x="1592" y="10406"/>
                  </a:cubicBezTo>
                  <a:cubicBezTo>
                    <a:pt x="1649" y="10490"/>
                    <a:pt x="1597" y="10525"/>
                    <a:pt x="1534" y="10532"/>
                  </a:cubicBezTo>
                  <a:close/>
                  <a:moveTo>
                    <a:pt x="4739" y="8085"/>
                  </a:moveTo>
                  <a:cubicBezTo>
                    <a:pt x="4716" y="8095"/>
                    <a:pt x="4705" y="8108"/>
                    <a:pt x="4725" y="8128"/>
                  </a:cubicBezTo>
                  <a:cubicBezTo>
                    <a:pt x="4749" y="8154"/>
                    <a:pt x="4797" y="8133"/>
                    <a:pt x="4830" y="8126"/>
                  </a:cubicBezTo>
                  <a:cubicBezTo>
                    <a:pt x="4894" y="8102"/>
                    <a:pt x="4772" y="8071"/>
                    <a:pt x="4739" y="8085"/>
                  </a:cubicBezTo>
                  <a:close/>
                  <a:moveTo>
                    <a:pt x="6390" y="11549"/>
                  </a:moveTo>
                  <a:cubicBezTo>
                    <a:pt x="6338" y="11540"/>
                    <a:pt x="6364" y="11546"/>
                    <a:pt x="6339" y="11572"/>
                  </a:cubicBezTo>
                  <a:cubicBezTo>
                    <a:pt x="6312" y="11599"/>
                    <a:pt x="6238" y="11629"/>
                    <a:pt x="6263" y="11656"/>
                  </a:cubicBezTo>
                  <a:cubicBezTo>
                    <a:pt x="6272" y="11664"/>
                    <a:pt x="6315" y="11684"/>
                    <a:pt x="6324" y="11686"/>
                  </a:cubicBezTo>
                  <a:cubicBezTo>
                    <a:pt x="6329" y="11688"/>
                    <a:pt x="6390" y="11708"/>
                    <a:pt x="6389" y="11708"/>
                  </a:cubicBezTo>
                  <a:cubicBezTo>
                    <a:pt x="6413" y="11709"/>
                    <a:pt x="6411" y="11720"/>
                    <a:pt x="6416" y="11687"/>
                  </a:cubicBezTo>
                  <a:cubicBezTo>
                    <a:pt x="6419" y="11664"/>
                    <a:pt x="6429" y="11673"/>
                    <a:pt x="6436" y="11665"/>
                  </a:cubicBezTo>
                  <a:cubicBezTo>
                    <a:pt x="6436" y="11665"/>
                    <a:pt x="6453" y="11662"/>
                    <a:pt x="6461" y="11651"/>
                  </a:cubicBezTo>
                  <a:cubicBezTo>
                    <a:pt x="6473" y="11636"/>
                    <a:pt x="6460" y="11596"/>
                    <a:pt x="6459" y="11580"/>
                  </a:cubicBezTo>
                  <a:cubicBezTo>
                    <a:pt x="6454" y="11572"/>
                    <a:pt x="6408" y="11552"/>
                    <a:pt x="6390" y="11549"/>
                  </a:cubicBezTo>
                  <a:close/>
                  <a:moveTo>
                    <a:pt x="5668" y="4094"/>
                  </a:moveTo>
                  <a:cubicBezTo>
                    <a:pt x="5709" y="4123"/>
                    <a:pt x="5761" y="4074"/>
                    <a:pt x="5793" y="4077"/>
                  </a:cubicBezTo>
                  <a:cubicBezTo>
                    <a:pt x="5858" y="4083"/>
                    <a:pt x="5824" y="4123"/>
                    <a:pt x="5813" y="4145"/>
                  </a:cubicBezTo>
                  <a:cubicBezTo>
                    <a:pt x="5798" y="4179"/>
                    <a:pt x="5716" y="4320"/>
                    <a:pt x="5818" y="4248"/>
                  </a:cubicBezTo>
                  <a:cubicBezTo>
                    <a:pt x="5858" y="4220"/>
                    <a:pt x="5846" y="4189"/>
                    <a:pt x="5872" y="4159"/>
                  </a:cubicBezTo>
                  <a:cubicBezTo>
                    <a:pt x="5879" y="4151"/>
                    <a:pt x="5906" y="4142"/>
                    <a:pt x="5912" y="4140"/>
                  </a:cubicBezTo>
                  <a:cubicBezTo>
                    <a:pt x="5935" y="4134"/>
                    <a:pt x="5925" y="4123"/>
                    <a:pt x="5956" y="4145"/>
                  </a:cubicBezTo>
                  <a:cubicBezTo>
                    <a:pt x="5970" y="4154"/>
                    <a:pt x="5998" y="4196"/>
                    <a:pt x="5993" y="4211"/>
                  </a:cubicBezTo>
                  <a:cubicBezTo>
                    <a:pt x="5986" y="4236"/>
                    <a:pt x="5930" y="4243"/>
                    <a:pt x="5924" y="4270"/>
                  </a:cubicBezTo>
                  <a:cubicBezTo>
                    <a:pt x="5910" y="4329"/>
                    <a:pt x="5967" y="4290"/>
                    <a:pt x="5981" y="4285"/>
                  </a:cubicBezTo>
                  <a:cubicBezTo>
                    <a:pt x="5977" y="4287"/>
                    <a:pt x="6007" y="4263"/>
                    <a:pt x="6017" y="4278"/>
                  </a:cubicBezTo>
                  <a:cubicBezTo>
                    <a:pt x="6023" y="4288"/>
                    <a:pt x="6002" y="4310"/>
                    <a:pt x="6001" y="4321"/>
                  </a:cubicBezTo>
                  <a:cubicBezTo>
                    <a:pt x="6015" y="4309"/>
                    <a:pt x="6029" y="4304"/>
                    <a:pt x="6043" y="4315"/>
                  </a:cubicBezTo>
                  <a:cubicBezTo>
                    <a:pt x="6051" y="4293"/>
                    <a:pt x="6066" y="4286"/>
                    <a:pt x="6083" y="4305"/>
                  </a:cubicBezTo>
                  <a:cubicBezTo>
                    <a:pt x="6112" y="4336"/>
                    <a:pt x="6070" y="4326"/>
                    <a:pt x="6060" y="4341"/>
                  </a:cubicBezTo>
                  <a:cubicBezTo>
                    <a:pt x="6046" y="4364"/>
                    <a:pt x="6066" y="4367"/>
                    <a:pt x="6037" y="4379"/>
                  </a:cubicBezTo>
                  <a:cubicBezTo>
                    <a:pt x="6015" y="4388"/>
                    <a:pt x="5998" y="4367"/>
                    <a:pt x="5970" y="4385"/>
                  </a:cubicBezTo>
                  <a:cubicBezTo>
                    <a:pt x="5918" y="4417"/>
                    <a:pt x="5989" y="4412"/>
                    <a:pt x="6020" y="4414"/>
                  </a:cubicBezTo>
                  <a:cubicBezTo>
                    <a:pt x="6048" y="4416"/>
                    <a:pt x="6063" y="4410"/>
                    <a:pt x="6074" y="4428"/>
                  </a:cubicBezTo>
                  <a:cubicBezTo>
                    <a:pt x="6077" y="4432"/>
                    <a:pt x="6066" y="4468"/>
                    <a:pt x="6064" y="4472"/>
                  </a:cubicBezTo>
                  <a:cubicBezTo>
                    <a:pt x="6053" y="4494"/>
                    <a:pt x="6063" y="4499"/>
                    <a:pt x="6037" y="4503"/>
                  </a:cubicBezTo>
                  <a:cubicBezTo>
                    <a:pt x="6035" y="4503"/>
                    <a:pt x="5967" y="4492"/>
                    <a:pt x="5962" y="4491"/>
                  </a:cubicBezTo>
                  <a:cubicBezTo>
                    <a:pt x="5915" y="4479"/>
                    <a:pt x="5872" y="4433"/>
                    <a:pt x="5815" y="4440"/>
                  </a:cubicBezTo>
                  <a:cubicBezTo>
                    <a:pt x="5692" y="4457"/>
                    <a:pt x="5761" y="4572"/>
                    <a:pt x="5796" y="4619"/>
                  </a:cubicBezTo>
                  <a:cubicBezTo>
                    <a:pt x="5824" y="4656"/>
                    <a:pt x="5843" y="4677"/>
                    <a:pt x="5894" y="4692"/>
                  </a:cubicBezTo>
                  <a:cubicBezTo>
                    <a:pt x="5955" y="4711"/>
                    <a:pt x="5944" y="4703"/>
                    <a:pt x="5979" y="4673"/>
                  </a:cubicBezTo>
                  <a:cubicBezTo>
                    <a:pt x="6009" y="4646"/>
                    <a:pt x="6203" y="4573"/>
                    <a:pt x="6216" y="4622"/>
                  </a:cubicBezTo>
                  <a:cubicBezTo>
                    <a:pt x="6220" y="4640"/>
                    <a:pt x="6154" y="4697"/>
                    <a:pt x="6235" y="4706"/>
                  </a:cubicBezTo>
                  <a:cubicBezTo>
                    <a:pt x="6259" y="4708"/>
                    <a:pt x="6279" y="4686"/>
                    <a:pt x="6301" y="4682"/>
                  </a:cubicBezTo>
                  <a:cubicBezTo>
                    <a:pt x="6329" y="4676"/>
                    <a:pt x="6330" y="4681"/>
                    <a:pt x="6357" y="4684"/>
                  </a:cubicBezTo>
                  <a:cubicBezTo>
                    <a:pt x="6393" y="4689"/>
                    <a:pt x="6445" y="4700"/>
                    <a:pt x="6472" y="4717"/>
                  </a:cubicBezTo>
                  <a:cubicBezTo>
                    <a:pt x="6496" y="4732"/>
                    <a:pt x="6494" y="4738"/>
                    <a:pt x="6522" y="4747"/>
                  </a:cubicBezTo>
                  <a:cubicBezTo>
                    <a:pt x="6531" y="4750"/>
                    <a:pt x="6542" y="4734"/>
                    <a:pt x="6555" y="4741"/>
                  </a:cubicBezTo>
                  <a:cubicBezTo>
                    <a:pt x="6568" y="4747"/>
                    <a:pt x="6555" y="4761"/>
                    <a:pt x="6560" y="4768"/>
                  </a:cubicBezTo>
                  <a:cubicBezTo>
                    <a:pt x="6569" y="4779"/>
                    <a:pt x="6613" y="4821"/>
                    <a:pt x="6616" y="4830"/>
                  </a:cubicBezTo>
                  <a:cubicBezTo>
                    <a:pt x="6620" y="4842"/>
                    <a:pt x="6601" y="4860"/>
                    <a:pt x="6601" y="4875"/>
                  </a:cubicBezTo>
                  <a:cubicBezTo>
                    <a:pt x="6601" y="4890"/>
                    <a:pt x="6611" y="4909"/>
                    <a:pt x="6619" y="4922"/>
                  </a:cubicBezTo>
                  <a:cubicBezTo>
                    <a:pt x="6640" y="4960"/>
                    <a:pt x="6651" y="4985"/>
                    <a:pt x="6691" y="5007"/>
                  </a:cubicBezTo>
                  <a:cubicBezTo>
                    <a:pt x="6729" y="5028"/>
                    <a:pt x="6763" y="5032"/>
                    <a:pt x="6802" y="5054"/>
                  </a:cubicBezTo>
                  <a:cubicBezTo>
                    <a:pt x="6817" y="5015"/>
                    <a:pt x="6883" y="5020"/>
                    <a:pt x="6924" y="5005"/>
                  </a:cubicBezTo>
                  <a:cubicBezTo>
                    <a:pt x="6977" y="4986"/>
                    <a:pt x="6968" y="4977"/>
                    <a:pt x="6975" y="4946"/>
                  </a:cubicBezTo>
                  <a:cubicBezTo>
                    <a:pt x="6980" y="4918"/>
                    <a:pt x="7004" y="4867"/>
                    <a:pt x="6991" y="4837"/>
                  </a:cubicBezTo>
                  <a:cubicBezTo>
                    <a:pt x="6979" y="4811"/>
                    <a:pt x="6941" y="4775"/>
                    <a:pt x="6920" y="4751"/>
                  </a:cubicBezTo>
                  <a:cubicBezTo>
                    <a:pt x="6897" y="4723"/>
                    <a:pt x="6877" y="4685"/>
                    <a:pt x="6849" y="4663"/>
                  </a:cubicBezTo>
                  <a:cubicBezTo>
                    <a:pt x="6836" y="4653"/>
                    <a:pt x="6823" y="4668"/>
                    <a:pt x="6809" y="4650"/>
                  </a:cubicBezTo>
                  <a:cubicBezTo>
                    <a:pt x="6800" y="4637"/>
                    <a:pt x="6811" y="4590"/>
                    <a:pt x="6809" y="4573"/>
                  </a:cubicBezTo>
                  <a:cubicBezTo>
                    <a:pt x="6808" y="4563"/>
                    <a:pt x="6790" y="4557"/>
                    <a:pt x="6792" y="4548"/>
                  </a:cubicBezTo>
                  <a:cubicBezTo>
                    <a:pt x="6794" y="4539"/>
                    <a:pt x="6811" y="4536"/>
                    <a:pt x="6814" y="4529"/>
                  </a:cubicBezTo>
                  <a:cubicBezTo>
                    <a:pt x="6820" y="4515"/>
                    <a:pt x="6832" y="4499"/>
                    <a:pt x="6838" y="4483"/>
                  </a:cubicBezTo>
                  <a:cubicBezTo>
                    <a:pt x="6838" y="4482"/>
                    <a:pt x="6850" y="4437"/>
                    <a:pt x="6851" y="4438"/>
                  </a:cubicBezTo>
                  <a:cubicBezTo>
                    <a:pt x="6843" y="4424"/>
                    <a:pt x="6830" y="4431"/>
                    <a:pt x="6821" y="4425"/>
                  </a:cubicBezTo>
                  <a:cubicBezTo>
                    <a:pt x="6827" y="4429"/>
                    <a:pt x="6790" y="4406"/>
                    <a:pt x="6798" y="4407"/>
                  </a:cubicBezTo>
                  <a:cubicBezTo>
                    <a:pt x="6751" y="4398"/>
                    <a:pt x="6755" y="4432"/>
                    <a:pt x="6762" y="4380"/>
                  </a:cubicBezTo>
                  <a:cubicBezTo>
                    <a:pt x="6770" y="4319"/>
                    <a:pt x="6751" y="4342"/>
                    <a:pt x="6703" y="4302"/>
                  </a:cubicBezTo>
                  <a:cubicBezTo>
                    <a:pt x="6671" y="4274"/>
                    <a:pt x="6700" y="4260"/>
                    <a:pt x="6650" y="4262"/>
                  </a:cubicBezTo>
                  <a:cubicBezTo>
                    <a:pt x="6639" y="4262"/>
                    <a:pt x="6603" y="4286"/>
                    <a:pt x="6586" y="4287"/>
                  </a:cubicBezTo>
                  <a:cubicBezTo>
                    <a:pt x="6579" y="4288"/>
                    <a:pt x="6580" y="4302"/>
                    <a:pt x="6571" y="4302"/>
                  </a:cubicBezTo>
                  <a:cubicBezTo>
                    <a:pt x="6561" y="4302"/>
                    <a:pt x="6560" y="4284"/>
                    <a:pt x="6555" y="4282"/>
                  </a:cubicBezTo>
                  <a:cubicBezTo>
                    <a:pt x="6526" y="4270"/>
                    <a:pt x="6525" y="4277"/>
                    <a:pt x="6521" y="4254"/>
                  </a:cubicBezTo>
                  <a:cubicBezTo>
                    <a:pt x="6513" y="4217"/>
                    <a:pt x="6584" y="4180"/>
                    <a:pt x="6527" y="4146"/>
                  </a:cubicBezTo>
                  <a:cubicBezTo>
                    <a:pt x="6503" y="4172"/>
                    <a:pt x="6466" y="4107"/>
                    <a:pt x="6448" y="4092"/>
                  </a:cubicBezTo>
                  <a:cubicBezTo>
                    <a:pt x="6418" y="4065"/>
                    <a:pt x="6400" y="4051"/>
                    <a:pt x="6357" y="4067"/>
                  </a:cubicBezTo>
                  <a:cubicBezTo>
                    <a:pt x="6354" y="4068"/>
                    <a:pt x="6279" y="4113"/>
                    <a:pt x="6279" y="4113"/>
                  </a:cubicBezTo>
                  <a:cubicBezTo>
                    <a:pt x="6268" y="4129"/>
                    <a:pt x="6285" y="4157"/>
                    <a:pt x="6279" y="4176"/>
                  </a:cubicBezTo>
                  <a:cubicBezTo>
                    <a:pt x="6278" y="4179"/>
                    <a:pt x="6255" y="4217"/>
                    <a:pt x="6255" y="4217"/>
                  </a:cubicBezTo>
                  <a:cubicBezTo>
                    <a:pt x="6223" y="4224"/>
                    <a:pt x="6246" y="4190"/>
                    <a:pt x="6242" y="4184"/>
                  </a:cubicBezTo>
                  <a:cubicBezTo>
                    <a:pt x="6243" y="4185"/>
                    <a:pt x="6216" y="4148"/>
                    <a:pt x="6221" y="4167"/>
                  </a:cubicBezTo>
                  <a:cubicBezTo>
                    <a:pt x="6217" y="4153"/>
                    <a:pt x="6220" y="4149"/>
                    <a:pt x="6229" y="4124"/>
                  </a:cubicBezTo>
                  <a:cubicBezTo>
                    <a:pt x="6242" y="4089"/>
                    <a:pt x="6238" y="4059"/>
                    <a:pt x="6217" y="4028"/>
                  </a:cubicBezTo>
                  <a:cubicBezTo>
                    <a:pt x="6190" y="3987"/>
                    <a:pt x="6188" y="3945"/>
                    <a:pt x="6153" y="3910"/>
                  </a:cubicBezTo>
                  <a:cubicBezTo>
                    <a:pt x="6126" y="3883"/>
                    <a:pt x="6071" y="3877"/>
                    <a:pt x="6038" y="3851"/>
                  </a:cubicBezTo>
                  <a:cubicBezTo>
                    <a:pt x="6006" y="3826"/>
                    <a:pt x="5962" y="3836"/>
                    <a:pt x="5925" y="3845"/>
                  </a:cubicBezTo>
                  <a:cubicBezTo>
                    <a:pt x="5879" y="3856"/>
                    <a:pt x="5833" y="3870"/>
                    <a:pt x="5784" y="3873"/>
                  </a:cubicBezTo>
                  <a:cubicBezTo>
                    <a:pt x="5773" y="3874"/>
                    <a:pt x="5767" y="3883"/>
                    <a:pt x="5754" y="3882"/>
                  </a:cubicBezTo>
                  <a:cubicBezTo>
                    <a:pt x="5745" y="3881"/>
                    <a:pt x="5735" y="3868"/>
                    <a:pt x="5727" y="3869"/>
                  </a:cubicBezTo>
                  <a:cubicBezTo>
                    <a:pt x="5679" y="3869"/>
                    <a:pt x="5720" y="3858"/>
                    <a:pt x="5703" y="3891"/>
                  </a:cubicBezTo>
                  <a:cubicBezTo>
                    <a:pt x="5683" y="3930"/>
                    <a:pt x="5612" y="4055"/>
                    <a:pt x="5668" y="4094"/>
                  </a:cubicBezTo>
                  <a:close/>
                  <a:moveTo>
                    <a:pt x="4399" y="7152"/>
                  </a:moveTo>
                  <a:cubicBezTo>
                    <a:pt x="4450" y="7151"/>
                    <a:pt x="4454" y="7148"/>
                    <a:pt x="4492" y="7128"/>
                  </a:cubicBezTo>
                  <a:cubicBezTo>
                    <a:pt x="4528" y="7109"/>
                    <a:pt x="4584" y="7087"/>
                    <a:pt x="4615" y="7060"/>
                  </a:cubicBezTo>
                  <a:cubicBezTo>
                    <a:pt x="4638" y="7039"/>
                    <a:pt x="4639" y="7008"/>
                    <a:pt x="4687" y="7030"/>
                  </a:cubicBezTo>
                  <a:cubicBezTo>
                    <a:pt x="4698" y="7035"/>
                    <a:pt x="4725" y="7069"/>
                    <a:pt x="4719" y="7080"/>
                  </a:cubicBezTo>
                  <a:cubicBezTo>
                    <a:pt x="4709" y="7099"/>
                    <a:pt x="4677" y="7082"/>
                    <a:pt x="4649" y="7081"/>
                  </a:cubicBezTo>
                  <a:cubicBezTo>
                    <a:pt x="4661" y="7086"/>
                    <a:pt x="4683" y="7090"/>
                    <a:pt x="4693" y="7097"/>
                  </a:cubicBezTo>
                  <a:cubicBezTo>
                    <a:pt x="4705" y="7106"/>
                    <a:pt x="4710" y="7121"/>
                    <a:pt x="4724" y="7128"/>
                  </a:cubicBezTo>
                  <a:cubicBezTo>
                    <a:pt x="4753" y="7142"/>
                    <a:pt x="4824" y="7139"/>
                    <a:pt x="4858" y="7130"/>
                  </a:cubicBezTo>
                  <a:cubicBezTo>
                    <a:pt x="4854" y="7128"/>
                    <a:pt x="4849" y="7128"/>
                    <a:pt x="4846" y="7126"/>
                  </a:cubicBezTo>
                  <a:cubicBezTo>
                    <a:pt x="4860" y="7115"/>
                    <a:pt x="4854" y="7093"/>
                    <a:pt x="4868" y="7086"/>
                  </a:cubicBezTo>
                  <a:cubicBezTo>
                    <a:pt x="4889" y="7075"/>
                    <a:pt x="4907" y="7066"/>
                    <a:pt x="4919" y="7051"/>
                  </a:cubicBezTo>
                  <a:cubicBezTo>
                    <a:pt x="4918" y="7053"/>
                    <a:pt x="4910" y="6998"/>
                    <a:pt x="4928" y="7021"/>
                  </a:cubicBezTo>
                  <a:cubicBezTo>
                    <a:pt x="4944" y="7041"/>
                    <a:pt x="4923" y="7054"/>
                    <a:pt x="4923" y="7072"/>
                  </a:cubicBezTo>
                  <a:cubicBezTo>
                    <a:pt x="4923" y="7153"/>
                    <a:pt x="5072" y="7160"/>
                    <a:pt x="5146" y="7135"/>
                  </a:cubicBezTo>
                  <a:cubicBezTo>
                    <a:pt x="5198" y="7118"/>
                    <a:pt x="5251" y="7103"/>
                    <a:pt x="5302" y="7086"/>
                  </a:cubicBezTo>
                  <a:cubicBezTo>
                    <a:pt x="5318" y="7081"/>
                    <a:pt x="5349" y="7076"/>
                    <a:pt x="5357" y="7064"/>
                  </a:cubicBezTo>
                  <a:cubicBezTo>
                    <a:pt x="5359" y="7060"/>
                    <a:pt x="5346" y="7053"/>
                    <a:pt x="5347" y="7051"/>
                  </a:cubicBezTo>
                  <a:cubicBezTo>
                    <a:pt x="5346" y="7052"/>
                    <a:pt x="5341" y="7036"/>
                    <a:pt x="5343" y="7032"/>
                  </a:cubicBezTo>
                  <a:cubicBezTo>
                    <a:pt x="5349" y="7021"/>
                    <a:pt x="5375" y="7019"/>
                    <a:pt x="5384" y="7009"/>
                  </a:cubicBezTo>
                  <a:cubicBezTo>
                    <a:pt x="5400" y="6989"/>
                    <a:pt x="5385" y="6980"/>
                    <a:pt x="5386" y="6968"/>
                  </a:cubicBezTo>
                  <a:cubicBezTo>
                    <a:pt x="5387" y="6925"/>
                    <a:pt x="5411" y="6912"/>
                    <a:pt x="5439" y="6876"/>
                  </a:cubicBezTo>
                  <a:cubicBezTo>
                    <a:pt x="5451" y="6860"/>
                    <a:pt x="5451" y="6848"/>
                    <a:pt x="5455" y="6832"/>
                  </a:cubicBezTo>
                  <a:cubicBezTo>
                    <a:pt x="5457" y="6826"/>
                    <a:pt x="5449" y="6813"/>
                    <a:pt x="5450" y="6805"/>
                  </a:cubicBezTo>
                  <a:cubicBezTo>
                    <a:pt x="5452" y="6797"/>
                    <a:pt x="5472" y="6793"/>
                    <a:pt x="5471" y="6781"/>
                  </a:cubicBezTo>
                  <a:cubicBezTo>
                    <a:pt x="5471" y="6768"/>
                    <a:pt x="5469" y="6760"/>
                    <a:pt x="5446" y="6756"/>
                  </a:cubicBezTo>
                  <a:cubicBezTo>
                    <a:pt x="5455" y="6739"/>
                    <a:pt x="5461" y="6728"/>
                    <a:pt x="5482" y="6718"/>
                  </a:cubicBezTo>
                  <a:cubicBezTo>
                    <a:pt x="5513" y="6702"/>
                    <a:pt x="5502" y="6693"/>
                    <a:pt x="5514" y="6671"/>
                  </a:cubicBezTo>
                  <a:cubicBezTo>
                    <a:pt x="5531" y="6637"/>
                    <a:pt x="5535" y="6622"/>
                    <a:pt x="5530" y="6584"/>
                  </a:cubicBezTo>
                  <a:cubicBezTo>
                    <a:pt x="5520" y="6511"/>
                    <a:pt x="5535" y="6436"/>
                    <a:pt x="5451" y="6380"/>
                  </a:cubicBezTo>
                  <a:cubicBezTo>
                    <a:pt x="5413" y="6355"/>
                    <a:pt x="5308" y="6307"/>
                    <a:pt x="5260" y="6327"/>
                  </a:cubicBezTo>
                  <a:cubicBezTo>
                    <a:pt x="5245" y="6333"/>
                    <a:pt x="5196" y="6394"/>
                    <a:pt x="5191" y="6406"/>
                  </a:cubicBezTo>
                  <a:cubicBezTo>
                    <a:pt x="5181" y="6433"/>
                    <a:pt x="5185" y="6481"/>
                    <a:pt x="5204" y="6500"/>
                  </a:cubicBezTo>
                  <a:cubicBezTo>
                    <a:pt x="5219" y="6517"/>
                    <a:pt x="5244" y="6495"/>
                    <a:pt x="5233" y="6517"/>
                  </a:cubicBezTo>
                  <a:cubicBezTo>
                    <a:pt x="5237" y="6508"/>
                    <a:pt x="5193" y="6532"/>
                    <a:pt x="5189" y="6536"/>
                  </a:cubicBezTo>
                  <a:cubicBezTo>
                    <a:pt x="5168" y="6557"/>
                    <a:pt x="5170" y="6600"/>
                    <a:pt x="5176" y="6624"/>
                  </a:cubicBezTo>
                  <a:cubicBezTo>
                    <a:pt x="5152" y="6602"/>
                    <a:pt x="5165" y="6570"/>
                    <a:pt x="5161" y="6543"/>
                  </a:cubicBezTo>
                  <a:cubicBezTo>
                    <a:pt x="5157" y="6519"/>
                    <a:pt x="5141" y="6503"/>
                    <a:pt x="5137" y="6476"/>
                  </a:cubicBezTo>
                  <a:cubicBezTo>
                    <a:pt x="5132" y="6446"/>
                    <a:pt x="5159" y="6456"/>
                    <a:pt x="5131" y="6436"/>
                  </a:cubicBezTo>
                  <a:cubicBezTo>
                    <a:pt x="5118" y="6427"/>
                    <a:pt x="5094" y="6422"/>
                    <a:pt x="5077" y="6422"/>
                  </a:cubicBezTo>
                  <a:cubicBezTo>
                    <a:pt x="5033" y="6421"/>
                    <a:pt x="4985" y="6441"/>
                    <a:pt x="4967" y="6468"/>
                  </a:cubicBezTo>
                  <a:cubicBezTo>
                    <a:pt x="4955" y="6485"/>
                    <a:pt x="4923" y="6530"/>
                    <a:pt x="4909" y="6496"/>
                  </a:cubicBezTo>
                  <a:cubicBezTo>
                    <a:pt x="4902" y="6480"/>
                    <a:pt x="4923" y="6467"/>
                    <a:pt x="4933" y="6455"/>
                  </a:cubicBezTo>
                  <a:cubicBezTo>
                    <a:pt x="4939" y="6446"/>
                    <a:pt x="4941" y="6435"/>
                    <a:pt x="4949" y="6427"/>
                  </a:cubicBezTo>
                  <a:cubicBezTo>
                    <a:pt x="4957" y="6420"/>
                    <a:pt x="4977" y="6426"/>
                    <a:pt x="4985" y="6418"/>
                  </a:cubicBezTo>
                  <a:cubicBezTo>
                    <a:pt x="5038" y="6363"/>
                    <a:pt x="5013" y="6302"/>
                    <a:pt x="4921" y="6303"/>
                  </a:cubicBezTo>
                  <a:cubicBezTo>
                    <a:pt x="4900" y="6303"/>
                    <a:pt x="4850" y="6303"/>
                    <a:pt x="4828" y="6311"/>
                  </a:cubicBezTo>
                  <a:cubicBezTo>
                    <a:pt x="4844" y="6278"/>
                    <a:pt x="4837" y="6248"/>
                    <a:pt x="4864" y="6214"/>
                  </a:cubicBezTo>
                  <a:cubicBezTo>
                    <a:pt x="4875" y="6202"/>
                    <a:pt x="4904" y="6201"/>
                    <a:pt x="4912" y="6191"/>
                  </a:cubicBezTo>
                  <a:cubicBezTo>
                    <a:pt x="4930" y="6170"/>
                    <a:pt x="4913" y="6179"/>
                    <a:pt x="4910" y="6152"/>
                  </a:cubicBezTo>
                  <a:cubicBezTo>
                    <a:pt x="4910" y="6147"/>
                    <a:pt x="4932" y="6141"/>
                    <a:pt x="4933" y="6132"/>
                  </a:cubicBezTo>
                  <a:cubicBezTo>
                    <a:pt x="4934" y="6127"/>
                    <a:pt x="4919" y="6116"/>
                    <a:pt x="4918" y="6108"/>
                  </a:cubicBezTo>
                  <a:cubicBezTo>
                    <a:pt x="4918" y="6093"/>
                    <a:pt x="4913" y="6071"/>
                    <a:pt x="4898" y="6058"/>
                  </a:cubicBezTo>
                  <a:cubicBezTo>
                    <a:pt x="4886" y="6047"/>
                    <a:pt x="4869" y="6047"/>
                    <a:pt x="4858" y="6038"/>
                  </a:cubicBezTo>
                  <a:cubicBezTo>
                    <a:pt x="4830" y="6016"/>
                    <a:pt x="4845" y="6040"/>
                    <a:pt x="4844" y="6009"/>
                  </a:cubicBezTo>
                  <a:cubicBezTo>
                    <a:pt x="4844" y="5998"/>
                    <a:pt x="4848" y="5980"/>
                    <a:pt x="4851" y="5963"/>
                  </a:cubicBezTo>
                  <a:cubicBezTo>
                    <a:pt x="4851" y="5965"/>
                    <a:pt x="4859" y="5932"/>
                    <a:pt x="4858" y="5929"/>
                  </a:cubicBezTo>
                  <a:cubicBezTo>
                    <a:pt x="4853" y="5912"/>
                    <a:pt x="4791" y="5865"/>
                    <a:pt x="4843" y="5857"/>
                  </a:cubicBezTo>
                  <a:cubicBezTo>
                    <a:pt x="4870" y="5852"/>
                    <a:pt x="4898" y="5821"/>
                    <a:pt x="4892" y="5799"/>
                  </a:cubicBezTo>
                  <a:cubicBezTo>
                    <a:pt x="4885" y="5774"/>
                    <a:pt x="4856" y="5783"/>
                    <a:pt x="4848" y="5771"/>
                  </a:cubicBezTo>
                  <a:cubicBezTo>
                    <a:pt x="4836" y="5752"/>
                    <a:pt x="4860" y="5734"/>
                    <a:pt x="4841" y="5714"/>
                  </a:cubicBezTo>
                  <a:cubicBezTo>
                    <a:pt x="4812" y="5683"/>
                    <a:pt x="4841" y="5718"/>
                    <a:pt x="4814" y="5720"/>
                  </a:cubicBezTo>
                  <a:cubicBezTo>
                    <a:pt x="4808" y="5721"/>
                    <a:pt x="4798" y="5729"/>
                    <a:pt x="4791" y="5731"/>
                  </a:cubicBezTo>
                  <a:cubicBezTo>
                    <a:pt x="4785" y="5732"/>
                    <a:pt x="4781" y="5719"/>
                    <a:pt x="4775" y="5720"/>
                  </a:cubicBezTo>
                  <a:cubicBezTo>
                    <a:pt x="4753" y="5723"/>
                    <a:pt x="4744" y="5720"/>
                    <a:pt x="4727" y="5728"/>
                  </a:cubicBezTo>
                  <a:cubicBezTo>
                    <a:pt x="4706" y="5737"/>
                    <a:pt x="4670" y="5771"/>
                    <a:pt x="4653" y="5790"/>
                  </a:cubicBezTo>
                  <a:cubicBezTo>
                    <a:pt x="4629" y="5817"/>
                    <a:pt x="4631" y="5852"/>
                    <a:pt x="4606" y="5875"/>
                  </a:cubicBezTo>
                  <a:cubicBezTo>
                    <a:pt x="4590" y="5890"/>
                    <a:pt x="4593" y="5874"/>
                    <a:pt x="4579" y="5892"/>
                  </a:cubicBezTo>
                  <a:cubicBezTo>
                    <a:pt x="4573" y="5900"/>
                    <a:pt x="4569" y="5907"/>
                    <a:pt x="4562" y="5914"/>
                  </a:cubicBezTo>
                  <a:cubicBezTo>
                    <a:pt x="4548" y="5928"/>
                    <a:pt x="4578" y="5925"/>
                    <a:pt x="4578" y="5924"/>
                  </a:cubicBezTo>
                  <a:cubicBezTo>
                    <a:pt x="4574" y="5933"/>
                    <a:pt x="4565" y="5940"/>
                    <a:pt x="4554" y="5946"/>
                  </a:cubicBezTo>
                  <a:lnTo>
                    <a:pt x="4521" y="6144"/>
                  </a:lnTo>
                  <a:cubicBezTo>
                    <a:pt x="4528" y="6142"/>
                    <a:pt x="4539" y="6144"/>
                    <a:pt x="4549" y="6154"/>
                  </a:cubicBezTo>
                  <a:cubicBezTo>
                    <a:pt x="4557" y="6162"/>
                    <a:pt x="4544" y="6169"/>
                    <a:pt x="4551" y="6175"/>
                  </a:cubicBezTo>
                  <a:cubicBezTo>
                    <a:pt x="4558" y="6180"/>
                    <a:pt x="4577" y="6180"/>
                    <a:pt x="4586" y="6185"/>
                  </a:cubicBezTo>
                  <a:cubicBezTo>
                    <a:pt x="4589" y="6187"/>
                    <a:pt x="4615" y="6221"/>
                    <a:pt x="4617" y="6225"/>
                  </a:cubicBezTo>
                  <a:cubicBezTo>
                    <a:pt x="4620" y="6233"/>
                    <a:pt x="4631" y="6239"/>
                    <a:pt x="4634" y="6247"/>
                  </a:cubicBezTo>
                  <a:cubicBezTo>
                    <a:pt x="4637" y="6257"/>
                    <a:pt x="4615" y="6256"/>
                    <a:pt x="4616" y="6264"/>
                  </a:cubicBezTo>
                  <a:cubicBezTo>
                    <a:pt x="4618" y="6277"/>
                    <a:pt x="4629" y="6283"/>
                    <a:pt x="4631" y="6293"/>
                  </a:cubicBezTo>
                  <a:cubicBezTo>
                    <a:pt x="4625" y="6285"/>
                    <a:pt x="4588" y="6317"/>
                    <a:pt x="4604" y="6309"/>
                  </a:cubicBezTo>
                  <a:cubicBezTo>
                    <a:pt x="4582" y="6321"/>
                    <a:pt x="4551" y="6351"/>
                    <a:pt x="4525" y="6361"/>
                  </a:cubicBezTo>
                  <a:cubicBezTo>
                    <a:pt x="4515" y="6365"/>
                    <a:pt x="4498" y="6366"/>
                    <a:pt x="4482" y="6369"/>
                  </a:cubicBezTo>
                  <a:lnTo>
                    <a:pt x="4474" y="6419"/>
                  </a:lnTo>
                  <a:cubicBezTo>
                    <a:pt x="4492" y="6417"/>
                    <a:pt x="4513" y="6407"/>
                    <a:pt x="4526" y="6420"/>
                  </a:cubicBezTo>
                  <a:cubicBezTo>
                    <a:pt x="4527" y="6422"/>
                    <a:pt x="4513" y="6456"/>
                    <a:pt x="4516" y="6458"/>
                  </a:cubicBezTo>
                  <a:cubicBezTo>
                    <a:pt x="4529" y="6473"/>
                    <a:pt x="4550" y="6463"/>
                    <a:pt x="4567" y="6470"/>
                  </a:cubicBezTo>
                  <a:cubicBezTo>
                    <a:pt x="4566" y="6469"/>
                    <a:pt x="4597" y="6492"/>
                    <a:pt x="4602" y="6494"/>
                  </a:cubicBezTo>
                  <a:cubicBezTo>
                    <a:pt x="4618" y="6504"/>
                    <a:pt x="4638" y="6509"/>
                    <a:pt x="4654" y="6522"/>
                  </a:cubicBezTo>
                  <a:cubicBezTo>
                    <a:pt x="4671" y="6537"/>
                    <a:pt x="4679" y="6554"/>
                    <a:pt x="4705" y="6567"/>
                  </a:cubicBezTo>
                  <a:cubicBezTo>
                    <a:pt x="4664" y="6569"/>
                    <a:pt x="4700" y="6583"/>
                    <a:pt x="4697" y="6602"/>
                  </a:cubicBezTo>
                  <a:cubicBezTo>
                    <a:pt x="4694" y="6621"/>
                    <a:pt x="4676" y="6639"/>
                    <a:pt x="4688" y="6657"/>
                  </a:cubicBezTo>
                  <a:cubicBezTo>
                    <a:pt x="4624" y="6642"/>
                    <a:pt x="4669" y="6668"/>
                    <a:pt x="4669" y="6683"/>
                  </a:cubicBezTo>
                  <a:cubicBezTo>
                    <a:pt x="4670" y="6734"/>
                    <a:pt x="4659" y="6708"/>
                    <a:pt x="4614" y="6693"/>
                  </a:cubicBezTo>
                  <a:cubicBezTo>
                    <a:pt x="4562" y="6675"/>
                    <a:pt x="4496" y="6662"/>
                    <a:pt x="4434" y="6654"/>
                  </a:cubicBezTo>
                  <a:lnTo>
                    <a:pt x="4349" y="7153"/>
                  </a:lnTo>
                  <a:cubicBezTo>
                    <a:pt x="4351" y="7152"/>
                    <a:pt x="4353" y="7151"/>
                    <a:pt x="4355" y="7150"/>
                  </a:cubicBezTo>
                  <a:cubicBezTo>
                    <a:pt x="4379" y="7139"/>
                    <a:pt x="4379" y="7152"/>
                    <a:pt x="4399" y="7152"/>
                  </a:cubicBezTo>
                  <a:close/>
                  <a:moveTo>
                    <a:pt x="11711" y="5640"/>
                  </a:moveTo>
                  <a:cubicBezTo>
                    <a:pt x="11651" y="5639"/>
                    <a:pt x="11637" y="5745"/>
                    <a:pt x="11626" y="5782"/>
                  </a:cubicBezTo>
                  <a:cubicBezTo>
                    <a:pt x="11621" y="5799"/>
                    <a:pt x="11598" y="5839"/>
                    <a:pt x="11601" y="5858"/>
                  </a:cubicBezTo>
                  <a:cubicBezTo>
                    <a:pt x="11608" y="5854"/>
                    <a:pt x="11661" y="5892"/>
                    <a:pt x="11645" y="5885"/>
                  </a:cubicBezTo>
                  <a:cubicBezTo>
                    <a:pt x="11661" y="5892"/>
                    <a:pt x="11669" y="5886"/>
                    <a:pt x="11688" y="5898"/>
                  </a:cubicBezTo>
                  <a:cubicBezTo>
                    <a:pt x="11684" y="5864"/>
                    <a:pt x="11677" y="5820"/>
                    <a:pt x="11745" y="5823"/>
                  </a:cubicBezTo>
                  <a:cubicBezTo>
                    <a:pt x="11770" y="5825"/>
                    <a:pt x="11745" y="5846"/>
                    <a:pt x="11770" y="5839"/>
                  </a:cubicBezTo>
                  <a:cubicBezTo>
                    <a:pt x="11793" y="5834"/>
                    <a:pt x="11800" y="5832"/>
                    <a:pt x="11784" y="5814"/>
                  </a:cubicBezTo>
                  <a:cubicBezTo>
                    <a:pt x="11776" y="5805"/>
                    <a:pt x="11739" y="5806"/>
                    <a:pt x="11727" y="5797"/>
                  </a:cubicBezTo>
                  <a:cubicBezTo>
                    <a:pt x="11700" y="5779"/>
                    <a:pt x="11702" y="5764"/>
                    <a:pt x="11711" y="5737"/>
                  </a:cubicBezTo>
                  <a:cubicBezTo>
                    <a:pt x="11722" y="5705"/>
                    <a:pt x="11776" y="5660"/>
                    <a:pt x="11711" y="5640"/>
                  </a:cubicBezTo>
                  <a:close/>
                  <a:moveTo>
                    <a:pt x="8923" y="5060"/>
                  </a:moveTo>
                  <a:cubicBezTo>
                    <a:pt x="8875" y="5029"/>
                    <a:pt x="8856" y="5029"/>
                    <a:pt x="8799" y="5023"/>
                  </a:cubicBezTo>
                  <a:cubicBezTo>
                    <a:pt x="8746" y="5018"/>
                    <a:pt x="8728" y="5004"/>
                    <a:pt x="8694" y="5042"/>
                  </a:cubicBezTo>
                  <a:cubicBezTo>
                    <a:pt x="8672" y="5067"/>
                    <a:pt x="8675" y="5090"/>
                    <a:pt x="8686" y="5129"/>
                  </a:cubicBezTo>
                  <a:cubicBezTo>
                    <a:pt x="8708" y="5208"/>
                    <a:pt x="8716" y="5243"/>
                    <a:pt x="8811" y="5284"/>
                  </a:cubicBezTo>
                  <a:cubicBezTo>
                    <a:pt x="8847" y="5300"/>
                    <a:pt x="8900" y="5313"/>
                    <a:pt x="8913" y="5338"/>
                  </a:cubicBezTo>
                  <a:cubicBezTo>
                    <a:pt x="8978" y="5325"/>
                    <a:pt x="9035" y="5298"/>
                    <a:pt x="9043" y="5240"/>
                  </a:cubicBezTo>
                  <a:cubicBezTo>
                    <a:pt x="9047" y="5208"/>
                    <a:pt x="9025" y="5178"/>
                    <a:pt x="9013" y="5145"/>
                  </a:cubicBezTo>
                  <a:cubicBezTo>
                    <a:pt x="9001" y="5108"/>
                    <a:pt x="8961" y="5084"/>
                    <a:pt x="8923" y="5060"/>
                  </a:cubicBezTo>
                  <a:close/>
                  <a:moveTo>
                    <a:pt x="8010" y="2007"/>
                  </a:moveTo>
                  <a:cubicBezTo>
                    <a:pt x="8024" y="2059"/>
                    <a:pt x="8036" y="1997"/>
                    <a:pt x="8071" y="2014"/>
                  </a:cubicBezTo>
                  <a:cubicBezTo>
                    <a:pt x="8092" y="1994"/>
                    <a:pt x="8076" y="1962"/>
                    <a:pt x="8092" y="1938"/>
                  </a:cubicBezTo>
                  <a:cubicBezTo>
                    <a:pt x="8116" y="1904"/>
                    <a:pt x="8119" y="1906"/>
                    <a:pt x="8171" y="1916"/>
                  </a:cubicBezTo>
                  <a:cubicBezTo>
                    <a:pt x="8158" y="1900"/>
                    <a:pt x="8149" y="1876"/>
                    <a:pt x="8176" y="1880"/>
                  </a:cubicBezTo>
                  <a:cubicBezTo>
                    <a:pt x="8186" y="1881"/>
                    <a:pt x="8202" y="1908"/>
                    <a:pt x="8211" y="1913"/>
                  </a:cubicBezTo>
                  <a:cubicBezTo>
                    <a:pt x="8221" y="1919"/>
                    <a:pt x="8205" y="1925"/>
                    <a:pt x="8223" y="1930"/>
                  </a:cubicBezTo>
                  <a:cubicBezTo>
                    <a:pt x="8227" y="1931"/>
                    <a:pt x="8238" y="1919"/>
                    <a:pt x="8245" y="1921"/>
                  </a:cubicBezTo>
                  <a:cubicBezTo>
                    <a:pt x="8263" y="1925"/>
                    <a:pt x="8284" y="1913"/>
                    <a:pt x="8284" y="1930"/>
                  </a:cubicBezTo>
                  <a:cubicBezTo>
                    <a:pt x="8284" y="1923"/>
                    <a:pt x="8238" y="1971"/>
                    <a:pt x="8238" y="1970"/>
                  </a:cubicBezTo>
                  <a:cubicBezTo>
                    <a:pt x="8227" y="1979"/>
                    <a:pt x="8214" y="1979"/>
                    <a:pt x="8202" y="1991"/>
                  </a:cubicBezTo>
                  <a:cubicBezTo>
                    <a:pt x="8186" y="2008"/>
                    <a:pt x="8116" y="2069"/>
                    <a:pt x="8123" y="2088"/>
                  </a:cubicBezTo>
                  <a:cubicBezTo>
                    <a:pt x="8128" y="2104"/>
                    <a:pt x="8169" y="2111"/>
                    <a:pt x="8185" y="2118"/>
                  </a:cubicBezTo>
                  <a:cubicBezTo>
                    <a:pt x="8204" y="2125"/>
                    <a:pt x="8176" y="2142"/>
                    <a:pt x="8215" y="2130"/>
                  </a:cubicBezTo>
                  <a:cubicBezTo>
                    <a:pt x="8255" y="2116"/>
                    <a:pt x="8291" y="2064"/>
                    <a:pt x="8316" y="2040"/>
                  </a:cubicBezTo>
                  <a:cubicBezTo>
                    <a:pt x="8348" y="2009"/>
                    <a:pt x="8386" y="1982"/>
                    <a:pt x="8427" y="1960"/>
                  </a:cubicBezTo>
                  <a:cubicBezTo>
                    <a:pt x="8443" y="1952"/>
                    <a:pt x="8473" y="1931"/>
                    <a:pt x="8492" y="1927"/>
                  </a:cubicBezTo>
                  <a:cubicBezTo>
                    <a:pt x="8504" y="1924"/>
                    <a:pt x="8510" y="1942"/>
                    <a:pt x="8521" y="1943"/>
                  </a:cubicBezTo>
                  <a:cubicBezTo>
                    <a:pt x="8532" y="1944"/>
                    <a:pt x="8532" y="1932"/>
                    <a:pt x="8549" y="1935"/>
                  </a:cubicBezTo>
                  <a:cubicBezTo>
                    <a:pt x="8580" y="1943"/>
                    <a:pt x="8662" y="1949"/>
                    <a:pt x="8673" y="1973"/>
                  </a:cubicBezTo>
                  <a:cubicBezTo>
                    <a:pt x="8644" y="1967"/>
                    <a:pt x="8616" y="1970"/>
                    <a:pt x="8584" y="1967"/>
                  </a:cubicBezTo>
                  <a:cubicBezTo>
                    <a:pt x="8553" y="1964"/>
                    <a:pt x="8554" y="1962"/>
                    <a:pt x="8516" y="1966"/>
                  </a:cubicBezTo>
                  <a:cubicBezTo>
                    <a:pt x="8481" y="1970"/>
                    <a:pt x="8378" y="2003"/>
                    <a:pt x="8436" y="2038"/>
                  </a:cubicBezTo>
                  <a:cubicBezTo>
                    <a:pt x="8390" y="2030"/>
                    <a:pt x="8371" y="2083"/>
                    <a:pt x="8350" y="2107"/>
                  </a:cubicBezTo>
                  <a:cubicBezTo>
                    <a:pt x="8324" y="2135"/>
                    <a:pt x="8271" y="2152"/>
                    <a:pt x="8306" y="2180"/>
                  </a:cubicBezTo>
                  <a:cubicBezTo>
                    <a:pt x="8320" y="2191"/>
                    <a:pt x="8393" y="2212"/>
                    <a:pt x="8408" y="2214"/>
                  </a:cubicBezTo>
                  <a:cubicBezTo>
                    <a:pt x="8414" y="2215"/>
                    <a:pt x="8461" y="2183"/>
                    <a:pt x="8454" y="2208"/>
                  </a:cubicBezTo>
                  <a:cubicBezTo>
                    <a:pt x="8454" y="2206"/>
                    <a:pt x="8406" y="2236"/>
                    <a:pt x="8405" y="2237"/>
                  </a:cubicBezTo>
                  <a:cubicBezTo>
                    <a:pt x="8350" y="2258"/>
                    <a:pt x="8346" y="2219"/>
                    <a:pt x="8301" y="2231"/>
                  </a:cubicBezTo>
                  <a:cubicBezTo>
                    <a:pt x="8261" y="2241"/>
                    <a:pt x="8244" y="2288"/>
                    <a:pt x="8260" y="2315"/>
                  </a:cubicBezTo>
                  <a:cubicBezTo>
                    <a:pt x="8320" y="2416"/>
                    <a:pt x="8360" y="2419"/>
                    <a:pt x="8478" y="2373"/>
                  </a:cubicBezTo>
                  <a:cubicBezTo>
                    <a:pt x="8513" y="2360"/>
                    <a:pt x="8553" y="2343"/>
                    <a:pt x="8591" y="2332"/>
                  </a:cubicBezTo>
                  <a:cubicBezTo>
                    <a:pt x="8637" y="2319"/>
                    <a:pt x="8683" y="2327"/>
                    <a:pt x="8728" y="2312"/>
                  </a:cubicBezTo>
                  <a:cubicBezTo>
                    <a:pt x="8769" y="2299"/>
                    <a:pt x="8797" y="2273"/>
                    <a:pt x="8836" y="2258"/>
                  </a:cubicBezTo>
                  <a:cubicBezTo>
                    <a:pt x="8898" y="2234"/>
                    <a:pt x="8890" y="2217"/>
                    <a:pt x="8918" y="2174"/>
                  </a:cubicBezTo>
                  <a:cubicBezTo>
                    <a:pt x="8937" y="2143"/>
                    <a:pt x="9040" y="2047"/>
                    <a:pt x="9089" y="2060"/>
                  </a:cubicBezTo>
                  <a:cubicBezTo>
                    <a:pt x="9150" y="2076"/>
                    <a:pt x="9072" y="2110"/>
                    <a:pt x="9049" y="2130"/>
                  </a:cubicBezTo>
                  <a:cubicBezTo>
                    <a:pt x="9018" y="2159"/>
                    <a:pt x="8989" y="2199"/>
                    <a:pt x="8973" y="2234"/>
                  </a:cubicBezTo>
                  <a:cubicBezTo>
                    <a:pt x="8969" y="2243"/>
                    <a:pt x="8995" y="2252"/>
                    <a:pt x="8991" y="2258"/>
                  </a:cubicBezTo>
                  <a:cubicBezTo>
                    <a:pt x="8985" y="2266"/>
                    <a:pt x="8964" y="2256"/>
                    <a:pt x="8956" y="2263"/>
                  </a:cubicBezTo>
                  <a:cubicBezTo>
                    <a:pt x="8938" y="2278"/>
                    <a:pt x="8924" y="2292"/>
                    <a:pt x="8908" y="2308"/>
                  </a:cubicBezTo>
                  <a:cubicBezTo>
                    <a:pt x="8876" y="2340"/>
                    <a:pt x="8829" y="2358"/>
                    <a:pt x="8782" y="2373"/>
                  </a:cubicBezTo>
                  <a:cubicBezTo>
                    <a:pt x="8733" y="2390"/>
                    <a:pt x="8681" y="2372"/>
                    <a:pt x="8627" y="2381"/>
                  </a:cubicBezTo>
                  <a:cubicBezTo>
                    <a:pt x="8581" y="2388"/>
                    <a:pt x="8543" y="2403"/>
                    <a:pt x="8506" y="2424"/>
                  </a:cubicBezTo>
                  <a:cubicBezTo>
                    <a:pt x="8464" y="2449"/>
                    <a:pt x="8426" y="2467"/>
                    <a:pt x="8460" y="2508"/>
                  </a:cubicBezTo>
                  <a:cubicBezTo>
                    <a:pt x="8489" y="2542"/>
                    <a:pt x="8548" y="2551"/>
                    <a:pt x="8591" y="2573"/>
                  </a:cubicBezTo>
                  <a:cubicBezTo>
                    <a:pt x="8642" y="2599"/>
                    <a:pt x="8788" y="2685"/>
                    <a:pt x="8852" y="2649"/>
                  </a:cubicBezTo>
                  <a:cubicBezTo>
                    <a:pt x="8885" y="2631"/>
                    <a:pt x="8873" y="2585"/>
                    <a:pt x="8880" y="2558"/>
                  </a:cubicBezTo>
                  <a:cubicBezTo>
                    <a:pt x="8889" y="2520"/>
                    <a:pt x="8909" y="2484"/>
                    <a:pt x="8923" y="2449"/>
                  </a:cubicBezTo>
                  <a:cubicBezTo>
                    <a:pt x="8947" y="2393"/>
                    <a:pt x="8965" y="2303"/>
                    <a:pt x="9041" y="2269"/>
                  </a:cubicBezTo>
                  <a:cubicBezTo>
                    <a:pt x="9076" y="2253"/>
                    <a:pt x="9126" y="2243"/>
                    <a:pt x="9165" y="2227"/>
                  </a:cubicBezTo>
                  <a:cubicBezTo>
                    <a:pt x="9209" y="2209"/>
                    <a:pt x="9248" y="2199"/>
                    <a:pt x="9288" y="2181"/>
                  </a:cubicBezTo>
                  <a:cubicBezTo>
                    <a:pt x="9333" y="2160"/>
                    <a:pt x="9370" y="2143"/>
                    <a:pt x="9408" y="2118"/>
                  </a:cubicBezTo>
                  <a:cubicBezTo>
                    <a:pt x="9440" y="2096"/>
                    <a:pt x="9490" y="2095"/>
                    <a:pt x="9514" y="2075"/>
                  </a:cubicBezTo>
                  <a:cubicBezTo>
                    <a:pt x="9519" y="2115"/>
                    <a:pt x="9378" y="2169"/>
                    <a:pt x="9333" y="2194"/>
                  </a:cubicBezTo>
                  <a:cubicBezTo>
                    <a:pt x="9302" y="2210"/>
                    <a:pt x="9267" y="2225"/>
                    <a:pt x="9236" y="2241"/>
                  </a:cubicBezTo>
                  <a:cubicBezTo>
                    <a:pt x="9204" y="2256"/>
                    <a:pt x="9154" y="2260"/>
                    <a:pt x="9136" y="2268"/>
                  </a:cubicBezTo>
                  <a:cubicBezTo>
                    <a:pt x="9069" y="2297"/>
                    <a:pt x="9030" y="2367"/>
                    <a:pt x="9014" y="2424"/>
                  </a:cubicBezTo>
                  <a:cubicBezTo>
                    <a:pt x="8997" y="2483"/>
                    <a:pt x="8921" y="2585"/>
                    <a:pt x="8953" y="2645"/>
                  </a:cubicBezTo>
                  <a:cubicBezTo>
                    <a:pt x="8964" y="2664"/>
                    <a:pt x="9051" y="2704"/>
                    <a:pt x="9082" y="2693"/>
                  </a:cubicBezTo>
                  <a:cubicBezTo>
                    <a:pt x="9120" y="2679"/>
                    <a:pt x="9095" y="2621"/>
                    <a:pt x="9145" y="2610"/>
                  </a:cubicBezTo>
                  <a:cubicBezTo>
                    <a:pt x="9140" y="2621"/>
                    <a:pt x="9109" y="2665"/>
                    <a:pt x="9117" y="2675"/>
                  </a:cubicBezTo>
                  <a:cubicBezTo>
                    <a:pt x="9125" y="2686"/>
                    <a:pt x="9187" y="2681"/>
                    <a:pt x="9206" y="2681"/>
                  </a:cubicBezTo>
                  <a:cubicBezTo>
                    <a:pt x="9247" y="2680"/>
                    <a:pt x="9254" y="2679"/>
                    <a:pt x="9288" y="2662"/>
                  </a:cubicBezTo>
                  <a:cubicBezTo>
                    <a:pt x="9315" y="2649"/>
                    <a:pt x="9344" y="2661"/>
                    <a:pt x="9372" y="2654"/>
                  </a:cubicBezTo>
                  <a:cubicBezTo>
                    <a:pt x="9495" y="2623"/>
                    <a:pt x="9458" y="2510"/>
                    <a:pt x="9397" y="2448"/>
                  </a:cubicBezTo>
                  <a:cubicBezTo>
                    <a:pt x="9394" y="2448"/>
                    <a:pt x="9416" y="2445"/>
                    <a:pt x="9414" y="2449"/>
                  </a:cubicBezTo>
                  <a:cubicBezTo>
                    <a:pt x="9415" y="2448"/>
                    <a:pt x="9462" y="2372"/>
                    <a:pt x="9466" y="2370"/>
                  </a:cubicBezTo>
                  <a:cubicBezTo>
                    <a:pt x="9528" y="2338"/>
                    <a:pt x="9451" y="2457"/>
                    <a:pt x="9450" y="2454"/>
                  </a:cubicBezTo>
                  <a:cubicBezTo>
                    <a:pt x="9465" y="2547"/>
                    <a:pt x="9632" y="2385"/>
                    <a:pt x="9650" y="2366"/>
                  </a:cubicBezTo>
                  <a:cubicBezTo>
                    <a:pt x="9677" y="2338"/>
                    <a:pt x="9715" y="2300"/>
                    <a:pt x="9711" y="2357"/>
                  </a:cubicBezTo>
                  <a:cubicBezTo>
                    <a:pt x="9709" y="2397"/>
                    <a:pt x="9674" y="2418"/>
                    <a:pt x="9636" y="2441"/>
                  </a:cubicBezTo>
                  <a:cubicBezTo>
                    <a:pt x="9598" y="2463"/>
                    <a:pt x="9555" y="2496"/>
                    <a:pt x="9552" y="2531"/>
                  </a:cubicBezTo>
                  <a:cubicBezTo>
                    <a:pt x="9546" y="2596"/>
                    <a:pt x="9603" y="2588"/>
                    <a:pt x="9653" y="2568"/>
                  </a:cubicBezTo>
                  <a:cubicBezTo>
                    <a:pt x="9807" y="2506"/>
                    <a:pt x="9922" y="2412"/>
                    <a:pt x="10017" y="2302"/>
                  </a:cubicBezTo>
                  <a:cubicBezTo>
                    <a:pt x="10050" y="2265"/>
                    <a:pt x="10065" y="2238"/>
                    <a:pt x="10071" y="2194"/>
                  </a:cubicBezTo>
                  <a:cubicBezTo>
                    <a:pt x="10073" y="2181"/>
                    <a:pt x="10073" y="2167"/>
                    <a:pt x="10075" y="2157"/>
                  </a:cubicBezTo>
                  <a:cubicBezTo>
                    <a:pt x="10077" y="2146"/>
                    <a:pt x="10092" y="2126"/>
                    <a:pt x="10082" y="2110"/>
                  </a:cubicBezTo>
                  <a:cubicBezTo>
                    <a:pt x="10072" y="2094"/>
                    <a:pt x="10047" y="2113"/>
                    <a:pt x="10044" y="2080"/>
                  </a:cubicBezTo>
                  <a:cubicBezTo>
                    <a:pt x="10043" y="2066"/>
                    <a:pt x="10063" y="2034"/>
                    <a:pt x="10060" y="2028"/>
                  </a:cubicBezTo>
                  <a:cubicBezTo>
                    <a:pt x="10051" y="2006"/>
                    <a:pt x="9980" y="1982"/>
                    <a:pt x="9960" y="1960"/>
                  </a:cubicBezTo>
                  <a:cubicBezTo>
                    <a:pt x="9991" y="1973"/>
                    <a:pt x="10020" y="1997"/>
                    <a:pt x="10059" y="1999"/>
                  </a:cubicBezTo>
                  <a:cubicBezTo>
                    <a:pt x="10114" y="2003"/>
                    <a:pt x="10091" y="1992"/>
                    <a:pt x="10089" y="1960"/>
                  </a:cubicBezTo>
                  <a:cubicBezTo>
                    <a:pt x="10087" y="1908"/>
                    <a:pt x="10113" y="1844"/>
                    <a:pt x="10143" y="1798"/>
                  </a:cubicBezTo>
                  <a:cubicBezTo>
                    <a:pt x="10139" y="1798"/>
                    <a:pt x="10127" y="1798"/>
                    <a:pt x="10122" y="1798"/>
                  </a:cubicBezTo>
                  <a:cubicBezTo>
                    <a:pt x="10142" y="1770"/>
                    <a:pt x="10174" y="1745"/>
                    <a:pt x="10197" y="1717"/>
                  </a:cubicBezTo>
                  <a:cubicBezTo>
                    <a:pt x="10204" y="1709"/>
                    <a:pt x="10273" y="1648"/>
                    <a:pt x="10254" y="1688"/>
                  </a:cubicBezTo>
                  <a:cubicBezTo>
                    <a:pt x="10238" y="1722"/>
                    <a:pt x="10226" y="1761"/>
                    <a:pt x="10188" y="1786"/>
                  </a:cubicBezTo>
                  <a:cubicBezTo>
                    <a:pt x="10174" y="1796"/>
                    <a:pt x="10152" y="1817"/>
                    <a:pt x="10151" y="1832"/>
                  </a:cubicBezTo>
                  <a:cubicBezTo>
                    <a:pt x="10148" y="1862"/>
                    <a:pt x="10164" y="1837"/>
                    <a:pt x="10172" y="1865"/>
                  </a:cubicBezTo>
                  <a:cubicBezTo>
                    <a:pt x="10178" y="1885"/>
                    <a:pt x="10162" y="1904"/>
                    <a:pt x="10154" y="1921"/>
                  </a:cubicBezTo>
                  <a:cubicBezTo>
                    <a:pt x="10150" y="1930"/>
                    <a:pt x="10133" y="1932"/>
                    <a:pt x="10131" y="1943"/>
                  </a:cubicBezTo>
                  <a:cubicBezTo>
                    <a:pt x="10129" y="1951"/>
                    <a:pt x="10146" y="1950"/>
                    <a:pt x="10146" y="1957"/>
                  </a:cubicBezTo>
                  <a:cubicBezTo>
                    <a:pt x="10144" y="1997"/>
                    <a:pt x="10121" y="2034"/>
                    <a:pt x="10119" y="2072"/>
                  </a:cubicBezTo>
                  <a:cubicBezTo>
                    <a:pt x="10118" y="2106"/>
                    <a:pt x="10149" y="2130"/>
                    <a:pt x="10151" y="2165"/>
                  </a:cubicBezTo>
                  <a:cubicBezTo>
                    <a:pt x="10153" y="2218"/>
                    <a:pt x="10209" y="2168"/>
                    <a:pt x="10233" y="2154"/>
                  </a:cubicBezTo>
                  <a:cubicBezTo>
                    <a:pt x="10262" y="2138"/>
                    <a:pt x="10291" y="2121"/>
                    <a:pt x="10321" y="2108"/>
                  </a:cubicBezTo>
                  <a:cubicBezTo>
                    <a:pt x="10362" y="2091"/>
                    <a:pt x="10404" y="2097"/>
                    <a:pt x="10449" y="2089"/>
                  </a:cubicBezTo>
                  <a:cubicBezTo>
                    <a:pt x="10471" y="2084"/>
                    <a:pt x="10545" y="2039"/>
                    <a:pt x="10549" y="2077"/>
                  </a:cubicBezTo>
                  <a:cubicBezTo>
                    <a:pt x="10553" y="2113"/>
                    <a:pt x="10488" y="2119"/>
                    <a:pt x="10455" y="2131"/>
                  </a:cubicBezTo>
                  <a:cubicBezTo>
                    <a:pt x="10382" y="2157"/>
                    <a:pt x="10318" y="2189"/>
                    <a:pt x="10261" y="2232"/>
                  </a:cubicBezTo>
                  <a:cubicBezTo>
                    <a:pt x="10228" y="2257"/>
                    <a:pt x="10051" y="2405"/>
                    <a:pt x="10093" y="2421"/>
                  </a:cubicBezTo>
                  <a:cubicBezTo>
                    <a:pt x="10122" y="2432"/>
                    <a:pt x="10186" y="2398"/>
                    <a:pt x="10209" y="2386"/>
                  </a:cubicBezTo>
                  <a:cubicBezTo>
                    <a:pt x="10247" y="2366"/>
                    <a:pt x="10308" y="2364"/>
                    <a:pt x="10351" y="2361"/>
                  </a:cubicBezTo>
                  <a:cubicBezTo>
                    <a:pt x="10369" y="2360"/>
                    <a:pt x="10416" y="2340"/>
                    <a:pt x="10394" y="2373"/>
                  </a:cubicBezTo>
                  <a:cubicBezTo>
                    <a:pt x="10385" y="2387"/>
                    <a:pt x="10345" y="2390"/>
                    <a:pt x="10327" y="2396"/>
                  </a:cubicBezTo>
                  <a:cubicBezTo>
                    <a:pt x="10288" y="2408"/>
                    <a:pt x="10244" y="2421"/>
                    <a:pt x="10207" y="2436"/>
                  </a:cubicBezTo>
                  <a:cubicBezTo>
                    <a:pt x="10170" y="2451"/>
                    <a:pt x="10121" y="2467"/>
                    <a:pt x="10086" y="2486"/>
                  </a:cubicBezTo>
                  <a:cubicBezTo>
                    <a:pt x="10057" y="2502"/>
                    <a:pt x="10067" y="2512"/>
                    <a:pt x="10057" y="2526"/>
                  </a:cubicBezTo>
                  <a:cubicBezTo>
                    <a:pt x="10039" y="2551"/>
                    <a:pt x="10051" y="2536"/>
                    <a:pt x="10020" y="2553"/>
                  </a:cubicBezTo>
                  <a:cubicBezTo>
                    <a:pt x="9953" y="2589"/>
                    <a:pt x="9881" y="2621"/>
                    <a:pt x="9811" y="2655"/>
                  </a:cubicBezTo>
                  <a:cubicBezTo>
                    <a:pt x="9775" y="2672"/>
                    <a:pt x="9745" y="2698"/>
                    <a:pt x="9707" y="2715"/>
                  </a:cubicBezTo>
                  <a:cubicBezTo>
                    <a:pt x="9661" y="2734"/>
                    <a:pt x="9616" y="2740"/>
                    <a:pt x="9643" y="2779"/>
                  </a:cubicBezTo>
                  <a:cubicBezTo>
                    <a:pt x="9661" y="2803"/>
                    <a:pt x="9724" y="2837"/>
                    <a:pt x="9754" y="2858"/>
                  </a:cubicBezTo>
                  <a:cubicBezTo>
                    <a:pt x="9790" y="2884"/>
                    <a:pt x="9822" y="2916"/>
                    <a:pt x="9861" y="2939"/>
                  </a:cubicBezTo>
                  <a:cubicBezTo>
                    <a:pt x="9893" y="2958"/>
                    <a:pt x="9925" y="2969"/>
                    <a:pt x="9967" y="2975"/>
                  </a:cubicBezTo>
                  <a:cubicBezTo>
                    <a:pt x="9983" y="2978"/>
                    <a:pt x="10025" y="2968"/>
                    <a:pt x="10035" y="2983"/>
                  </a:cubicBezTo>
                  <a:cubicBezTo>
                    <a:pt x="10047" y="3000"/>
                    <a:pt x="10009" y="3002"/>
                    <a:pt x="10008" y="3019"/>
                  </a:cubicBezTo>
                  <a:cubicBezTo>
                    <a:pt x="10006" y="3045"/>
                    <a:pt x="10047" y="3086"/>
                    <a:pt x="10053" y="3114"/>
                  </a:cubicBezTo>
                  <a:cubicBezTo>
                    <a:pt x="10054" y="3118"/>
                    <a:pt x="10095" y="3156"/>
                    <a:pt x="10098" y="3157"/>
                  </a:cubicBezTo>
                  <a:cubicBezTo>
                    <a:pt x="10110" y="3160"/>
                    <a:pt x="10146" y="3151"/>
                    <a:pt x="10168" y="3157"/>
                  </a:cubicBezTo>
                  <a:cubicBezTo>
                    <a:pt x="10230" y="3173"/>
                    <a:pt x="10226" y="3183"/>
                    <a:pt x="10285" y="3147"/>
                  </a:cubicBezTo>
                  <a:cubicBezTo>
                    <a:pt x="10321" y="3125"/>
                    <a:pt x="10358" y="3111"/>
                    <a:pt x="10399" y="3094"/>
                  </a:cubicBezTo>
                  <a:cubicBezTo>
                    <a:pt x="10393" y="3157"/>
                    <a:pt x="10331" y="3150"/>
                    <a:pt x="10289" y="3199"/>
                  </a:cubicBezTo>
                  <a:cubicBezTo>
                    <a:pt x="10267" y="3225"/>
                    <a:pt x="10312" y="3222"/>
                    <a:pt x="10267" y="3230"/>
                  </a:cubicBezTo>
                  <a:cubicBezTo>
                    <a:pt x="10256" y="3232"/>
                    <a:pt x="10218" y="3224"/>
                    <a:pt x="10205" y="3222"/>
                  </a:cubicBezTo>
                  <a:cubicBezTo>
                    <a:pt x="10189" y="3219"/>
                    <a:pt x="10154" y="3206"/>
                    <a:pt x="10137" y="3211"/>
                  </a:cubicBezTo>
                  <a:cubicBezTo>
                    <a:pt x="10105" y="3221"/>
                    <a:pt x="10130" y="3239"/>
                    <a:pt x="10111" y="3250"/>
                  </a:cubicBezTo>
                  <a:cubicBezTo>
                    <a:pt x="10072" y="3272"/>
                    <a:pt x="10082" y="3239"/>
                    <a:pt x="10081" y="3239"/>
                  </a:cubicBezTo>
                  <a:cubicBezTo>
                    <a:pt x="10089" y="3252"/>
                    <a:pt x="10083" y="3220"/>
                    <a:pt x="10075" y="3210"/>
                  </a:cubicBezTo>
                  <a:cubicBezTo>
                    <a:pt x="10052" y="3181"/>
                    <a:pt x="10023" y="3183"/>
                    <a:pt x="9996" y="3149"/>
                  </a:cubicBezTo>
                  <a:cubicBezTo>
                    <a:pt x="9938" y="3077"/>
                    <a:pt x="9873" y="3036"/>
                    <a:pt x="9782" y="2988"/>
                  </a:cubicBezTo>
                  <a:cubicBezTo>
                    <a:pt x="9704" y="2947"/>
                    <a:pt x="9641" y="2886"/>
                    <a:pt x="9563" y="2848"/>
                  </a:cubicBezTo>
                  <a:cubicBezTo>
                    <a:pt x="9468" y="2801"/>
                    <a:pt x="9380" y="2869"/>
                    <a:pt x="9285" y="2870"/>
                  </a:cubicBezTo>
                  <a:cubicBezTo>
                    <a:pt x="9232" y="2870"/>
                    <a:pt x="9193" y="2836"/>
                    <a:pt x="9141" y="2843"/>
                  </a:cubicBezTo>
                  <a:cubicBezTo>
                    <a:pt x="9081" y="2851"/>
                    <a:pt x="9066" y="2878"/>
                    <a:pt x="9071" y="2920"/>
                  </a:cubicBezTo>
                  <a:cubicBezTo>
                    <a:pt x="9076" y="2958"/>
                    <a:pt x="9068" y="2997"/>
                    <a:pt x="9082" y="3034"/>
                  </a:cubicBezTo>
                  <a:cubicBezTo>
                    <a:pt x="9089" y="3051"/>
                    <a:pt x="9108" y="3091"/>
                    <a:pt x="9130" y="3102"/>
                  </a:cubicBezTo>
                  <a:cubicBezTo>
                    <a:pt x="9156" y="3114"/>
                    <a:pt x="9158" y="3103"/>
                    <a:pt x="9188" y="3104"/>
                  </a:cubicBezTo>
                  <a:cubicBezTo>
                    <a:pt x="9228" y="3107"/>
                    <a:pt x="9283" y="3109"/>
                    <a:pt x="9320" y="3118"/>
                  </a:cubicBezTo>
                  <a:cubicBezTo>
                    <a:pt x="9333" y="3121"/>
                    <a:pt x="9374" y="3137"/>
                    <a:pt x="9368" y="3148"/>
                  </a:cubicBezTo>
                  <a:cubicBezTo>
                    <a:pt x="9354" y="3172"/>
                    <a:pt x="9329" y="3137"/>
                    <a:pt x="9313" y="3135"/>
                  </a:cubicBezTo>
                  <a:cubicBezTo>
                    <a:pt x="9297" y="3133"/>
                    <a:pt x="9204" y="3125"/>
                    <a:pt x="9187" y="3130"/>
                  </a:cubicBezTo>
                  <a:cubicBezTo>
                    <a:pt x="9136" y="3145"/>
                    <a:pt x="9159" y="3204"/>
                    <a:pt x="9182" y="3233"/>
                  </a:cubicBezTo>
                  <a:cubicBezTo>
                    <a:pt x="9207" y="3263"/>
                    <a:pt x="9158" y="3285"/>
                    <a:pt x="9233" y="3305"/>
                  </a:cubicBezTo>
                  <a:cubicBezTo>
                    <a:pt x="9247" y="3309"/>
                    <a:pt x="9283" y="3318"/>
                    <a:pt x="9297" y="3319"/>
                  </a:cubicBezTo>
                  <a:cubicBezTo>
                    <a:pt x="9323" y="3320"/>
                    <a:pt x="9342" y="3308"/>
                    <a:pt x="9369" y="3309"/>
                  </a:cubicBezTo>
                  <a:cubicBezTo>
                    <a:pt x="9485" y="3313"/>
                    <a:pt x="9499" y="3420"/>
                    <a:pt x="9569" y="3465"/>
                  </a:cubicBezTo>
                  <a:cubicBezTo>
                    <a:pt x="9589" y="3479"/>
                    <a:pt x="9616" y="3479"/>
                    <a:pt x="9631" y="3498"/>
                  </a:cubicBezTo>
                  <a:cubicBezTo>
                    <a:pt x="9656" y="3531"/>
                    <a:pt x="9671" y="3568"/>
                    <a:pt x="9695" y="3602"/>
                  </a:cubicBezTo>
                  <a:cubicBezTo>
                    <a:pt x="9718" y="3636"/>
                    <a:pt x="9762" y="3686"/>
                    <a:pt x="9778" y="3621"/>
                  </a:cubicBezTo>
                  <a:cubicBezTo>
                    <a:pt x="9796" y="3640"/>
                    <a:pt x="9780" y="3660"/>
                    <a:pt x="9791" y="3676"/>
                  </a:cubicBezTo>
                  <a:cubicBezTo>
                    <a:pt x="9803" y="3692"/>
                    <a:pt x="9836" y="3699"/>
                    <a:pt x="9857" y="3710"/>
                  </a:cubicBezTo>
                  <a:cubicBezTo>
                    <a:pt x="9869" y="3716"/>
                    <a:pt x="9877" y="3727"/>
                    <a:pt x="9890" y="3730"/>
                  </a:cubicBezTo>
                  <a:cubicBezTo>
                    <a:pt x="9888" y="3729"/>
                    <a:pt x="9938" y="3736"/>
                    <a:pt x="9920" y="3725"/>
                  </a:cubicBezTo>
                  <a:cubicBezTo>
                    <a:pt x="9934" y="3734"/>
                    <a:pt x="9941" y="3739"/>
                    <a:pt x="9905" y="3753"/>
                  </a:cubicBezTo>
                  <a:cubicBezTo>
                    <a:pt x="9834" y="3780"/>
                    <a:pt x="9819" y="3724"/>
                    <a:pt x="9781" y="3708"/>
                  </a:cubicBezTo>
                  <a:cubicBezTo>
                    <a:pt x="9730" y="3686"/>
                    <a:pt x="9655" y="3705"/>
                    <a:pt x="9665" y="3760"/>
                  </a:cubicBezTo>
                  <a:cubicBezTo>
                    <a:pt x="9677" y="3828"/>
                    <a:pt x="9828" y="3822"/>
                    <a:pt x="9885" y="3822"/>
                  </a:cubicBezTo>
                  <a:cubicBezTo>
                    <a:pt x="9939" y="3822"/>
                    <a:pt x="9980" y="3798"/>
                    <a:pt x="10033" y="3796"/>
                  </a:cubicBezTo>
                  <a:cubicBezTo>
                    <a:pt x="10074" y="3795"/>
                    <a:pt x="10115" y="3820"/>
                    <a:pt x="10151" y="3812"/>
                  </a:cubicBezTo>
                  <a:cubicBezTo>
                    <a:pt x="10196" y="3803"/>
                    <a:pt x="10211" y="3767"/>
                    <a:pt x="10218" y="3739"/>
                  </a:cubicBezTo>
                  <a:cubicBezTo>
                    <a:pt x="10222" y="3718"/>
                    <a:pt x="10234" y="3656"/>
                    <a:pt x="10269" y="3649"/>
                  </a:cubicBezTo>
                  <a:cubicBezTo>
                    <a:pt x="10307" y="3642"/>
                    <a:pt x="10269" y="3698"/>
                    <a:pt x="10271" y="3718"/>
                  </a:cubicBezTo>
                  <a:cubicBezTo>
                    <a:pt x="10274" y="3743"/>
                    <a:pt x="10325" y="3810"/>
                    <a:pt x="10283" y="3815"/>
                  </a:cubicBezTo>
                  <a:cubicBezTo>
                    <a:pt x="10285" y="3813"/>
                    <a:pt x="10292" y="3808"/>
                    <a:pt x="10294" y="3805"/>
                  </a:cubicBezTo>
                  <a:cubicBezTo>
                    <a:pt x="10250" y="3797"/>
                    <a:pt x="10235" y="3824"/>
                    <a:pt x="10203" y="3838"/>
                  </a:cubicBezTo>
                  <a:cubicBezTo>
                    <a:pt x="10160" y="3856"/>
                    <a:pt x="9947" y="3853"/>
                    <a:pt x="10053" y="3905"/>
                  </a:cubicBezTo>
                  <a:cubicBezTo>
                    <a:pt x="10080" y="3919"/>
                    <a:pt x="10124" y="3942"/>
                    <a:pt x="10157" y="3937"/>
                  </a:cubicBezTo>
                  <a:cubicBezTo>
                    <a:pt x="10182" y="3934"/>
                    <a:pt x="10183" y="3912"/>
                    <a:pt x="10213" y="3910"/>
                  </a:cubicBezTo>
                  <a:cubicBezTo>
                    <a:pt x="10269" y="3907"/>
                    <a:pt x="10217" y="3927"/>
                    <a:pt x="10217" y="3927"/>
                  </a:cubicBezTo>
                  <a:cubicBezTo>
                    <a:pt x="10205" y="3938"/>
                    <a:pt x="10175" y="3933"/>
                    <a:pt x="10184" y="3961"/>
                  </a:cubicBezTo>
                  <a:cubicBezTo>
                    <a:pt x="10189" y="3975"/>
                    <a:pt x="10223" y="3988"/>
                    <a:pt x="10237" y="3998"/>
                  </a:cubicBezTo>
                  <a:cubicBezTo>
                    <a:pt x="10281" y="4027"/>
                    <a:pt x="10279" y="4057"/>
                    <a:pt x="10215" y="4029"/>
                  </a:cubicBezTo>
                  <a:cubicBezTo>
                    <a:pt x="10175" y="4011"/>
                    <a:pt x="10160" y="3983"/>
                    <a:pt x="10118" y="3972"/>
                  </a:cubicBezTo>
                  <a:cubicBezTo>
                    <a:pt x="10081" y="3961"/>
                    <a:pt x="10049" y="3945"/>
                    <a:pt x="10013" y="3932"/>
                  </a:cubicBezTo>
                  <a:cubicBezTo>
                    <a:pt x="9975" y="3917"/>
                    <a:pt x="9925" y="3902"/>
                    <a:pt x="9882" y="3901"/>
                  </a:cubicBezTo>
                  <a:cubicBezTo>
                    <a:pt x="9836" y="3900"/>
                    <a:pt x="9792" y="3915"/>
                    <a:pt x="9746" y="3912"/>
                  </a:cubicBezTo>
                  <a:cubicBezTo>
                    <a:pt x="9698" y="3909"/>
                    <a:pt x="9670" y="3880"/>
                    <a:pt x="9625" y="3897"/>
                  </a:cubicBezTo>
                  <a:cubicBezTo>
                    <a:pt x="9590" y="3911"/>
                    <a:pt x="9561" y="3955"/>
                    <a:pt x="9523" y="3974"/>
                  </a:cubicBezTo>
                  <a:cubicBezTo>
                    <a:pt x="9443" y="4015"/>
                    <a:pt x="9323" y="4029"/>
                    <a:pt x="9336" y="4124"/>
                  </a:cubicBezTo>
                  <a:cubicBezTo>
                    <a:pt x="9339" y="4141"/>
                    <a:pt x="9335" y="4157"/>
                    <a:pt x="9336" y="4173"/>
                  </a:cubicBezTo>
                  <a:cubicBezTo>
                    <a:pt x="9337" y="4202"/>
                    <a:pt x="9335" y="4191"/>
                    <a:pt x="9353" y="4212"/>
                  </a:cubicBezTo>
                  <a:cubicBezTo>
                    <a:pt x="9364" y="4224"/>
                    <a:pt x="9391" y="4200"/>
                    <a:pt x="9365" y="4227"/>
                  </a:cubicBezTo>
                  <a:cubicBezTo>
                    <a:pt x="9358" y="4234"/>
                    <a:pt x="9330" y="4239"/>
                    <a:pt x="9317" y="4253"/>
                  </a:cubicBezTo>
                  <a:cubicBezTo>
                    <a:pt x="9264" y="4311"/>
                    <a:pt x="9287" y="4394"/>
                    <a:pt x="9317" y="4456"/>
                  </a:cubicBezTo>
                  <a:cubicBezTo>
                    <a:pt x="9332" y="4486"/>
                    <a:pt x="9317" y="4478"/>
                    <a:pt x="9356" y="4486"/>
                  </a:cubicBezTo>
                  <a:cubicBezTo>
                    <a:pt x="9354" y="4486"/>
                    <a:pt x="9421" y="4476"/>
                    <a:pt x="9406" y="4493"/>
                  </a:cubicBezTo>
                  <a:cubicBezTo>
                    <a:pt x="9387" y="4516"/>
                    <a:pt x="9294" y="4530"/>
                    <a:pt x="9360" y="4562"/>
                  </a:cubicBezTo>
                  <a:cubicBezTo>
                    <a:pt x="9390" y="4576"/>
                    <a:pt x="9468" y="4564"/>
                    <a:pt x="9492" y="4547"/>
                  </a:cubicBezTo>
                  <a:cubicBezTo>
                    <a:pt x="9509" y="4535"/>
                    <a:pt x="9516" y="4514"/>
                    <a:pt x="9524" y="4497"/>
                  </a:cubicBezTo>
                  <a:cubicBezTo>
                    <a:pt x="9527" y="4492"/>
                    <a:pt x="9523" y="4473"/>
                    <a:pt x="9527" y="4470"/>
                  </a:cubicBezTo>
                  <a:cubicBezTo>
                    <a:pt x="9533" y="4467"/>
                    <a:pt x="9547" y="4467"/>
                    <a:pt x="9547" y="4467"/>
                  </a:cubicBezTo>
                  <a:cubicBezTo>
                    <a:pt x="9567" y="4454"/>
                    <a:pt x="9570" y="4474"/>
                    <a:pt x="9591" y="4447"/>
                  </a:cubicBezTo>
                  <a:cubicBezTo>
                    <a:pt x="9606" y="4428"/>
                    <a:pt x="9598" y="4417"/>
                    <a:pt x="9603" y="4398"/>
                  </a:cubicBezTo>
                  <a:cubicBezTo>
                    <a:pt x="9609" y="4372"/>
                    <a:pt x="9620" y="4344"/>
                    <a:pt x="9622" y="4320"/>
                  </a:cubicBezTo>
                  <a:cubicBezTo>
                    <a:pt x="9669" y="4384"/>
                    <a:pt x="9611" y="4455"/>
                    <a:pt x="9599" y="4510"/>
                  </a:cubicBezTo>
                  <a:cubicBezTo>
                    <a:pt x="9570" y="4639"/>
                    <a:pt x="9737" y="4497"/>
                    <a:pt x="9755" y="4509"/>
                  </a:cubicBezTo>
                  <a:cubicBezTo>
                    <a:pt x="9796" y="4483"/>
                    <a:pt x="9811" y="4356"/>
                    <a:pt x="9806" y="4319"/>
                  </a:cubicBezTo>
                  <a:cubicBezTo>
                    <a:pt x="9798" y="4258"/>
                    <a:pt x="9770" y="4173"/>
                    <a:pt x="9810" y="4116"/>
                  </a:cubicBezTo>
                  <a:cubicBezTo>
                    <a:pt x="9822" y="4154"/>
                    <a:pt x="9808" y="4199"/>
                    <a:pt x="9814" y="4241"/>
                  </a:cubicBezTo>
                  <a:cubicBezTo>
                    <a:pt x="9818" y="4264"/>
                    <a:pt x="9853" y="4347"/>
                    <a:pt x="9874" y="4281"/>
                  </a:cubicBezTo>
                  <a:cubicBezTo>
                    <a:pt x="9887" y="4304"/>
                    <a:pt x="9788" y="4384"/>
                    <a:pt x="9843" y="4414"/>
                  </a:cubicBezTo>
                  <a:cubicBezTo>
                    <a:pt x="9858" y="4423"/>
                    <a:pt x="9917" y="4387"/>
                    <a:pt x="9952" y="4391"/>
                  </a:cubicBezTo>
                  <a:cubicBezTo>
                    <a:pt x="9986" y="4395"/>
                    <a:pt x="10003" y="4415"/>
                    <a:pt x="10031" y="4400"/>
                  </a:cubicBezTo>
                  <a:cubicBezTo>
                    <a:pt x="10004" y="4440"/>
                    <a:pt x="9972" y="4401"/>
                    <a:pt x="9930" y="4406"/>
                  </a:cubicBezTo>
                  <a:cubicBezTo>
                    <a:pt x="9918" y="4408"/>
                    <a:pt x="9840" y="4441"/>
                    <a:pt x="9837" y="4445"/>
                  </a:cubicBezTo>
                  <a:cubicBezTo>
                    <a:pt x="9823" y="4466"/>
                    <a:pt x="9852" y="4515"/>
                    <a:pt x="9887" y="4519"/>
                  </a:cubicBezTo>
                  <a:cubicBezTo>
                    <a:pt x="9939" y="4524"/>
                    <a:pt x="9951" y="4470"/>
                    <a:pt x="10005" y="4484"/>
                  </a:cubicBezTo>
                  <a:cubicBezTo>
                    <a:pt x="9996" y="4490"/>
                    <a:pt x="9969" y="4492"/>
                    <a:pt x="9962" y="4497"/>
                  </a:cubicBezTo>
                  <a:cubicBezTo>
                    <a:pt x="9954" y="4504"/>
                    <a:pt x="9945" y="4524"/>
                    <a:pt x="9937" y="4528"/>
                  </a:cubicBezTo>
                  <a:cubicBezTo>
                    <a:pt x="9901" y="4546"/>
                    <a:pt x="9903" y="4525"/>
                    <a:pt x="9869" y="4529"/>
                  </a:cubicBezTo>
                  <a:cubicBezTo>
                    <a:pt x="9847" y="4532"/>
                    <a:pt x="9758" y="4609"/>
                    <a:pt x="9761" y="4632"/>
                  </a:cubicBezTo>
                  <a:cubicBezTo>
                    <a:pt x="9762" y="4637"/>
                    <a:pt x="9811" y="4677"/>
                    <a:pt x="9811" y="4677"/>
                  </a:cubicBezTo>
                  <a:cubicBezTo>
                    <a:pt x="9826" y="4677"/>
                    <a:pt x="9875" y="4651"/>
                    <a:pt x="9895" y="4644"/>
                  </a:cubicBezTo>
                  <a:cubicBezTo>
                    <a:pt x="9928" y="4633"/>
                    <a:pt x="10022" y="4583"/>
                    <a:pt x="10043" y="4626"/>
                  </a:cubicBezTo>
                  <a:cubicBezTo>
                    <a:pt x="9971" y="4615"/>
                    <a:pt x="9968" y="4644"/>
                    <a:pt x="9945" y="4686"/>
                  </a:cubicBezTo>
                  <a:cubicBezTo>
                    <a:pt x="9937" y="4653"/>
                    <a:pt x="9950" y="4655"/>
                    <a:pt x="9918" y="4653"/>
                  </a:cubicBezTo>
                  <a:cubicBezTo>
                    <a:pt x="9906" y="4652"/>
                    <a:pt x="9863" y="4664"/>
                    <a:pt x="9855" y="4672"/>
                  </a:cubicBezTo>
                  <a:cubicBezTo>
                    <a:pt x="9840" y="4685"/>
                    <a:pt x="9830" y="4720"/>
                    <a:pt x="9860" y="4727"/>
                  </a:cubicBezTo>
                  <a:cubicBezTo>
                    <a:pt x="9880" y="4731"/>
                    <a:pt x="9914" y="4697"/>
                    <a:pt x="9924" y="4686"/>
                  </a:cubicBezTo>
                  <a:cubicBezTo>
                    <a:pt x="9942" y="4712"/>
                    <a:pt x="9910" y="4710"/>
                    <a:pt x="9902" y="4724"/>
                  </a:cubicBezTo>
                  <a:cubicBezTo>
                    <a:pt x="9896" y="4734"/>
                    <a:pt x="9898" y="4746"/>
                    <a:pt x="9894" y="4760"/>
                  </a:cubicBezTo>
                  <a:cubicBezTo>
                    <a:pt x="9887" y="4782"/>
                    <a:pt x="9865" y="4787"/>
                    <a:pt x="9894" y="4816"/>
                  </a:cubicBezTo>
                  <a:cubicBezTo>
                    <a:pt x="9908" y="4831"/>
                    <a:pt x="9924" y="4835"/>
                    <a:pt x="9945" y="4843"/>
                  </a:cubicBezTo>
                  <a:cubicBezTo>
                    <a:pt x="9992" y="4862"/>
                    <a:pt x="10003" y="4855"/>
                    <a:pt x="10031" y="4819"/>
                  </a:cubicBezTo>
                  <a:cubicBezTo>
                    <a:pt x="10051" y="4792"/>
                    <a:pt x="10067" y="4765"/>
                    <a:pt x="10049" y="4734"/>
                  </a:cubicBezTo>
                  <a:cubicBezTo>
                    <a:pt x="10119" y="4783"/>
                    <a:pt x="9982" y="4855"/>
                    <a:pt x="10023" y="4897"/>
                  </a:cubicBezTo>
                  <a:cubicBezTo>
                    <a:pt x="10055" y="4930"/>
                    <a:pt x="10096" y="4897"/>
                    <a:pt x="10128" y="4892"/>
                  </a:cubicBezTo>
                  <a:cubicBezTo>
                    <a:pt x="10162" y="4887"/>
                    <a:pt x="10202" y="4909"/>
                    <a:pt x="10226" y="4886"/>
                  </a:cubicBezTo>
                  <a:cubicBezTo>
                    <a:pt x="10262" y="4919"/>
                    <a:pt x="10316" y="4746"/>
                    <a:pt x="10321" y="4721"/>
                  </a:cubicBezTo>
                  <a:cubicBezTo>
                    <a:pt x="10326" y="4689"/>
                    <a:pt x="10325" y="4656"/>
                    <a:pt x="10329" y="4623"/>
                  </a:cubicBezTo>
                  <a:cubicBezTo>
                    <a:pt x="10333" y="4597"/>
                    <a:pt x="10354" y="4567"/>
                    <a:pt x="10357" y="4541"/>
                  </a:cubicBezTo>
                  <a:cubicBezTo>
                    <a:pt x="10362" y="4505"/>
                    <a:pt x="10319" y="4487"/>
                    <a:pt x="10338" y="4447"/>
                  </a:cubicBezTo>
                  <a:cubicBezTo>
                    <a:pt x="10353" y="4416"/>
                    <a:pt x="10410" y="4382"/>
                    <a:pt x="10396" y="4436"/>
                  </a:cubicBezTo>
                  <a:cubicBezTo>
                    <a:pt x="10391" y="4456"/>
                    <a:pt x="10358" y="4446"/>
                    <a:pt x="10381" y="4476"/>
                  </a:cubicBezTo>
                  <a:cubicBezTo>
                    <a:pt x="10392" y="4491"/>
                    <a:pt x="10388" y="4503"/>
                    <a:pt x="10394" y="4518"/>
                  </a:cubicBezTo>
                  <a:cubicBezTo>
                    <a:pt x="10409" y="4550"/>
                    <a:pt x="10372" y="4604"/>
                    <a:pt x="10385" y="4632"/>
                  </a:cubicBezTo>
                  <a:cubicBezTo>
                    <a:pt x="10411" y="4684"/>
                    <a:pt x="10360" y="4772"/>
                    <a:pt x="10344" y="4823"/>
                  </a:cubicBezTo>
                  <a:cubicBezTo>
                    <a:pt x="10339" y="4841"/>
                    <a:pt x="10342" y="4856"/>
                    <a:pt x="10331" y="4872"/>
                  </a:cubicBezTo>
                  <a:cubicBezTo>
                    <a:pt x="10322" y="4886"/>
                    <a:pt x="10281" y="4899"/>
                    <a:pt x="10275" y="4910"/>
                  </a:cubicBezTo>
                  <a:cubicBezTo>
                    <a:pt x="10255" y="4945"/>
                    <a:pt x="10303" y="4961"/>
                    <a:pt x="10353" y="4957"/>
                  </a:cubicBezTo>
                  <a:cubicBezTo>
                    <a:pt x="10372" y="5014"/>
                    <a:pt x="10275" y="4970"/>
                    <a:pt x="10237" y="4972"/>
                  </a:cubicBezTo>
                  <a:cubicBezTo>
                    <a:pt x="10214" y="4974"/>
                    <a:pt x="10168" y="4989"/>
                    <a:pt x="10149" y="4995"/>
                  </a:cubicBezTo>
                  <a:cubicBezTo>
                    <a:pt x="10117" y="5006"/>
                    <a:pt x="10099" y="4998"/>
                    <a:pt x="10135" y="5039"/>
                  </a:cubicBezTo>
                  <a:cubicBezTo>
                    <a:pt x="10193" y="5106"/>
                    <a:pt x="10050" y="5030"/>
                    <a:pt x="10031" y="5026"/>
                  </a:cubicBezTo>
                  <a:cubicBezTo>
                    <a:pt x="9986" y="5017"/>
                    <a:pt x="9890" y="5044"/>
                    <a:pt x="9904" y="4979"/>
                  </a:cubicBezTo>
                  <a:cubicBezTo>
                    <a:pt x="9887" y="4991"/>
                    <a:pt x="9871" y="5010"/>
                    <a:pt x="9854" y="5023"/>
                  </a:cubicBezTo>
                  <a:cubicBezTo>
                    <a:pt x="9869" y="4981"/>
                    <a:pt x="9808" y="4909"/>
                    <a:pt x="9781" y="4868"/>
                  </a:cubicBezTo>
                  <a:cubicBezTo>
                    <a:pt x="9750" y="4819"/>
                    <a:pt x="9700" y="4771"/>
                    <a:pt x="9635" y="4748"/>
                  </a:cubicBezTo>
                  <a:cubicBezTo>
                    <a:pt x="9574" y="4726"/>
                    <a:pt x="9485" y="4712"/>
                    <a:pt x="9425" y="4732"/>
                  </a:cubicBezTo>
                  <a:cubicBezTo>
                    <a:pt x="9361" y="4754"/>
                    <a:pt x="9321" y="4833"/>
                    <a:pt x="9256" y="4786"/>
                  </a:cubicBezTo>
                  <a:cubicBezTo>
                    <a:pt x="9271" y="4806"/>
                    <a:pt x="9269" y="4822"/>
                    <a:pt x="9275" y="4843"/>
                  </a:cubicBezTo>
                  <a:cubicBezTo>
                    <a:pt x="9279" y="4854"/>
                    <a:pt x="9287" y="4875"/>
                    <a:pt x="9293" y="4892"/>
                  </a:cubicBezTo>
                  <a:cubicBezTo>
                    <a:pt x="9304" y="4925"/>
                    <a:pt x="9285" y="4928"/>
                    <a:pt x="9328" y="4957"/>
                  </a:cubicBezTo>
                  <a:cubicBezTo>
                    <a:pt x="9357" y="4977"/>
                    <a:pt x="9418" y="5000"/>
                    <a:pt x="9434" y="5029"/>
                  </a:cubicBezTo>
                  <a:cubicBezTo>
                    <a:pt x="9455" y="5064"/>
                    <a:pt x="9415" y="5086"/>
                    <a:pt x="9454" y="5121"/>
                  </a:cubicBezTo>
                  <a:cubicBezTo>
                    <a:pt x="9469" y="5135"/>
                    <a:pt x="9481" y="5154"/>
                    <a:pt x="9521" y="5148"/>
                  </a:cubicBezTo>
                  <a:cubicBezTo>
                    <a:pt x="9550" y="5143"/>
                    <a:pt x="9551" y="5128"/>
                    <a:pt x="9577" y="5117"/>
                  </a:cubicBezTo>
                  <a:cubicBezTo>
                    <a:pt x="9585" y="5114"/>
                    <a:pt x="9626" y="5101"/>
                    <a:pt x="9636" y="5108"/>
                  </a:cubicBezTo>
                  <a:cubicBezTo>
                    <a:pt x="9656" y="5122"/>
                    <a:pt x="9607" y="5126"/>
                    <a:pt x="9604" y="5128"/>
                  </a:cubicBezTo>
                  <a:cubicBezTo>
                    <a:pt x="9595" y="5137"/>
                    <a:pt x="9561" y="5158"/>
                    <a:pt x="9573" y="5172"/>
                  </a:cubicBezTo>
                  <a:cubicBezTo>
                    <a:pt x="9586" y="5187"/>
                    <a:pt x="9621" y="5171"/>
                    <a:pt x="9627" y="5177"/>
                  </a:cubicBezTo>
                  <a:cubicBezTo>
                    <a:pt x="9646" y="5196"/>
                    <a:pt x="9575" y="5218"/>
                    <a:pt x="9609" y="5237"/>
                  </a:cubicBezTo>
                  <a:cubicBezTo>
                    <a:pt x="9619" y="5243"/>
                    <a:pt x="9710" y="5234"/>
                    <a:pt x="9723" y="5234"/>
                  </a:cubicBezTo>
                  <a:cubicBezTo>
                    <a:pt x="9706" y="5239"/>
                    <a:pt x="9687" y="5248"/>
                    <a:pt x="9678" y="5257"/>
                  </a:cubicBezTo>
                  <a:cubicBezTo>
                    <a:pt x="9674" y="5260"/>
                    <a:pt x="9726" y="5279"/>
                    <a:pt x="9685" y="5277"/>
                  </a:cubicBezTo>
                  <a:cubicBezTo>
                    <a:pt x="9649" y="5275"/>
                    <a:pt x="9629" y="5233"/>
                    <a:pt x="9583" y="5257"/>
                  </a:cubicBezTo>
                  <a:cubicBezTo>
                    <a:pt x="9544" y="5279"/>
                    <a:pt x="9580" y="5308"/>
                    <a:pt x="9558" y="5320"/>
                  </a:cubicBezTo>
                  <a:cubicBezTo>
                    <a:pt x="9538" y="5331"/>
                    <a:pt x="9533" y="5328"/>
                    <a:pt x="9522" y="5314"/>
                  </a:cubicBezTo>
                  <a:cubicBezTo>
                    <a:pt x="9512" y="5300"/>
                    <a:pt x="9499" y="5314"/>
                    <a:pt x="9485" y="5315"/>
                  </a:cubicBezTo>
                  <a:cubicBezTo>
                    <a:pt x="9465" y="5317"/>
                    <a:pt x="9451" y="5325"/>
                    <a:pt x="9436" y="5327"/>
                  </a:cubicBezTo>
                  <a:cubicBezTo>
                    <a:pt x="9419" y="5329"/>
                    <a:pt x="9396" y="5324"/>
                    <a:pt x="9379" y="5327"/>
                  </a:cubicBezTo>
                  <a:cubicBezTo>
                    <a:pt x="9324" y="5340"/>
                    <a:pt x="9342" y="5378"/>
                    <a:pt x="9315" y="5409"/>
                  </a:cubicBezTo>
                  <a:cubicBezTo>
                    <a:pt x="9304" y="5423"/>
                    <a:pt x="9290" y="5434"/>
                    <a:pt x="9279" y="5446"/>
                  </a:cubicBezTo>
                  <a:cubicBezTo>
                    <a:pt x="9273" y="5453"/>
                    <a:pt x="9259" y="5452"/>
                    <a:pt x="9253" y="5458"/>
                  </a:cubicBezTo>
                  <a:cubicBezTo>
                    <a:pt x="9248" y="5462"/>
                    <a:pt x="9261" y="5474"/>
                    <a:pt x="9254" y="5481"/>
                  </a:cubicBezTo>
                  <a:cubicBezTo>
                    <a:pt x="9228" y="5508"/>
                    <a:pt x="9162" y="5535"/>
                    <a:pt x="9157" y="5571"/>
                  </a:cubicBezTo>
                  <a:cubicBezTo>
                    <a:pt x="9153" y="5599"/>
                    <a:pt x="9196" y="5633"/>
                    <a:pt x="9206" y="5657"/>
                  </a:cubicBezTo>
                  <a:cubicBezTo>
                    <a:pt x="9221" y="5694"/>
                    <a:pt x="9184" y="5719"/>
                    <a:pt x="9180" y="5756"/>
                  </a:cubicBezTo>
                  <a:cubicBezTo>
                    <a:pt x="9178" y="5768"/>
                    <a:pt x="9172" y="5805"/>
                    <a:pt x="9208" y="5795"/>
                  </a:cubicBezTo>
                  <a:cubicBezTo>
                    <a:pt x="9241" y="5785"/>
                    <a:pt x="9220" y="5791"/>
                    <a:pt x="9241" y="5811"/>
                  </a:cubicBezTo>
                  <a:cubicBezTo>
                    <a:pt x="9255" y="5824"/>
                    <a:pt x="9295" y="5895"/>
                    <a:pt x="9334" y="5863"/>
                  </a:cubicBezTo>
                  <a:cubicBezTo>
                    <a:pt x="9368" y="5907"/>
                    <a:pt x="9388" y="5848"/>
                    <a:pt x="9390" y="5826"/>
                  </a:cubicBezTo>
                  <a:cubicBezTo>
                    <a:pt x="9392" y="5800"/>
                    <a:pt x="9377" y="5769"/>
                    <a:pt x="9383" y="5738"/>
                  </a:cubicBezTo>
                  <a:cubicBezTo>
                    <a:pt x="9444" y="5762"/>
                    <a:pt x="9394" y="5845"/>
                    <a:pt x="9433" y="5874"/>
                  </a:cubicBezTo>
                  <a:cubicBezTo>
                    <a:pt x="9442" y="5845"/>
                    <a:pt x="9451" y="5800"/>
                    <a:pt x="9442" y="5771"/>
                  </a:cubicBezTo>
                  <a:cubicBezTo>
                    <a:pt x="9438" y="5758"/>
                    <a:pt x="9431" y="5733"/>
                    <a:pt x="9408" y="5732"/>
                  </a:cubicBezTo>
                  <a:cubicBezTo>
                    <a:pt x="9385" y="5732"/>
                    <a:pt x="9410" y="5711"/>
                    <a:pt x="9405" y="5699"/>
                  </a:cubicBezTo>
                  <a:cubicBezTo>
                    <a:pt x="9385" y="5653"/>
                    <a:pt x="9360" y="5654"/>
                    <a:pt x="9378" y="5604"/>
                  </a:cubicBezTo>
                  <a:cubicBezTo>
                    <a:pt x="9400" y="5543"/>
                    <a:pt x="9389" y="5589"/>
                    <a:pt x="9395" y="5623"/>
                  </a:cubicBezTo>
                  <a:cubicBezTo>
                    <a:pt x="9406" y="5688"/>
                    <a:pt x="9463" y="5739"/>
                    <a:pt x="9485" y="5802"/>
                  </a:cubicBezTo>
                  <a:cubicBezTo>
                    <a:pt x="9487" y="5806"/>
                    <a:pt x="9479" y="5821"/>
                    <a:pt x="9479" y="5826"/>
                  </a:cubicBezTo>
                  <a:cubicBezTo>
                    <a:pt x="9479" y="5829"/>
                    <a:pt x="9491" y="5838"/>
                    <a:pt x="9493" y="5843"/>
                  </a:cubicBezTo>
                  <a:cubicBezTo>
                    <a:pt x="9501" y="5868"/>
                    <a:pt x="9474" y="5860"/>
                    <a:pt x="9512" y="5876"/>
                  </a:cubicBezTo>
                  <a:cubicBezTo>
                    <a:pt x="9551" y="5893"/>
                    <a:pt x="9615" y="5882"/>
                    <a:pt x="9613" y="5845"/>
                  </a:cubicBezTo>
                  <a:cubicBezTo>
                    <a:pt x="9628" y="5855"/>
                    <a:pt x="9640" y="5883"/>
                    <a:pt x="9663" y="5885"/>
                  </a:cubicBezTo>
                  <a:cubicBezTo>
                    <a:pt x="9688" y="5888"/>
                    <a:pt x="9682" y="5854"/>
                    <a:pt x="9720" y="5867"/>
                  </a:cubicBezTo>
                  <a:cubicBezTo>
                    <a:pt x="9693" y="5848"/>
                    <a:pt x="9720" y="5841"/>
                    <a:pt x="9709" y="5822"/>
                  </a:cubicBezTo>
                  <a:cubicBezTo>
                    <a:pt x="9703" y="5812"/>
                    <a:pt x="9681" y="5805"/>
                    <a:pt x="9673" y="5791"/>
                  </a:cubicBezTo>
                  <a:cubicBezTo>
                    <a:pt x="9670" y="5786"/>
                    <a:pt x="9664" y="5757"/>
                    <a:pt x="9662" y="5752"/>
                  </a:cubicBezTo>
                  <a:cubicBezTo>
                    <a:pt x="9660" y="5744"/>
                    <a:pt x="9650" y="5731"/>
                    <a:pt x="9647" y="5719"/>
                  </a:cubicBezTo>
                  <a:cubicBezTo>
                    <a:pt x="9644" y="5710"/>
                    <a:pt x="9634" y="5665"/>
                    <a:pt x="9660" y="5692"/>
                  </a:cubicBezTo>
                  <a:cubicBezTo>
                    <a:pt x="9673" y="5706"/>
                    <a:pt x="9667" y="5724"/>
                    <a:pt x="9674" y="5739"/>
                  </a:cubicBezTo>
                  <a:cubicBezTo>
                    <a:pt x="9672" y="5735"/>
                    <a:pt x="9708" y="5788"/>
                    <a:pt x="9700" y="5783"/>
                  </a:cubicBezTo>
                  <a:cubicBezTo>
                    <a:pt x="9716" y="5794"/>
                    <a:pt x="9737" y="5783"/>
                    <a:pt x="9754" y="5791"/>
                  </a:cubicBezTo>
                  <a:cubicBezTo>
                    <a:pt x="9796" y="5812"/>
                    <a:pt x="9770" y="5833"/>
                    <a:pt x="9834" y="5838"/>
                  </a:cubicBezTo>
                  <a:cubicBezTo>
                    <a:pt x="9895" y="5842"/>
                    <a:pt x="9883" y="5834"/>
                    <a:pt x="9883" y="5786"/>
                  </a:cubicBezTo>
                  <a:cubicBezTo>
                    <a:pt x="9883" y="5747"/>
                    <a:pt x="9892" y="5740"/>
                    <a:pt x="9933" y="5709"/>
                  </a:cubicBezTo>
                  <a:cubicBezTo>
                    <a:pt x="9948" y="5697"/>
                    <a:pt x="9862" y="5651"/>
                    <a:pt x="9850" y="5638"/>
                  </a:cubicBezTo>
                  <a:cubicBezTo>
                    <a:pt x="9874" y="5640"/>
                    <a:pt x="9915" y="5661"/>
                    <a:pt x="9933" y="5675"/>
                  </a:cubicBezTo>
                  <a:cubicBezTo>
                    <a:pt x="9973" y="5708"/>
                    <a:pt x="9948" y="5695"/>
                    <a:pt x="9936" y="5729"/>
                  </a:cubicBezTo>
                  <a:cubicBezTo>
                    <a:pt x="9911" y="5804"/>
                    <a:pt x="9974" y="5803"/>
                    <a:pt x="10050" y="5804"/>
                  </a:cubicBezTo>
                  <a:cubicBezTo>
                    <a:pt x="10100" y="5804"/>
                    <a:pt x="10140" y="5816"/>
                    <a:pt x="10186" y="5825"/>
                  </a:cubicBezTo>
                  <a:cubicBezTo>
                    <a:pt x="10245" y="5836"/>
                    <a:pt x="10278" y="5819"/>
                    <a:pt x="10331" y="5802"/>
                  </a:cubicBezTo>
                  <a:cubicBezTo>
                    <a:pt x="10378" y="5787"/>
                    <a:pt x="10444" y="5788"/>
                    <a:pt x="10381" y="5755"/>
                  </a:cubicBezTo>
                  <a:cubicBezTo>
                    <a:pt x="10344" y="5735"/>
                    <a:pt x="10288" y="5735"/>
                    <a:pt x="10257" y="5711"/>
                  </a:cubicBezTo>
                  <a:cubicBezTo>
                    <a:pt x="10242" y="5699"/>
                    <a:pt x="10201" y="5620"/>
                    <a:pt x="10224" y="5614"/>
                  </a:cubicBezTo>
                  <a:cubicBezTo>
                    <a:pt x="10259" y="5605"/>
                    <a:pt x="10296" y="5684"/>
                    <a:pt x="10326" y="5693"/>
                  </a:cubicBezTo>
                  <a:cubicBezTo>
                    <a:pt x="10358" y="5703"/>
                    <a:pt x="10382" y="5694"/>
                    <a:pt x="10410" y="5675"/>
                  </a:cubicBezTo>
                  <a:cubicBezTo>
                    <a:pt x="10444" y="5652"/>
                    <a:pt x="10412" y="5642"/>
                    <a:pt x="10406" y="5621"/>
                  </a:cubicBezTo>
                  <a:cubicBezTo>
                    <a:pt x="10393" y="5579"/>
                    <a:pt x="10395" y="5556"/>
                    <a:pt x="10353" y="5528"/>
                  </a:cubicBezTo>
                  <a:cubicBezTo>
                    <a:pt x="10427" y="5522"/>
                    <a:pt x="10434" y="5595"/>
                    <a:pt x="10484" y="5622"/>
                  </a:cubicBezTo>
                  <a:cubicBezTo>
                    <a:pt x="10516" y="5639"/>
                    <a:pt x="10595" y="5689"/>
                    <a:pt x="10645" y="5659"/>
                  </a:cubicBezTo>
                  <a:cubicBezTo>
                    <a:pt x="10674" y="5641"/>
                    <a:pt x="10625" y="5556"/>
                    <a:pt x="10602" y="5531"/>
                  </a:cubicBezTo>
                  <a:cubicBezTo>
                    <a:pt x="10561" y="5487"/>
                    <a:pt x="10497" y="5471"/>
                    <a:pt x="10530" y="5410"/>
                  </a:cubicBezTo>
                  <a:cubicBezTo>
                    <a:pt x="10557" y="5452"/>
                    <a:pt x="10550" y="5470"/>
                    <a:pt x="10610" y="5504"/>
                  </a:cubicBezTo>
                  <a:cubicBezTo>
                    <a:pt x="10667" y="5538"/>
                    <a:pt x="10650" y="5597"/>
                    <a:pt x="10701" y="5629"/>
                  </a:cubicBezTo>
                  <a:cubicBezTo>
                    <a:pt x="10745" y="5656"/>
                    <a:pt x="10804" y="5644"/>
                    <a:pt x="10851" y="5624"/>
                  </a:cubicBezTo>
                  <a:cubicBezTo>
                    <a:pt x="10879" y="5612"/>
                    <a:pt x="10907" y="5595"/>
                    <a:pt x="10885" y="5568"/>
                  </a:cubicBezTo>
                  <a:cubicBezTo>
                    <a:pt x="10874" y="5554"/>
                    <a:pt x="10854" y="5539"/>
                    <a:pt x="10850" y="5523"/>
                  </a:cubicBezTo>
                  <a:cubicBezTo>
                    <a:pt x="10847" y="5512"/>
                    <a:pt x="10869" y="5501"/>
                    <a:pt x="10864" y="5493"/>
                  </a:cubicBezTo>
                  <a:cubicBezTo>
                    <a:pt x="10849" y="5469"/>
                    <a:pt x="10800" y="5474"/>
                    <a:pt x="10776" y="5460"/>
                  </a:cubicBezTo>
                  <a:cubicBezTo>
                    <a:pt x="10736" y="5437"/>
                    <a:pt x="10702" y="5383"/>
                    <a:pt x="10670" y="5353"/>
                  </a:cubicBezTo>
                  <a:cubicBezTo>
                    <a:pt x="10663" y="5351"/>
                    <a:pt x="10658" y="5348"/>
                    <a:pt x="10656" y="5343"/>
                  </a:cubicBezTo>
                  <a:cubicBezTo>
                    <a:pt x="10661" y="5342"/>
                    <a:pt x="10666" y="5342"/>
                    <a:pt x="10671" y="5341"/>
                  </a:cubicBezTo>
                  <a:cubicBezTo>
                    <a:pt x="10702" y="5364"/>
                    <a:pt x="10722" y="5388"/>
                    <a:pt x="10749" y="5411"/>
                  </a:cubicBezTo>
                  <a:cubicBezTo>
                    <a:pt x="10795" y="5450"/>
                    <a:pt x="10810" y="5439"/>
                    <a:pt x="10875" y="5418"/>
                  </a:cubicBezTo>
                  <a:cubicBezTo>
                    <a:pt x="10881" y="5409"/>
                    <a:pt x="10893" y="5399"/>
                    <a:pt x="10899" y="5391"/>
                  </a:cubicBezTo>
                  <a:cubicBezTo>
                    <a:pt x="10913" y="5417"/>
                    <a:pt x="10870" y="5432"/>
                    <a:pt x="10868" y="5455"/>
                  </a:cubicBezTo>
                  <a:cubicBezTo>
                    <a:pt x="10865" y="5479"/>
                    <a:pt x="10889" y="5518"/>
                    <a:pt x="10909" y="5529"/>
                  </a:cubicBezTo>
                  <a:cubicBezTo>
                    <a:pt x="10936" y="5543"/>
                    <a:pt x="10990" y="5542"/>
                    <a:pt x="11018" y="5530"/>
                  </a:cubicBezTo>
                  <a:cubicBezTo>
                    <a:pt x="11062" y="5512"/>
                    <a:pt x="11051" y="5488"/>
                    <a:pt x="11061" y="5456"/>
                  </a:cubicBezTo>
                  <a:cubicBezTo>
                    <a:pt x="11077" y="5478"/>
                    <a:pt x="11083" y="5480"/>
                    <a:pt x="11101" y="5490"/>
                  </a:cubicBezTo>
                  <a:cubicBezTo>
                    <a:pt x="11117" y="5499"/>
                    <a:pt x="11135" y="5490"/>
                    <a:pt x="11153" y="5507"/>
                  </a:cubicBezTo>
                  <a:cubicBezTo>
                    <a:pt x="11190" y="5540"/>
                    <a:pt x="11219" y="5528"/>
                    <a:pt x="11203" y="5586"/>
                  </a:cubicBezTo>
                  <a:cubicBezTo>
                    <a:pt x="11195" y="5613"/>
                    <a:pt x="11188" y="5655"/>
                    <a:pt x="11190" y="5683"/>
                  </a:cubicBezTo>
                  <a:cubicBezTo>
                    <a:pt x="11191" y="5698"/>
                    <a:pt x="11217" y="5691"/>
                    <a:pt x="11223" y="5703"/>
                  </a:cubicBezTo>
                  <a:cubicBezTo>
                    <a:pt x="11231" y="5718"/>
                    <a:pt x="11197" y="5729"/>
                    <a:pt x="11222" y="5749"/>
                  </a:cubicBezTo>
                  <a:cubicBezTo>
                    <a:pt x="11327" y="5690"/>
                    <a:pt x="11408" y="5620"/>
                    <a:pt x="11500" y="5551"/>
                  </a:cubicBezTo>
                  <a:cubicBezTo>
                    <a:pt x="11545" y="5518"/>
                    <a:pt x="11553" y="5550"/>
                    <a:pt x="11556" y="5494"/>
                  </a:cubicBezTo>
                  <a:cubicBezTo>
                    <a:pt x="11557" y="5455"/>
                    <a:pt x="11581" y="5428"/>
                    <a:pt x="11590" y="5390"/>
                  </a:cubicBezTo>
                  <a:cubicBezTo>
                    <a:pt x="11596" y="5368"/>
                    <a:pt x="11575" y="5326"/>
                    <a:pt x="11603" y="5312"/>
                  </a:cubicBezTo>
                  <a:cubicBezTo>
                    <a:pt x="11649" y="5289"/>
                    <a:pt x="11638" y="5341"/>
                    <a:pt x="11651" y="5355"/>
                  </a:cubicBezTo>
                  <a:cubicBezTo>
                    <a:pt x="11696" y="5403"/>
                    <a:pt x="11709" y="5348"/>
                    <a:pt x="11719" y="5311"/>
                  </a:cubicBezTo>
                  <a:cubicBezTo>
                    <a:pt x="11731" y="5263"/>
                    <a:pt x="11729" y="5247"/>
                    <a:pt x="11777" y="5210"/>
                  </a:cubicBezTo>
                  <a:cubicBezTo>
                    <a:pt x="11764" y="5173"/>
                    <a:pt x="11740" y="5132"/>
                    <a:pt x="11735" y="5094"/>
                  </a:cubicBezTo>
                  <a:cubicBezTo>
                    <a:pt x="11730" y="5062"/>
                    <a:pt x="11709" y="5073"/>
                    <a:pt x="11689" y="5053"/>
                  </a:cubicBezTo>
                  <a:cubicBezTo>
                    <a:pt x="11677" y="5042"/>
                    <a:pt x="11676" y="5019"/>
                    <a:pt x="11666" y="5007"/>
                  </a:cubicBezTo>
                  <a:cubicBezTo>
                    <a:pt x="11646" y="4984"/>
                    <a:pt x="11604" y="4950"/>
                    <a:pt x="11565" y="4965"/>
                  </a:cubicBezTo>
                  <a:cubicBezTo>
                    <a:pt x="11531" y="4978"/>
                    <a:pt x="11533" y="5022"/>
                    <a:pt x="11525" y="5045"/>
                  </a:cubicBezTo>
                  <a:cubicBezTo>
                    <a:pt x="11523" y="5052"/>
                    <a:pt x="11532" y="5069"/>
                    <a:pt x="11532" y="5077"/>
                  </a:cubicBezTo>
                  <a:cubicBezTo>
                    <a:pt x="11531" y="5084"/>
                    <a:pt x="11512" y="5085"/>
                    <a:pt x="11510" y="5094"/>
                  </a:cubicBezTo>
                  <a:cubicBezTo>
                    <a:pt x="11505" y="5111"/>
                    <a:pt x="11537" y="5115"/>
                    <a:pt x="11515" y="5130"/>
                  </a:cubicBezTo>
                  <a:cubicBezTo>
                    <a:pt x="11456" y="5169"/>
                    <a:pt x="11469" y="5075"/>
                    <a:pt x="11455" y="5068"/>
                  </a:cubicBezTo>
                  <a:cubicBezTo>
                    <a:pt x="11420" y="5050"/>
                    <a:pt x="11379" y="5112"/>
                    <a:pt x="11346" y="5088"/>
                  </a:cubicBezTo>
                  <a:cubicBezTo>
                    <a:pt x="11310" y="5062"/>
                    <a:pt x="11383" y="4962"/>
                    <a:pt x="11354" y="4922"/>
                  </a:cubicBezTo>
                  <a:cubicBezTo>
                    <a:pt x="11305" y="4855"/>
                    <a:pt x="11174" y="4866"/>
                    <a:pt x="11135" y="4938"/>
                  </a:cubicBezTo>
                  <a:cubicBezTo>
                    <a:pt x="11126" y="4954"/>
                    <a:pt x="11125" y="5037"/>
                    <a:pt x="11095" y="5039"/>
                  </a:cubicBezTo>
                  <a:cubicBezTo>
                    <a:pt x="11081" y="5040"/>
                    <a:pt x="11108" y="4941"/>
                    <a:pt x="11094" y="4933"/>
                  </a:cubicBezTo>
                  <a:cubicBezTo>
                    <a:pt x="11078" y="4923"/>
                    <a:pt x="10986" y="4926"/>
                    <a:pt x="10963" y="4926"/>
                  </a:cubicBezTo>
                  <a:cubicBezTo>
                    <a:pt x="10909" y="4923"/>
                    <a:pt x="10876" y="4923"/>
                    <a:pt x="10843" y="4959"/>
                  </a:cubicBezTo>
                  <a:cubicBezTo>
                    <a:pt x="10832" y="4972"/>
                    <a:pt x="10786" y="5045"/>
                    <a:pt x="10769" y="5048"/>
                  </a:cubicBezTo>
                  <a:cubicBezTo>
                    <a:pt x="10740" y="5052"/>
                    <a:pt x="10741" y="5023"/>
                    <a:pt x="10732" y="5014"/>
                  </a:cubicBezTo>
                  <a:cubicBezTo>
                    <a:pt x="10716" y="4997"/>
                    <a:pt x="10714" y="4995"/>
                    <a:pt x="10696" y="4983"/>
                  </a:cubicBezTo>
                  <a:cubicBezTo>
                    <a:pt x="10686" y="4977"/>
                    <a:pt x="10632" y="4972"/>
                    <a:pt x="10663" y="4958"/>
                  </a:cubicBezTo>
                  <a:cubicBezTo>
                    <a:pt x="10688" y="4947"/>
                    <a:pt x="10704" y="4960"/>
                    <a:pt x="10725" y="4956"/>
                  </a:cubicBezTo>
                  <a:cubicBezTo>
                    <a:pt x="10756" y="4950"/>
                    <a:pt x="10855" y="4910"/>
                    <a:pt x="10846" y="4884"/>
                  </a:cubicBezTo>
                  <a:cubicBezTo>
                    <a:pt x="10839" y="4864"/>
                    <a:pt x="10773" y="4875"/>
                    <a:pt x="10743" y="4864"/>
                  </a:cubicBezTo>
                  <a:cubicBezTo>
                    <a:pt x="10682" y="4841"/>
                    <a:pt x="10713" y="4820"/>
                    <a:pt x="10692" y="4780"/>
                  </a:cubicBezTo>
                  <a:cubicBezTo>
                    <a:pt x="10674" y="4745"/>
                    <a:pt x="10617" y="4737"/>
                    <a:pt x="10600" y="4703"/>
                  </a:cubicBezTo>
                  <a:cubicBezTo>
                    <a:pt x="10585" y="4672"/>
                    <a:pt x="10595" y="4679"/>
                    <a:pt x="10619" y="4690"/>
                  </a:cubicBezTo>
                  <a:cubicBezTo>
                    <a:pt x="10617" y="4689"/>
                    <a:pt x="10657" y="4720"/>
                    <a:pt x="10659" y="4721"/>
                  </a:cubicBezTo>
                  <a:cubicBezTo>
                    <a:pt x="10683" y="4742"/>
                    <a:pt x="10698" y="4765"/>
                    <a:pt x="10729" y="4785"/>
                  </a:cubicBezTo>
                  <a:cubicBezTo>
                    <a:pt x="10742" y="4794"/>
                    <a:pt x="10773" y="4812"/>
                    <a:pt x="10787" y="4818"/>
                  </a:cubicBezTo>
                  <a:cubicBezTo>
                    <a:pt x="10810" y="4829"/>
                    <a:pt x="10823" y="4825"/>
                    <a:pt x="10847" y="4833"/>
                  </a:cubicBezTo>
                  <a:cubicBezTo>
                    <a:pt x="10880" y="4843"/>
                    <a:pt x="10903" y="4865"/>
                    <a:pt x="10943" y="4874"/>
                  </a:cubicBezTo>
                  <a:cubicBezTo>
                    <a:pt x="10984" y="4883"/>
                    <a:pt x="11043" y="4886"/>
                    <a:pt x="11083" y="4878"/>
                  </a:cubicBezTo>
                  <a:cubicBezTo>
                    <a:pt x="11140" y="4867"/>
                    <a:pt x="11157" y="4832"/>
                    <a:pt x="11220" y="4828"/>
                  </a:cubicBezTo>
                  <a:cubicBezTo>
                    <a:pt x="11302" y="4823"/>
                    <a:pt x="11295" y="4791"/>
                    <a:pt x="11347" y="4744"/>
                  </a:cubicBezTo>
                  <a:cubicBezTo>
                    <a:pt x="11347" y="4770"/>
                    <a:pt x="11327" y="4796"/>
                    <a:pt x="11366" y="4781"/>
                  </a:cubicBezTo>
                  <a:cubicBezTo>
                    <a:pt x="11393" y="4771"/>
                    <a:pt x="11447" y="4707"/>
                    <a:pt x="11429" y="4685"/>
                  </a:cubicBezTo>
                  <a:cubicBezTo>
                    <a:pt x="11413" y="4665"/>
                    <a:pt x="11460" y="4638"/>
                    <a:pt x="11459" y="4610"/>
                  </a:cubicBezTo>
                  <a:cubicBezTo>
                    <a:pt x="11458" y="4595"/>
                    <a:pt x="11441" y="4582"/>
                    <a:pt x="11442" y="4569"/>
                  </a:cubicBezTo>
                  <a:cubicBezTo>
                    <a:pt x="11445" y="4554"/>
                    <a:pt x="11478" y="4536"/>
                    <a:pt x="11473" y="4521"/>
                  </a:cubicBezTo>
                  <a:cubicBezTo>
                    <a:pt x="11472" y="4517"/>
                    <a:pt x="11431" y="4490"/>
                    <a:pt x="11424" y="4488"/>
                  </a:cubicBezTo>
                  <a:cubicBezTo>
                    <a:pt x="11416" y="4486"/>
                    <a:pt x="11389" y="4495"/>
                    <a:pt x="11386" y="4492"/>
                  </a:cubicBezTo>
                  <a:cubicBezTo>
                    <a:pt x="11364" y="4475"/>
                    <a:pt x="11383" y="4426"/>
                    <a:pt x="11366" y="4402"/>
                  </a:cubicBezTo>
                  <a:cubicBezTo>
                    <a:pt x="11352" y="4382"/>
                    <a:pt x="11344" y="4388"/>
                    <a:pt x="11320" y="4379"/>
                  </a:cubicBezTo>
                  <a:cubicBezTo>
                    <a:pt x="11309" y="4376"/>
                    <a:pt x="11313" y="4365"/>
                    <a:pt x="11303" y="4362"/>
                  </a:cubicBezTo>
                  <a:cubicBezTo>
                    <a:pt x="11295" y="4359"/>
                    <a:pt x="11281" y="4369"/>
                    <a:pt x="11273" y="4365"/>
                  </a:cubicBezTo>
                  <a:cubicBezTo>
                    <a:pt x="11255" y="4357"/>
                    <a:pt x="11229" y="4348"/>
                    <a:pt x="11234" y="4328"/>
                  </a:cubicBezTo>
                  <a:cubicBezTo>
                    <a:pt x="11236" y="4320"/>
                    <a:pt x="11237" y="4273"/>
                    <a:pt x="11243" y="4270"/>
                  </a:cubicBezTo>
                  <a:cubicBezTo>
                    <a:pt x="11262" y="4262"/>
                    <a:pt x="11285" y="4281"/>
                    <a:pt x="11301" y="4282"/>
                  </a:cubicBezTo>
                  <a:cubicBezTo>
                    <a:pt x="11329" y="4285"/>
                    <a:pt x="11331" y="4281"/>
                    <a:pt x="11358" y="4276"/>
                  </a:cubicBezTo>
                  <a:cubicBezTo>
                    <a:pt x="11385" y="4271"/>
                    <a:pt x="11411" y="4263"/>
                    <a:pt x="11438" y="4258"/>
                  </a:cubicBezTo>
                  <a:cubicBezTo>
                    <a:pt x="11451" y="4255"/>
                    <a:pt x="11455" y="4245"/>
                    <a:pt x="11471" y="4246"/>
                  </a:cubicBezTo>
                  <a:cubicBezTo>
                    <a:pt x="11483" y="4246"/>
                    <a:pt x="11489" y="4262"/>
                    <a:pt x="11498" y="4262"/>
                  </a:cubicBezTo>
                  <a:cubicBezTo>
                    <a:pt x="11595" y="4263"/>
                    <a:pt x="11613" y="4088"/>
                    <a:pt x="11703" y="4169"/>
                  </a:cubicBezTo>
                  <a:cubicBezTo>
                    <a:pt x="11716" y="4147"/>
                    <a:pt x="11750" y="4051"/>
                    <a:pt x="11711" y="4033"/>
                  </a:cubicBezTo>
                  <a:cubicBezTo>
                    <a:pt x="11685" y="4021"/>
                    <a:pt x="11613" y="4055"/>
                    <a:pt x="11589" y="4058"/>
                  </a:cubicBezTo>
                  <a:cubicBezTo>
                    <a:pt x="11565" y="4060"/>
                    <a:pt x="11467" y="4067"/>
                    <a:pt x="11448" y="4054"/>
                  </a:cubicBezTo>
                  <a:cubicBezTo>
                    <a:pt x="11360" y="4000"/>
                    <a:pt x="11673" y="3979"/>
                    <a:pt x="11683" y="3971"/>
                  </a:cubicBezTo>
                  <a:cubicBezTo>
                    <a:pt x="11702" y="3955"/>
                    <a:pt x="11698" y="3919"/>
                    <a:pt x="11708" y="3900"/>
                  </a:cubicBezTo>
                  <a:cubicBezTo>
                    <a:pt x="11712" y="3892"/>
                    <a:pt x="11729" y="3883"/>
                    <a:pt x="11731" y="3877"/>
                  </a:cubicBezTo>
                  <a:cubicBezTo>
                    <a:pt x="11736" y="3860"/>
                    <a:pt x="11741" y="3846"/>
                    <a:pt x="11718" y="3830"/>
                  </a:cubicBezTo>
                  <a:cubicBezTo>
                    <a:pt x="11689" y="3808"/>
                    <a:pt x="11630" y="3807"/>
                    <a:pt x="11593" y="3809"/>
                  </a:cubicBezTo>
                  <a:cubicBezTo>
                    <a:pt x="11571" y="3809"/>
                    <a:pt x="11548" y="3815"/>
                    <a:pt x="11525" y="3813"/>
                  </a:cubicBezTo>
                  <a:cubicBezTo>
                    <a:pt x="11504" y="3812"/>
                    <a:pt x="11494" y="3803"/>
                    <a:pt x="11480" y="3801"/>
                  </a:cubicBezTo>
                  <a:cubicBezTo>
                    <a:pt x="11457" y="3797"/>
                    <a:pt x="11445" y="3784"/>
                    <a:pt x="11422" y="3798"/>
                  </a:cubicBezTo>
                  <a:cubicBezTo>
                    <a:pt x="11402" y="3810"/>
                    <a:pt x="11383" y="3822"/>
                    <a:pt x="11362" y="3813"/>
                  </a:cubicBezTo>
                  <a:cubicBezTo>
                    <a:pt x="11418" y="3782"/>
                    <a:pt x="11483" y="3783"/>
                    <a:pt x="11543" y="3767"/>
                  </a:cubicBezTo>
                  <a:cubicBezTo>
                    <a:pt x="11576" y="3758"/>
                    <a:pt x="11605" y="3740"/>
                    <a:pt x="11631" y="3723"/>
                  </a:cubicBezTo>
                  <a:cubicBezTo>
                    <a:pt x="11664" y="3701"/>
                    <a:pt x="11674" y="3652"/>
                    <a:pt x="11721" y="3646"/>
                  </a:cubicBezTo>
                  <a:cubicBezTo>
                    <a:pt x="11700" y="3625"/>
                    <a:pt x="11674" y="3633"/>
                    <a:pt x="11658" y="3613"/>
                  </a:cubicBezTo>
                  <a:cubicBezTo>
                    <a:pt x="11640" y="3591"/>
                    <a:pt x="11657" y="3583"/>
                    <a:pt x="11650" y="3563"/>
                  </a:cubicBezTo>
                  <a:cubicBezTo>
                    <a:pt x="11646" y="3551"/>
                    <a:pt x="11607" y="3521"/>
                    <a:pt x="11607" y="3522"/>
                  </a:cubicBezTo>
                  <a:cubicBezTo>
                    <a:pt x="11603" y="3513"/>
                    <a:pt x="11617" y="3477"/>
                    <a:pt x="11586" y="3492"/>
                  </a:cubicBezTo>
                  <a:cubicBezTo>
                    <a:pt x="11549" y="3427"/>
                    <a:pt x="11406" y="3498"/>
                    <a:pt x="11362" y="3518"/>
                  </a:cubicBezTo>
                  <a:cubicBezTo>
                    <a:pt x="11346" y="3526"/>
                    <a:pt x="11328" y="3528"/>
                    <a:pt x="11313" y="3534"/>
                  </a:cubicBezTo>
                  <a:cubicBezTo>
                    <a:pt x="11305" y="3538"/>
                    <a:pt x="11285" y="3580"/>
                    <a:pt x="11287" y="3549"/>
                  </a:cubicBezTo>
                  <a:cubicBezTo>
                    <a:pt x="11290" y="3511"/>
                    <a:pt x="11397" y="3480"/>
                    <a:pt x="11374" y="3443"/>
                  </a:cubicBezTo>
                  <a:cubicBezTo>
                    <a:pt x="11351" y="3407"/>
                    <a:pt x="11181" y="3440"/>
                    <a:pt x="11151" y="3458"/>
                  </a:cubicBezTo>
                  <a:cubicBezTo>
                    <a:pt x="11119" y="3478"/>
                    <a:pt x="11091" y="3496"/>
                    <a:pt x="11057" y="3514"/>
                  </a:cubicBezTo>
                  <a:cubicBezTo>
                    <a:pt x="11002" y="3544"/>
                    <a:pt x="10998" y="3576"/>
                    <a:pt x="10989" y="3627"/>
                  </a:cubicBezTo>
                  <a:cubicBezTo>
                    <a:pt x="10986" y="3645"/>
                    <a:pt x="10992" y="3742"/>
                    <a:pt x="10964" y="3684"/>
                  </a:cubicBezTo>
                  <a:cubicBezTo>
                    <a:pt x="10952" y="3662"/>
                    <a:pt x="10969" y="3606"/>
                    <a:pt x="10972" y="3582"/>
                  </a:cubicBezTo>
                  <a:cubicBezTo>
                    <a:pt x="10974" y="3562"/>
                    <a:pt x="10998" y="3498"/>
                    <a:pt x="10970" y="3487"/>
                  </a:cubicBezTo>
                  <a:cubicBezTo>
                    <a:pt x="10955" y="3481"/>
                    <a:pt x="10923" y="3497"/>
                    <a:pt x="10908" y="3499"/>
                  </a:cubicBezTo>
                  <a:cubicBezTo>
                    <a:pt x="10884" y="3502"/>
                    <a:pt x="10868" y="3499"/>
                    <a:pt x="10840" y="3506"/>
                  </a:cubicBezTo>
                  <a:cubicBezTo>
                    <a:pt x="10816" y="3512"/>
                    <a:pt x="10794" y="3521"/>
                    <a:pt x="10768" y="3526"/>
                  </a:cubicBezTo>
                  <a:cubicBezTo>
                    <a:pt x="10812" y="3497"/>
                    <a:pt x="10845" y="3493"/>
                    <a:pt x="10895" y="3485"/>
                  </a:cubicBezTo>
                  <a:cubicBezTo>
                    <a:pt x="10912" y="3483"/>
                    <a:pt x="10942" y="3470"/>
                    <a:pt x="10957" y="3471"/>
                  </a:cubicBezTo>
                  <a:cubicBezTo>
                    <a:pt x="10980" y="3471"/>
                    <a:pt x="10989" y="3493"/>
                    <a:pt x="11018" y="3490"/>
                  </a:cubicBezTo>
                  <a:cubicBezTo>
                    <a:pt x="11051" y="3486"/>
                    <a:pt x="11087" y="3435"/>
                    <a:pt x="11121" y="3417"/>
                  </a:cubicBezTo>
                  <a:cubicBezTo>
                    <a:pt x="11156" y="3398"/>
                    <a:pt x="11194" y="3401"/>
                    <a:pt x="11227" y="3388"/>
                  </a:cubicBezTo>
                  <a:cubicBezTo>
                    <a:pt x="11300" y="3359"/>
                    <a:pt x="11221" y="3350"/>
                    <a:pt x="11178" y="3353"/>
                  </a:cubicBezTo>
                  <a:cubicBezTo>
                    <a:pt x="11133" y="3356"/>
                    <a:pt x="11099" y="3365"/>
                    <a:pt x="11057" y="3372"/>
                  </a:cubicBezTo>
                  <a:cubicBezTo>
                    <a:pt x="11014" y="3379"/>
                    <a:pt x="10960" y="3378"/>
                    <a:pt x="10917" y="3391"/>
                  </a:cubicBezTo>
                  <a:cubicBezTo>
                    <a:pt x="10876" y="3403"/>
                    <a:pt x="10813" y="3441"/>
                    <a:pt x="10881" y="3391"/>
                  </a:cubicBezTo>
                  <a:cubicBezTo>
                    <a:pt x="10941" y="3347"/>
                    <a:pt x="11048" y="3351"/>
                    <a:pt x="11123" y="3322"/>
                  </a:cubicBezTo>
                  <a:cubicBezTo>
                    <a:pt x="11159" y="3308"/>
                    <a:pt x="11213" y="3287"/>
                    <a:pt x="11249" y="3295"/>
                  </a:cubicBezTo>
                  <a:cubicBezTo>
                    <a:pt x="11272" y="3300"/>
                    <a:pt x="11277" y="3312"/>
                    <a:pt x="11288" y="3320"/>
                  </a:cubicBezTo>
                  <a:cubicBezTo>
                    <a:pt x="11302" y="3330"/>
                    <a:pt x="11305" y="3339"/>
                    <a:pt x="11314" y="3343"/>
                  </a:cubicBezTo>
                  <a:cubicBezTo>
                    <a:pt x="11344" y="3360"/>
                    <a:pt x="11570" y="3368"/>
                    <a:pt x="11570" y="3320"/>
                  </a:cubicBezTo>
                  <a:cubicBezTo>
                    <a:pt x="11570" y="3284"/>
                    <a:pt x="11521" y="3262"/>
                    <a:pt x="11495" y="3242"/>
                  </a:cubicBezTo>
                  <a:cubicBezTo>
                    <a:pt x="11478" y="3229"/>
                    <a:pt x="11448" y="3244"/>
                    <a:pt x="11490" y="3215"/>
                  </a:cubicBezTo>
                  <a:cubicBezTo>
                    <a:pt x="11520" y="3194"/>
                    <a:pt x="11498" y="3187"/>
                    <a:pt x="11470" y="3185"/>
                  </a:cubicBezTo>
                  <a:cubicBezTo>
                    <a:pt x="11436" y="3183"/>
                    <a:pt x="11367" y="3213"/>
                    <a:pt x="11334" y="3223"/>
                  </a:cubicBezTo>
                  <a:cubicBezTo>
                    <a:pt x="11311" y="3230"/>
                    <a:pt x="11282" y="3249"/>
                    <a:pt x="11260" y="3252"/>
                  </a:cubicBezTo>
                  <a:cubicBezTo>
                    <a:pt x="11228" y="3257"/>
                    <a:pt x="11224" y="3241"/>
                    <a:pt x="11198" y="3240"/>
                  </a:cubicBezTo>
                  <a:cubicBezTo>
                    <a:pt x="11108" y="3237"/>
                    <a:pt x="11032" y="3290"/>
                    <a:pt x="10961" y="3324"/>
                  </a:cubicBezTo>
                  <a:cubicBezTo>
                    <a:pt x="10975" y="3257"/>
                    <a:pt x="10862" y="3299"/>
                    <a:pt x="10821" y="3276"/>
                  </a:cubicBezTo>
                  <a:cubicBezTo>
                    <a:pt x="10850" y="3250"/>
                    <a:pt x="10919" y="3266"/>
                    <a:pt x="10954" y="3254"/>
                  </a:cubicBezTo>
                  <a:cubicBezTo>
                    <a:pt x="10988" y="3243"/>
                    <a:pt x="10979" y="3258"/>
                    <a:pt x="10962" y="3230"/>
                  </a:cubicBezTo>
                  <a:cubicBezTo>
                    <a:pt x="10954" y="3216"/>
                    <a:pt x="10925" y="3203"/>
                    <a:pt x="10920" y="3188"/>
                  </a:cubicBezTo>
                  <a:cubicBezTo>
                    <a:pt x="10911" y="3163"/>
                    <a:pt x="10913" y="3176"/>
                    <a:pt x="10943" y="3159"/>
                  </a:cubicBezTo>
                  <a:cubicBezTo>
                    <a:pt x="10954" y="3153"/>
                    <a:pt x="10973" y="3188"/>
                    <a:pt x="10983" y="3195"/>
                  </a:cubicBezTo>
                  <a:cubicBezTo>
                    <a:pt x="11024" y="3226"/>
                    <a:pt x="11065" y="3205"/>
                    <a:pt x="11114" y="3199"/>
                  </a:cubicBezTo>
                  <a:cubicBezTo>
                    <a:pt x="11132" y="3196"/>
                    <a:pt x="11171" y="3194"/>
                    <a:pt x="11181" y="3185"/>
                  </a:cubicBezTo>
                  <a:cubicBezTo>
                    <a:pt x="11207" y="3167"/>
                    <a:pt x="11197" y="3176"/>
                    <a:pt x="11181" y="3160"/>
                  </a:cubicBezTo>
                  <a:cubicBezTo>
                    <a:pt x="11174" y="3154"/>
                    <a:pt x="11146" y="3150"/>
                    <a:pt x="11135" y="3141"/>
                  </a:cubicBezTo>
                  <a:cubicBezTo>
                    <a:pt x="11115" y="3125"/>
                    <a:pt x="11132" y="3112"/>
                    <a:pt x="11105" y="3104"/>
                  </a:cubicBezTo>
                  <a:cubicBezTo>
                    <a:pt x="11062" y="3090"/>
                    <a:pt x="10902" y="3164"/>
                    <a:pt x="10914" y="3092"/>
                  </a:cubicBezTo>
                  <a:cubicBezTo>
                    <a:pt x="10972" y="3122"/>
                    <a:pt x="11041" y="3062"/>
                    <a:pt x="11115" y="3086"/>
                  </a:cubicBezTo>
                  <a:cubicBezTo>
                    <a:pt x="11129" y="3091"/>
                    <a:pt x="11137" y="3107"/>
                    <a:pt x="11153" y="3112"/>
                  </a:cubicBezTo>
                  <a:cubicBezTo>
                    <a:pt x="11172" y="3119"/>
                    <a:pt x="11177" y="3103"/>
                    <a:pt x="11191" y="3104"/>
                  </a:cubicBezTo>
                  <a:cubicBezTo>
                    <a:pt x="11217" y="3105"/>
                    <a:pt x="11251" y="3118"/>
                    <a:pt x="11290" y="3116"/>
                  </a:cubicBezTo>
                  <a:cubicBezTo>
                    <a:pt x="11328" y="3114"/>
                    <a:pt x="11366" y="3107"/>
                    <a:pt x="11356" y="3073"/>
                  </a:cubicBezTo>
                  <a:cubicBezTo>
                    <a:pt x="11350" y="3050"/>
                    <a:pt x="11294" y="3040"/>
                    <a:pt x="11301" y="3014"/>
                  </a:cubicBezTo>
                  <a:cubicBezTo>
                    <a:pt x="11300" y="3018"/>
                    <a:pt x="11465" y="3046"/>
                    <a:pt x="11490" y="3002"/>
                  </a:cubicBezTo>
                  <a:cubicBezTo>
                    <a:pt x="11505" y="2976"/>
                    <a:pt x="11446" y="2921"/>
                    <a:pt x="11481" y="2920"/>
                  </a:cubicBezTo>
                  <a:cubicBezTo>
                    <a:pt x="11504" y="2920"/>
                    <a:pt x="11509" y="2944"/>
                    <a:pt x="11540" y="2942"/>
                  </a:cubicBezTo>
                  <a:cubicBezTo>
                    <a:pt x="11561" y="2940"/>
                    <a:pt x="11584" y="2923"/>
                    <a:pt x="11592" y="2910"/>
                  </a:cubicBezTo>
                  <a:cubicBezTo>
                    <a:pt x="11618" y="2868"/>
                    <a:pt x="11569" y="2817"/>
                    <a:pt x="11536" y="2790"/>
                  </a:cubicBezTo>
                  <a:cubicBezTo>
                    <a:pt x="11523" y="2779"/>
                    <a:pt x="11509" y="2767"/>
                    <a:pt x="11496" y="2757"/>
                  </a:cubicBezTo>
                  <a:cubicBezTo>
                    <a:pt x="11483" y="2747"/>
                    <a:pt x="11480" y="2743"/>
                    <a:pt x="11480" y="2742"/>
                  </a:cubicBezTo>
                  <a:cubicBezTo>
                    <a:pt x="11479" y="2743"/>
                    <a:pt x="11476" y="2744"/>
                    <a:pt x="11464" y="2744"/>
                  </a:cubicBezTo>
                  <a:cubicBezTo>
                    <a:pt x="11437" y="2743"/>
                    <a:pt x="11379" y="2746"/>
                    <a:pt x="11349" y="2749"/>
                  </a:cubicBezTo>
                  <a:cubicBezTo>
                    <a:pt x="11301" y="2754"/>
                    <a:pt x="11260" y="2802"/>
                    <a:pt x="11222" y="2768"/>
                  </a:cubicBezTo>
                  <a:cubicBezTo>
                    <a:pt x="11201" y="2749"/>
                    <a:pt x="11251" y="2713"/>
                    <a:pt x="11284" y="2696"/>
                  </a:cubicBezTo>
                  <a:cubicBezTo>
                    <a:pt x="11309" y="2683"/>
                    <a:pt x="11400" y="2668"/>
                    <a:pt x="11376" y="2711"/>
                  </a:cubicBezTo>
                  <a:cubicBezTo>
                    <a:pt x="11427" y="2700"/>
                    <a:pt x="11482" y="2668"/>
                    <a:pt x="11537" y="2673"/>
                  </a:cubicBezTo>
                  <a:cubicBezTo>
                    <a:pt x="11509" y="2694"/>
                    <a:pt x="11562" y="2743"/>
                    <a:pt x="11590" y="2753"/>
                  </a:cubicBezTo>
                  <a:cubicBezTo>
                    <a:pt x="11620" y="2763"/>
                    <a:pt x="11632" y="2748"/>
                    <a:pt x="11656" y="2747"/>
                  </a:cubicBezTo>
                  <a:cubicBezTo>
                    <a:pt x="11668" y="2746"/>
                    <a:pt x="11710" y="2747"/>
                    <a:pt x="11719" y="2744"/>
                  </a:cubicBezTo>
                  <a:cubicBezTo>
                    <a:pt x="11780" y="2719"/>
                    <a:pt x="11908" y="2522"/>
                    <a:pt x="11817" y="2501"/>
                  </a:cubicBezTo>
                  <a:cubicBezTo>
                    <a:pt x="11787" y="2494"/>
                    <a:pt x="11733" y="2569"/>
                    <a:pt x="11739" y="2507"/>
                  </a:cubicBezTo>
                  <a:cubicBezTo>
                    <a:pt x="11744" y="2461"/>
                    <a:pt x="11810" y="2457"/>
                    <a:pt x="11826" y="2421"/>
                  </a:cubicBezTo>
                  <a:cubicBezTo>
                    <a:pt x="11823" y="2427"/>
                    <a:pt x="11822" y="2369"/>
                    <a:pt x="11823" y="2375"/>
                  </a:cubicBezTo>
                  <a:cubicBezTo>
                    <a:pt x="11819" y="2357"/>
                    <a:pt x="11818" y="2344"/>
                    <a:pt x="11795" y="2332"/>
                  </a:cubicBezTo>
                  <a:cubicBezTo>
                    <a:pt x="11742" y="2306"/>
                    <a:pt x="11722" y="2355"/>
                    <a:pt x="11692" y="2383"/>
                  </a:cubicBezTo>
                  <a:cubicBezTo>
                    <a:pt x="11663" y="2411"/>
                    <a:pt x="11539" y="2490"/>
                    <a:pt x="11504" y="2455"/>
                  </a:cubicBezTo>
                  <a:cubicBezTo>
                    <a:pt x="11599" y="2408"/>
                    <a:pt x="11560" y="2408"/>
                    <a:pt x="11482" y="2378"/>
                  </a:cubicBezTo>
                  <a:cubicBezTo>
                    <a:pt x="11423" y="2355"/>
                    <a:pt x="11456" y="2362"/>
                    <a:pt x="11498" y="2365"/>
                  </a:cubicBezTo>
                  <a:cubicBezTo>
                    <a:pt x="11510" y="2366"/>
                    <a:pt x="11516" y="2356"/>
                    <a:pt x="11534" y="2362"/>
                  </a:cubicBezTo>
                  <a:cubicBezTo>
                    <a:pt x="11551" y="2366"/>
                    <a:pt x="11559" y="2385"/>
                    <a:pt x="11573" y="2389"/>
                  </a:cubicBezTo>
                  <a:cubicBezTo>
                    <a:pt x="11639" y="2408"/>
                    <a:pt x="11657" y="2344"/>
                    <a:pt x="11689" y="2308"/>
                  </a:cubicBezTo>
                  <a:cubicBezTo>
                    <a:pt x="11724" y="2270"/>
                    <a:pt x="11755" y="2285"/>
                    <a:pt x="11797" y="2261"/>
                  </a:cubicBezTo>
                  <a:cubicBezTo>
                    <a:pt x="11846" y="2232"/>
                    <a:pt x="11817" y="2188"/>
                    <a:pt x="11767" y="2171"/>
                  </a:cubicBezTo>
                  <a:cubicBezTo>
                    <a:pt x="11717" y="2155"/>
                    <a:pt x="11714" y="2164"/>
                    <a:pt x="11686" y="2126"/>
                  </a:cubicBezTo>
                  <a:cubicBezTo>
                    <a:pt x="11663" y="2095"/>
                    <a:pt x="11643" y="2073"/>
                    <a:pt x="11600" y="2051"/>
                  </a:cubicBezTo>
                  <a:cubicBezTo>
                    <a:pt x="11540" y="2021"/>
                    <a:pt x="11562" y="2018"/>
                    <a:pt x="11620" y="2040"/>
                  </a:cubicBezTo>
                  <a:cubicBezTo>
                    <a:pt x="11668" y="2058"/>
                    <a:pt x="11691" y="2079"/>
                    <a:pt x="11716" y="2112"/>
                  </a:cubicBezTo>
                  <a:cubicBezTo>
                    <a:pt x="11735" y="2135"/>
                    <a:pt x="11710" y="2143"/>
                    <a:pt x="11758" y="2137"/>
                  </a:cubicBezTo>
                  <a:cubicBezTo>
                    <a:pt x="11773" y="2136"/>
                    <a:pt x="11792" y="2123"/>
                    <a:pt x="11803" y="2116"/>
                  </a:cubicBezTo>
                  <a:cubicBezTo>
                    <a:pt x="11900" y="2054"/>
                    <a:pt x="11794" y="1923"/>
                    <a:pt x="11828" y="1842"/>
                  </a:cubicBezTo>
                  <a:cubicBezTo>
                    <a:pt x="11851" y="1786"/>
                    <a:pt x="11869" y="1725"/>
                    <a:pt x="11881" y="1667"/>
                  </a:cubicBezTo>
                  <a:cubicBezTo>
                    <a:pt x="11887" y="1639"/>
                    <a:pt x="11856" y="1580"/>
                    <a:pt x="11881" y="1563"/>
                  </a:cubicBezTo>
                  <a:cubicBezTo>
                    <a:pt x="11982" y="1543"/>
                    <a:pt x="11931" y="1377"/>
                    <a:pt x="11943" y="1324"/>
                  </a:cubicBezTo>
                  <a:cubicBezTo>
                    <a:pt x="11953" y="1277"/>
                    <a:pt x="11991" y="1254"/>
                    <a:pt x="12012" y="1215"/>
                  </a:cubicBezTo>
                  <a:cubicBezTo>
                    <a:pt x="12025" y="1188"/>
                    <a:pt x="12032" y="1149"/>
                    <a:pt x="12040" y="1121"/>
                  </a:cubicBezTo>
                  <a:cubicBezTo>
                    <a:pt x="12050" y="1084"/>
                    <a:pt x="12058" y="984"/>
                    <a:pt x="11995" y="968"/>
                  </a:cubicBezTo>
                  <a:cubicBezTo>
                    <a:pt x="11960" y="959"/>
                    <a:pt x="11926" y="998"/>
                    <a:pt x="11900" y="1021"/>
                  </a:cubicBezTo>
                  <a:cubicBezTo>
                    <a:pt x="11830" y="1082"/>
                    <a:pt x="11794" y="1163"/>
                    <a:pt x="11719" y="1222"/>
                  </a:cubicBezTo>
                  <a:cubicBezTo>
                    <a:pt x="11683" y="1250"/>
                    <a:pt x="11667" y="1283"/>
                    <a:pt x="11646" y="1318"/>
                  </a:cubicBezTo>
                  <a:cubicBezTo>
                    <a:pt x="11620" y="1357"/>
                    <a:pt x="11580" y="1386"/>
                    <a:pt x="11546" y="1421"/>
                  </a:cubicBezTo>
                  <a:cubicBezTo>
                    <a:pt x="11507" y="1460"/>
                    <a:pt x="11471" y="1491"/>
                    <a:pt x="11460" y="1540"/>
                  </a:cubicBezTo>
                  <a:cubicBezTo>
                    <a:pt x="11458" y="1547"/>
                    <a:pt x="11445" y="1596"/>
                    <a:pt x="11425" y="1589"/>
                  </a:cubicBezTo>
                  <a:cubicBezTo>
                    <a:pt x="11417" y="1587"/>
                    <a:pt x="11429" y="1535"/>
                    <a:pt x="11427" y="1528"/>
                  </a:cubicBezTo>
                  <a:cubicBezTo>
                    <a:pt x="11414" y="1544"/>
                    <a:pt x="11390" y="1552"/>
                    <a:pt x="11368" y="1546"/>
                  </a:cubicBezTo>
                  <a:cubicBezTo>
                    <a:pt x="11402" y="1526"/>
                    <a:pt x="11442" y="1496"/>
                    <a:pt x="11454" y="1463"/>
                  </a:cubicBezTo>
                  <a:cubicBezTo>
                    <a:pt x="11462" y="1442"/>
                    <a:pt x="11428" y="1458"/>
                    <a:pt x="11449" y="1437"/>
                  </a:cubicBezTo>
                  <a:cubicBezTo>
                    <a:pt x="11455" y="1430"/>
                    <a:pt x="11486" y="1427"/>
                    <a:pt x="11496" y="1421"/>
                  </a:cubicBezTo>
                  <a:cubicBezTo>
                    <a:pt x="11579" y="1374"/>
                    <a:pt x="11610" y="1262"/>
                    <a:pt x="11655" y="1193"/>
                  </a:cubicBezTo>
                  <a:cubicBezTo>
                    <a:pt x="11671" y="1169"/>
                    <a:pt x="11728" y="1123"/>
                    <a:pt x="11697" y="1100"/>
                  </a:cubicBezTo>
                  <a:cubicBezTo>
                    <a:pt x="11668" y="1078"/>
                    <a:pt x="11611" y="1101"/>
                    <a:pt x="11587" y="1113"/>
                  </a:cubicBezTo>
                  <a:cubicBezTo>
                    <a:pt x="11524" y="1143"/>
                    <a:pt x="11469" y="1228"/>
                    <a:pt x="11389" y="1208"/>
                  </a:cubicBezTo>
                  <a:cubicBezTo>
                    <a:pt x="11456" y="1190"/>
                    <a:pt x="11458" y="1175"/>
                    <a:pt x="11388" y="1151"/>
                  </a:cubicBezTo>
                  <a:cubicBezTo>
                    <a:pt x="11343" y="1135"/>
                    <a:pt x="11282" y="1128"/>
                    <a:pt x="11244" y="1108"/>
                  </a:cubicBezTo>
                  <a:cubicBezTo>
                    <a:pt x="11295" y="1092"/>
                    <a:pt x="11371" y="1137"/>
                    <a:pt x="11420" y="1149"/>
                  </a:cubicBezTo>
                  <a:cubicBezTo>
                    <a:pt x="11494" y="1166"/>
                    <a:pt x="11515" y="1113"/>
                    <a:pt x="11573" y="1078"/>
                  </a:cubicBezTo>
                  <a:cubicBezTo>
                    <a:pt x="11614" y="1055"/>
                    <a:pt x="11659" y="1033"/>
                    <a:pt x="11697" y="1014"/>
                  </a:cubicBezTo>
                  <a:cubicBezTo>
                    <a:pt x="11718" y="1003"/>
                    <a:pt x="11758" y="984"/>
                    <a:pt x="11763" y="966"/>
                  </a:cubicBezTo>
                  <a:cubicBezTo>
                    <a:pt x="11776" y="921"/>
                    <a:pt x="11736" y="938"/>
                    <a:pt x="11703" y="945"/>
                  </a:cubicBezTo>
                  <a:cubicBezTo>
                    <a:pt x="11714" y="930"/>
                    <a:pt x="11737" y="926"/>
                    <a:pt x="11748" y="912"/>
                  </a:cubicBezTo>
                  <a:cubicBezTo>
                    <a:pt x="11761" y="897"/>
                    <a:pt x="11754" y="869"/>
                    <a:pt x="11764" y="859"/>
                  </a:cubicBezTo>
                  <a:cubicBezTo>
                    <a:pt x="11779" y="844"/>
                    <a:pt x="11835" y="847"/>
                    <a:pt x="11846" y="844"/>
                  </a:cubicBezTo>
                  <a:cubicBezTo>
                    <a:pt x="11878" y="837"/>
                    <a:pt x="11911" y="837"/>
                    <a:pt x="11907" y="806"/>
                  </a:cubicBezTo>
                  <a:cubicBezTo>
                    <a:pt x="11905" y="782"/>
                    <a:pt x="11898" y="763"/>
                    <a:pt x="11866" y="754"/>
                  </a:cubicBezTo>
                  <a:cubicBezTo>
                    <a:pt x="11882" y="752"/>
                    <a:pt x="11906" y="761"/>
                    <a:pt x="11921" y="755"/>
                  </a:cubicBezTo>
                  <a:cubicBezTo>
                    <a:pt x="11953" y="741"/>
                    <a:pt x="11955" y="679"/>
                    <a:pt x="11964" y="655"/>
                  </a:cubicBezTo>
                  <a:cubicBezTo>
                    <a:pt x="11979" y="615"/>
                    <a:pt x="11995" y="576"/>
                    <a:pt x="12004" y="535"/>
                  </a:cubicBezTo>
                  <a:cubicBezTo>
                    <a:pt x="12006" y="525"/>
                    <a:pt x="11994" y="517"/>
                    <a:pt x="11995" y="508"/>
                  </a:cubicBezTo>
                  <a:cubicBezTo>
                    <a:pt x="11996" y="502"/>
                    <a:pt x="12010" y="487"/>
                    <a:pt x="12010" y="471"/>
                  </a:cubicBezTo>
                  <a:cubicBezTo>
                    <a:pt x="12012" y="426"/>
                    <a:pt x="11984" y="412"/>
                    <a:pt x="12005" y="371"/>
                  </a:cubicBezTo>
                  <a:cubicBezTo>
                    <a:pt x="12040" y="306"/>
                    <a:pt x="12034" y="280"/>
                    <a:pt x="11989" y="211"/>
                  </a:cubicBezTo>
                  <a:cubicBezTo>
                    <a:pt x="11959" y="181"/>
                    <a:pt x="11920" y="150"/>
                    <a:pt x="11871" y="139"/>
                  </a:cubicBezTo>
                  <a:cubicBezTo>
                    <a:pt x="11839" y="132"/>
                    <a:pt x="11741" y="139"/>
                    <a:pt x="11744" y="169"/>
                  </a:cubicBezTo>
                  <a:cubicBezTo>
                    <a:pt x="11732" y="157"/>
                    <a:pt x="11729" y="155"/>
                    <a:pt x="11733" y="138"/>
                  </a:cubicBezTo>
                  <a:cubicBezTo>
                    <a:pt x="11700" y="143"/>
                    <a:pt x="11659" y="171"/>
                    <a:pt x="11688" y="194"/>
                  </a:cubicBezTo>
                  <a:cubicBezTo>
                    <a:pt x="11682" y="192"/>
                    <a:pt x="11676" y="192"/>
                    <a:pt x="11669" y="190"/>
                  </a:cubicBezTo>
                  <a:cubicBezTo>
                    <a:pt x="11666" y="216"/>
                    <a:pt x="11680" y="239"/>
                    <a:pt x="11646" y="258"/>
                  </a:cubicBezTo>
                  <a:cubicBezTo>
                    <a:pt x="11651" y="227"/>
                    <a:pt x="11645" y="194"/>
                    <a:pt x="11620" y="161"/>
                  </a:cubicBezTo>
                  <a:cubicBezTo>
                    <a:pt x="11588" y="119"/>
                    <a:pt x="11530" y="122"/>
                    <a:pt x="11478" y="94"/>
                  </a:cubicBezTo>
                  <a:cubicBezTo>
                    <a:pt x="11472" y="91"/>
                    <a:pt x="11461" y="90"/>
                    <a:pt x="11456" y="86"/>
                  </a:cubicBezTo>
                  <a:cubicBezTo>
                    <a:pt x="11437" y="70"/>
                    <a:pt x="11450" y="81"/>
                    <a:pt x="11446" y="67"/>
                  </a:cubicBezTo>
                  <a:cubicBezTo>
                    <a:pt x="11443" y="56"/>
                    <a:pt x="11455" y="36"/>
                    <a:pt x="11439" y="17"/>
                  </a:cubicBezTo>
                  <a:cubicBezTo>
                    <a:pt x="11399" y="-35"/>
                    <a:pt x="11305" y="45"/>
                    <a:pt x="11330" y="89"/>
                  </a:cubicBezTo>
                  <a:cubicBezTo>
                    <a:pt x="11274" y="81"/>
                    <a:pt x="11259" y="37"/>
                    <a:pt x="11214" y="31"/>
                  </a:cubicBezTo>
                  <a:cubicBezTo>
                    <a:pt x="11247" y="12"/>
                    <a:pt x="11220" y="7"/>
                    <a:pt x="11193" y="26"/>
                  </a:cubicBezTo>
                  <a:cubicBezTo>
                    <a:pt x="11161" y="47"/>
                    <a:pt x="11178" y="49"/>
                    <a:pt x="11180" y="62"/>
                  </a:cubicBezTo>
                  <a:cubicBezTo>
                    <a:pt x="11178" y="50"/>
                    <a:pt x="11195" y="74"/>
                    <a:pt x="11193" y="69"/>
                  </a:cubicBezTo>
                  <a:cubicBezTo>
                    <a:pt x="11196" y="76"/>
                    <a:pt x="11193" y="89"/>
                    <a:pt x="11198" y="96"/>
                  </a:cubicBezTo>
                  <a:cubicBezTo>
                    <a:pt x="11205" y="105"/>
                    <a:pt x="11205" y="113"/>
                    <a:pt x="11212" y="119"/>
                  </a:cubicBezTo>
                  <a:cubicBezTo>
                    <a:pt x="11187" y="109"/>
                    <a:pt x="11168" y="94"/>
                    <a:pt x="11141" y="106"/>
                  </a:cubicBezTo>
                  <a:cubicBezTo>
                    <a:pt x="11106" y="121"/>
                    <a:pt x="11102" y="139"/>
                    <a:pt x="11090" y="165"/>
                  </a:cubicBezTo>
                  <a:cubicBezTo>
                    <a:pt x="11081" y="185"/>
                    <a:pt x="11081" y="211"/>
                    <a:pt x="11073" y="228"/>
                  </a:cubicBezTo>
                  <a:cubicBezTo>
                    <a:pt x="11071" y="232"/>
                    <a:pt x="11087" y="234"/>
                    <a:pt x="11085" y="238"/>
                  </a:cubicBezTo>
                  <a:cubicBezTo>
                    <a:pt x="11080" y="249"/>
                    <a:pt x="11062" y="241"/>
                    <a:pt x="11059" y="244"/>
                  </a:cubicBezTo>
                  <a:cubicBezTo>
                    <a:pt x="11044" y="265"/>
                    <a:pt x="11033" y="312"/>
                    <a:pt x="11017" y="326"/>
                  </a:cubicBezTo>
                  <a:cubicBezTo>
                    <a:pt x="10984" y="355"/>
                    <a:pt x="10915" y="356"/>
                    <a:pt x="10889" y="399"/>
                  </a:cubicBezTo>
                  <a:cubicBezTo>
                    <a:pt x="10863" y="334"/>
                    <a:pt x="10969" y="262"/>
                    <a:pt x="10997" y="201"/>
                  </a:cubicBezTo>
                  <a:cubicBezTo>
                    <a:pt x="11011" y="172"/>
                    <a:pt x="11028" y="135"/>
                    <a:pt x="11025" y="103"/>
                  </a:cubicBezTo>
                  <a:cubicBezTo>
                    <a:pt x="11016" y="31"/>
                    <a:pt x="10920" y="88"/>
                    <a:pt x="10858" y="105"/>
                  </a:cubicBezTo>
                  <a:cubicBezTo>
                    <a:pt x="10827" y="114"/>
                    <a:pt x="10795" y="120"/>
                    <a:pt x="10796" y="147"/>
                  </a:cubicBezTo>
                  <a:cubicBezTo>
                    <a:pt x="10768" y="138"/>
                    <a:pt x="10772" y="110"/>
                    <a:pt x="10732" y="121"/>
                  </a:cubicBezTo>
                  <a:cubicBezTo>
                    <a:pt x="10707" y="127"/>
                    <a:pt x="10701" y="150"/>
                    <a:pt x="10672" y="148"/>
                  </a:cubicBezTo>
                  <a:cubicBezTo>
                    <a:pt x="10640" y="146"/>
                    <a:pt x="10658" y="121"/>
                    <a:pt x="10627" y="131"/>
                  </a:cubicBezTo>
                  <a:cubicBezTo>
                    <a:pt x="10616" y="135"/>
                    <a:pt x="10595" y="167"/>
                    <a:pt x="10582" y="176"/>
                  </a:cubicBezTo>
                  <a:cubicBezTo>
                    <a:pt x="10582" y="178"/>
                    <a:pt x="10576" y="150"/>
                    <a:pt x="10580" y="151"/>
                  </a:cubicBezTo>
                  <a:cubicBezTo>
                    <a:pt x="10587" y="155"/>
                    <a:pt x="10550" y="135"/>
                    <a:pt x="10557" y="142"/>
                  </a:cubicBezTo>
                  <a:cubicBezTo>
                    <a:pt x="10550" y="134"/>
                    <a:pt x="10541" y="143"/>
                    <a:pt x="10535" y="125"/>
                  </a:cubicBezTo>
                  <a:cubicBezTo>
                    <a:pt x="10532" y="116"/>
                    <a:pt x="10525" y="105"/>
                    <a:pt x="10521" y="96"/>
                  </a:cubicBezTo>
                  <a:cubicBezTo>
                    <a:pt x="10469" y="123"/>
                    <a:pt x="10320" y="168"/>
                    <a:pt x="10340" y="235"/>
                  </a:cubicBezTo>
                  <a:cubicBezTo>
                    <a:pt x="10351" y="273"/>
                    <a:pt x="10431" y="270"/>
                    <a:pt x="10461" y="299"/>
                  </a:cubicBezTo>
                  <a:cubicBezTo>
                    <a:pt x="10495" y="332"/>
                    <a:pt x="10382" y="315"/>
                    <a:pt x="10361" y="300"/>
                  </a:cubicBezTo>
                  <a:cubicBezTo>
                    <a:pt x="10348" y="291"/>
                    <a:pt x="10316" y="276"/>
                    <a:pt x="10307" y="265"/>
                  </a:cubicBezTo>
                  <a:cubicBezTo>
                    <a:pt x="10289" y="242"/>
                    <a:pt x="10302" y="209"/>
                    <a:pt x="10284" y="187"/>
                  </a:cubicBezTo>
                  <a:cubicBezTo>
                    <a:pt x="10201" y="214"/>
                    <a:pt x="10169" y="221"/>
                    <a:pt x="10143" y="284"/>
                  </a:cubicBezTo>
                  <a:cubicBezTo>
                    <a:pt x="10125" y="326"/>
                    <a:pt x="10087" y="377"/>
                    <a:pt x="10123" y="414"/>
                  </a:cubicBezTo>
                  <a:cubicBezTo>
                    <a:pt x="10131" y="422"/>
                    <a:pt x="10168" y="447"/>
                    <a:pt x="10182" y="458"/>
                  </a:cubicBezTo>
                  <a:cubicBezTo>
                    <a:pt x="10202" y="474"/>
                    <a:pt x="10229" y="478"/>
                    <a:pt x="10253" y="485"/>
                  </a:cubicBezTo>
                  <a:cubicBezTo>
                    <a:pt x="10290" y="496"/>
                    <a:pt x="10351" y="497"/>
                    <a:pt x="10341" y="532"/>
                  </a:cubicBezTo>
                  <a:cubicBezTo>
                    <a:pt x="10278" y="525"/>
                    <a:pt x="10209" y="509"/>
                    <a:pt x="10152" y="484"/>
                  </a:cubicBezTo>
                  <a:cubicBezTo>
                    <a:pt x="10101" y="461"/>
                    <a:pt x="10083" y="422"/>
                    <a:pt x="10040" y="393"/>
                  </a:cubicBezTo>
                  <a:cubicBezTo>
                    <a:pt x="9956" y="335"/>
                    <a:pt x="9911" y="370"/>
                    <a:pt x="9821" y="393"/>
                  </a:cubicBezTo>
                  <a:cubicBezTo>
                    <a:pt x="9766" y="407"/>
                    <a:pt x="9745" y="398"/>
                    <a:pt x="9698" y="432"/>
                  </a:cubicBezTo>
                  <a:cubicBezTo>
                    <a:pt x="9678" y="446"/>
                    <a:pt x="9624" y="491"/>
                    <a:pt x="9606" y="463"/>
                  </a:cubicBezTo>
                  <a:cubicBezTo>
                    <a:pt x="9549" y="525"/>
                    <a:pt x="9681" y="534"/>
                    <a:pt x="9724" y="562"/>
                  </a:cubicBezTo>
                  <a:cubicBezTo>
                    <a:pt x="9774" y="594"/>
                    <a:pt x="9783" y="633"/>
                    <a:pt x="9856" y="609"/>
                  </a:cubicBezTo>
                  <a:cubicBezTo>
                    <a:pt x="9823" y="706"/>
                    <a:pt x="9894" y="668"/>
                    <a:pt x="9977" y="711"/>
                  </a:cubicBezTo>
                  <a:cubicBezTo>
                    <a:pt x="9999" y="723"/>
                    <a:pt x="10010" y="714"/>
                    <a:pt x="9989" y="743"/>
                  </a:cubicBezTo>
                  <a:cubicBezTo>
                    <a:pt x="9976" y="761"/>
                    <a:pt x="9979" y="772"/>
                    <a:pt x="9975" y="790"/>
                  </a:cubicBezTo>
                  <a:cubicBezTo>
                    <a:pt x="9969" y="820"/>
                    <a:pt x="9968" y="850"/>
                    <a:pt x="9954" y="878"/>
                  </a:cubicBezTo>
                  <a:cubicBezTo>
                    <a:pt x="9912" y="837"/>
                    <a:pt x="9970" y="774"/>
                    <a:pt x="9923" y="745"/>
                  </a:cubicBezTo>
                  <a:cubicBezTo>
                    <a:pt x="9898" y="730"/>
                    <a:pt x="9854" y="736"/>
                    <a:pt x="9828" y="723"/>
                  </a:cubicBezTo>
                  <a:cubicBezTo>
                    <a:pt x="9808" y="713"/>
                    <a:pt x="9799" y="693"/>
                    <a:pt x="9781" y="680"/>
                  </a:cubicBezTo>
                  <a:cubicBezTo>
                    <a:pt x="9752" y="659"/>
                    <a:pt x="9736" y="650"/>
                    <a:pt x="9711" y="627"/>
                  </a:cubicBezTo>
                  <a:cubicBezTo>
                    <a:pt x="9688" y="606"/>
                    <a:pt x="9678" y="601"/>
                    <a:pt x="9647" y="591"/>
                  </a:cubicBezTo>
                  <a:cubicBezTo>
                    <a:pt x="9643" y="590"/>
                    <a:pt x="9596" y="580"/>
                    <a:pt x="9594" y="581"/>
                  </a:cubicBezTo>
                  <a:cubicBezTo>
                    <a:pt x="9570" y="588"/>
                    <a:pt x="9594" y="585"/>
                    <a:pt x="9582" y="603"/>
                  </a:cubicBezTo>
                  <a:cubicBezTo>
                    <a:pt x="9574" y="615"/>
                    <a:pt x="9560" y="623"/>
                    <a:pt x="9580" y="640"/>
                  </a:cubicBezTo>
                  <a:cubicBezTo>
                    <a:pt x="9561" y="636"/>
                    <a:pt x="9521" y="624"/>
                    <a:pt x="9513" y="618"/>
                  </a:cubicBezTo>
                  <a:cubicBezTo>
                    <a:pt x="9509" y="615"/>
                    <a:pt x="9492" y="549"/>
                    <a:pt x="9467" y="576"/>
                  </a:cubicBezTo>
                  <a:cubicBezTo>
                    <a:pt x="9454" y="591"/>
                    <a:pt x="9465" y="630"/>
                    <a:pt x="9444" y="628"/>
                  </a:cubicBezTo>
                  <a:cubicBezTo>
                    <a:pt x="9428" y="627"/>
                    <a:pt x="9410" y="585"/>
                    <a:pt x="9401" y="581"/>
                  </a:cubicBezTo>
                  <a:cubicBezTo>
                    <a:pt x="9354" y="559"/>
                    <a:pt x="9299" y="604"/>
                    <a:pt x="9278" y="638"/>
                  </a:cubicBezTo>
                  <a:cubicBezTo>
                    <a:pt x="9235" y="706"/>
                    <a:pt x="9336" y="692"/>
                    <a:pt x="9382" y="697"/>
                  </a:cubicBezTo>
                  <a:cubicBezTo>
                    <a:pt x="9312" y="730"/>
                    <a:pt x="9403" y="769"/>
                    <a:pt x="9445" y="777"/>
                  </a:cubicBezTo>
                  <a:cubicBezTo>
                    <a:pt x="9496" y="787"/>
                    <a:pt x="9534" y="782"/>
                    <a:pt x="9581" y="770"/>
                  </a:cubicBezTo>
                  <a:cubicBezTo>
                    <a:pt x="9558" y="787"/>
                    <a:pt x="9516" y="800"/>
                    <a:pt x="9484" y="806"/>
                  </a:cubicBezTo>
                  <a:cubicBezTo>
                    <a:pt x="9464" y="809"/>
                    <a:pt x="9447" y="796"/>
                    <a:pt x="9430" y="798"/>
                  </a:cubicBezTo>
                  <a:cubicBezTo>
                    <a:pt x="9394" y="802"/>
                    <a:pt x="9387" y="817"/>
                    <a:pt x="9426" y="841"/>
                  </a:cubicBezTo>
                  <a:cubicBezTo>
                    <a:pt x="9372" y="847"/>
                    <a:pt x="9375" y="817"/>
                    <a:pt x="9356" y="794"/>
                  </a:cubicBezTo>
                  <a:cubicBezTo>
                    <a:pt x="9324" y="755"/>
                    <a:pt x="9287" y="741"/>
                    <a:pt x="9226" y="742"/>
                  </a:cubicBezTo>
                  <a:cubicBezTo>
                    <a:pt x="9183" y="742"/>
                    <a:pt x="9125" y="743"/>
                    <a:pt x="9151" y="787"/>
                  </a:cubicBezTo>
                  <a:cubicBezTo>
                    <a:pt x="9165" y="811"/>
                    <a:pt x="9211" y="828"/>
                    <a:pt x="9235" y="848"/>
                  </a:cubicBezTo>
                  <a:cubicBezTo>
                    <a:pt x="9261" y="868"/>
                    <a:pt x="9289" y="889"/>
                    <a:pt x="9315" y="911"/>
                  </a:cubicBezTo>
                  <a:cubicBezTo>
                    <a:pt x="9323" y="918"/>
                    <a:pt x="9353" y="937"/>
                    <a:pt x="9347" y="945"/>
                  </a:cubicBezTo>
                  <a:cubicBezTo>
                    <a:pt x="9335" y="964"/>
                    <a:pt x="9278" y="941"/>
                    <a:pt x="9264" y="935"/>
                  </a:cubicBezTo>
                  <a:cubicBezTo>
                    <a:pt x="9225" y="920"/>
                    <a:pt x="9171" y="886"/>
                    <a:pt x="9123" y="894"/>
                  </a:cubicBezTo>
                  <a:cubicBezTo>
                    <a:pt x="9050" y="905"/>
                    <a:pt x="9100" y="959"/>
                    <a:pt x="9134" y="982"/>
                  </a:cubicBezTo>
                  <a:cubicBezTo>
                    <a:pt x="9174" y="1008"/>
                    <a:pt x="9206" y="1005"/>
                    <a:pt x="9248" y="1012"/>
                  </a:cubicBezTo>
                  <a:cubicBezTo>
                    <a:pt x="9201" y="1020"/>
                    <a:pt x="9153" y="1029"/>
                    <a:pt x="9106" y="1037"/>
                  </a:cubicBezTo>
                  <a:cubicBezTo>
                    <a:pt x="9102" y="1095"/>
                    <a:pt x="9093" y="1136"/>
                    <a:pt x="9160" y="1174"/>
                  </a:cubicBezTo>
                  <a:cubicBezTo>
                    <a:pt x="9208" y="1202"/>
                    <a:pt x="9264" y="1228"/>
                    <a:pt x="9316" y="1250"/>
                  </a:cubicBezTo>
                  <a:cubicBezTo>
                    <a:pt x="9345" y="1262"/>
                    <a:pt x="9374" y="1264"/>
                    <a:pt x="9403" y="1271"/>
                  </a:cubicBezTo>
                  <a:cubicBezTo>
                    <a:pt x="9417" y="1275"/>
                    <a:pt x="9427" y="1264"/>
                    <a:pt x="9440" y="1271"/>
                  </a:cubicBezTo>
                  <a:cubicBezTo>
                    <a:pt x="9437" y="1270"/>
                    <a:pt x="9440" y="1296"/>
                    <a:pt x="9445" y="1301"/>
                  </a:cubicBezTo>
                  <a:cubicBezTo>
                    <a:pt x="9468" y="1321"/>
                    <a:pt x="9498" y="1327"/>
                    <a:pt x="9531" y="1332"/>
                  </a:cubicBezTo>
                  <a:cubicBezTo>
                    <a:pt x="9553" y="1335"/>
                    <a:pt x="9609" y="1328"/>
                    <a:pt x="9625" y="1335"/>
                  </a:cubicBezTo>
                  <a:cubicBezTo>
                    <a:pt x="9632" y="1337"/>
                    <a:pt x="9649" y="1366"/>
                    <a:pt x="9654" y="1372"/>
                  </a:cubicBezTo>
                  <a:cubicBezTo>
                    <a:pt x="9661" y="1380"/>
                    <a:pt x="9687" y="1396"/>
                    <a:pt x="9699" y="1405"/>
                  </a:cubicBezTo>
                  <a:cubicBezTo>
                    <a:pt x="9711" y="1414"/>
                    <a:pt x="9827" y="1493"/>
                    <a:pt x="9745" y="1473"/>
                  </a:cubicBezTo>
                  <a:cubicBezTo>
                    <a:pt x="9701" y="1462"/>
                    <a:pt x="9672" y="1412"/>
                    <a:pt x="9633" y="1393"/>
                  </a:cubicBezTo>
                  <a:cubicBezTo>
                    <a:pt x="9598" y="1376"/>
                    <a:pt x="9576" y="1388"/>
                    <a:pt x="9540" y="1381"/>
                  </a:cubicBezTo>
                  <a:cubicBezTo>
                    <a:pt x="9527" y="1378"/>
                    <a:pt x="9516" y="1362"/>
                    <a:pt x="9500" y="1357"/>
                  </a:cubicBezTo>
                  <a:cubicBezTo>
                    <a:pt x="9464" y="1346"/>
                    <a:pt x="9429" y="1336"/>
                    <a:pt x="9394" y="1325"/>
                  </a:cubicBezTo>
                  <a:cubicBezTo>
                    <a:pt x="9312" y="1299"/>
                    <a:pt x="9261" y="1272"/>
                    <a:pt x="9191" y="1240"/>
                  </a:cubicBezTo>
                  <a:cubicBezTo>
                    <a:pt x="9138" y="1216"/>
                    <a:pt x="9076" y="1219"/>
                    <a:pt x="9117" y="1275"/>
                  </a:cubicBezTo>
                  <a:cubicBezTo>
                    <a:pt x="9126" y="1288"/>
                    <a:pt x="9184" y="1350"/>
                    <a:pt x="9200" y="1358"/>
                  </a:cubicBezTo>
                  <a:cubicBezTo>
                    <a:pt x="9247" y="1384"/>
                    <a:pt x="9304" y="1335"/>
                    <a:pt x="9331" y="1391"/>
                  </a:cubicBezTo>
                  <a:cubicBezTo>
                    <a:pt x="9293" y="1384"/>
                    <a:pt x="9275" y="1380"/>
                    <a:pt x="9236" y="1384"/>
                  </a:cubicBezTo>
                  <a:cubicBezTo>
                    <a:pt x="9226" y="1385"/>
                    <a:pt x="9154" y="1403"/>
                    <a:pt x="9155" y="1404"/>
                  </a:cubicBezTo>
                  <a:cubicBezTo>
                    <a:pt x="9152" y="1402"/>
                    <a:pt x="9153" y="1353"/>
                    <a:pt x="9146" y="1343"/>
                  </a:cubicBezTo>
                  <a:cubicBezTo>
                    <a:pt x="9128" y="1314"/>
                    <a:pt x="9088" y="1295"/>
                    <a:pt x="9064" y="1269"/>
                  </a:cubicBezTo>
                  <a:cubicBezTo>
                    <a:pt x="9038" y="1240"/>
                    <a:pt x="9040" y="1229"/>
                    <a:pt x="8992" y="1214"/>
                  </a:cubicBezTo>
                  <a:cubicBezTo>
                    <a:pt x="8936" y="1196"/>
                    <a:pt x="8897" y="1212"/>
                    <a:pt x="8847" y="1191"/>
                  </a:cubicBezTo>
                  <a:cubicBezTo>
                    <a:pt x="8840" y="1188"/>
                    <a:pt x="8797" y="1176"/>
                    <a:pt x="8795" y="1171"/>
                  </a:cubicBezTo>
                  <a:cubicBezTo>
                    <a:pt x="8791" y="1160"/>
                    <a:pt x="8816" y="1164"/>
                    <a:pt x="8814" y="1154"/>
                  </a:cubicBezTo>
                  <a:cubicBezTo>
                    <a:pt x="8812" y="1149"/>
                    <a:pt x="8844" y="1148"/>
                    <a:pt x="8823" y="1136"/>
                  </a:cubicBezTo>
                  <a:cubicBezTo>
                    <a:pt x="8808" y="1127"/>
                    <a:pt x="8786" y="1126"/>
                    <a:pt x="8767" y="1126"/>
                  </a:cubicBezTo>
                  <a:cubicBezTo>
                    <a:pt x="8740" y="1130"/>
                    <a:pt x="8652" y="1152"/>
                    <a:pt x="8655" y="1181"/>
                  </a:cubicBezTo>
                  <a:cubicBezTo>
                    <a:pt x="8657" y="1203"/>
                    <a:pt x="8699" y="1190"/>
                    <a:pt x="8714" y="1203"/>
                  </a:cubicBezTo>
                  <a:cubicBezTo>
                    <a:pt x="8720" y="1207"/>
                    <a:pt x="8732" y="1243"/>
                    <a:pt x="8733" y="1245"/>
                  </a:cubicBezTo>
                  <a:cubicBezTo>
                    <a:pt x="8746" y="1270"/>
                    <a:pt x="8777" y="1300"/>
                    <a:pt x="8740" y="1328"/>
                  </a:cubicBezTo>
                  <a:cubicBezTo>
                    <a:pt x="8706" y="1353"/>
                    <a:pt x="8655" y="1351"/>
                    <a:pt x="8614" y="1366"/>
                  </a:cubicBezTo>
                  <a:cubicBezTo>
                    <a:pt x="8559" y="1385"/>
                    <a:pt x="8567" y="1431"/>
                    <a:pt x="8622" y="1453"/>
                  </a:cubicBezTo>
                  <a:cubicBezTo>
                    <a:pt x="8645" y="1462"/>
                    <a:pt x="8673" y="1454"/>
                    <a:pt x="8696" y="1459"/>
                  </a:cubicBezTo>
                  <a:cubicBezTo>
                    <a:pt x="8719" y="1463"/>
                    <a:pt x="8731" y="1473"/>
                    <a:pt x="8756" y="1480"/>
                  </a:cubicBezTo>
                  <a:cubicBezTo>
                    <a:pt x="8802" y="1494"/>
                    <a:pt x="8858" y="1477"/>
                    <a:pt x="8902" y="1496"/>
                  </a:cubicBezTo>
                  <a:cubicBezTo>
                    <a:pt x="8941" y="1512"/>
                    <a:pt x="8965" y="1560"/>
                    <a:pt x="8974" y="1589"/>
                  </a:cubicBezTo>
                  <a:cubicBezTo>
                    <a:pt x="8951" y="1582"/>
                    <a:pt x="8904" y="1506"/>
                    <a:pt x="8892" y="1515"/>
                  </a:cubicBezTo>
                  <a:cubicBezTo>
                    <a:pt x="8873" y="1530"/>
                    <a:pt x="8938" y="1585"/>
                    <a:pt x="8949" y="1597"/>
                  </a:cubicBezTo>
                  <a:cubicBezTo>
                    <a:pt x="8900" y="1582"/>
                    <a:pt x="8878" y="1500"/>
                    <a:pt x="8816" y="1524"/>
                  </a:cubicBezTo>
                  <a:cubicBezTo>
                    <a:pt x="8750" y="1549"/>
                    <a:pt x="8859" y="1596"/>
                    <a:pt x="8869" y="1631"/>
                  </a:cubicBezTo>
                  <a:cubicBezTo>
                    <a:pt x="8852" y="1626"/>
                    <a:pt x="8839" y="1612"/>
                    <a:pt x="8826" y="1599"/>
                  </a:cubicBezTo>
                  <a:cubicBezTo>
                    <a:pt x="8798" y="1572"/>
                    <a:pt x="8774" y="1544"/>
                    <a:pt x="8739" y="1524"/>
                  </a:cubicBezTo>
                  <a:cubicBezTo>
                    <a:pt x="8710" y="1508"/>
                    <a:pt x="8604" y="1485"/>
                    <a:pt x="8592" y="1529"/>
                  </a:cubicBezTo>
                  <a:cubicBezTo>
                    <a:pt x="8587" y="1544"/>
                    <a:pt x="8616" y="1561"/>
                    <a:pt x="8617" y="1572"/>
                  </a:cubicBezTo>
                  <a:cubicBezTo>
                    <a:pt x="8617" y="1575"/>
                    <a:pt x="8583" y="1574"/>
                    <a:pt x="8599" y="1598"/>
                  </a:cubicBezTo>
                  <a:cubicBezTo>
                    <a:pt x="8604" y="1606"/>
                    <a:pt x="8671" y="1618"/>
                    <a:pt x="8660" y="1637"/>
                  </a:cubicBezTo>
                  <a:cubicBezTo>
                    <a:pt x="8656" y="1643"/>
                    <a:pt x="8607" y="1619"/>
                    <a:pt x="8597" y="1613"/>
                  </a:cubicBezTo>
                  <a:cubicBezTo>
                    <a:pt x="8560" y="1590"/>
                    <a:pt x="8578" y="1596"/>
                    <a:pt x="8567" y="1568"/>
                  </a:cubicBezTo>
                  <a:cubicBezTo>
                    <a:pt x="8560" y="1552"/>
                    <a:pt x="8562" y="1541"/>
                    <a:pt x="8543" y="1526"/>
                  </a:cubicBezTo>
                  <a:cubicBezTo>
                    <a:pt x="8525" y="1511"/>
                    <a:pt x="8511" y="1507"/>
                    <a:pt x="8485" y="1505"/>
                  </a:cubicBezTo>
                  <a:cubicBezTo>
                    <a:pt x="8472" y="1503"/>
                    <a:pt x="8477" y="1521"/>
                    <a:pt x="8469" y="1521"/>
                  </a:cubicBezTo>
                  <a:cubicBezTo>
                    <a:pt x="8460" y="1520"/>
                    <a:pt x="8448" y="1505"/>
                    <a:pt x="8438" y="1507"/>
                  </a:cubicBezTo>
                  <a:cubicBezTo>
                    <a:pt x="8416" y="1512"/>
                    <a:pt x="8372" y="1528"/>
                    <a:pt x="8346" y="1548"/>
                  </a:cubicBezTo>
                  <a:cubicBezTo>
                    <a:pt x="8290" y="1592"/>
                    <a:pt x="8323" y="1628"/>
                    <a:pt x="8309" y="1677"/>
                  </a:cubicBezTo>
                  <a:cubicBezTo>
                    <a:pt x="8298" y="1667"/>
                    <a:pt x="8277" y="1654"/>
                    <a:pt x="8261" y="1665"/>
                  </a:cubicBezTo>
                  <a:cubicBezTo>
                    <a:pt x="8236" y="1683"/>
                    <a:pt x="8283" y="1688"/>
                    <a:pt x="8285" y="1693"/>
                  </a:cubicBezTo>
                  <a:cubicBezTo>
                    <a:pt x="8289" y="1699"/>
                    <a:pt x="8316" y="1752"/>
                    <a:pt x="8286" y="1762"/>
                  </a:cubicBezTo>
                  <a:cubicBezTo>
                    <a:pt x="8234" y="1781"/>
                    <a:pt x="8242" y="1665"/>
                    <a:pt x="8171" y="1705"/>
                  </a:cubicBezTo>
                  <a:cubicBezTo>
                    <a:pt x="8190" y="1726"/>
                    <a:pt x="8140" y="1711"/>
                    <a:pt x="8113" y="1724"/>
                  </a:cubicBezTo>
                  <a:cubicBezTo>
                    <a:pt x="8096" y="1732"/>
                    <a:pt x="8092" y="1743"/>
                    <a:pt x="8079" y="1753"/>
                  </a:cubicBezTo>
                  <a:cubicBezTo>
                    <a:pt x="8072" y="1758"/>
                    <a:pt x="8052" y="1769"/>
                    <a:pt x="8045" y="1776"/>
                  </a:cubicBezTo>
                  <a:cubicBezTo>
                    <a:pt x="8018" y="1803"/>
                    <a:pt x="8013" y="1795"/>
                    <a:pt x="8033" y="1828"/>
                  </a:cubicBezTo>
                  <a:cubicBezTo>
                    <a:pt x="8038" y="1837"/>
                    <a:pt x="7977" y="1841"/>
                    <a:pt x="7966" y="1848"/>
                  </a:cubicBezTo>
                  <a:cubicBezTo>
                    <a:pt x="7942" y="1863"/>
                    <a:pt x="7914" y="1949"/>
                    <a:pt x="7929" y="1963"/>
                  </a:cubicBezTo>
                  <a:cubicBezTo>
                    <a:pt x="7954" y="1988"/>
                    <a:pt x="8000" y="1966"/>
                    <a:pt x="8010" y="2007"/>
                  </a:cubicBezTo>
                  <a:close/>
                  <a:moveTo>
                    <a:pt x="7145" y="4431"/>
                  </a:moveTo>
                  <a:cubicBezTo>
                    <a:pt x="7168" y="4459"/>
                    <a:pt x="7149" y="4455"/>
                    <a:pt x="7129" y="4469"/>
                  </a:cubicBezTo>
                  <a:cubicBezTo>
                    <a:pt x="7112" y="4481"/>
                    <a:pt x="7112" y="4465"/>
                    <a:pt x="7096" y="4481"/>
                  </a:cubicBezTo>
                  <a:cubicBezTo>
                    <a:pt x="7082" y="4497"/>
                    <a:pt x="7080" y="4508"/>
                    <a:pt x="7093" y="4528"/>
                  </a:cubicBezTo>
                  <a:cubicBezTo>
                    <a:pt x="7102" y="4544"/>
                    <a:pt x="7129" y="4552"/>
                    <a:pt x="7141" y="4565"/>
                  </a:cubicBezTo>
                  <a:cubicBezTo>
                    <a:pt x="7156" y="4581"/>
                    <a:pt x="7158" y="4579"/>
                    <a:pt x="7164" y="4605"/>
                  </a:cubicBezTo>
                  <a:cubicBezTo>
                    <a:pt x="7167" y="4619"/>
                    <a:pt x="7163" y="4634"/>
                    <a:pt x="7170" y="4645"/>
                  </a:cubicBezTo>
                  <a:cubicBezTo>
                    <a:pt x="7179" y="4657"/>
                    <a:pt x="7211" y="4660"/>
                    <a:pt x="7221" y="4681"/>
                  </a:cubicBezTo>
                  <a:cubicBezTo>
                    <a:pt x="7231" y="4702"/>
                    <a:pt x="7179" y="4685"/>
                    <a:pt x="7196" y="4701"/>
                  </a:cubicBezTo>
                  <a:cubicBezTo>
                    <a:pt x="7199" y="4704"/>
                    <a:pt x="7242" y="4709"/>
                    <a:pt x="7252" y="4709"/>
                  </a:cubicBezTo>
                  <a:cubicBezTo>
                    <a:pt x="7308" y="4712"/>
                    <a:pt x="7333" y="4714"/>
                    <a:pt x="7379" y="4743"/>
                  </a:cubicBezTo>
                  <a:cubicBezTo>
                    <a:pt x="7403" y="4758"/>
                    <a:pt x="7450" y="4778"/>
                    <a:pt x="7410" y="4802"/>
                  </a:cubicBezTo>
                  <a:cubicBezTo>
                    <a:pt x="7379" y="4821"/>
                    <a:pt x="7312" y="4792"/>
                    <a:pt x="7281" y="4801"/>
                  </a:cubicBezTo>
                  <a:cubicBezTo>
                    <a:pt x="7247" y="4810"/>
                    <a:pt x="7270" y="4805"/>
                    <a:pt x="7261" y="4826"/>
                  </a:cubicBezTo>
                  <a:cubicBezTo>
                    <a:pt x="7249" y="4858"/>
                    <a:pt x="7243" y="4833"/>
                    <a:pt x="7271" y="4855"/>
                  </a:cubicBezTo>
                  <a:cubicBezTo>
                    <a:pt x="7292" y="4872"/>
                    <a:pt x="7333" y="4893"/>
                    <a:pt x="7357" y="4905"/>
                  </a:cubicBezTo>
                  <a:cubicBezTo>
                    <a:pt x="7419" y="4935"/>
                    <a:pt x="7398" y="4916"/>
                    <a:pt x="7388" y="4965"/>
                  </a:cubicBezTo>
                  <a:cubicBezTo>
                    <a:pt x="7381" y="5002"/>
                    <a:pt x="7407" y="5010"/>
                    <a:pt x="7443" y="5022"/>
                  </a:cubicBezTo>
                  <a:cubicBezTo>
                    <a:pt x="7462" y="5002"/>
                    <a:pt x="7512" y="4978"/>
                    <a:pt x="7518" y="4956"/>
                  </a:cubicBezTo>
                  <a:cubicBezTo>
                    <a:pt x="7503" y="4969"/>
                    <a:pt x="7456" y="4977"/>
                    <a:pt x="7482" y="4950"/>
                  </a:cubicBezTo>
                  <a:cubicBezTo>
                    <a:pt x="7502" y="4930"/>
                    <a:pt x="7538" y="4924"/>
                    <a:pt x="7538" y="4955"/>
                  </a:cubicBezTo>
                  <a:cubicBezTo>
                    <a:pt x="7614" y="4922"/>
                    <a:pt x="7692" y="4889"/>
                    <a:pt x="7770" y="4866"/>
                  </a:cubicBezTo>
                  <a:cubicBezTo>
                    <a:pt x="7804" y="4856"/>
                    <a:pt x="7795" y="4872"/>
                    <a:pt x="7817" y="4847"/>
                  </a:cubicBezTo>
                  <a:cubicBezTo>
                    <a:pt x="7823" y="4840"/>
                    <a:pt x="7828" y="4815"/>
                    <a:pt x="7829" y="4808"/>
                  </a:cubicBezTo>
                  <a:cubicBezTo>
                    <a:pt x="7834" y="4771"/>
                    <a:pt x="7828" y="4760"/>
                    <a:pt x="7805" y="4731"/>
                  </a:cubicBezTo>
                  <a:cubicBezTo>
                    <a:pt x="7793" y="4714"/>
                    <a:pt x="7722" y="4672"/>
                    <a:pt x="7721" y="4664"/>
                  </a:cubicBezTo>
                  <a:cubicBezTo>
                    <a:pt x="7717" y="4645"/>
                    <a:pt x="7786" y="4599"/>
                    <a:pt x="7796" y="4582"/>
                  </a:cubicBezTo>
                  <a:cubicBezTo>
                    <a:pt x="7817" y="4548"/>
                    <a:pt x="7814" y="4549"/>
                    <a:pt x="7786" y="4523"/>
                  </a:cubicBezTo>
                  <a:cubicBezTo>
                    <a:pt x="7762" y="4501"/>
                    <a:pt x="7702" y="4462"/>
                    <a:pt x="7666" y="4454"/>
                  </a:cubicBezTo>
                  <a:cubicBezTo>
                    <a:pt x="7616" y="4442"/>
                    <a:pt x="7617" y="4479"/>
                    <a:pt x="7582" y="4482"/>
                  </a:cubicBezTo>
                  <a:cubicBezTo>
                    <a:pt x="7509" y="4486"/>
                    <a:pt x="7525" y="4400"/>
                    <a:pt x="7517" y="4374"/>
                  </a:cubicBezTo>
                  <a:cubicBezTo>
                    <a:pt x="7496" y="4387"/>
                    <a:pt x="7444" y="4345"/>
                    <a:pt x="7418" y="4336"/>
                  </a:cubicBezTo>
                  <a:cubicBezTo>
                    <a:pt x="7380" y="4323"/>
                    <a:pt x="7362" y="4304"/>
                    <a:pt x="7323" y="4287"/>
                  </a:cubicBezTo>
                  <a:cubicBezTo>
                    <a:pt x="7265" y="4261"/>
                    <a:pt x="7114" y="4207"/>
                    <a:pt x="7080" y="4287"/>
                  </a:cubicBezTo>
                  <a:cubicBezTo>
                    <a:pt x="7072" y="4309"/>
                    <a:pt x="7086" y="4372"/>
                    <a:pt x="7102" y="4392"/>
                  </a:cubicBezTo>
                  <a:cubicBezTo>
                    <a:pt x="7116" y="4410"/>
                    <a:pt x="7131" y="4414"/>
                    <a:pt x="7145" y="4431"/>
                  </a:cubicBezTo>
                  <a:close/>
                  <a:moveTo>
                    <a:pt x="7517" y="3272"/>
                  </a:moveTo>
                  <a:cubicBezTo>
                    <a:pt x="7482" y="3269"/>
                    <a:pt x="7448" y="3263"/>
                    <a:pt x="7418" y="3249"/>
                  </a:cubicBezTo>
                  <a:cubicBezTo>
                    <a:pt x="7382" y="3230"/>
                    <a:pt x="7373" y="3205"/>
                    <a:pt x="7324" y="3205"/>
                  </a:cubicBezTo>
                  <a:cubicBezTo>
                    <a:pt x="7276" y="3206"/>
                    <a:pt x="7286" y="3248"/>
                    <a:pt x="7302" y="3272"/>
                  </a:cubicBezTo>
                  <a:cubicBezTo>
                    <a:pt x="7309" y="3283"/>
                    <a:pt x="7347" y="3267"/>
                    <a:pt x="7342" y="3279"/>
                  </a:cubicBezTo>
                  <a:cubicBezTo>
                    <a:pt x="7333" y="3301"/>
                    <a:pt x="7321" y="3301"/>
                    <a:pt x="7325" y="3322"/>
                  </a:cubicBezTo>
                  <a:cubicBezTo>
                    <a:pt x="7333" y="3372"/>
                    <a:pt x="7376" y="3342"/>
                    <a:pt x="7404" y="3367"/>
                  </a:cubicBezTo>
                  <a:cubicBezTo>
                    <a:pt x="7438" y="3397"/>
                    <a:pt x="7285" y="3419"/>
                    <a:pt x="7365" y="3430"/>
                  </a:cubicBezTo>
                  <a:cubicBezTo>
                    <a:pt x="7371" y="3450"/>
                    <a:pt x="7393" y="3454"/>
                    <a:pt x="7406" y="3473"/>
                  </a:cubicBezTo>
                  <a:cubicBezTo>
                    <a:pt x="7416" y="3487"/>
                    <a:pt x="7417" y="3507"/>
                    <a:pt x="7425" y="3518"/>
                  </a:cubicBezTo>
                  <a:cubicBezTo>
                    <a:pt x="7433" y="3528"/>
                    <a:pt x="7488" y="3580"/>
                    <a:pt x="7507" y="3586"/>
                  </a:cubicBezTo>
                  <a:cubicBezTo>
                    <a:pt x="7552" y="3600"/>
                    <a:pt x="7612" y="3576"/>
                    <a:pt x="7648" y="3561"/>
                  </a:cubicBezTo>
                  <a:cubicBezTo>
                    <a:pt x="7669" y="3552"/>
                    <a:pt x="7784" y="3468"/>
                    <a:pt x="7765" y="3460"/>
                  </a:cubicBezTo>
                  <a:cubicBezTo>
                    <a:pt x="7808" y="3478"/>
                    <a:pt x="7712" y="3593"/>
                    <a:pt x="7695" y="3605"/>
                  </a:cubicBezTo>
                  <a:cubicBezTo>
                    <a:pt x="7663" y="3627"/>
                    <a:pt x="7599" y="3644"/>
                    <a:pt x="7557" y="3651"/>
                  </a:cubicBezTo>
                  <a:cubicBezTo>
                    <a:pt x="7508" y="3659"/>
                    <a:pt x="7542" y="3722"/>
                    <a:pt x="7537" y="3746"/>
                  </a:cubicBezTo>
                  <a:cubicBezTo>
                    <a:pt x="7533" y="3766"/>
                    <a:pt x="7544" y="3776"/>
                    <a:pt x="7567" y="3783"/>
                  </a:cubicBezTo>
                  <a:cubicBezTo>
                    <a:pt x="7586" y="3788"/>
                    <a:pt x="7618" y="3773"/>
                    <a:pt x="7609" y="3771"/>
                  </a:cubicBezTo>
                  <a:cubicBezTo>
                    <a:pt x="7619" y="3774"/>
                    <a:pt x="7659" y="3812"/>
                    <a:pt x="7629" y="3822"/>
                  </a:cubicBezTo>
                  <a:cubicBezTo>
                    <a:pt x="7655" y="3848"/>
                    <a:pt x="7655" y="3869"/>
                    <a:pt x="7697" y="3855"/>
                  </a:cubicBezTo>
                  <a:cubicBezTo>
                    <a:pt x="7721" y="3846"/>
                    <a:pt x="7776" y="3803"/>
                    <a:pt x="7791" y="3786"/>
                  </a:cubicBezTo>
                  <a:cubicBezTo>
                    <a:pt x="7803" y="3775"/>
                    <a:pt x="7743" y="3747"/>
                    <a:pt x="7793" y="3740"/>
                  </a:cubicBezTo>
                  <a:cubicBezTo>
                    <a:pt x="7831" y="3734"/>
                    <a:pt x="7849" y="3779"/>
                    <a:pt x="7893" y="3755"/>
                  </a:cubicBezTo>
                  <a:cubicBezTo>
                    <a:pt x="7881" y="3777"/>
                    <a:pt x="7800" y="3861"/>
                    <a:pt x="7883" y="3859"/>
                  </a:cubicBezTo>
                  <a:cubicBezTo>
                    <a:pt x="7926" y="3858"/>
                    <a:pt x="7931" y="3819"/>
                    <a:pt x="7943" y="3799"/>
                  </a:cubicBezTo>
                  <a:cubicBezTo>
                    <a:pt x="7946" y="3795"/>
                    <a:pt x="7933" y="3783"/>
                    <a:pt x="7937" y="3776"/>
                  </a:cubicBezTo>
                  <a:cubicBezTo>
                    <a:pt x="7942" y="3768"/>
                    <a:pt x="7963" y="3784"/>
                    <a:pt x="7968" y="3774"/>
                  </a:cubicBezTo>
                  <a:cubicBezTo>
                    <a:pt x="7976" y="3760"/>
                    <a:pt x="7969" y="3741"/>
                    <a:pt x="7978" y="3727"/>
                  </a:cubicBezTo>
                  <a:cubicBezTo>
                    <a:pt x="8018" y="3659"/>
                    <a:pt x="7995" y="3763"/>
                    <a:pt x="7998" y="3783"/>
                  </a:cubicBezTo>
                  <a:cubicBezTo>
                    <a:pt x="8055" y="3745"/>
                    <a:pt x="8046" y="3752"/>
                    <a:pt x="8031" y="3703"/>
                  </a:cubicBezTo>
                  <a:cubicBezTo>
                    <a:pt x="8011" y="3637"/>
                    <a:pt x="8038" y="3703"/>
                    <a:pt x="8059" y="3713"/>
                  </a:cubicBezTo>
                  <a:cubicBezTo>
                    <a:pt x="8106" y="3737"/>
                    <a:pt x="8112" y="3667"/>
                    <a:pt x="8167" y="3678"/>
                  </a:cubicBezTo>
                  <a:cubicBezTo>
                    <a:pt x="8236" y="3691"/>
                    <a:pt x="8119" y="3721"/>
                    <a:pt x="8147" y="3749"/>
                  </a:cubicBezTo>
                  <a:cubicBezTo>
                    <a:pt x="8153" y="3755"/>
                    <a:pt x="8250" y="3760"/>
                    <a:pt x="8266" y="3756"/>
                  </a:cubicBezTo>
                  <a:cubicBezTo>
                    <a:pt x="8298" y="3749"/>
                    <a:pt x="8348" y="3705"/>
                    <a:pt x="8385" y="3708"/>
                  </a:cubicBezTo>
                  <a:cubicBezTo>
                    <a:pt x="8458" y="3715"/>
                    <a:pt x="8352" y="3748"/>
                    <a:pt x="8330" y="3756"/>
                  </a:cubicBezTo>
                  <a:cubicBezTo>
                    <a:pt x="8295" y="3770"/>
                    <a:pt x="8263" y="3806"/>
                    <a:pt x="8225" y="3782"/>
                  </a:cubicBezTo>
                  <a:cubicBezTo>
                    <a:pt x="8227" y="3785"/>
                    <a:pt x="8229" y="3789"/>
                    <a:pt x="8231" y="3792"/>
                  </a:cubicBezTo>
                  <a:cubicBezTo>
                    <a:pt x="8195" y="3790"/>
                    <a:pt x="8107" y="3801"/>
                    <a:pt x="8148" y="3844"/>
                  </a:cubicBezTo>
                  <a:cubicBezTo>
                    <a:pt x="8171" y="3868"/>
                    <a:pt x="8242" y="3863"/>
                    <a:pt x="8272" y="3859"/>
                  </a:cubicBezTo>
                  <a:cubicBezTo>
                    <a:pt x="8363" y="3847"/>
                    <a:pt x="8435" y="3807"/>
                    <a:pt x="8531" y="3804"/>
                  </a:cubicBezTo>
                  <a:cubicBezTo>
                    <a:pt x="8545" y="3803"/>
                    <a:pt x="8594" y="3784"/>
                    <a:pt x="8559" y="3813"/>
                  </a:cubicBezTo>
                  <a:cubicBezTo>
                    <a:pt x="8546" y="3823"/>
                    <a:pt x="8503" y="3835"/>
                    <a:pt x="8484" y="3839"/>
                  </a:cubicBezTo>
                  <a:cubicBezTo>
                    <a:pt x="8439" y="3851"/>
                    <a:pt x="8393" y="3861"/>
                    <a:pt x="8348" y="3875"/>
                  </a:cubicBezTo>
                  <a:cubicBezTo>
                    <a:pt x="8261" y="3903"/>
                    <a:pt x="8175" y="3916"/>
                    <a:pt x="8098" y="3921"/>
                  </a:cubicBezTo>
                  <a:cubicBezTo>
                    <a:pt x="8084" y="3921"/>
                    <a:pt x="8052" y="3913"/>
                    <a:pt x="8042" y="3915"/>
                  </a:cubicBezTo>
                  <a:cubicBezTo>
                    <a:pt x="7996" y="3927"/>
                    <a:pt x="8006" y="3964"/>
                    <a:pt x="7986" y="3992"/>
                  </a:cubicBezTo>
                  <a:cubicBezTo>
                    <a:pt x="7962" y="4026"/>
                    <a:pt x="7916" y="4020"/>
                    <a:pt x="7886" y="4053"/>
                  </a:cubicBezTo>
                  <a:cubicBezTo>
                    <a:pt x="7846" y="4095"/>
                    <a:pt x="7890" y="4105"/>
                    <a:pt x="7925" y="4141"/>
                  </a:cubicBezTo>
                  <a:cubicBezTo>
                    <a:pt x="7932" y="4148"/>
                    <a:pt x="7947" y="4175"/>
                    <a:pt x="7955" y="4178"/>
                  </a:cubicBezTo>
                  <a:cubicBezTo>
                    <a:pt x="7975" y="4187"/>
                    <a:pt x="8007" y="4175"/>
                    <a:pt x="8031" y="4179"/>
                  </a:cubicBezTo>
                  <a:cubicBezTo>
                    <a:pt x="8055" y="4183"/>
                    <a:pt x="8168" y="4232"/>
                    <a:pt x="8110" y="4244"/>
                  </a:cubicBezTo>
                  <a:cubicBezTo>
                    <a:pt x="8083" y="4249"/>
                    <a:pt x="7994" y="4183"/>
                    <a:pt x="7982" y="4235"/>
                  </a:cubicBezTo>
                  <a:cubicBezTo>
                    <a:pt x="7980" y="4242"/>
                    <a:pt x="8006" y="4262"/>
                    <a:pt x="8013" y="4267"/>
                  </a:cubicBezTo>
                  <a:cubicBezTo>
                    <a:pt x="8018" y="4272"/>
                    <a:pt x="8024" y="4282"/>
                    <a:pt x="8031" y="4285"/>
                  </a:cubicBezTo>
                  <a:cubicBezTo>
                    <a:pt x="8032" y="4286"/>
                    <a:pt x="8074" y="4299"/>
                    <a:pt x="8067" y="4292"/>
                  </a:cubicBezTo>
                  <a:cubicBezTo>
                    <a:pt x="8078" y="4305"/>
                    <a:pt x="8064" y="4361"/>
                    <a:pt x="8125" y="4358"/>
                  </a:cubicBezTo>
                  <a:cubicBezTo>
                    <a:pt x="8151" y="4356"/>
                    <a:pt x="8159" y="4331"/>
                    <a:pt x="8175" y="4327"/>
                  </a:cubicBezTo>
                  <a:cubicBezTo>
                    <a:pt x="8213" y="4317"/>
                    <a:pt x="8200" y="4328"/>
                    <a:pt x="8238" y="4337"/>
                  </a:cubicBezTo>
                  <a:cubicBezTo>
                    <a:pt x="8280" y="4347"/>
                    <a:pt x="8330" y="4344"/>
                    <a:pt x="8373" y="4344"/>
                  </a:cubicBezTo>
                  <a:cubicBezTo>
                    <a:pt x="8389" y="4344"/>
                    <a:pt x="8430" y="4347"/>
                    <a:pt x="8435" y="4352"/>
                  </a:cubicBezTo>
                  <a:cubicBezTo>
                    <a:pt x="8469" y="4380"/>
                    <a:pt x="8397" y="4364"/>
                    <a:pt x="8392" y="4365"/>
                  </a:cubicBezTo>
                  <a:cubicBezTo>
                    <a:pt x="8350" y="4374"/>
                    <a:pt x="8309" y="4392"/>
                    <a:pt x="8260" y="4396"/>
                  </a:cubicBezTo>
                  <a:cubicBezTo>
                    <a:pt x="8281" y="4429"/>
                    <a:pt x="8208" y="4418"/>
                    <a:pt x="8186" y="4431"/>
                  </a:cubicBezTo>
                  <a:cubicBezTo>
                    <a:pt x="8146" y="4454"/>
                    <a:pt x="8235" y="4502"/>
                    <a:pt x="8250" y="4515"/>
                  </a:cubicBezTo>
                  <a:cubicBezTo>
                    <a:pt x="8262" y="4526"/>
                    <a:pt x="8269" y="4539"/>
                    <a:pt x="8283" y="4549"/>
                  </a:cubicBezTo>
                  <a:cubicBezTo>
                    <a:pt x="8314" y="4573"/>
                    <a:pt x="8328" y="4537"/>
                    <a:pt x="8346" y="4541"/>
                  </a:cubicBezTo>
                  <a:cubicBezTo>
                    <a:pt x="8384" y="4551"/>
                    <a:pt x="8334" y="4556"/>
                    <a:pt x="8341" y="4571"/>
                  </a:cubicBezTo>
                  <a:cubicBezTo>
                    <a:pt x="8338" y="4564"/>
                    <a:pt x="8385" y="4609"/>
                    <a:pt x="8385" y="4609"/>
                  </a:cubicBezTo>
                  <a:cubicBezTo>
                    <a:pt x="8431" y="4634"/>
                    <a:pt x="8418" y="4576"/>
                    <a:pt x="8469" y="4611"/>
                  </a:cubicBezTo>
                  <a:cubicBezTo>
                    <a:pt x="8511" y="4639"/>
                    <a:pt x="8551" y="4630"/>
                    <a:pt x="8600" y="4635"/>
                  </a:cubicBezTo>
                  <a:cubicBezTo>
                    <a:pt x="8642" y="4640"/>
                    <a:pt x="8681" y="4655"/>
                    <a:pt x="8728" y="4641"/>
                  </a:cubicBezTo>
                  <a:cubicBezTo>
                    <a:pt x="8792" y="4623"/>
                    <a:pt x="8765" y="4601"/>
                    <a:pt x="8745" y="4565"/>
                  </a:cubicBezTo>
                  <a:cubicBezTo>
                    <a:pt x="8731" y="4540"/>
                    <a:pt x="8746" y="4545"/>
                    <a:pt x="8722" y="4532"/>
                  </a:cubicBezTo>
                  <a:cubicBezTo>
                    <a:pt x="8712" y="4526"/>
                    <a:pt x="8659" y="4530"/>
                    <a:pt x="8656" y="4511"/>
                  </a:cubicBezTo>
                  <a:cubicBezTo>
                    <a:pt x="8655" y="4503"/>
                    <a:pt x="8754" y="4483"/>
                    <a:pt x="8772" y="4488"/>
                  </a:cubicBezTo>
                  <a:cubicBezTo>
                    <a:pt x="8818" y="4500"/>
                    <a:pt x="8815" y="4546"/>
                    <a:pt x="8848" y="4565"/>
                  </a:cubicBezTo>
                  <a:cubicBezTo>
                    <a:pt x="8872" y="4578"/>
                    <a:pt x="8883" y="4541"/>
                    <a:pt x="8898" y="4581"/>
                  </a:cubicBezTo>
                  <a:cubicBezTo>
                    <a:pt x="8904" y="4597"/>
                    <a:pt x="8930" y="4617"/>
                    <a:pt x="8940" y="4592"/>
                  </a:cubicBezTo>
                  <a:cubicBezTo>
                    <a:pt x="8945" y="4581"/>
                    <a:pt x="8889" y="4499"/>
                    <a:pt x="8878" y="4486"/>
                  </a:cubicBezTo>
                  <a:cubicBezTo>
                    <a:pt x="8851" y="4451"/>
                    <a:pt x="8822" y="4428"/>
                    <a:pt x="8791" y="4398"/>
                  </a:cubicBezTo>
                  <a:cubicBezTo>
                    <a:pt x="8771" y="4378"/>
                    <a:pt x="8748" y="4336"/>
                    <a:pt x="8744" y="4313"/>
                  </a:cubicBezTo>
                  <a:cubicBezTo>
                    <a:pt x="8734" y="4257"/>
                    <a:pt x="8761" y="4273"/>
                    <a:pt x="8786" y="4310"/>
                  </a:cubicBezTo>
                  <a:cubicBezTo>
                    <a:pt x="8828" y="4373"/>
                    <a:pt x="8894" y="4419"/>
                    <a:pt x="8941" y="4477"/>
                  </a:cubicBezTo>
                  <a:cubicBezTo>
                    <a:pt x="8979" y="4524"/>
                    <a:pt x="9082" y="4648"/>
                    <a:pt x="9077" y="4520"/>
                  </a:cubicBezTo>
                  <a:cubicBezTo>
                    <a:pt x="9075" y="4443"/>
                    <a:pt x="9088" y="4387"/>
                    <a:pt x="9037" y="4318"/>
                  </a:cubicBezTo>
                  <a:cubicBezTo>
                    <a:pt x="9023" y="4299"/>
                    <a:pt x="8973" y="4236"/>
                    <a:pt x="9014" y="4232"/>
                  </a:cubicBezTo>
                  <a:cubicBezTo>
                    <a:pt x="9043" y="4230"/>
                    <a:pt x="9080" y="4283"/>
                    <a:pt x="9096" y="4299"/>
                  </a:cubicBezTo>
                  <a:cubicBezTo>
                    <a:pt x="9120" y="4323"/>
                    <a:pt x="9131" y="4349"/>
                    <a:pt x="9163" y="4319"/>
                  </a:cubicBezTo>
                  <a:cubicBezTo>
                    <a:pt x="9179" y="4304"/>
                    <a:pt x="9180" y="4273"/>
                    <a:pt x="9178" y="4255"/>
                  </a:cubicBezTo>
                  <a:cubicBezTo>
                    <a:pt x="9172" y="4203"/>
                    <a:pt x="9138" y="4169"/>
                    <a:pt x="9072" y="4190"/>
                  </a:cubicBezTo>
                  <a:cubicBezTo>
                    <a:pt x="9082" y="4174"/>
                    <a:pt x="9102" y="4176"/>
                    <a:pt x="9105" y="4157"/>
                  </a:cubicBezTo>
                  <a:cubicBezTo>
                    <a:pt x="9108" y="4142"/>
                    <a:pt x="9082" y="4114"/>
                    <a:pt x="9075" y="4100"/>
                  </a:cubicBezTo>
                  <a:cubicBezTo>
                    <a:pt x="9059" y="4063"/>
                    <a:pt x="9057" y="4024"/>
                    <a:pt x="9047" y="3986"/>
                  </a:cubicBezTo>
                  <a:cubicBezTo>
                    <a:pt x="9043" y="3970"/>
                    <a:pt x="9029" y="3953"/>
                    <a:pt x="9039" y="3936"/>
                  </a:cubicBezTo>
                  <a:cubicBezTo>
                    <a:pt x="9049" y="3918"/>
                    <a:pt x="9071" y="3924"/>
                    <a:pt x="9081" y="3912"/>
                  </a:cubicBezTo>
                  <a:cubicBezTo>
                    <a:pt x="9107" y="3877"/>
                    <a:pt x="9087" y="3829"/>
                    <a:pt x="9103" y="3895"/>
                  </a:cubicBezTo>
                  <a:cubicBezTo>
                    <a:pt x="9108" y="3916"/>
                    <a:pt x="9092" y="3918"/>
                    <a:pt x="9090" y="3936"/>
                  </a:cubicBezTo>
                  <a:cubicBezTo>
                    <a:pt x="9088" y="3955"/>
                    <a:pt x="9093" y="3966"/>
                    <a:pt x="9098" y="3987"/>
                  </a:cubicBezTo>
                  <a:cubicBezTo>
                    <a:pt x="9108" y="4029"/>
                    <a:pt x="9107" y="4061"/>
                    <a:pt x="9128" y="4102"/>
                  </a:cubicBezTo>
                  <a:cubicBezTo>
                    <a:pt x="9136" y="4119"/>
                    <a:pt x="9181" y="4185"/>
                    <a:pt x="9212" y="4177"/>
                  </a:cubicBezTo>
                  <a:cubicBezTo>
                    <a:pt x="9237" y="4171"/>
                    <a:pt x="9234" y="4094"/>
                    <a:pt x="9239" y="4077"/>
                  </a:cubicBezTo>
                  <a:cubicBezTo>
                    <a:pt x="9247" y="4040"/>
                    <a:pt x="9283" y="4008"/>
                    <a:pt x="9288" y="3971"/>
                  </a:cubicBezTo>
                  <a:cubicBezTo>
                    <a:pt x="9292" y="3937"/>
                    <a:pt x="9262" y="3908"/>
                    <a:pt x="9259" y="3873"/>
                  </a:cubicBezTo>
                  <a:cubicBezTo>
                    <a:pt x="9279" y="3883"/>
                    <a:pt x="9306" y="3924"/>
                    <a:pt x="9331" y="3910"/>
                  </a:cubicBezTo>
                  <a:cubicBezTo>
                    <a:pt x="9350" y="3898"/>
                    <a:pt x="9338" y="3876"/>
                    <a:pt x="9340" y="3862"/>
                  </a:cubicBezTo>
                  <a:cubicBezTo>
                    <a:pt x="9347" y="3821"/>
                    <a:pt x="9359" y="3807"/>
                    <a:pt x="9404" y="3782"/>
                  </a:cubicBezTo>
                  <a:cubicBezTo>
                    <a:pt x="9444" y="3760"/>
                    <a:pt x="9477" y="3740"/>
                    <a:pt x="9510" y="3712"/>
                  </a:cubicBezTo>
                  <a:cubicBezTo>
                    <a:pt x="9530" y="3696"/>
                    <a:pt x="9579" y="3651"/>
                    <a:pt x="9586" y="3628"/>
                  </a:cubicBezTo>
                  <a:cubicBezTo>
                    <a:pt x="9595" y="3598"/>
                    <a:pt x="9553" y="3567"/>
                    <a:pt x="9527" y="3546"/>
                  </a:cubicBezTo>
                  <a:cubicBezTo>
                    <a:pt x="9491" y="3518"/>
                    <a:pt x="9459" y="3495"/>
                    <a:pt x="9433" y="3457"/>
                  </a:cubicBezTo>
                  <a:cubicBezTo>
                    <a:pt x="9419" y="3437"/>
                    <a:pt x="9379" y="3362"/>
                    <a:pt x="9344" y="3393"/>
                  </a:cubicBezTo>
                  <a:cubicBezTo>
                    <a:pt x="9323" y="3411"/>
                    <a:pt x="9357" y="3472"/>
                    <a:pt x="9352" y="3495"/>
                  </a:cubicBezTo>
                  <a:cubicBezTo>
                    <a:pt x="9349" y="3506"/>
                    <a:pt x="9357" y="3517"/>
                    <a:pt x="9346" y="3525"/>
                  </a:cubicBezTo>
                  <a:cubicBezTo>
                    <a:pt x="9310" y="3551"/>
                    <a:pt x="9329" y="3493"/>
                    <a:pt x="9333" y="3501"/>
                  </a:cubicBezTo>
                  <a:cubicBezTo>
                    <a:pt x="9318" y="3471"/>
                    <a:pt x="9317" y="3442"/>
                    <a:pt x="9297" y="3416"/>
                  </a:cubicBezTo>
                  <a:cubicBezTo>
                    <a:pt x="9280" y="3394"/>
                    <a:pt x="9225" y="3363"/>
                    <a:pt x="9190" y="3380"/>
                  </a:cubicBezTo>
                  <a:cubicBezTo>
                    <a:pt x="9139" y="3405"/>
                    <a:pt x="9201" y="3441"/>
                    <a:pt x="9181" y="3473"/>
                  </a:cubicBezTo>
                  <a:cubicBezTo>
                    <a:pt x="9160" y="3450"/>
                    <a:pt x="9143" y="3406"/>
                    <a:pt x="9109" y="3461"/>
                  </a:cubicBezTo>
                  <a:cubicBezTo>
                    <a:pt x="9102" y="3472"/>
                    <a:pt x="9116" y="3506"/>
                    <a:pt x="9098" y="3513"/>
                  </a:cubicBezTo>
                  <a:cubicBezTo>
                    <a:pt x="9069" y="3523"/>
                    <a:pt x="9059" y="3490"/>
                    <a:pt x="9059" y="3476"/>
                  </a:cubicBezTo>
                  <a:cubicBezTo>
                    <a:pt x="9058" y="3454"/>
                    <a:pt x="9079" y="3445"/>
                    <a:pt x="9088" y="3425"/>
                  </a:cubicBezTo>
                  <a:cubicBezTo>
                    <a:pt x="9097" y="3404"/>
                    <a:pt x="9092" y="3393"/>
                    <a:pt x="9091" y="3371"/>
                  </a:cubicBezTo>
                  <a:cubicBezTo>
                    <a:pt x="9089" y="3332"/>
                    <a:pt x="9079" y="3295"/>
                    <a:pt x="9076" y="3256"/>
                  </a:cubicBezTo>
                  <a:cubicBezTo>
                    <a:pt x="9075" y="3234"/>
                    <a:pt x="9085" y="3185"/>
                    <a:pt x="9055" y="3201"/>
                  </a:cubicBezTo>
                  <a:cubicBezTo>
                    <a:pt x="9042" y="3208"/>
                    <a:pt x="9039" y="3241"/>
                    <a:pt x="9022" y="3252"/>
                  </a:cubicBezTo>
                  <a:cubicBezTo>
                    <a:pt x="8986" y="3276"/>
                    <a:pt x="9008" y="3256"/>
                    <a:pt x="9009" y="3247"/>
                  </a:cubicBezTo>
                  <a:cubicBezTo>
                    <a:pt x="9011" y="3213"/>
                    <a:pt x="9053" y="3187"/>
                    <a:pt x="9044" y="3156"/>
                  </a:cubicBezTo>
                  <a:cubicBezTo>
                    <a:pt x="9040" y="3143"/>
                    <a:pt x="8987" y="3087"/>
                    <a:pt x="8970" y="3082"/>
                  </a:cubicBezTo>
                  <a:cubicBezTo>
                    <a:pt x="8937" y="3073"/>
                    <a:pt x="8891" y="3110"/>
                    <a:pt x="8870" y="3106"/>
                  </a:cubicBezTo>
                  <a:cubicBezTo>
                    <a:pt x="8816" y="3093"/>
                    <a:pt x="8852" y="3051"/>
                    <a:pt x="8867" y="3036"/>
                  </a:cubicBezTo>
                  <a:cubicBezTo>
                    <a:pt x="8895" y="3008"/>
                    <a:pt x="8908" y="3004"/>
                    <a:pt x="8894" y="2964"/>
                  </a:cubicBezTo>
                  <a:cubicBezTo>
                    <a:pt x="8884" y="2934"/>
                    <a:pt x="8871" y="2904"/>
                    <a:pt x="8860" y="2875"/>
                  </a:cubicBezTo>
                  <a:cubicBezTo>
                    <a:pt x="8845" y="2837"/>
                    <a:pt x="8839" y="2831"/>
                    <a:pt x="8788" y="2825"/>
                  </a:cubicBezTo>
                  <a:cubicBezTo>
                    <a:pt x="8741" y="2820"/>
                    <a:pt x="8708" y="2815"/>
                    <a:pt x="8684" y="2850"/>
                  </a:cubicBezTo>
                  <a:cubicBezTo>
                    <a:pt x="8667" y="2876"/>
                    <a:pt x="8677" y="2915"/>
                    <a:pt x="8688" y="2940"/>
                  </a:cubicBezTo>
                  <a:cubicBezTo>
                    <a:pt x="8704" y="2977"/>
                    <a:pt x="8774" y="2995"/>
                    <a:pt x="8783" y="3025"/>
                  </a:cubicBezTo>
                  <a:cubicBezTo>
                    <a:pt x="8779" y="3024"/>
                    <a:pt x="8773" y="3023"/>
                    <a:pt x="8768" y="3023"/>
                  </a:cubicBezTo>
                  <a:cubicBezTo>
                    <a:pt x="8781" y="3044"/>
                    <a:pt x="8805" y="3064"/>
                    <a:pt x="8817" y="3087"/>
                  </a:cubicBezTo>
                  <a:cubicBezTo>
                    <a:pt x="8798" y="3079"/>
                    <a:pt x="8782" y="3067"/>
                    <a:pt x="8768" y="3057"/>
                  </a:cubicBezTo>
                  <a:cubicBezTo>
                    <a:pt x="8790" y="3129"/>
                    <a:pt x="8665" y="3052"/>
                    <a:pt x="8640" y="3031"/>
                  </a:cubicBezTo>
                  <a:cubicBezTo>
                    <a:pt x="8588" y="2986"/>
                    <a:pt x="8597" y="2950"/>
                    <a:pt x="8599" y="2898"/>
                  </a:cubicBezTo>
                  <a:cubicBezTo>
                    <a:pt x="8600" y="2890"/>
                    <a:pt x="8597" y="2868"/>
                    <a:pt x="8581" y="2879"/>
                  </a:cubicBezTo>
                  <a:cubicBezTo>
                    <a:pt x="8562" y="2892"/>
                    <a:pt x="8579" y="2856"/>
                    <a:pt x="8579" y="2855"/>
                  </a:cubicBezTo>
                  <a:cubicBezTo>
                    <a:pt x="8576" y="2829"/>
                    <a:pt x="8591" y="2825"/>
                    <a:pt x="8562" y="2799"/>
                  </a:cubicBezTo>
                  <a:cubicBezTo>
                    <a:pt x="8528" y="2768"/>
                    <a:pt x="8515" y="2769"/>
                    <a:pt x="8482" y="2785"/>
                  </a:cubicBezTo>
                  <a:cubicBezTo>
                    <a:pt x="8443" y="2805"/>
                    <a:pt x="8459" y="2794"/>
                    <a:pt x="8472" y="2837"/>
                  </a:cubicBezTo>
                  <a:cubicBezTo>
                    <a:pt x="8451" y="2824"/>
                    <a:pt x="8433" y="2807"/>
                    <a:pt x="8418" y="2789"/>
                  </a:cubicBezTo>
                  <a:cubicBezTo>
                    <a:pt x="8394" y="2787"/>
                    <a:pt x="8295" y="2793"/>
                    <a:pt x="8280" y="2772"/>
                  </a:cubicBezTo>
                  <a:cubicBezTo>
                    <a:pt x="8270" y="2757"/>
                    <a:pt x="8301" y="2731"/>
                    <a:pt x="8298" y="2715"/>
                  </a:cubicBezTo>
                  <a:cubicBezTo>
                    <a:pt x="8289" y="2668"/>
                    <a:pt x="8210" y="2650"/>
                    <a:pt x="8182" y="2616"/>
                  </a:cubicBezTo>
                  <a:cubicBezTo>
                    <a:pt x="8147" y="2574"/>
                    <a:pt x="8112" y="2526"/>
                    <a:pt x="8084" y="2480"/>
                  </a:cubicBezTo>
                  <a:cubicBezTo>
                    <a:pt x="8068" y="2453"/>
                    <a:pt x="8022" y="2427"/>
                    <a:pt x="8012" y="2402"/>
                  </a:cubicBezTo>
                  <a:cubicBezTo>
                    <a:pt x="8008" y="2393"/>
                    <a:pt x="8032" y="2397"/>
                    <a:pt x="8029" y="2391"/>
                  </a:cubicBezTo>
                  <a:cubicBezTo>
                    <a:pt x="8026" y="2382"/>
                    <a:pt x="8018" y="2372"/>
                    <a:pt x="8016" y="2362"/>
                  </a:cubicBezTo>
                  <a:cubicBezTo>
                    <a:pt x="7998" y="2289"/>
                    <a:pt x="7846" y="2210"/>
                    <a:pt x="7751" y="2191"/>
                  </a:cubicBezTo>
                  <a:cubicBezTo>
                    <a:pt x="7664" y="2174"/>
                    <a:pt x="7745" y="2251"/>
                    <a:pt x="7694" y="2224"/>
                  </a:cubicBezTo>
                  <a:cubicBezTo>
                    <a:pt x="7680" y="2217"/>
                    <a:pt x="7648" y="2203"/>
                    <a:pt x="7630" y="2206"/>
                  </a:cubicBezTo>
                  <a:cubicBezTo>
                    <a:pt x="7589" y="2212"/>
                    <a:pt x="7610" y="2223"/>
                    <a:pt x="7601" y="2243"/>
                  </a:cubicBezTo>
                  <a:cubicBezTo>
                    <a:pt x="7580" y="2292"/>
                    <a:pt x="7613" y="2354"/>
                    <a:pt x="7698" y="2324"/>
                  </a:cubicBezTo>
                  <a:cubicBezTo>
                    <a:pt x="7773" y="2299"/>
                    <a:pt x="7801" y="2326"/>
                    <a:pt x="7798" y="2377"/>
                  </a:cubicBezTo>
                  <a:cubicBezTo>
                    <a:pt x="7797" y="2406"/>
                    <a:pt x="7813" y="2405"/>
                    <a:pt x="7773" y="2419"/>
                  </a:cubicBezTo>
                  <a:cubicBezTo>
                    <a:pt x="7744" y="2430"/>
                    <a:pt x="7742" y="2416"/>
                    <a:pt x="7707" y="2413"/>
                  </a:cubicBezTo>
                  <a:cubicBezTo>
                    <a:pt x="7693" y="2412"/>
                    <a:pt x="7612" y="2410"/>
                    <a:pt x="7610" y="2413"/>
                  </a:cubicBezTo>
                  <a:cubicBezTo>
                    <a:pt x="7596" y="2428"/>
                    <a:pt x="7678" y="2455"/>
                    <a:pt x="7687" y="2461"/>
                  </a:cubicBezTo>
                  <a:cubicBezTo>
                    <a:pt x="7681" y="2461"/>
                    <a:pt x="7672" y="2461"/>
                    <a:pt x="7667" y="2461"/>
                  </a:cubicBezTo>
                  <a:cubicBezTo>
                    <a:pt x="7672" y="2464"/>
                    <a:pt x="7681" y="2471"/>
                    <a:pt x="7686" y="2476"/>
                  </a:cubicBezTo>
                  <a:cubicBezTo>
                    <a:pt x="7670" y="2479"/>
                    <a:pt x="7665" y="2479"/>
                    <a:pt x="7655" y="2488"/>
                  </a:cubicBezTo>
                  <a:cubicBezTo>
                    <a:pt x="7659" y="2485"/>
                    <a:pt x="7617" y="2514"/>
                    <a:pt x="7627" y="2511"/>
                  </a:cubicBezTo>
                  <a:cubicBezTo>
                    <a:pt x="7590" y="2523"/>
                    <a:pt x="7612" y="2518"/>
                    <a:pt x="7578" y="2498"/>
                  </a:cubicBezTo>
                  <a:cubicBezTo>
                    <a:pt x="7552" y="2483"/>
                    <a:pt x="7535" y="2459"/>
                    <a:pt x="7509" y="2478"/>
                  </a:cubicBezTo>
                  <a:cubicBezTo>
                    <a:pt x="7471" y="2507"/>
                    <a:pt x="7482" y="2521"/>
                    <a:pt x="7469" y="2560"/>
                  </a:cubicBezTo>
                  <a:cubicBezTo>
                    <a:pt x="7459" y="2589"/>
                    <a:pt x="7427" y="2613"/>
                    <a:pt x="7500" y="2603"/>
                  </a:cubicBezTo>
                  <a:cubicBezTo>
                    <a:pt x="7485" y="2627"/>
                    <a:pt x="7410" y="2649"/>
                    <a:pt x="7467" y="2673"/>
                  </a:cubicBezTo>
                  <a:cubicBezTo>
                    <a:pt x="7486" y="2682"/>
                    <a:pt x="7586" y="2646"/>
                    <a:pt x="7544" y="2674"/>
                  </a:cubicBezTo>
                  <a:cubicBezTo>
                    <a:pt x="7517" y="2693"/>
                    <a:pt x="7578" y="2722"/>
                    <a:pt x="7607" y="2721"/>
                  </a:cubicBezTo>
                  <a:cubicBezTo>
                    <a:pt x="7632" y="2720"/>
                    <a:pt x="7640" y="2705"/>
                    <a:pt x="7659" y="2706"/>
                  </a:cubicBezTo>
                  <a:cubicBezTo>
                    <a:pt x="7652" y="2706"/>
                    <a:pt x="7693" y="2725"/>
                    <a:pt x="7700" y="2726"/>
                  </a:cubicBezTo>
                  <a:cubicBezTo>
                    <a:pt x="7678" y="2737"/>
                    <a:pt x="7619" y="2737"/>
                    <a:pt x="7608" y="2756"/>
                  </a:cubicBezTo>
                  <a:cubicBezTo>
                    <a:pt x="7598" y="2775"/>
                    <a:pt x="7621" y="2802"/>
                    <a:pt x="7646" y="2805"/>
                  </a:cubicBezTo>
                  <a:cubicBezTo>
                    <a:pt x="7676" y="2808"/>
                    <a:pt x="7772" y="2824"/>
                    <a:pt x="7763" y="2858"/>
                  </a:cubicBezTo>
                  <a:cubicBezTo>
                    <a:pt x="7760" y="2868"/>
                    <a:pt x="7618" y="2865"/>
                    <a:pt x="7591" y="2847"/>
                  </a:cubicBezTo>
                  <a:cubicBezTo>
                    <a:pt x="7555" y="2824"/>
                    <a:pt x="7547" y="2827"/>
                    <a:pt x="7501" y="2833"/>
                  </a:cubicBezTo>
                  <a:cubicBezTo>
                    <a:pt x="7472" y="2836"/>
                    <a:pt x="7443" y="2841"/>
                    <a:pt x="7415" y="2847"/>
                  </a:cubicBezTo>
                  <a:cubicBezTo>
                    <a:pt x="7374" y="2855"/>
                    <a:pt x="7397" y="2854"/>
                    <a:pt x="7392" y="2872"/>
                  </a:cubicBezTo>
                  <a:cubicBezTo>
                    <a:pt x="7393" y="2870"/>
                    <a:pt x="7400" y="2908"/>
                    <a:pt x="7400" y="2911"/>
                  </a:cubicBezTo>
                  <a:cubicBezTo>
                    <a:pt x="7401" y="2917"/>
                    <a:pt x="7377" y="2919"/>
                    <a:pt x="7382" y="2929"/>
                  </a:cubicBezTo>
                  <a:cubicBezTo>
                    <a:pt x="7385" y="2935"/>
                    <a:pt x="7404" y="2937"/>
                    <a:pt x="7409" y="2943"/>
                  </a:cubicBezTo>
                  <a:cubicBezTo>
                    <a:pt x="7429" y="2966"/>
                    <a:pt x="7490" y="2993"/>
                    <a:pt x="7499" y="3013"/>
                  </a:cubicBezTo>
                  <a:cubicBezTo>
                    <a:pt x="7518" y="3052"/>
                    <a:pt x="7420" y="2995"/>
                    <a:pt x="7385" y="3009"/>
                  </a:cubicBezTo>
                  <a:cubicBezTo>
                    <a:pt x="7365" y="3017"/>
                    <a:pt x="7364" y="3046"/>
                    <a:pt x="7364" y="3047"/>
                  </a:cubicBezTo>
                  <a:cubicBezTo>
                    <a:pt x="7343" y="3054"/>
                    <a:pt x="7303" y="3023"/>
                    <a:pt x="7291" y="3044"/>
                  </a:cubicBezTo>
                  <a:cubicBezTo>
                    <a:pt x="7281" y="3060"/>
                    <a:pt x="7322" y="3055"/>
                    <a:pt x="7323" y="3060"/>
                  </a:cubicBezTo>
                  <a:cubicBezTo>
                    <a:pt x="7325" y="3065"/>
                    <a:pt x="7314" y="3089"/>
                    <a:pt x="7317" y="3092"/>
                  </a:cubicBezTo>
                  <a:cubicBezTo>
                    <a:pt x="7325" y="3102"/>
                    <a:pt x="7357" y="3114"/>
                    <a:pt x="7380" y="3126"/>
                  </a:cubicBezTo>
                  <a:cubicBezTo>
                    <a:pt x="7422" y="3150"/>
                    <a:pt x="7418" y="3148"/>
                    <a:pt x="7457" y="3138"/>
                  </a:cubicBezTo>
                  <a:cubicBezTo>
                    <a:pt x="7466" y="3135"/>
                    <a:pt x="7469" y="3123"/>
                    <a:pt x="7478" y="3120"/>
                  </a:cubicBezTo>
                  <a:cubicBezTo>
                    <a:pt x="7489" y="3115"/>
                    <a:pt x="7493" y="3124"/>
                    <a:pt x="7493" y="3124"/>
                  </a:cubicBezTo>
                  <a:cubicBezTo>
                    <a:pt x="7502" y="3121"/>
                    <a:pt x="7525" y="3125"/>
                    <a:pt x="7544" y="3111"/>
                  </a:cubicBezTo>
                  <a:cubicBezTo>
                    <a:pt x="7517" y="3142"/>
                    <a:pt x="7469" y="3146"/>
                    <a:pt x="7493" y="3179"/>
                  </a:cubicBezTo>
                  <a:cubicBezTo>
                    <a:pt x="7518" y="3211"/>
                    <a:pt x="7568" y="3204"/>
                    <a:pt x="7604" y="3188"/>
                  </a:cubicBezTo>
                  <a:cubicBezTo>
                    <a:pt x="7626" y="3178"/>
                    <a:pt x="7650" y="3160"/>
                    <a:pt x="7659" y="3141"/>
                  </a:cubicBezTo>
                  <a:cubicBezTo>
                    <a:pt x="7678" y="3098"/>
                    <a:pt x="7679" y="3140"/>
                    <a:pt x="7719" y="3139"/>
                  </a:cubicBezTo>
                  <a:cubicBezTo>
                    <a:pt x="7704" y="3170"/>
                    <a:pt x="7642" y="3198"/>
                    <a:pt x="7654" y="3231"/>
                  </a:cubicBezTo>
                  <a:cubicBezTo>
                    <a:pt x="7665" y="3260"/>
                    <a:pt x="7718" y="3269"/>
                    <a:pt x="7722" y="3300"/>
                  </a:cubicBezTo>
                  <a:cubicBezTo>
                    <a:pt x="7691" y="3295"/>
                    <a:pt x="7668" y="3271"/>
                    <a:pt x="7636" y="3267"/>
                  </a:cubicBezTo>
                  <a:cubicBezTo>
                    <a:pt x="7602" y="3263"/>
                    <a:pt x="7555" y="3275"/>
                    <a:pt x="7517" y="3272"/>
                  </a:cubicBezTo>
                  <a:close/>
                  <a:moveTo>
                    <a:pt x="9098" y="5614"/>
                  </a:moveTo>
                  <a:cubicBezTo>
                    <a:pt x="9051" y="5583"/>
                    <a:pt x="8965" y="5607"/>
                    <a:pt x="8941" y="5651"/>
                  </a:cubicBezTo>
                  <a:cubicBezTo>
                    <a:pt x="8906" y="5717"/>
                    <a:pt x="9056" y="5830"/>
                    <a:pt x="9120" y="5865"/>
                  </a:cubicBezTo>
                  <a:cubicBezTo>
                    <a:pt x="9125" y="5814"/>
                    <a:pt x="9165" y="5872"/>
                    <a:pt x="9178" y="5836"/>
                  </a:cubicBezTo>
                  <a:cubicBezTo>
                    <a:pt x="9181" y="5828"/>
                    <a:pt x="9129" y="5782"/>
                    <a:pt x="9124" y="5763"/>
                  </a:cubicBezTo>
                  <a:cubicBezTo>
                    <a:pt x="9108" y="5705"/>
                    <a:pt x="9181" y="5669"/>
                    <a:pt x="9098" y="5614"/>
                  </a:cubicBezTo>
                  <a:close/>
                  <a:moveTo>
                    <a:pt x="6942" y="5968"/>
                  </a:moveTo>
                  <a:cubicBezTo>
                    <a:pt x="6931" y="5959"/>
                    <a:pt x="6899" y="5949"/>
                    <a:pt x="6894" y="5945"/>
                  </a:cubicBezTo>
                  <a:cubicBezTo>
                    <a:pt x="6884" y="5935"/>
                    <a:pt x="6932" y="5922"/>
                    <a:pt x="6887" y="5915"/>
                  </a:cubicBezTo>
                  <a:cubicBezTo>
                    <a:pt x="6868" y="5912"/>
                    <a:pt x="6858" y="5931"/>
                    <a:pt x="6835" y="5931"/>
                  </a:cubicBezTo>
                  <a:cubicBezTo>
                    <a:pt x="6819" y="5931"/>
                    <a:pt x="6799" y="5916"/>
                    <a:pt x="6781" y="5914"/>
                  </a:cubicBezTo>
                  <a:cubicBezTo>
                    <a:pt x="6733" y="5911"/>
                    <a:pt x="6688" y="5942"/>
                    <a:pt x="6657" y="5969"/>
                  </a:cubicBezTo>
                  <a:cubicBezTo>
                    <a:pt x="6643" y="5982"/>
                    <a:pt x="6650" y="5987"/>
                    <a:pt x="6635" y="5999"/>
                  </a:cubicBezTo>
                  <a:cubicBezTo>
                    <a:pt x="6614" y="6016"/>
                    <a:pt x="6592" y="6003"/>
                    <a:pt x="6597" y="6034"/>
                  </a:cubicBezTo>
                  <a:cubicBezTo>
                    <a:pt x="6598" y="6045"/>
                    <a:pt x="6652" y="6108"/>
                    <a:pt x="6666" y="6113"/>
                  </a:cubicBezTo>
                  <a:cubicBezTo>
                    <a:pt x="6685" y="6121"/>
                    <a:pt x="6770" y="6111"/>
                    <a:pt x="6785" y="6107"/>
                  </a:cubicBezTo>
                  <a:cubicBezTo>
                    <a:pt x="6779" y="6131"/>
                    <a:pt x="6809" y="6153"/>
                    <a:pt x="6837" y="6152"/>
                  </a:cubicBezTo>
                  <a:cubicBezTo>
                    <a:pt x="6800" y="6172"/>
                    <a:pt x="6854" y="6178"/>
                    <a:pt x="6857" y="6176"/>
                  </a:cubicBezTo>
                  <a:cubicBezTo>
                    <a:pt x="6834" y="6194"/>
                    <a:pt x="6798" y="6171"/>
                    <a:pt x="6779" y="6158"/>
                  </a:cubicBezTo>
                  <a:cubicBezTo>
                    <a:pt x="6784" y="6166"/>
                    <a:pt x="6793" y="6180"/>
                    <a:pt x="6805" y="6187"/>
                  </a:cubicBezTo>
                  <a:cubicBezTo>
                    <a:pt x="6776" y="6189"/>
                    <a:pt x="6719" y="6166"/>
                    <a:pt x="6707" y="6199"/>
                  </a:cubicBezTo>
                  <a:cubicBezTo>
                    <a:pt x="6698" y="6224"/>
                    <a:pt x="6754" y="6244"/>
                    <a:pt x="6779" y="6247"/>
                  </a:cubicBezTo>
                  <a:cubicBezTo>
                    <a:pt x="6838" y="6254"/>
                    <a:pt x="6806" y="6234"/>
                    <a:pt x="6862" y="6263"/>
                  </a:cubicBezTo>
                  <a:cubicBezTo>
                    <a:pt x="6908" y="6286"/>
                    <a:pt x="6914" y="6266"/>
                    <a:pt x="6963" y="6268"/>
                  </a:cubicBezTo>
                  <a:cubicBezTo>
                    <a:pt x="6951" y="6273"/>
                    <a:pt x="6919" y="6293"/>
                    <a:pt x="6907" y="6295"/>
                  </a:cubicBezTo>
                  <a:cubicBezTo>
                    <a:pt x="6887" y="6297"/>
                    <a:pt x="6884" y="6288"/>
                    <a:pt x="6860" y="6283"/>
                  </a:cubicBezTo>
                  <a:cubicBezTo>
                    <a:pt x="6820" y="6275"/>
                    <a:pt x="6813" y="6272"/>
                    <a:pt x="6781" y="6292"/>
                  </a:cubicBezTo>
                  <a:cubicBezTo>
                    <a:pt x="6807" y="6311"/>
                    <a:pt x="6815" y="6352"/>
                    <a:pt x="6830" y="6371"/>
                  </a:cubicBezTo>
                  <a:cubicBezTo>
                    <a:pt x="6841" y="6385"/>
                    <a:pt x="6862" y="6413"/>
                    <a:pt x="6868" y="6434"/>
                  </a:cubicBezTo>
                  <a:cubicBezTo>
                    <a:pt x="6889" y="6418"/>
                    <a:pt x="6936" y="6404"/>
                    <a:pt x="6963" y="6410"/>
                  </a:cubicBezTo>
                  <a:cubicBezTo>
                    <a:pt x="6938" y="6415"/>
                    <a:pt x="6864" y="6458"/>
                    <a:pt x="6859" y="6475"/>
                  </a:cubicBezTo>
                  <a:cubicBezTo>
                    <a:pt x="6835" y="6435"/>
                    <a:pt x="6820" y="6468"/>
                    <a:pt x="6801" y="6452"/>
                  </a:cubicBezTo>
                  <a:cubicBezTo>
                    <a:pt x="6797" y="6448"/>
                    <a:pt x="6816" y="6435"/>
                    <a:pt x="6811" y="6428"/>
                  </a:cubicBezTo>
                  <a:cubicBezTo>
                    <a:pt x="6803" y="6417"/>
                    <a:pt x="6790" y="6406"/>
                    <a:pt x="6781" y="6394"/>
                  </a:cubicBezTo>
                  <a:cubicBezTo>
                    <a:pt x="6763" y="6368"/>
                    <a:pt x="6753" y="6357"/>
                    <a:pt x="6725" y="6338"/>
                  </a:cubicBezTo>
                  <a:cubicBezTo>
                    <a:pt x="6715" y="6331"/>
                    <a:pt x="6690" y="6341"/>
                    <a:pt x="6687" y="6327"/>
                  </a:cubicBezTo>
                  <a:cubicBezTo>
                    <a:pt x="6688" y="6331"/>
                    <a:pt x="6724" y="6308"/>
                    <a:pt x="6726" y="6303"/>
                  </a:cubicBezTo>
                  <a:cubicBezTo>
                    <a:pt x="6702" y="6306"/>
                    <a:pt x="6683" y="6321"/>
                    <a:pt x="6659" y="6320"/>
                  </a:cubicBezTo>
                  <a:cubicBezTo>
                    <a:pt x="6707" y="6288"/>
                    <a:pt x="6631" y="6240"/>
                    <a:pt x="6599" y="6219"/>
                  </a:cubicBezTo>
                  <a:cubicBezTo>
                    <a:pt x="6565" y="6198"/>
                    <a:pt x="6572" y="6224"/>
                    <a:pt x="6567" y="6186"/>
                  </a:cubicBezTo>
                  <a:cubicBezTo>
                    <a:pt x="6562" y="6156"/>
                    <a:pt x="6570" y="6155"/>
                    <a:pt x="6552" y="6128"/>
                  </a:cubicBezTo>
                  <a:cubicBezTo>
                    <a:pt x="6527" y="6093"/>
                    <a:pt x="6458" y="6041"/>
                    <a:pt x="6395" y="6057"/>
                  </a:cubicBezTo>
                  <a:cubicBezTo>
                    <a:pt x="6369" y="6063"/>
                    <a:pt x="6355" y="6092"/>
                    <a:pt x="6348" y="6106"/>
                  </a:cubicBezTo>
                  <a:cubicBezTo>
                    <a:pt x="6343" y="6114"/>
                    <a:pt x="6384" y="6135"/>
                    <a:pt x="6345" y="6125"/>
                  </a:cubicBezTo>
                  <a:cubicBezTo>
                    <a:pt x="6347" y="6148"/>
                    <a:pt x="6345" y="6167"/>
                    <a:pt x="6315" y="6178"/>
                  </a:cubicBezTo>
                  <a:cubicBezTo>
                    <a:pt x="6357" y="6176"/>
                    <a:pt x="6330" y="6194"/>
                    <a:pt x="6337" y="6206"/>
                  </a:cubicBezTo>
                  <a:cubicBezTo>
                    <a:pt x="6338" y="6209"/>
                    <a:pt x="6311" y="6216"/>
                    <a:pt x="6326" y="6229"/>
                  </a:cubicBezTo>
                  <a:cubicBezTo>
                    <a:pt x="6336" y="6238"/>
                    <a:pt x="6346" y="6229"/>
                    <a:pt x="6356" y="6231"/>
                  </a:cubicBezTo>
                  <a:cubicBezTo>
                    <a:pt x="6389" y="6239"/>
                    <a:pt x="6467" y="6225"/>
                    <a:pt x="6498" y="6208"/>
                  </a:cubicBezTo>
                  <a:cubicBezTo>
                    <a:pt x="6472" y="6266"/>
                    <a:pt x="6363" y="6267"/>
                    <a:pt x="6383" y="6348"/>
                  </a:cubicBezTo>
                  <a:cubicBezTo>
                    <a:pt x="6397" y="6402"/>
                    <a:pt x="6472" y="6427"/>
                    <a:pt x="6516" y="6380"/>
                  </a:cubicBezTo>
                  <a:cubicBezTo>
                    <a:pt x="6517" y="6403"/>
                    <a:pt x="6485" y="6414"/>
                    <a:pt x="6472" y="6434"/>
                  </a:cubicBezTo>
                  <a:cubicBezTo>
                    <a:pt x="6451" y="6466"/>
                    <a:pt x="6462" y="6475"/>
                    <a:pt x="6486" y="6501"/>
                  </a:cubicBezTo>
                  <a:cubicBezTo>
                    <a:pt x="6492" y="6508"/>
                    <a:pt x="6509" y="6516"/>
                    <a:pt x="6517" y="6526"/>
                  </a:cubicBezTo>
                  <a:cubicBezTo>
                    <a:pt x="6530" y="6540"/>
                    <a:pt x="6502" y="6550"/>
                    <a:pt x="6524" y="6559"/>
                  </a:cubicBezTo>
                  <a:cubicBezTo>
                    <a:pt x="6551" y="6569"/>
                    <a:pt x="6590" y="6535"/>
                    <a:pt x="6615" y="6532"/>
                  </a:cubicBezTo>
                  <a:cubicBezTo>
                    <a:pt x="6603" y="6559"/>
                    <a:pt x="6528" y="6584"/>
                    <a:pt x="6498" y="6572"/>
                  </a:cubicBezTo>
                  <a:cubicBezTo>
                    <a:pt x="6477" y="6564"/>
                    <a:pt x="6495" y="6555"/>
                    <a:pt x="6486" y="6546"/>
                  </a:cubicBezTo>
                  <a:cubicBezTo>
                    <a:pt x="6479" y="6539"/>
                    <a:pt x="6467" y="6530"/>
                    <a:pt x="6460" y="6523"/>
                  </a:cubicBezTo>
                  <a:cubicBezTo>
                    <a:pt x="6434" y="6495"/>
                    <a:pt x="6410" y="6473"/>
                    <a:pt x="6374" y="6472"/>
                  </a:cubicBezTo>
                  <a:cubicBezTo>
                    <a:pt x="6338" y="6471"/>
                    <a:pt x="6229" y="6516"/>
                    <a:pt x="6275" y="6552"/>
                  </a:cubicBezTo>
                  <a:cubicBezTo>
                    <a:pt x="6285" y="6560"/>
                    <a:pt x="6307" y="6544"/>
                    <a:pt x="6313" y="6549"/>
                  </a:cubicBezTo>
                  <a:cubicBezTo>
                    <a:pt x="6333" y="6565"/>
                    <a:pt x="6308" y="6553"/>
                    <a:pt x="6316" y="6565"/>
                  </a:cubicBezTo>
                  <a:cubicBezTo>
                    <a:pt x="6324" y="6578"/>
                    <a:pt x="6323" y="6602"/>
                    <a:pt x="6352" y="6614"/>
                  </a:cubicBezTo>
                  <a:cubicBezTo>
                    <a:pt x="6315" y="6623"/>
                    <a:pt x="6275" y="6580"/>
                    <a:pt x="6227" y="6600"/>
                  </a:cubicBezTo>
                  <a:cubicBezTo>
                    <a:pt x="6239" y="6595"/>
                    <a:pt x="6196" y="6638"/>
                    <a:pt x="6199" y="6630"/>
                  </a:cubicBezTo>
                  <a:cubicBezTo>
                    <a:pt x="6193" y="6647"/>
                    <a:pt x="6191" y="6659"/>
                    <a:pt x="6200" y="6676"/>
                  </a:cubicBezTo>
                  <a:cubicBezTo>
                    <a:pt x="6112" y="6642"/>
                    <a:pt x="6179" y="6704"/>
                    <a:pt x="6172" y="6723"/>
                  </a:cubicBezTo>
                  <a:cubicBezTo>
                    <a:pt x="6173" y="6722"/>
                    <a:pt x="6196" y="6763"/>
                    <a:pt x="6195" y="6763"/>
                  </a:cubicBezTo>
                  <a:cubicBezTo>
                    <a:pt x="6222" y="6770"/>
                    <a:pt x="6235" y="6746"/>
                    <a:pt x="6259" y="6735"/>
                  </a:cubicBezTo>
                  <a:cubicBezTo>
                    <a:pt x="6298" y="6719"/>
                    <a:pt x="6336" y="6729"/>
                    <a:pt x="6375" y="6723"/>
                  </a:cubicBezTo>
                  <a:cubicBezTo>
                    <a:pt x="6395" y="6720"/>
                    <a:pt x="6499" y="6676"/>
                    <a:pt x="6505" y="6696"/>
                  </a:cubicBezTo>
                  <a:cubicBezTo>
                    <a:pt x="6509" y="6712"/>
                    <a:pt x="6671" y="6662"/>
                    <a:pt x="6706" y="6653"/>
                  </a:cubicBezTo>
                  <a:cubicBezTo>
                    <a:pt x="6737" y="6644"/>
                    <a:pt x="6783" y="6647"/>
                    <a:pt x="6822" y="6638"/>
                  </a:cubicBezTo>
                  <a:cubicBezTo>
                    <a:pt x="6860" y="6630"/>
                    <a:pt x="6903" y="6609"/>
                    <a:pt x="6943" y="6613"/>
                  </a:cubicBezTo>
                  <a:cubicBezTo>
                    <a:pt x="6939" y="6617"/>
                    <a:pt x="6931" y="6622"/>
                    <a:pt x="6926" y="6626"/>
                  </a:cubicBezTo>
                  <a:cubicBezTo>
                    <a:pt x="6971" y="6629"/>
                    <a:pt x="7028" y="6593"/>
                    <a:pt x="7076" y="6599"/>
                  </a:cubicBezTo>
                  <a:cubicBezTo>
                    <a:pt x="7156" y="6609"/>
                    <a:pt x="7034" y="6618"/>
                    <a:pt x="7012" y="6620"/>
                  </a:cubicBezTo>
                  <a:cubicBezTo>
                    <a:pt x="6979" y="6624"/>
                    <a:pt x="6880" y="6633"/>
                    <a:pt x="6881" y="6666"/>
                  </a:cubicBezTo>
                  <a:cubicBezTo>
                    <a:pt x="6882" y="6685"/>
                    <a:pt x="6934" y="6657"/>
                    <a:pt x="6907" y="6691"/>
                  </a:cubicBezTo>
                  <a:cubicBezTo>
                    <a:pt x="6902" y="6697"/>
                    <a:pt x="6850" y="6715"/>
                    <a:pt x="6838" y="6720"/>
                  </a:cubicBezTo>
                  <a:cubicBezTo>
                    <a:pt x="6849" y="6721"/>
                    <a:pt x="6871" y="6726"/>
                    <a:pt x="6883" y="6724"/>
                  </a:cubicBezTo>
                  <a:cubicBezTo>
                    <a:pt x="6851" y="6735"/>
                    <a:pt x="6811" y="6736"/>
                    <a:pt x="6781" y="6747"/>
                  </a:cubicBezTo>
                  <a:cubicBezTo>
                    <a:pt x="6803" y="6756"/>
                    <a:pt x="6831" y="6756"/>
                    <a:pt x="6855" y="6761"/>
                  </a:cubicBezTo>
                  <a:cubicBezTo>
                    <a:pt x="6836" y="6776"/>
                    <a:pt x="6801" y="6769"/>
                    <a:pt x="6776" y="6778"/>
                  </a:cubicBezTo>
                  <a:cubicBezTo>
                    <a:pt x="6796" y="6782"/>
                    <a:pt x="6819" y="6780"/>
                    <a:pt x="6841" y="6783"/>
                  </a:cubicBezTo>
                  <a:cubicBezTo>
                    <a:pt x="6808" y="6811"/>
                    <a:pt x="6721" y="6794"/>
                    <a:pt x="6677" y="6811"/>
                  </a:cubicBezTo>
                  <a:cubicBezTo>
                    <a:pt x="6700" y="6816"/>
                    <a:pt x="6745" y="6841"/>
                    <a:pt x="6734" y="6858"/>
                  </a:cubicBezTo>
                  <a:cubicBezTo>
                    <a:pt x="6730" y="6864"/>
                    <a:pt x="6678" y="6882"/>
                    <a:pt x="6696" y="6852"/>
                  </a:cubicBezTo>
                  <a:cubicBezTo>
                    <a:pt x="6652" y="6858"/>
                    <a:pt x="6670" y="6878"/>
                    <a:pt x="6693" y="6893"/>
                  </a:cubicBezTo>
                  <a:cubicBezTo>
                    <a:pt x="6727" y="6915"/>
                    <a:pt x="6746" y="6908"/>
                    <a:pt x="6788" y="6901"/>
                  </a:cubicBezTo>
                  <a:cubicBezTo>
                    <a:pt x="6782" y="6937"/>
                    <a:pt x="6736" y="6924"/>
                    <a:pt x="6786" y="6941"/>
                  </a:cubicBezTo>
                  <a:cubicBezTo>
                    <a:pt x="6796" y="6945"/>
                    <a:pt x="6862" y="6940"/>
                    <a:pt x="6852" y="6957"/>
                  </a:cubicBezTo>
                  <a:cubicBezTo>
                    <a:pt x="6845" y="6967"/>
                    <a:pt x="6778" y="6956"/>
                    <a:pt x="6766" y="6959"/>
                  </a:cubicBezTo>
                  <a:cubicBezTo>
                    <a:pt x="6748" y="6963"/>
                    <a:pt x="6737" y="6962"/>
                    <a:pt x="6726" y="6976"/>
                  </a:cubicBezTo>
                  <a:cubicBezTo>
                    <a:pt x="6709" y="6995"/>
                    <a:pt x="6744" y="6992"/>
                    <a:pt x="6750" y="7005"/>
                  </a:cubicBezTo>
                  <a:cubicBezTo>
                    <a:pt x="6771" y="7050"/>
                    <a:pt x="6735" y="7100"/>
                    <a:pt x="6801" y="7126"/>
                  </a:cubicBezTo>
                  <a:cubicBezTo>
                    <a:pt x="6846" y="7144"/>
                    <a:pt x="6911" y="7140"/>
                    <a:pt x="6960" y="7144"/>
                  </a:cubicBezTo>
                  <a:cubicBezTo>
                    <a:pt x="7020" y="7131"/>
                    <a:pt x="7004" y="7070"/>
                    <a:pt x="7035" y="7032"/>
                  </a:cubicBezTo>
                  <a:cubicBezTo>
                    <a:pt x="7035" y="7050"/>
                    <a:pt x="6999" y="7096"/>
                    <a:pt x="7014" y="7112"/>
                  </a:cubicBezTo>
                  <a:cubicBezTo>
                    <a:pt x="7024" y="7123"/>
                    <a:pt x="7092" y="7124"/>
                    <a:pt x="7107" y="7118"/>
                  </a:cubicBezTo>
                  <a:cubicBezTo>
                    <a:pt x="7131" y="7108"/>
                    <a:pt x="7126" y="7094"/>
                    <a:pt x="7145" y="7078"/>
                  </a:cubicBezTo>
                  <a:cubicBezTo>
                    <a:pt x="7134" y="7118"/>
                    <a:pt x="7245" y="7100"/>
                    <a:pt x="7279" y="7099"/>
                  </a:cubicBezTo>
                  <a:cubicBezTo>
                    <a:pt x="7329" y="7097"/>
                    <a:pt x="7386" y="7102"/>
                    <a:pt x="7371" y="7054"/>
                  </a:cubicBezTo>
                  <a:cubicBezTo>
                    <a:pt x="7364" y="7030"/>
                    <a:pt x="7346" y="7025"/>
                    <a:pt x="7327" y="7006"/>
                  </a:cubicBezTo>
                  <a:cubicBezTo>
                    <a:pt x="7308" y="6987"/>
                    <a:pt x="7326" y="6968"/>
                    <a:pt x="7330" y="6949"/>
                  </a:cubicBezTo>
                  <a:cubicBezTo>
                    <a:pt x="7366" y="6967"/>
                    <a:pt x="7332" y="7015"/>
                    <a:pt x="7407" y="7016"/>
                  </a:cubicBezTo>
                  <a:cubicBezTo>
                    <a:pt x="7497" y="7017"/>
                    <a:pt x="7434" y="6961"/>
                    <a:pt x="7409" y="6968"/>
                  </a:cubicBezTo>
                  <a:cubicBezTo>
                    <a:pt x="7425" y="6941"/>
                    <a:pt x="7380" y="6911"/>
                    <a:pt x="7366" y="6890"/>
                  </a:cubicBezTo>
                  <a:cubicBezTo>
                    <a:pt x="7371" y="6931"/>
                    <a:pt x="7339" y="6900"/>
                    <a:pt x="7367" y="6871"/>
                  </a:cubicBezTo>
                  <a:cubicBezTo>
                    <a:pt x="7343" y="6870"/>
                    <a:pt x="7306" y="6925"/>
                    <a:pt x="7323" y="6872"/>
                  </a:cubicBezTo>
                  <a:cubicBezTo>
                    <a:pt x="7293" y="6874"/>
                    <a:pt x="7305" y="6851"/>
                    <a:pt x="7322" y="6838"/>
                  </a:cubicBezTo>
                  <a:cubicBezTo>
                    <a:pt x="7324" y="6840"/>
                    <a:pt x="7355" y="6853"/>
                    <a:pt x="7363" y="6842"/>
                  </a:cubicBezTo>
                  <a:cubicBezTo>
                    <a:pt x="7380" y="6821"/>
                    <a:pt x="7336" y="6831"/>
                    <a:pt x="7338" y="6823"/>
                  </a:cubicBezTo>
                  <a:cubicBezTo>
                    <a:pt x="7344" y="6791"/>
                    <a:pt x="7343" y="6828"/>
                    <a:pt x="7364" y="6806"/>
                  </a:cubicBezTo>
                  <a:cubicBezTo>
                    <a:pt x="7371" y="6798"/>
                    <a:pt x="7376" y="6795"/>
                    <a:pt x="7378" y="6793"/>
                  </a:cubicBezTo>
                  <a:cubicBezTo>
                    <a:pt x="7374" y="6795"/>
                    <a:pt x="7365" y="6795"/>
                    <a:pt x="7353" y="6780"/>
                  </a:cubicBezTo>
                  <a:cubicBezTo>
                    <a:pt x="7348" y="6774"/>
                    <a:pt x="7341" y="6788"/>
                    <a:pt x="7335" y="6775"/>
                  </a:cubicBezTo>
                  <a:cubicBezTo>
                    <a:pt x="7338" y="6781"/>
                    <a:pt x="7345" y="6750"/>
                    <a:pt x="7345" y="6748"/>
                  </a:cubicBezTo>
                  <a:cubicBezTo>
                    <a:pt x="7353" y="6703"/>
                    <a:pt x="7379" y="6765"/>
                    <a:pt x="7380" y="6765"/>
                  </a:cubicBezTo>
                  <a:cubicBezTo>
                    <a:pt x="7418" y="6759"/>
                    <a:pt x="7381" y="6740"/>
                    <a:pt x="7381" y="6723"/>
                  </a:cubicBezTo>
                  <a:cubicBezTo>
                    <a:pt x="7380" y="6702"/>
                    <a:pt x="7384" y="6708"/>
                    <a:pt x="7396" y="6688"/>
                  </a:cubicBezTo>
                  <a:cubicBezTo>
                    <a:pt x="7416" y="6709"/>
                    <a:pt x="7448" y="6728"/>
                    <a:pt x="7460" y="6749"/>
                  </a:cubicBezTo>
                  <a:cubicBezTo>
                    <a:pt x="7473" y="6772"/>
                    <a:pt x="7453" y="6812"/>
                    <a:pt x="7512" y="6805"/>
                  </a:cubicBezTo>
                  <a:cubicBezTo>
                    <a:pt x="7480" y="6781"/>
                    <a:pt x="7471" y="6738"/>
                    <a:pt x="7474" y="6704"/>
                  </a:cubicBezTo>
                  <a:cubicBezTo>
                    <a:pt x="7477" y="6678"/>
                    <a:pt x="7487" y="6615"/>
                    <a:pt x="7467" y="6597"/>
                  </a:cubicBezTo>
                  <a:cubicBezTo>
                    <a:pt x="7446" y="6579"/>
                    <a:pt x="7350" y="6586"/>
                    <a:pt x="7342" y="6560"/>
                  </a:cubicBezTo>
                  <a:cubicBezTo>
                    <a:pt x="7338" y="6551"/>
                    <a:pt x="7387" y="6528"/>
                    <a:pt x="7394" y="6520"/>
                  </a:cubicBezTo>
                  <a:cubicBezTo>
                    <a:pt x="7421" y="6490"/>
                    <a:pt x="7411" y="6471"/>
                    <a:pt x="7404" y="6441"/>
                  </a:cubicBezTo>
                  <a:cubicBezTo>
                    <a:pt x="7388" y="6368"/>
                    <a:pt x="7444" y="6272"/>
                    <a:pt x="7399" y="6206"/>
                  </a:cubicBezTo>
                  <a:cubicBezTo>
                    <a:pt x="7388" y="6189"/>
                    <a:pt x="7365" y="6179"/>
                    <a:pt x="7356" y="6163"/>
                  </a:cubicBezTo>
                  <a:cubicBezTo>
                    <a:pt x="7341" y="6135"/>
                    <a:pt x="7355" y="6097"/>
                    <a:pt x="7358" y="6069"/>
                  </a:cubicBezTo>
                  <a:cubicBezTo>
                    <a:pt x="7363" y="6017"/>
                    <a:pt x="7350" y="6006"/>
                    <a:pt x="7296" y="5988"/>
                  </a:cubicBezTo>
                  <a:cubicBezTo>
                    <a:pt x="7268" y="5978"/>
                    <a:pt x="7235" y="5973"/>
                    <a:pt x="7216" y="5961"/>
                  </a:cubicBezTo>
                  <a:cubicBezTo>
                    <a:pt x="7154" y="5923"/>
                    <a:pt x="7212" y="5957"/>
                    <a:pt x="7235" y="5938"/>
                  </a:cubicBezTo>
                  <a:cubicBezTo>
                    <a:pt x="7224" y="5934"/>
                    <a:pt x="7196" y="5929"/>
                    <a:pt x="7188" y="5922"/>
                  </a:cubicBezTo>
                  <a:cubicBezTo>
                    <a:pt x="7173" y="5909"/>
                    <a:pt x="7184" y="5887"/>
                    <a:pt x="7168" y="5876"/>
                  </a:cubicBezTo>
                  <a:cubicBezTo>
                    <a:pt x="7149" y="5864"/>
                    <a:pt x="7045" y="5875"/>
                    <a:pt x="7089" y="5895"/>
                  </a:cubicBezTo>
                  <a:cubicBezTo>
                    <a:pt x="7114" y="5906"/>
                    <a:pt x="7165" y="5873"/>
                    <a:pt x="7151" y="5904"/>
                  </a:cubicBezTo>
                  <a:cubicBezTo>
                    <a:pt x="7140" y="5931"/>
                    <a:pt x="7097" y="5913"/>
                    <a:pt x="7104" y="5946"/>
                  </a:cubicBezTo>
                  <a:cubicBezTo>
                    <a:pt x="7084" y="5901"/>
                    <a:pt x="7038" y="5934"/>
                    <a:pt x="7037" y="5961"/>
                  </a:cubicBezTo>
                  <a:cubicBezTo>
                    <a:pt x="7035" y="5997"/>
                    <a:pt x="7084" y="6021"/>
                    <a:pt x="7082" y="6058"/>
                  </a:cubicBezTo>
                  <a:cubicBezTo>
                    <a:pt x="7055" y="6044"/>
                    <a:pt x="7041" y="6022"/>
                    <a:pt x="7021" y="6053"/>
                  </a:cubicBezTo>
                  <a:cubicBezTo>
                    <a:pt x="7017" y="6060"/>
                    <a:pt x="7053" y="6102"/>
                    <a:pt x="7014" y="6078"/>
                  </a:cubicBezTo>
                  <a:cubicBezTo>
                    <a:pt x="6990" y="6062"/>
                    <a:pt x="7000" y="6043"/>
                    <a:pt x="6997" y="6026"/>
                  </a:cubicBezTo>
                  <a:cubicBezTo>
                    <a:pt x="6995" y="6018"/>
                    <a:pt x="7017" y="6020"/>
                    <a:pt x="7010" y="6007"/>
                  </a:cubicBezTo>
                  <a:cubicBezTo>
                    <a:pt x="7004" y="5997"/>
                    <a:pt x="6987" y="6013"/>
                    <a:pt x="6986" y="6012"/>
                  </a:cubicBezTo>
                  <a:cubicBezTo>
                    <a:pt x="6971" y="5999"/>
                    <a:pt x="6958" y="5981"/>
                    <a:pt x="6942" y="5968"/>
                  </a:cubicBezTo>
                  <a:close/>
                  <a:moveTo>
                    <a:pt x="6741" y="3436"/>
                  </a:moveTo>
                  <a:cubicBezTo>
                    <a:pt x="6768" y="3437"/>
                    <a:pt x="6789" y="3414"/>
                    <a:pt x="6809" y="3432"/>
                  </a:cubicBezTo>
                  <a:cubicBezTo>
                    <a:pt x="6834" y="3455"/>
                    <a:pt x="6836" y="3477"/>
                    <a:pt x="6850" y="3502"/>
                  </a:cubicBezTo>
                  <a:cubicBezTo>
                    <a:pt x="6872" y="3542"/>
                    <a:pt x="6922" y="3549"/>
                    <a:pt x="6944" y="3597"/>
                  </a:cubicBezTo>
                  <a:cubicBezTo>
                    <a:pt x="6960" y="3557"/>
                    <a:pt x="6978" y="3506"/>
                    <a:pt x="6967" y="3464"/>
                  </a:cubicBezTo>
                  <a:cubicBezTo>
                    <a:pt x="6957" y="3426"/>
                    <a:pt x="6953" y="3402"/>
                    <a:pt x="6951" y="3365"/>
                  </a:cubicBezTo>
                  <a:cubicBezTo>
                    <a:pt x="6950" y="3344"/>
                    <a:pt x="6929" y="3290"/>
                    <a:pt x="6918" y="3274"/>
                  </a:cubicBezTo>
                  <a:cubicBezTo>
                    <a:pt x="6915" y="3271"/>
                    <a:pt x="6876" y="3235"/>
                    <a:pt x="6873" y="3235"/>
                  </a:cubicBezTo>
                  <a:cubicBezTo>
                    <a:pt x="6849" y="3230"/>
                    <a:pt x="6831" y="3252"/>
                    <a:pt x="6806" y="3247"/>
                  </a:cubicBezTo>
                  <a:cubicBezTo>
                    <a:pt x="6784" y="3243"/>
                    <a:pt x="6789" y="3218"/>
                    <a:pt x="6758" y="3221"/>
                  </a:cubicBezTo>
                  <a:cubicBezTo>
                    <a:pt x="6740" y="3223"/>
                    <a:pt x="6733" y="3241"/>
                    <a:pt x="6724" y="3251"/>
                  </a:cubicBezTo>
                  <a:cubicBezTo>
                    <a:pt x="6687" y="3288"/>
                    <a:pt x="6649" y="3433"/>
                    <a:pt x="6741" y="3436"/>
                  </a:cubicBezTo>
                  <a:close/>
                  <a:moveTo>
                    <a:pt x="6741" y="3436"/>
                  </a:moveTo>
                </a:path>
              </a:pathLst>
            </a:custGeom>
            <a:grpFill/>
            <a:ln w="12700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6" name="AutoShape 21"/>
            <p:cNvSpPr>
              <a:spLocks/>
            </p:cNvSpPr>
            <p:nvPr/>
          </p:nvSpPr>
          <p:spPr bwMode="auto">
            <a:xfrm>
              <a:off x="437127" y="1290373"/>
              <a:ext cx="627063" cy="11160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8853" y="107"/>
                  </a:moveTo>
                  <a:lnTo>
                    <a:pt x="18872" y="106"/>
                  </a:lnTo>
                  <a:cubicBezTo>
                    <a:pt x="13846" y="266"/>
                    <a:pt x="9045" y="226"/>
                    <a:pt x="4492" y="33"/>
                  </a:cubicBezTo>
                  <a:lnTo>
                    <a:pt x="0" y="21068"/>
                  </a:lnTo>
                  <a:lnTo>
                    <a:pt x="10425" y="21525"/>
                  </a:lnTo>
                  <a:lnTo>
                    <a:pt x="12606" y="21569"/>
                  </a:lnTo>
                  <a:lnTo>
                    <a:pt x="18221" y="21600"/>
                  </a:lnTo>
                  <a:lnTo>
                    <a:pt x="18850" y="108"/>
                  </a:lnTo>
                  <a:cubicBezTo>
                    <a:pt x="18850" y="108"/>
                    <a:pt x="18853" y="107"/>
                    <a:pt x="18853" y="107"/>
                  </a:cubicBezTo>
                  <a:close/>
                  <a:moveTo>
                    <a:pt x="21597" y="0"/>
                  </a:moveTo>
                  <a:cubicBezTo>
                    <a:pt x="21553" y="2"/>
                    <a:pt x="21508" y="4"/>
                    <a:pt x="21463" y="7"/>
                  </a:cubicBezTo>
                  <a:cubicBezTo>
                    <a:pt x="21456" y="7"/>
                    <a:pt x="21449" y="7"/>
                    <a:pt x="21442" y="8"/>
                  </a:cubicBezTo>
                  <a:cubicBezTo>
                    <a:pt x="21495" y="5"/>
                    <a:pt x="21548" y="2"/>
                    <a:pt x="21600" y="0"/>
                  </a:cubicBezTo>
                  <a:cubicBezTo>
                    <a:pt x="21599" y="0"/>
                    <a:pt x="21598" y="0"/>
                    <a:pt x="21597" y="0"/>
                  </a:cubicBezTo>
                  <a:close/>
                  <a:moveTo>
                    <a:pt x="21597" y="0"/>
                  </a:moveTo>
                </a:path>
              </a:pathLst>
            </a:custGeom>
            <a:grpFill/>
            <a:ln w="12700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69" name="AutoShape 24"/>
            <p:cNvSpPr>
              <a:spLocks/>
            </p:cNvSpPr>
            <p:nvPr/>
          </p:nvSpPr>
          <p:spPr bwMode="auto">
            <a:xfrm>
              <a:off x="-362973" y="45773"/>
              <a:ext cx="1354138" cy="1244600"/>
            </a:xfrm>
            <a:custGeom>
              <a:avLst/>
              <a:gdLst/>
              <a:ahLst/>
              <a:cxnLst/>
              <a:rect l="0" t="0" r="r" b="b"/>
              <a:pathLst>
                <a:path w="21548" h="21249">
                  <a:moveTo>
                    <a:pt x="21244" y="13540"/>
                  </a:moveTo>
                  <a:lnTo>
                    <a:pt x="16120" y="12542"/>
                  </a:lnTo>
                  <a:lnTo>
                    <a:pt x="15291" y="11222"/>
                  </a:lnTo>
                  <a:lnTo>
                    <a:pt x="13934" y="11222"/>
                  </a:lnTo>
                  <a:lnTo>
                    <a:pt x="9415" y="5882"/>
                  </a:lnTo>
                  <a:lnTo>
                    <a:pt x="10150" y="3437"/>
                  </a:lnTo>
                  <a:cubicBezTo>
                    <a:pt x="10125" y="3393"/>
                    <a:pt x="10101" y="3347"/>
                    <a:pt x="10076" y="3298"/>
                  </a:cubicBezTo>
                  <a:cubicBezTo>
                    <a:pt x="9987" y="3019"/>
                    <a:pt x="9758" y="2767"/>
                    <a:pt x="9509" y="2642"/>
                  </a:cubicBezTo>
                  <a:cubicBezTo>
                    <a:pt x="9443" y="2609"/>
                    <a:pt x="9366" y="2605"/>
                    <a:pt x="9298" y="2583"/>
                  </a:cubicBezTo>
                  <a:cubicBezTo>
                    <a:pt x="9219" y="2558"/>
                    <a:pt x="9102" y="2510"/>
                    <a:pt x="9050" y="2490"/>
                  </a:cubicBezTo>
                  <a:cubicBezTo>
                    <a:pt x="8982" y="2462"/>
                    <a:pt x="8912" y="2393"/>
                    <a:pt x="8839" y="2485"/>
                  </a:cubicBezTo>
                  <a:cubicBezTo>
                    <a:pt x="8805" y="2528"/>
                    <a:pt x="8815" y="2613"/>
                    <a:pt x="8784" y="2682"/>
                  </a:cubicBezTo>
                  <a:cubicBezTo>
                    <a:pt x="8768" y="2717"/>
                    <a:pt x="8743" y="2749"/>
                    <a:pt x="8728" y="2783"/>
                  </a:cubicBezTo>
                  <a:cubicBezTo>
                    <a:pt x="8712" y="2821"/>
                    <a:pt x="8726" y="2860"/>
                    <a:pt x="8687" y="2893"/>
                  </a:cubicBezTo>
                  <a:cubicBezTo>
                    <a:pt x="8611" y="2958"/>
                    <a:pt x="8546" y="2882"/>
                    <a:pt x="8485" y="2995"/>
                  </a:cubicBezTo>
                  <a:cubicBezTo>
                    <a:pt x="8474" y="3015"/>
                    <a:pt x="8491" y="3046"/>
                    <a:pt x="8501" y="3060"/>
                  </a:cubicBezTo>
                  <a:cubicBezTo>
                    <a:pt x="8392" y="3100"/>
                    <a:pt x="8199" y="3102"/>
                    <a:pt x="8159" y="2961"/>
                  </a:cubicBezTo>
                  <a:cubicBezTo>
                    <a:pt x="8149" y="2987"/>
                    <a:pt x="8126" y="3018"/>
                    <a:pt x="8120" y="3043"/>
                  </a:cubicBezTo>
                  <a:cubicBezTo>
                    <a:pt x="8084" y="2948"/>
                    <a:pt x="7875" y="2996"/>
                    <a:pt x="7877" y="2880"/>
                  </a:cubicBezTo>
                  <a:cubicBezTo>
                    <a:pt x="7878" y="2812"/>
                    <a:pt x="7915" y="2885"/>
                    <a:pt x="7932" y="2858"/>
                  </a:cubicBezTo>
                  <a:cubicBezTo>
                    <a:pt x="7948" y="2831"/>
                    <a:pt x="7939" y="2794"/>
                    <a:pt x="7961" y="2763"/>
                  </a:cubicBezTo>
                  <a:cubicBezTo>
                    <a:pt x="8002" y="2705"/>
                    <a:pt x="8072" y="2687"/>
                    <a:pt x="8115" y="2635"/>
                  </a:cubicBezTo>
                  <a:cubicBezTo>
                    <a:pt x="8141" y="2604"/>
                    <a:pt x="8141" y="2568"/>
                    <a:pt x="8172" y="2540"/>
                  </a:cubicBezTo>
                  <a:cubicBezTo>
                    <a:pt x="8195" y="2519"/>
                    <a:pt x="8236" y="2532"/>
                    <a:pt x="8256" y="2499"/>
                  </a:cubicBezTo>
                  <a:cubicBezTo>
                    <a:pt x="8345" y="2355"/>
                    <a:pt x="8113" y="2394"/>
                    <a:pt x="8070" y="2342"/>
                  </a:cubicBezTo>
                  <a:cubicBezTo>
                    <a:pt x="8031" y="2296"/>
                    <a:pt x="8092" y="2222"/>
                    <a:pt x="8114" y="2171"/>
                  </a:cubicBezTo>
                  <a:cubicBezTo>
                    <a:pt x="8130" y="2130"/>
                    <a:pt x="8141" y="2121"/>
                    <a:pt x="8150" y="2085"/>
                  </a:cubicBezTo>
                  <a:cubicBezTo>
                    <a:pt x="8157" y="2058"/>
                    <a:pt x="8156" y="2012"/>
                    <a:pt x="8157" y="2001"/>
                  </a:cubicBezTo>
                  <a:cubicBezTo>
                    <a:pt x="8157" y="2006"/>
                    <a:pt x="8191" y="1993"/>
                    <a:pt x="8193" y="1979"/>
                  </a:cubicBezTo>
                  <a:cubicBezTo>
                    <a:pt x="8196" y="1961"/>
                    <a:pt x="8161" y="1929"/>
                    <a:pt x="8164" y="1924"/>
                  </a:cubicBezTo>
                  <a:cubicBezTo>
                    <a:pt x="8174" y="1902"/>
                    <a:pt x="8186" y="1879"/>
                    <a:pt x="8233" y="1866"/>
                  </a:cubicBezTo>
                  <a:cubicBezTo>
                    <a:pt x="8171" y="1820"/>
                    <a:pt x="8255" y="1815"/>
                    <a:pt x="8290" y="1768"/>
                  </a:cubicBezTo>
                  <a:cubicBezTo>
                    <a:pt x="8302" y="1751"/>
                    <a:pt x="8300" y="1663"/>
                    <a:pt x="8298" y="1654"/>
                  </a:cubicBezTo>
                  <a:cubicBezTo>
                    <a:pt x="8294" y="1637"/>
                    <a:pt x="8327" y="1638"/>
                    <a:pt x="8312" y="1609"/>
                  </a:cubicBezTo>
                  <a:cubicBezTo>
                    <a:pt x="8312" y="1609"/>
                    <a:pt x="8264" y="1599"/>
                    <a:pt x="8257" y="1593"/>
                  </a:cubicBezTo>
                  <a:cubicBezTo>
                    <a:pt x="8234" y="1573"/>
                    <a:pt x="8171" y="1581"/>
                    <a:pt x="8195" y="1536"/>
                  </a:cubicBezTo>
                  <a:cubicBezTo>
                    <a:pt x="8200" y="1526"/>
                    <a:pt x="8292" y="1555"/>
                    <a:pt x="8280" y="1505"/>
                  </a:cubicBezTo>
                  <a:cubicBezTo>
                    <a:pt x="8280" y="1504"/>
                    <a:pt x="8194" y="1482"/>
                    <a:pt x="8177" y="1476"/>
                  </a:cubicBezTo>
                  <a:cubicBezTo>
                    <a:pt x="8164" y="1472"/>
                    <a:pt x="8130" y="1630"/>
                    <a:pt x="8123" y="1657"/>
                  </a:cubicBezTo>
                  <a:cubicBezTo>
                    <a:pt x="8131" y="1654"/>
                    <a:pt x="8197" y="1641"/>
                    <a:pt x="8201" y="1645"/>
                  </a:cubicBezTo>
                  <a:cubicBezTo>
                    <a:pt x="8234" y="1679"/>
                    <a:pt x="8214" y="1715"/>
                    <a:pt x="8202" y="1696"/>
                  </a:cubicBezTo>
                  <a:cubicBezTo>
                    <a:pt x="8192" y="1682"/>
                    <a:pt x="8259" y="1763"/>
                    <a:pt x="8257" y="1727"/>
                  </a:cubicBezTo>
                  <a:cubicBezTo>
                    <a:pt x="8258" y="1744"/>
                    <a:pt x="8267" y="1823"/>
                    <a:pt x="8233" y="1777"/>
                  </a:cubicBezTo>
                  <a:cubicBezTo>
                    <a:pt x="8194" y="1726"/>
                    <a:pt x="8195" y="1789"/>
                    <a:pt x="8168" y="1797"/>
                  </a:cubicBezTo>
                  <a:cubicBezTo>
                    <a:pt x="8134" y="1807"/>
                    <a:pt x="8158" y="1719"/>
                    <a:pt x="8134" y="1697"/>
                  </a:cubicBezTo>
                  <a:cubicBezTo>
                    <a:pt x="8097" y="1662"/>
                    <a:pt x="7982" y="1678"/>
                    <a:pt x="7991" y="1720"/>
                  </a:cubicBezTo>
                  <a:cubicBezTo>
                    <a:pt x="7965" y="1728"/>
                    <a:pt x="7935" y="1727"/>
                    <a:pt x="7908" y="1716"/>
                  </a:cubicBezTo>
                  <a:cubicBezTo>
                    <a:pt x="7940" y="1701"/>
                    <a:pt x="7969" y="1666"/>
                    <a:pt x="7954" y="1627"/>
                  </a:cubicBezTo>
                  <a:cubicBezTo>
                    <a:pt x="7923" y="1684"/>
                    <a:pt x="7849" y="1683"/>
                    <a:pt x="7813" y="1727"/>
                  </a:cubicBezTo>
                  <a:cubicBezTo>
                    <a:pt x="7815" y="1724"/>
                    <a:pt x="7778" y="1816"/>
                    <a:pt x="7775" y="1810"/>
                  </a:cubicBezTo>
                  <a:cubicBezTo>
                    <a:pt x="7796" y="1860"/>
                    <a:pt x="7825" y="1796"/>
                    <a:pt x="7846" y="1789"/>
                  </a:cubicBezTo>
                  <a:cubicBezTo>
                    <a:pt x="7891" y="1772"/>
                    <a:pt x="7905" y="1756"/>
                    <a:pt x="7945" y="1757"/>
                  </a:cubicBezTo>
                  <a:cubicBezTo>
                    <a:pt x="7959" y="1757"/>
                    <a:pt x="7991" y="1753"/>
                    <a:pt x="8005" y="1762"/>
                  </a:cubicBezTo>
                  <a:cubicBezTo>
                    <a:pt x="8029" y="1779"/>
                    <a:pt x="8025" y="1817"/>
                    <a:pt x="8005" y="1804"/>
                  </a:cubicBezTo>
                  <a:cubicBezTo>
                    <a:pt x="8012" y="1808"/>
                    <a:pt x="8013" y="1841"/>
                    <a:pt x="8031" y="1846"/>
                  </a:cubicBezTo>
                  <a:cubicBezTo>
                    <a:pt x="8048" y="1850"/>
                    <a:pt x="8067" y="1824"/>
                    <a:pt x="8070" y="1825"/>
                  </a:cubicBezTo>
                  <a:cubicBezTo>
                    <a:pt x="8038" y="1815"/>
                    <a:pt x="8151" y="1811"/>
                    <a:pt x="8115" y="1819"/>
                  </a:cubicBezTo>
                  <a:cubicBezTo>
                    <a:pt x="8052" y="1832"/>
                    <a:pt x="7951" y="1876"/>
                    <a:pt x="7897" y="1926"/>
                  </a:cubicBezTo>
                  <a:cubicBezTo>
                    <a:pt x="7850" y="1968"/>
                    <a:pt x="7833" y="2020"/>
                    <a:pt x="7795" y="2070"/>
                  </a:cubicBezTo>
                  <a:cubicBezTo>
                    <a:pt x="7726" y="2159"/>
                    <a:pt x="7741" y="1986"/>
                    <a:pt x="7736" y="1969"/>
                  </a:cubicBezTo>
                  <a:cubicBezTo>
                    <a:pt x="7604" y="2034"/>
                    <a:pt x="7688" y="2117"/>
                    <a:pt x="7756" y="2152"/>
                  </a:cubicBezTo>
                  <a:cubicBezTo>
                    <a:pt x="7871" y="2211"/>
                    <a:pt x="7884" y="2265"/>
                    <a:pt x="7769" y="2356"/>
                  </a:cubicBezTo>
                  <a:cubicBezTo>
                    <a:pt x="7780" y="2323"/>
                    <a:pt x="7811" y="2222"/>
                    <a:pt x="7780" y="2194"/>
                  </a:cubicBezTo>
                  <a:cubicBezTo>
                    <a:pt x="7772" y="2187"/>
                    <a:pt x="7547" y="2219"/>
                    <a:pt x="7537" y="2232"/>
                  </a:cubicBezTo>
                  <a:cubicBezTo>
                    <a:pt x="7523" y="2249"/>
                    <a:pt x="7475" y="2312"/>
                    <a:pt x="7480" y="2334"/>
                  </a:cubicBezTo>
                  <a:cubicBezTo>
                    <a:pt x="7489" y="2372"/>
                    <a:pt x="7548" y="2358"/>
                    <a:pt x="7558" y="2387"/>
                  </a:cubicBezTo>
                  <a:cubicBezTo>
                    <a:pt x="7570" y="2419"/>
                    <a:pt x="7525" y="2451"/>
                    <a:pt x="7527" y="2491"/>
                  </a:cubicBezTo>
                  <a:cubicBezTo>
                    <a:pt x="7529" y="2524"/>
                    <a:pt x="7564" y="2562"/>
                    <a:pt x="7578" y="2591"/>
                  </a:cubicBezTo>
                  <a:cubicBezTo>
                    <a:pt x="7543" y="2580"/>
                    <a:pt x="7512" y="2537"/>
                    <a:pt x="7490" y="2504"/>
                  </a:cubicBezTo>
                  <a:cubicBezTo>
                    <a:pt x="7466" y="2578"/>
                    <a:pt x="7435" y="2470"/>
                    <a:pt x="7389" y="2499"/>
                  </a:cubicBezTo>
                  <a:cubicBezTo>
                    <a:pt x="7348" y="2524"/>
                    <a:pt x="7294" y="2559"/>
                    <a:pt x="7277" y="2613"/>
                  </a:cubicBezTo>
                  <a:cubicBezTo>
                    <a:pt x="7341" y="2595"/>
                    <a:pt x="7409" y="2575"/>
                    <a:pt x="7469" y="2591"/>
                  </a:cubicBezTo>
                  <a:cubicBezTo>
                    <a:pt x="7438" y="2583"/>
                    <a:pt x="7547" y="2639"/>
                    <a:pt x="7540" y="2627"/>
                  </a:cubicBezTo>
                  <a:cubicBezTo>
                    <a:pt x="7562" y="2661"/>
                    <a:pt x="7562" y="2646"/>
                    <a:pt x="7542" y="2696"/>
                  </a:cubicBezTo>
                  <a:cubicBezTo>
                    <a:pt x="7484" y="2835"/>
                    <a:pt x="7460" y="2684"/>
                    <a:pt x="7369" y="2686"/>
                  </a:cubicBezTo>
                  <a:cubicBezTo>
                    <a:pt x="7312" y="2686"/>
                    <a:pt x="7369" y="2688"/>
                    <a:pt x="7365" y="2738"/>
                  </a:cubicBezTo>
                  <a:cubicBezTo>
                    <a:pt x="7359" y="2822"/>
                    <a:pt x="7323" y="2802"/>
                    <a:pt x="7286" y="2778"/>
                  </a:cubicBezTo>
                  <a:cubicBezTo>
                    <a:pt x="7250" y="2756"/>
                    <a:pt x="7256" y="2717"/>
                    <a:pt x="7239" y="2696"/>
                  </a:cubicBezTo>
                  <a:cubicBezTo>
                    <a:pt x="7207" y="2658"/>
                    <a:pt x="7203" y="2671"/>
                    <a:pt x="7170" y="2640"/>
                  </a:cubicBezTo>
                  <a:cubicBezTo>
                    <a:pt x="7115" y="2587"/>
                    <a:pt x="7084" y="2537"/>
                    <a:pt x="7055" y="2464"/>
                  </a:cubicBezTo>
                  <a:cubicBezTo>
                    <a:pt x="6999" y="2326"/>
                    <a:pt x="6965" y="2192"/>
                    <a:pt x="6933" y="2041"/>
                  </a:cubicBezTo>
                  <a:cubicBezTo>
                    <a:pt x="6904" y="1906"/>
                    <a:pt x="6872" y="1811"/>
                    <a:pt x="6885" y="1670"/>
                  </a:cubicBezTo>
                  <a:cubicBezTo>
                    <a:pt x="6891" y="1603"/>
                    <a:pt x="6921" y="1547"/>
                    <a:pt x="6930" y="1503"/>
                  </a:cubicBezTo>
                  <a:cubicBezTo>
                    <a:pt x="6943" y="1436"/>
                    <a:pt x="6918" y="1426"/>
                    <a:pt x="6913" y="1363"/>
                  </a:cubicBezTo>
                  <a:cubicBezTo>
                    <a:pt x="6890" y="1075"/>
                    <a:pt x="6935" y="826"/>
                    <a:pt x="6828" y="543"/>
                  </a:cubicBezTo>
                  <a:lnTo>
                    <a:pt x="6665" y="151"/>
                  </a:lnTo>
                  <a:cubicBezTo>
                    <a:pt x="6608" y="197"/>
                    <a:pt x="6437" y="333"/>
                    <a:pt x="6452" y="438"/>
                  </a:cubicBezTo>
                  <a:cubicBezTo>
                    <a:pt x="6461" y="509"/>
                    <a:pt x="6543" y="501"/>
                    <a:pt x="6597" y="497"/>
                  </a:cubicBezTo>
                  <a:cubicBezTo>
                    <a:pt x="6551" y="610"/>
                    <a:pt x="6508" y="500"/>
                    <a:pt x="6486" y="515"/>
                  </a:cubicBezTo>
                  <a:cubicBezTo>
                    <a:pt x="6450" y="541"/>
                    <a:pt x="6471" y="622"/>
                    <a:pt x="6488" y="655"/>
                  </a:cubicBezTo>
                  <a:cubicBezTo>
                    <a:pt x="6532" y="744"/>
                    <a:pt x="6668" y="753"/>
                    <a:pt x="6694" y="856"/>
                  </a:cubicBezTo>
                  <a:cubicBezTo>
                    <a:pt x="6661" y="831"/>
                    <a:pt x="6538" y="822"/>
                    <a:pt x="6497" y="818"/>
                  </a:cubicBezTo>
                  <a:cubicBezTo>
                    <a:pt x="6441" y="813"/>
                    <a:pt x="6367" y="817"/>
                    <a:pt x="6313" y="825"/>
                  </a:cubicBezTo>
                  <a:cubicBezTo>
                    <a:pt x="6223" y="840"/>
                    <a:pt x="6181" y="884"/>
                    <a:pt x="6157" y="974"/>
                  </a:cubicBezTo>
                  <a:cubicBezTo>
                    <a:pt x="6130" y="1077"/>
                    <a:pt x="6155" y="1090"/>
                    <a:pt x="6066" y="1148"/>
                  </a:cubicBezTo>
                  <a:cubicBezTo>
                    <a:pt x="6002" y="1189"/>
                    <a:pt x="5936" y="1216"/>
                    <a:pt x="5874" y="1260"/>
                  </a:cubicBezTo>
                  <a:cubicBezTo>
                    <a:pt x="5843" y="1282"/>
                    <a:pt x="5818" y="1309"/>
                    <a:pt x="5784" y="1327"/>
                  </a:cubicBezTo>
                  <a:cubicBezTo>
                    <a:pt x="5755" y="1342"/>
                    <a:pt x="5701" y="1346"/>
                    <a:pt x="5679" y="1360"/>
                  </a:cubicBezTo>
                  <a:cubicBezTo>
                    <a:pt x="5618" y="1399"/>
                    <a:pt x="5616" y="1504"/>
                    <a:pt x="5549" y="1396"/>
                  </a:cubicBezTo>
                  <a:cubicBezTo>
                    <a:pt x="5526" y="1359"/>
                    <a:pt x="5548" y="1269"/>
                    <a:pt x="5584" y="1202"/>
                  </a:cubicBezTo>
                  <a:cubicBezTo>
                    <a:pt x="5631" y="1117"/>
                    <a:pt x="5634" y="1145"/>
                    <a:pt x="5713" y="1173"/>
                  </a:cubicBezTo>
                  <a:cubicBezTo>
                    <a:pt x="5718" y="1175"/>
                    <a:pt x="5810" y="1034"/>
                    <a:pt x="5820" y="1008"/>
                  </a:cubicBezTo>
                  <a:cubicBezTo>
                    <a:pt x="5741" y="1043"/>
                    <a:pt x="5685" y="1118"/>
                    <a:pt x="5599" y="1118"/>
                  </a:cubicBezTo>
                  <a:cubicBezTo>
                    <a:pt x="5561" y="1118"/>
                    <a:pt x="5508" y="1089"/>
                    <a:pt x="5468" y="1084"/>
                  </a:cubicBezTo>
                  <a:cubicBezTo>
                    <a:pt x="5370" y="1071"/>
                    <a:pt x="5275" y="1106"/>
                    <a:pt x="5177" y="1109"/>
                  </a:cubicBezTo>
                  <a:cubicBezTo>
                    <a:pt x="5093" y="1111"/>
                    <a:pt x="5004" y="1109"/>
                    <a:pt x="4916" y="1104"/>
                  </a:cubicBezTo>
                  <a:cubicBezTo>
                    <a:pt x="4863" y="1101"/>
                    <a:pt x="4825" y="1160"/>
                    <a:pt x="4784" y="1196"/>
                  </a:cubicBezTo>
                  <a:cubicBezTo>
                    <a:pt x="4699" y="1271"/>
                    <a:pt x="4600" y="1324"/>
                    <a:pt x="4516" y="1398"/>
                  </a:cubicBezTo>
                  <a:cubicBezTo>
                    <a:pt x="4525" y="1400"/>
                    <a:pt x="4547" y="1412"/>
                    <a:pt x="4562" y="1413"/>
                  </a:cubicBezTo>
                  <a:cubicBezTo>
                    <a:pt x="4536" y="1475"/>
                    <a:pt x="4452" y="1502"/>
                    <a:pt x="4407" y="1536"/>
                  </a:cubicBezTo>
                  <a:cubicBezTo>
                    <a:pt x="4366" y="1566"/>
                    <a:pt x="4303" y="1616"/>
                    <a:pt x="4275" y="1663"/>
                  </a:cubicBezTo>
                  <a:cubicBezTo>
                    <a:pt x="4259" y="1690"/>
                    <a:pt x="4172" y="1943"/>
                    <a:pt x="4167" y="1825"/>
                  </a:cubicBezTo>
                  <a:cubicBezTo>
                    <a:pt x="4164" y="1748"/>
                    <a:pt x="4253" y="1660"/>
                    <a:pt x="4293" y="1608"/>
                  </a:cubicBezTo>
                  <a:cubicBezTo>
                    <a:pt x="4311" y="1584"/>
                    <a:pt x="4401" y="1516"/>
                    <a:pt x="4380" y="1473"/>
                  </a:cubicBezTo>
                  <a:cubicBezTo>
                    <a:pt x="4363" y="1438"/>
                    <a:pt x="4289" y="1536"/>
                    <a:pt x="4269" y="1558"/>
                  </a:cubicBezTo>
                  <a:cubicBezTo>
                    <a:pt x="4257" y="1455"/>
                    <a:pt x="4475" y="1366"/>
                    <a:pt x="4456" y="1222"/>
                  </a:cubicBezTo>
                  <a:cubicBezTo>
                    <a:pt x="4447" y="1157"/>
                    <a:pt x="4396" y="1316"/>
                    <a:pt x="4386" y="1335"/>
                  </a:cubicBezTo>
                  <a:cubicBezTo>
                    <a:pt x="4354" y="1399"/>
                    <a:pt x="4294" y="1475"/>
                    <a:pt x="4235" y="1507"/>
                  </a:cubicBezTo>
                  <a:cubicBezTo>
                    <a:pt x="4292" y="1457"/>
                    <a:pt x="4348" y="1365"/>
                    <a:pt x="4375" y="1290"/>
                  </a:cubicBezTo>
                  <a:cubicBezTo>
                    <a:pt x="4383" y="1266"/>
                    <a:pt x="4432" y="1079"/>
                    <a:pt x="4428" y="1072"/>
                  </a:cubicBezTo>
                  <a:cubicBezTo>
                    <a:pt x="4358" y="934"/>
                    <a:pt x="4383" y="1201"/>
                    <a:pt x="4381" y="1215"/>
                  </a:cubicBezTo>
                  <a:cubicBezTo>
                    <a:pt x="4371" y="1288"/>
                    <a:pt x="4298" y="1402"/>
                    <a:pt x="4245" y="1441"/>
                  </a:cubicBezTo>
                  <a:cubicBezTo>
                    <a:pt x="4309" y="1298"/>
                    <a:pt x="4357" y="1233"/>
                    <a:pt x="4330" y="1070"/>
                  </a:cubicBezTo>
                  <a:cubicBezTo>
                    <a:pt x="4300" y="1119"/>
                    <a:pt x="4316" y="1206"/>
                    <a:pt x="4298" y="1268"/>
                  </a:cubicBezTo>
                  <a:cubicBezTo>
                    <a:pt x="4267" y="1375"/>
                    <a:pt x="4165" y="1461"/>
                    <a:pt x="4058" y="1478"/>
                  </a:cubicBezTo>
                  <a:cubicBezTo>
                    <a:pt x="4141" y="1388"/>
                    <a:pt x="4299" y="1371"/>
                    <a:pt x="4264" y="1198"/>
                  </a:cubicBezTo>
                  <a:cubicBezTo>
                    <a:pt x="4242" y="1239"/>
                    <a:pt x="4238" y="1298"/>
                    <a:pt x="4213" y="1342"/>
                  </a:cubicBezTo>
                  <a:cubicBezTo>
                    <a:pt x="4216" y="1294"/>
                    <a:pt x="4231" y="1246"/>
                    <a:pt x="4231" y="1198"/>
                  </a:cubicBezTo>
                  <a:cubicBezTo>
                    <a:pt x="4176" y="1258"/>
                    <a:pt x="4102" y="1365"/>
                    <a:pt x="4017" y="1399"/>
                  </a:cubicBezTo>
                  <a:cubicBezTo>
                    <a:pt x="4033" y="1388"/>
                    <a:pt x="4140" y="1256"/>
                    <a:pt x="4141" y="1249"/>
                  </a:cubicBezTo>
                  <a:cubicBezTo>
                    <a:pt x="4141" y="1195"/>
                    <a:pt x="4002" y="1089"/>
                    <a:pt x="4008" y="1210"/>
                  </a:cubicBezTo>
                  <a:cubicBezTo>
                    <a:pt x="3956" y="1175"/>
                    <a:pt x="3890" y="1165"/>
                    <a:pt x="3829" y="1178"/>
                  </a:cubicBezTo>
                  <a:cubicBezTo>
                    <a:pt x="3889" y="1187"/>
                    <a:pt x="3880" y="1241"/>
                    <a:pt x="3955" y="1242"/>
                  </a:cubicBezTo>
                  <a:cubicBezTo>
                    <a:pt x="3921" y="1273"/>
                    <a:pt x="3763" y="1456"/>
                    <a:pt x="3785" y="1346"/>
                  </a:cubicBezTo>
                  <a:cubicBezTo>
                    <a:pt x="3739" y="1416"/>
                    <a:pt x="3696" y="1395"/>
                    <a:pt x="3633" y="1415"/>
                  </a:cubicBezTo>
                  <a:cubicBezTo>
                    <a:pt x="3624" y="1417"/>
                    <a:pt x="3622" y="1386"/>
                    <a:pt x="3600" y="1397"/>
                  </a:cubicBezTo>
                  <a:cubicBezTo>
                    <a:pt x="3590" y="1402"/>
                    <a:pt x="3593" y="1434"/>
                    <a:pt x="3581" y="1442"/>
                  </a:cubicBezTo>
                  <a:cubicBezTo>
                    <a:pt x="3557" y="1459"/>
                    <a:pt x="3536" y="1493"/>
                    <a:pt x="3514" y="1512"/>
                  </a:cubicBezTo>
                  <a:cubicBezTo>
                    <a:pt x="3526" y="1494"/>
                    <a:pt x="3537" y="1467"/>
                    <a:pt x="3555" y="1447"/>
                  </a:cubicBezTo>
                  <a:cubicBezTo>
                    <a:pt x="3443" y="1463"/>
                    <a:pt x="3545" y="1360"/>
                    <a:pt x="3510" y="1363"/>
                  </a:cubicBezTo>
                  <a:cubicBezTo>
                    <a:pt x="3493" y="1364"/>
                    <a:pt x="3397" y="1494"/>
                    <a:pt x="3365" y="1507"/>
                  </a:cubicBezTo>
                  <a:cubicBezTo>
                    <a:pt x="3410" y="1466"/>
                    <a:pt x="3453" y="1401"/>
                    <a:pt x="3459" y="1340"/>
                  </a:cubicBezTo>
                  <a:cubicBezTo>
                    <a:pt x="3420" y="1389"/>
                    <a:pt x="3400" y="1452"/>
                    <a:pt x="3333" y="1472"/>
                  </a:cubicBezTo>
                  <a:cubicBezTo>
                    <a:pt x="3271" y="1491"/>
                    <a:pt x="3169" y="1457"/>
                    <a:pt x="3120" y="1483"/>
                  </a:cubicBezTo>
                  <a:cubicBezTo>
                    <a:pt x="3117" y="1485"/>
                    <a:pt x="3069" y="1575"/>
                    <a:pt x="3068" y="1602"/>
                  </a:cubicBezTo>
                  <a:cubicBezTo>
                    <a:pt x="3064" y="1655"/>
                    <a:pt x="3117" y="1694"/>
                    <a:pt x="3112" y="1747"/>
                  </a:cubicBezTo>
                  <a:cubicBezTo>
                    <a:pt x="3056" y="1688"/>
                    <a:pt x="3055" y="1731"/>
                    <a:pt x="3035" y="1758"/>
                  </a:cubicBezTo>
                  <a:cubicBezTo>
                    <a:pt x="3054" y="1734"/>
                    <a:pt x="3034" y="1849"/>
                    <a:pt x="3027" y="1819"/>
                  </a:cubicBezTo>
                  <a:cubicBezTo>
                    <a:pt x="3032" y="1841"/>
                    <a:pt x="2995" y="1836"/>
                    <a:pt x="3026" y="1867"/>
                  </a:cubicBezTo>
                  <a:cubicBezTo>
                    <a:pt x="3070" y="1912"/>
                    <a:pt x="3109" y="1844"/>
                    <a:pt x="3142" y="1831"/>
                  </a:cubicBezTo>
                  <a:cubicBezTo>
                    <a:pt x="3152" y="1827"/>
                    <a:pt x="3210" y="1911"/>
                    <a:pt x="3181" y="1807"/>
                  </a:cubicBezTo>
                  <a:cubicBezTo>
                    <a:pt x="3228" y="1861"/>
                    <a:pt x="3226" y="1915"/>
                    <a:pt x="3176" y="1961"/>
                  </a:cubicBezTo>
                  <a:cubicBezTo>
                    <a:pt x="3102" y="2028"/>
                    <a:pt x="3090" y="1938"/>
                    <a:pt x="3017" y="1903"/>
                  </a:cubicBezTo>
                  <a:cubicBezTo>
                    <a:pt x="3015" y="1921"/>
                    <a:pt x="3004" y="1946"/>
                    <a:pt x="3002" y="1958"/>
                  </a:cubicBezTo>
                  <a:cubicBezTo>
                    <a:pt x="2988" y="1888"/>
                    <a:pt x="2911" y="1725"/>
                    <a:pt x="2886" y="1879"/>
                  </a:cubicBezTo>
                  <a:cubicBezTo>
                    <a:pt x="2863" y="1834"/>
                    <a:pt x="2826" y="1840"/>
                    <a:pt x="2802" y="1804"/>
                  </a:cubicBezTo>
                  <a:cubicBezTo>
                    <a:pt x="2767" y="1753"/>
                    <a:pt x="2812" y="1715"/>
                    <a:pt x="2734" y="1704"/>
                  </a:cubicBezTo>
                  <a:cubicBezTo>
                    <a:pt x="2689" y="1697"/>
                    <a:pt x="2654" y="1732"/>
                    <a:pt x="2671" y="1792"/>
                  </a:cubicBezTo>
                  <a:cubicBezTo>
                    <a:pt x="2681" y="1828"/>
                    <a:pt x="2759" y="1798"/>
                    <a:pt x="2741" y="1886"/>
                  </a:cubicBezTo>
                  <a:cubicBezTo>
                    <a:pt x="2733" y="1868"/>
                    <a:pt x="2717" y="1850"/>
                    <a:pt x="2709" y="1830"/>
                  </a:cubicBezTo>
                  <a:cubicBezTo>
                    <a:pt x="2641" y="1927"/>
                    <a:pt x="2822" y="1986"/>
                    <a:pt x="2825" y="2052"/>
                  </a:cubicBezTo>
                  <a:cubicBezTo>
                    <a:pt x="2711" y="2022"/>
                    <a:pt x="2687" y="1932"/>
                    <a:pt x="2641" y="1832"/>
                  </a:cubicBezTo>
                  <a:cubicBezTo>
                    <a:pt x="2616" y="1777"/>
                    <a:pt x="2596" y="1752"/>
                    <a:pt x="2616" y="1690"/>
                  </a:cubicBezTo>
                  <a:cubicBezTo>
                    <a:pt x="2624" y="1665"/>
                    <a:pt x="2706" y="1589"/>
                    <a:pt x="2733" y="1593"/>
                  </a:cubicBezTo>
                  <a:cubicBezTo>
                    <a:pt x="2668" y="1650"/>
                    <a:pt x="2724" y="1654"/>
                    <a:pt x="2769" y="1638"/>
                  </a:cubicBezTo>
                  <a:cubicBezTo>
                    <a:pt x="2829" y="1618"/>
                    <a:pt x="2820" y="1562"/>
                    <a:pt x="2856" y="1541"/>
                  </a:cubicBezTo>
                  <a:cubicBezTo>
                    <a:pt x="2899" y="1516"/>
                    <a:pt x="2885" y="1454"/>
                    <a:pt x="2946" y="1431"/>
                  </a:cubicBezTo>
                  <a:cubicBezTo>
                    <a:pt x="3012" y="1407"/>
                    <a:pt x="3019" y="1470"/>
                    <a:pt x="3090" y="1449"/>
                  </a:cubicBezTo>
                  <a:cubicBezTo>
                    <a:pt x="3055" y="1489"/>
                    <a:pt x="3035" y="1549"/>
                    <a:pt x="3043" y="1598"/>
                  </a:cubicBezTo>
                  <a:cubicBezTo>
                    <a:pt x="3093" y="1544"/>
                    <a:pt x="3074" y="1451"/>
                    <a:pt x="3160" y="1422"/>
                  </a:cubicBezTo>
                  <a:cubicBezTo>
                    <a:pt x="3093" y="1377"/>
                    <a:pt x="3282" y="1208"/>
                    <a:pt x="3341" y="1196"/>
                  </a:cubicBezTo>
                  <a:cubicBezTo>
                    <a:pt x="3518" y="1160"/>
                    <a:pt x="3394" y="1332"/>
                    <a:pt x="3388" y="1417"/>
                  </a:cubicBezTo>
                  <a:cubicBezTo>
                    <a:pt x="3419" y="1355"/>
                    <a:pt x="3479" y="1242"/>
                    <a:pt x="3538" y="1221"/>
                  </a:cubicBezTo>
                  <a:cubicBezTo>
                    <a:pt x="3529" y="1253"/>
                    <a:pt x="3534" y="1287"/>
                    <a:pt x="3535" y="1318"/>
                  </a:cubicBezTo>
                  <a:cubicBezTo>
                    <a:pt x="3558" y="1197"/>
                    <a:pt x="3670" y="1257"/>
                    <a:pt x="3740" y="1193"/>
                  </a:cubicBezTo>
                  <a:cubicBezTo>
                    <a:pt x="3766" y="1170"/>
                    <a:pt x="3745" y="1140"/>
                    <a:pt x="3763" y="1114"/>
                  </a:cubicBezTo>
                  <a:cubicBezTo>
                    <a:pt x="3779" y="1089"/>
                    <a:pt x="3810" y="1070"/>
                    <a:pt x="3828" y="1049"/>
                  </a:cubicBezTo>
                  <a:cubicBezTo>
                    <a:pt x="3879" y="989"/>
                    <a:pt x="3875" y="983"/>
                    <a:pt x="3966" y="976"/>
                  </a:cubicBezTo>
                  <a:cubicBezTo>
                    <a:pt x="4026" y="971"/>
                    <a:pt x="4081" y="936"/>
                    <a:pt x="4085" y="1029"/>
                  </a:cubicBezTo>
                  <a:cubicBezTo>
                    <a:pt x="4100" y="934"/>
                    <a:pt x="4193" y="1016"/>
                    <a:pt x="4250" y="1024"/>
                  </a:cubicBezTo>
                  <a:cubicBezTo>
                    <a:pt x="4305" y="1032"/>
                    <a:pt x="4394" y="1007"/>
                    <a:pt x="4475" y="1020"/>
                  </a:cubicBezTo>
                  <a:cubicBezTo>
                    <a:pt x="4456" y="1051"/>
                    <a:pt x="4447" y="1149"/>
                    <a:pt x="4494" y="1162"/>
                  </a:cubicBezTo>
                  <a:cubicBezTo>
                    <a:pt x="4538" y="1174"/>
                    <a:pt x="4589" y="1069"/>
                    <a:pt x="4620" y="1049"/>
                  </a:cubicBezTo>
                  <a:cubicBezTo>
                    <a:pt x="4673" y="1014"/>
                    <a:pt x="4720" y="1042"/>
                    <a:pt x="4775" y="1012"/>
                  </a:cubicBezTo>
                  <a:cubicBezTo>
                    <a:pt x="4800" y="999"/>
                    <a:pt x="4792" y="957"/>
                    <a:pt x="4817" y="939"/>
                  </a:cubicBezTo>
                  <a:cubicBezTo>
                    <a:pt x="4844" y="921"/>
                    <a:pt x="4877" y="928"/>
                    <a:pt x="4908" y="918"/>
                  </a:cubicBezTo>
                  <a:cubicBezTo>
                    <a:pt x="4940" y="908"/>
                    <a:pt x="4963" y="873"/>
                    <a:pt x="4995" y="864"/>
                  </a:cubicBezTo>
                  <a:cubicBezTo>
                    <a:pt x="5015" y="859"/>
                    <a:pt x="5033" y="887"/>
                    <a:pt x="5068" y="875"/>
                  </a:cubicBezTo>
                  <a:cubicBezTo>
                    <a:pt x="5135" y="853"/>
                    <a:pt x="5213" y="854"/>
                    <a:pt x="5282" y="836"/>
                  </a:cubicBezTo>
                  <a:cubicBezTo>
                    <a:pt x="5338" y="821"/>
                    <a:pt x="5558" y="796"/>
                    <a:pt x="5530" y="718"/>
                  </a:cubicBezTo>
                  <a:cubicBezTo>
                    <a:pt x="5586" y="729"/>
                    <a:pt x="5641" y="676"/>
                    <a:pt x="5636" y="617"/>
                  </a:cubicBezTo>
                  <a:cubicBezTo>
                    <a:pt x="5561" y="667"/>
                    <a:pt x="5618" y="613"/>
                    <a:pt x="5610" y="592"/>
                  </a:cubicBezTo>
                  <a:cubicBezTo>
                    <a:pt x="5616" y="608"/>
                    <a:pt x="5613" y="537"/>
                    <a:pt x="5612" y="530"/>
                  </a:cubicBezTo>
                  <a:cubicBezTo>
                    <a:pt x="5610" y="511"/>
                    <a:pt x="5576" y="525"/>
                    <a:pt x="5573" y="512"/>
                  </a:cubicBezTo>
                  <a:cubicBezTo>
                    <a:pt x="5567" y="487"/>
                    <a:pt x="5583" y="497"/>
                    <a:pt x="5581" y="480"/>
                  </a:cubicBezTo>
                  <a:cubicBezTo>
                    <a:pt x="5579" y="453"/>
                    <a:pt x="5598" y="415"/>
                    <a:pt x="5592" y="383"/>
                  </a:cubicBezTo>
                  <a:cubicBezTo>
                    <a:pt x="5559" y="201"/>
                    <a:pt x="5414" y="612"/>
                    <a:pt x="5313" y="560"/>
                  </a:cubicBezTo>
                  <a:cubicBezTo>
                    <a:pt x="5323" y="555"/>
                    <a:pt x="5339" y="546"/>
                    <a:pt x="5348" y="541"/>
                  </a:cubicBezTo>
                  <a:cubicBezTo>
                    <a:pt x="5296" y="552"/>
                    <a:pt x="5254" y="547"/>
                    <a:pt x="5275" y="486"/>
                  </a:cubicBezTo>
                  <a:cubicBezTo>
                    <a:pt x="5255" y="510"/>
                    <a:pt x="5218" y="524"/>
                    <a:pt x="5199" y="538"/>
                  </a:cubicBezTo>
                  <a:cubicBezTo>
                    <a:pt x="5231" y="490"/>
                    <a:pt x="5188" y="476"/>
                    <a:pt x="5142" y="471"/>
                  </a:cubicBezTo>
                  <a:cubicBezTo>
                    <a:pt x="5174" y="436"/>
                    <a:pt x="5177" y="382"/>
                    <a:pt x="5158" y="326"/>
                  </a:cubicBezTo>
                  <a:cubicBezTo>
                    <a:pt x="5113" y="322"/>
                    <a:pt x="5072" y="343"/>
                    <a:pt x="5060" y="387"/>
                  </a:cubicBezTo>
                  <a:cubicBezTo>
                    <a:pt x="5053" y="354"/>
                    <a:pt x="5066" y="317"/>
                    <a:pt x="5079" y="283"/>
                  </a:cubicBezTo>
                  <a:cubicBezTo>
                    <a:pt x="5017" y="297"/>
                    <a:pt x="4980" y="357"/>
                    <a:pt x="4926" y="367"/>
                  </a:cubicBezTo>
                  <a:cubicBezTo>
                    <a:pt x="4999" y="271"/>
                    <a:pt x="4889" y="331"/>
                    <a:pt x="4840" y="342"/>
                  </a:cubicBezTo>
                  <a:cubicBezTo>
                    <a:pt x="4842" y="333"/>
                    <a:pt x="4846" y="323"/>
                    <a:pt x="4848" y="313"/>
                  </a:cubicBezTo>
                  <a:cubicBezTo>
                    <a:pt x="4814" y="335"/>
                    <a:pt x="4782" y="364"/>
                    <a:pt x="4751" y="390"/>
                  </a:cubicBezTo>
                  <a:cubicBezTo>
                    <a:pt x="4760" y="393"/>
                    <a:pt x="4780" y="404"/>
                    <a:pt x="4788" y="406"/>
                  </a:cubicBezTo>
                  <a:cubicBezTo>
                    <a:pt x="4732" y="425"/>
                    <a:pt x="4722" y="469"/>
                    <a:pt x="4687" y="515"/>
                  </a:cubicBezTo>
                  <a:cubicBezTo>
                    <a:pt x="4639" y="576"/>
                    <a:pt x="4608" y="575"/>
                    <a:pt x="4557" y="609"/>
                  </a:cubicBezTo>
                  <a:cubicBezTo>
                    <a:pt x="4563" y="605"/>
                    <a:pt x="4534" y="702"/>
                    <a:pt x="4518" y="668"/>
                  </a:cubicBezTo>
                  <a:cubicBezTo>
                    <a:pt x="4502" y="636"/>
                    <a:pt x="4547" y="615"/>
                    <a:pt x="4550" y="590"/>
                  </a:cubicBezTo>
                  <a:cubicBezTo>
                    <a:pt x="4558" y="537"/>
                    <a:pt x="4584" y="468"/>
                    <a:pt x="4520" y="435"/>
                  </a:cubicBezTo>
                  <a:cubicBezTo>
                    <a:pt x="4485" y="417"/>
                    <a:pt x="4375" y="484"/>
                    <a:pt x="4320" y="500"/>
                  </a:cubicBezTo>
                  <a:cubicBezTo>
                    <a:pt x="4238" y="524"/>
                    <a:pt x="4195" y="575"/>
                    <a:pt x="4109" y="592"/>
                  </a:cubicBezTo>
                  <a:cubicBezTo>
                    <a:pt x="4060" y="601"/>
                    <a:pt x="3980" y="600"/>
                    <a:pt x="3945" y="645"/>
                  </a:cubicBezTo>
                  <a:cubicBezTo>
                    <a:pt x="3908" y="694"/>
                    <a:pt x="3909" y="629"/>
                    <a:pt x="3892" y="615"/>
                  </a:cubicBezTo>
                  <a:cubicBezTo>
                    <a:pt x="3843" y="575"/>
                    <a:pt x="3892" y="541"/>
                    <a:pt x="3810" y="528"/>
                  </a:cubicBezTo>
                  <a:cubicBezTo>
                    <a:pt x="3836" y="524"/>
                    <a:pt x="3867" y="509"/>
                    <a:pt x="3896" y="506"/>
                  </a:cubicBezTo>
                  <a:cubicBezTo>
                    <a:pt x="3798" y="473"/>
                    <a:pt x="3759" y="487"/>
                    <a:pt x="3685" y="547"/>
                  </a:cubicBezTo>
                  <a:cubicBezTo>
                    <a:pt x="3759" y="565"/>
                    <a:pt x="3764" y="604"/>
                    <a:pt x="3819" y="616"/>
                  </a:cubicBezTo>
                  <a:cubicBezTo>
                    <a:pt x="3739" y="799"/>
                    <a:pt x="3544" y="431"/>
                    <a:pt x="3424" y="593"/>
                  </a:cubicBezTo>
                  <a:cubicBezTo>
                    <a:pt x="3409" y="614"/>
                    <a:pt x="3401" y="668"/>
                    <a:pt x="3383" y="698"/>
                  </a:cubicBezTo>
                  <a:cubicBezTo>
                    <a:pt x="3356" y="742"/>
                    <a:pt x="3342" y="754"/>
                    <a:pt x="3298" y="785"/>
                  </a:cubicBezTo>
                  <a:cubicBezTo>
                    <a:pt x="3154" y="886"/>
                    <a:pt x="3179" y="798"/>
                    <a:pt x="3063" y="771"/>
                  </a:cubicBezTo>
                  <a:cubicBezTo>
                    <a:pt x="2993" y="755"/>
                    <a:pt x="2941" y="770"/>
                    <a:pt x="2888" y="778"/>
                  </a:cubicBezTo>
                  <a:cubicBezTo>
                    <a:pt x="2878" y="780"/>
                    <a:pt x="2864" y="812"/>
                    <a:pt x="2847" y="817"/>
                  </a:cubicBezTo>
                  <a:cubicBezTo>
                    <a:pt x="2833" y="821"/>
                    <a:pt x="2801" y="778"/>
                    <a:pt x="2779" y="781"/>
                  </a:cubicBezTo>
                  <a:cubicBezTo>
                    <a:pt x="2745" y="786"/>
                    <a:pt x="2713" y="832"/>
                    <a:pt x="2672" y="838"/>
                  </a:cubicBezTo>
                  <a:cubicBezTo>
                    <a:pt x="2606" y="849"/>
                    <a:pt x="2578" y="815"/>
                    <a:pt x="2518" y="856"/>
                  </a:cubicBezTo>
                  <a:cubicBezTo>
                    <a:pt x="2454" y="900"/>
                    <a:pt x="2417" y="989"/>
                    <a:pt x="2330" y="1002"/>
                  </a:cubicBezTo>
                  <a:cubicBezTo>
                    <a:pt x="2260" y="1012"/>
                    <a:pt x="2267" y="977"/>
                    <a:pt x="2207" y="1013"/>
                  </a:cubicBezTo>
                  <a:cubicBezTo>
                    <a:pt x="2186" y="1026"/>
                    <a:pt x="2141" y="1074"/>
                    <a:pt x="2130" y="1098"/>
                  </a:cubicBezTo>
                  <a:cubicBezTo>
                    <a:pt x="2060" y="1264"/>
                    <a:pt x="2145" y="1473"/>
                    <a:pt x="2128" y="1647"/>
                  </a:cubicBezTo>
                  <a:cubicBezTo>
                    <a:pt x="2126" y="1621"/>
                    <a:pt x="2117" y="1585"/>
                    <a:pt x="2111" y="1557"/>
                  </a:cubicBezTo>
                  <a:cubicBezTo>
                    <a:pt x="2096" y="1477"/>
                    <a:pt x="2102" y="1445"/>
                    <a:pt x="2107" y="1360"/>
                  </a:cubicBezTo>
                  <a:cubicBezTo>
                    <a:pt x="2111" y="1292"/>
                    <a:pt x="2072" y="1218"/>
                    <a:pt x="2078" y="1156"/>
                  </a:cubicBezTo>
                  <a:cubicBezTo>
                    <a:pt x="2086" y="1077"/>
                    <a:pt x="2141" y="1051"/>
                    <a:pt x="2190" y="1010"/>
                  </a:cubicBezTo>
                  <a:cubicBezTo>
                    <a:pt x="2225" y="981"/>
                    <a:pt x="2216" y="959"/>
                    <a:pt x="2264" y="946"/>
                  </a:cubicBezTo>
                  <a:cubicBezTo>
                    <a:pt x="2298" y="937"/>
                    <a:pt x="2332" y="963"/>
                    <a:pt x="2365" y="954"/>
                  </a:cubicBezTo>
                  <a:cubicBezTo>
                    <a:pt x="2438" y="935"/>
                    <a:pt x="2462" y="862"/>
                    <a:pt x="2512" y="817"/>
                  </a:cubicBezTo>
                  <a:cubicBezTo>
                    <a:pt x="2551" y="782"/>
                    <a:pt x="2588" y="794"/>
                    <a:pt x="2619" y="773"/>
                  </a:cubicBezTo>
                  <a:cubicBezTo>
                    <a:pt x="2646" y="754"/>
                    <a:pt x="2664" y="708"/>
                    <a:pt x="2695" y="684"/>
                  </a:cubicBezTo>
                  <a:cubicBezTo>
                    <a:pt x="2781" y="618"/>
                    <a:pt x="3014" y="582"/>
                    <a:pt x="2988" y="414"/>
                  </a:cubicBezTo>
                  <a:cubicBezTo>
                    <a:pt x="2926" y="492"/>
                    <a:pt x="2888" y="492"/>
                    <a:pt x="2831" y="424"/>
                  </a:cubicBezTo>
                  <a:cubicBezTo>
                    <a:pt x="2824" y="416"/>
                    <a:pt x="2863" y="393"/>
                    <a:pt x="2849" y="371"/>
                  </a:cubicBezTo>
                  <a:cubicBezTo>
                    <a:pt x="2841" y="360"/>
                    <a:pt x="2806" y="388"/>
                    <a:pt x="2803" y="382"/>
                  </a:cubicBezTo>
                  <a:cubicBezTo>
                    <a:pt x="2781" y="343"/>
                    <a:pt x="2792" y="307"/>
                    <a:pt x="2754" y="296"/>
                  </a:cubicBezTo>
                  <a:cubicBezTo>
                    <a:pt x="2770" y="266"/>
                    <a:pt x="2930" y="96"/>
                    <a:pt x="2773" y="115"/>
                  </a:cubicBezTo>
                  <a:cubicBezTo>
                    <a:pt x="2808" y="73"/>
                    <a:pt x="2821" y="-20"/>
                    <a:pt x="2747" y="5"/>
                  </a:cubicBezTo>
                  <a:cubicBezTo>
                    <a:pt x="2705" y="18"/>
                    <a:pt x="2740" y="90"/>
                    <a:pt x="2716" y="145"/>
                  </a:cubicBezTo>
                  <a:cubicBezTo>
                    <a:pt x="2701" y="179"/>
                    <a:pt x="2622" y="264"/>
                    <a:pt x="2596" y="279"/>
                  </a:cubicBezTo>
                  <a:cubicBezTo>
                    <a:pt x="2570" y="294"/>
                    <a:pt x="2573" y="219"/>
                    <a:pt x="2533" y="279"/>
                  </a:cubicBezTo>
                  <a:cubicBezTo>
                    <a:pt x="2517" y="303"/>
                    <a:pt x="2522" y="342"/>
                    <a:pt x="2533" y="365"/>
                  </a:cubicBezTo>
                  <a:cubicBezTo>
                    <a:pt x="2610" y="240"/>
                    <a:pt x="2633" y="465"/>
                    <a:pt x="2524" y="430"/>
                  </a:cubicBezTo>
                  <a:cubicBezTo>
                    <a:pt x="2504" y="424"/>
                    <a:pt x="2410" y="275"/>
                    <a:pt x="2409" y="266"/>
                  </a:cubicBezTo>
                  <a:cubicBezTo>
                    <a:pt x="2375" y="268"/>
                    <a:pt x="2349" y="256"/>
                    <a:pt x="2308" y="259"/>
                  </a:cubicBezTo>
                  <a:cubicBezTo>
                    <a:pt x="2072" y="112"/>
                    <a:pt x="2080" y="365"/>
                    <a:pt x="2034" y="529"/>
                  </a:cubicBezTo>
                  <a:cubicBezTo>
                    <a:pt x="1985" y="481"/>
                    <a:pt x="1980" y="366"/>
                    <a:pt x="1938" y="334"/>
                  </a:cubicBezTo>
                  <a:cubicBezTo>
                    <a:pt x="1825" y="245"/>
                    <a:pt x="1848" y="407"/>
                    <a:pt x="1798" y="466"/>
                  </a:cubicBezTo>
                  <a:cubicBezTo>
                    <a:pt x="1801" y="429"/>
                    <a:pt x="1831" y="335"/>
                    <a:pt x="1814" y="309"/>
                  </a:cubicBezTo>
                  <a:cubicBezTo>
                    <a:pt x="1741" y="193"/>
                    <a:pt x="1694" y="325"/>
                    <a:pt x="1692" y="384"/>
                  </a:cubicBezTo>
                  <a:cubicBezTo>
                    <a:pt x="1691" y="427"/>
                    <a:pt x="1700" y="505"/>
                    <a:pt x="1711" y="546"/>
                  </a:cubicBezTo>
                  <a:cubicBezTo>
                    <a:pt x="1727" y="603"/>
                    <a:pt x="1784" y="656"/>
                    <a:pt x="1784" y="709"/>
                  </a:cubicBezTo>
                  <a:cubicBezTo>
                    <a:pt x="1735" y="633"/>
                    <a:pt x="1696" y="587"/>
                    <a:pt x="1674" y="492"/>
                  </a:cubicBezTo>
                  <a:cubicBezTo>
                    <a:pt x="1654" y="407"/>
                    <a:pt x="1661" y="271"/>
                    <a:pt x="1575" y="401"/>
                  </a:cubicBezTo>
                  <a:cubicBezTo>
                    <a:pt x="1560" y="425"/>
                    <a:pt x="1533" y="498"/>
                    <a:pt x="1530" y="528"/>
                  </a:cubicBezTo>
                  <a:cubicBezTo>
                    <a:pt x="1523" y="596"/>
                    <a:pt x="1540" y="573"/>
                    <a:pt x="1559" y="637"/>
                  </a:cubicBezTo>
                  <a:cubicBezTo>
                    <a:pt x="1595" y="754"/>
                    <a:pt x="1572" y="759"/>
                    <a:pt x="1674" y="804"/>
                  </a:cubicBezTo>
                  <a:cubicBezTo>
                    <a:pt x="1583" y="839"/>
                    <a:pt x="1539" y="789"/>
                    <a:pt x="1490" y="733"/>
                  </a:cubicBezTo>
                  <a:cubicBezTo>
                    <a:pt x="1441" y="678"/>
                    <a:pt x="1482" y="633"/>
                    <a:pt x="1419" y="702"/>
                  </a:cubicBezTo>
                  <a:cubicBezTo>
                    <a:pt x="1388" y="737"/>
                    <a:pt x="1450" y="801"/>
                    <a:pt x="1364" y="788"/>
                  </a:cubicBezTo>
                  <a:cubicBezTo>
                    <a:pt x="1382" y="878"/>
                    <a:pt x="1408" y="891"/>
                    <a:pt x="1468" y="925"/>
                  </a:cubicBezTo>
                  <a:cubicBezTo>
                    <a:pt x="1480" y="932"/>
                    <a:pt x="1539" y="963"/>
                    <a:pt x="1555" y="963"/>
                  </a:cubicBezTo>
                  <a:cubicBezTo>
                    <a:pt x="1583" y="962"/>
                    <a:pt x="1572" y="973"/>
                    <a:pt x="1597" y="965"/>
                  </a:cubicBezTo>
                  <a:cubicBezTo>
                    <a:pt x="1608" y="961"/>
                    <a:pt x="1606" y="909"/>
                    <a:pt x="1632" y="907"/>
                  </a:cubicBezTo>
                  <a:cubicBezTo>
                    <a:pt x="1710" y="897"/>
                    <a:pt x="1619" y="935"/>
                    <a:pt x="1654" y="974"/>
                  </a:cubicBezTo>
                  <a:cubicBezTo>
                    <a:pt x="1682" y="1007"/>
                    <a:pt x="1727" y="999"/>
                    <a:pt x="1753" y="1025"/>
                  </a:cubicBezTo>
                  <a:cubicBezTo>
                    <a:pt x="1791" y="1064"/>
                    <a:pt x="1812" y="1192"/>
                    <a:pt x="1897" y="1162"/>
                  </a:cubicBezTo>
                  <a:cubicBezTo>
                    <a:pt x="1930" y="1151"/>
                    <a:pt x="2004" y="971"/>
                    <a:pt x="2021" y="1120"/>
                  </a:cubicBezTo>
                  <a:cubicBezTo>
                    <a:pt x="2031" y="1213"/>
                    <a:pt x="2034" y="1303"/>
                    <a:pt x="2023" y="1396"/>
                  </a:cubicBezTo>
                  <a:cubicBezTo>
                    <a:pt x="2020" y="1426"/>
                    <a:pt x="2017" y="1459"/>
                    <a:pt x="2016" y="1493"/>
                  </a:cubicBezTo>
                  <a:cubicBezTo>
                    <a:pt x="2008" y="1456"/>
                    <a:pt x="2003" y="1418"/>
                    <a:pt x="2003" y="1374"/>
                  </a:cubicBezTo>
                  <a:cubicBezTo>
                    <a:pt x="2002" y="1334"/>
                    <a:pt x="2034" y="1129"/>
                    <a:pt x="1939" y="1160"/>
                  </a:cubicBezTo>
                  <a:cubicBezTo>
                    <a:pt x="1863" y="1185"/>
                    <a:pt x="1863" y="1197"/>
                    <a:pt x="1798" y="1125"/>
                  </a:cubicBezTo>
                  <a:cubicBezTo>
                    <a:pt x="1733" y="1051"/>
                    <a:pt x="1743" y="1038"/>
                    <a:pt x="1631" y="1016"/>
                  </a:cubicBezTo>
                  <a:cubicBezTo>
                    <a:pt x="1444" y="979"/>
                    <a:pt x="1566" y="1057"/>
                    <a:pt x="1626" y="1147"/>
                  </a:cubicBezTo>
                  <a:cubicBezTo>
                    <a:pt x="1507" y="1099"/>
                    <a:pt x="1544" y="1211"/>
                    <a:pt x="1559" y="1289"/>
                  </a:cubicBezTo>
                  <a:cubicBezTo>
                    <a:pt x="1572" y="1357"/>
                    <a:pt x="1583" y="1427"/>
                    <a:pt x="1602" y="1480"/>
                  </a:cubicBezTo>
                  <a:cubicBezTo>
                    <a:pt x="1457" y="1415"/>
                    <a:pt x="1492" y="1306"/>
                    <a:pt x="1436" y="1176"/>
                  </a:cubicBezTo>
                  <a:cubicBezTo>
                    <a:pt x="1373" y="1030"/>
                    <a:pt x="1309" y="933"/>
                    <a:pt x="1215" y="834"/>
                  </a:cubicBezTo>
                  <a:lnTo>
                    <a:pt x="1214" y="834"/>
                  </a:lnTo>
                  <a:cubicBezTo>
                    <a:pt x="1157" y="1015"/>
                    <a:pt x="1087" y="1164"/>
                    <a:pt x="1009" y="1247"/>
                  </a:cubicBezTo>
                  <a:cubicBezTo>
                    <a:pt x="809" y="1462"/>
                    <a:pt x="855" y="1561"/>
                    <a:pt x="782" y="1961"/>
                  </a:cubicBezTo>
                  <a:cubicBezTo>
                    <a:pt x="709" y="2361"/>
                    <a:pt x="417" y="2353"/>
                    <a:pt x="332" y="2617"/>
                  </a:cubicBezTo>
                  <a:cubicBezTo>
                    <a:pt x="248" y="2880"/>
                    <a:pt x="417" y="2988"/>
                    <a:pt x="271" y="3144"/>
                  </a:cubicBezTo>
                  <a:cubicBezTo>
                    <a:pt x="125" y="3301"/>
                    <a:pt x="71" y="3359"/>
                    <a:pt x="10" y="3887"/>
                  </a:cubicBezTo>
                  <a:cubicBezTo>
                    <a:pt x="-52" y="4414"/>
                    <a:pt x="194" y="4052"/>
                    <a:pt x="471" y="4167"/>
                  </a:cubicBezTo>
                  <a:cubicBezTo>
                    <a:pt x="747" y="4282"/>
                    <a:pt x="886" y="4414"/>
                    <a:pt x="1178" y="4546"/>
                  </a:cubicBezTo>
                  <a:cubicBezTo>
                    <a:pt x="1470" y="4678"/>
                    <a:pt x="1278" y="4885"/>
                    <a:pt x="1147" y="5025"/>
                  </a:cubicBezTo>
                  <a:cubicBezTo>
                    <a:pt x="1016" y="5165"/>
                    <a:pt x="993" y="5338"/>
                    <a:pt x="993" y="5520"/>
                  </a:cubicBezTo>
                  <a:cubicBezTo>
                    <a:pt x="993" y="5701"/>
                    <a:pt x="824" y="5915"/>
                    <a:pt x="690" y="6208"/>
                  </a:cubicBezTo>
                  <a:cubicBezTo>
                    <a:pt x="555" y="6501"/>
                    <a:pt x="824" y="6353"/>
                    <a:pt x="1063" y="6353"/>
                  </a:cubicBezTo>
                  <a:cubicBezTo>
                    <a:pt x="1301" y="6353"/>
                    <a:pt x="1209" y="6509"/>
                    <a:pt x="1409" y="6509"/>
                  </a:cubicBezTo>
                  <a:cubicBezTo>
                    <a:pt x="1608" y="6509"/>
                    <a:pt x="1409" y="6790"/>
                    <a:pt x="1347" y="6790"/>
                  </a:cubicBezTo>
                  <a:cubicBezTo>
                    <a:pt x="1285" y="6790"/>
                    <a:pt x="1347" y="6988"/>
                    <a:pt x="1347" y="7153"/>
                  </a:cubicBezTo>
                  <a:cubicBezTo>
                    <a:pt x="1347" y="7318"/>
                    <a:pt x="1347" y="7449"/>
                    <a:pt x="1147" y="7449"/>
                  </a:cubicBezTo>
                  <a:cubicBezTo>
                    <a:pt x="947" y="7449"/>
                    <a:pt x="947" y="7713"/>
                    <a:pt x="778" y="7713"/>
                  </a:cubicBezTo>
                  <a:cubicBezTo>
                    <a:pt x="609" y="7713"/>
                    <a:pt x="717" y="7911"/>
                    <a:pt x="809" y="8010"/>
                  </a:cubicBezTo>
                  <a:cubicBezTo>
                    <a:pt x="901" y="8109"/>
                    <a:pt x="640" y="8093"/>
                    <a:pt x="640" y="8340"/>
                  </a:cubicBezTo>
                  <a:cubicBezTo>
                    <a:pt x="640" y="8587"/>
                    <a:pt x="524" y="8464"/>
                    <a:pt x="671" y="8621"/>
                  </a:cubicBezTo>
                  <a:cubicBezTo>
                    <a:pt x="817" y="8777"/>
                    <a:pt x="840" y="9033"/>
                    <a:pt x="763" y="9264"/>
                  </a:cubicBezTo>
                  <a:cubicBezTo>
                    <a:pt x="686" y="9495"/>
                    <a:pt x="840" y="9346"/>
                    <a:pt x="1163" y="9528"/>
                  </a:cubicBezTo>
                  <a:cubicBezTo>
                    <a:pt x="1485" y="9709"/>
                    <a:pt x="1209" y="9858"/>
                    <a:pt x="1209" y="10155"/>
                  </a:cubicBezTo>
                  <a:cubicBezTo>
                    <a:pt x="1209" y="10452"/>
                    <a:pt x="1370" y="10493"/>
                    <a:pt x="1516" y="10649"/>
                  </a:cubicBezTo>
                  <a:cubicBezTo>
                    <a:pt x="1662" y="10806"/>
                    <a:pt x="1362" y="10880"/>
                    <a:pt x="1485" y="11012"/>
                  </a:cubicBezTo>
                  <a:cubicBezTo>
                    <a:pt x="1608" y="11144"/>
                    <a:pt x="1347" y="11458"/>
                    <a:pt x="1347" y="11458"/>
                  </a:cubicBezTo>
                  <a:cubicBezTo>
                    <a:pt x="1347" y="11458"/>
                    <a:pt x="1216" y="11680"/>
                    <a:pt x="1332" y="11804"/>
                  </a:cubicBezTo>
                  <a:cubicBezTo>
                    <a:pt x="1447" y="11928"/>
                    <a:pt x="1324" y="12125"/>
                    <a:pt x="1224" y="12233"/>
                  </a:cubicBezTo>
                  <a:cubicBezTo>
                    <a:pt x="1124" y="12340"/>
                    <a:pt x="1224" y="12431"/>
                    <a:pt x="1285" y="12678"/>
                  </a:cubicBezTo>
                  <a:cubicBezTo>
                    <a:pt x="1347" y="12926"/>
                    <a:pt x="1093" y="13000"/>
                    <a:pt x="1224" y="13140"/>
                  </a:cubicBezTo>
                  <a:cubicBezTo>
                    <a:pt x="1355" y="13280"/>
                    <a:pt x="1132" y="13569"/>
                    <a:pt x="1132" y="13750"/>
                  </a:cubicBezTo>
                  <a:cubicBezTo>
                    <a:pt x="1132" y="13932"/>
                    <a:pt x="1424" y="13915"/>
                    <a:pt x="1616" y="13981"/>
                  </a:cubicBezTo>
                  <a:cubicBezTo>
                    <a:pt x="1808" y="14047"/>
                    <a:pt x="1616" y="14402"/>
                    <a:pt x="1724" y="14518"/>
                  </a:cubicBezTo>
                  <a:cubicBezTo>
                    <a:pt x="1831" y="14633"/>
                    <a:pt x="1900" y="14707"/>
                    <a:pt x="1900" y="14938"/>
                  </a:cubicBezTo>
                  <a:cubicBezTo>
                    <a:pt x="1900" y="15169"/>
                    <a:pt x="1970" y="15210"/>
                    <a:pt x="2131" y="15383"/>
                  </a:cubicBezTo>
                  <a:cubicBezTo>
                    <a:pt x="2292" y="15557"/>
                    <a:pt x="2131" y="15697"/>
                    <a:pt x="2069" y="16076"/>
                  </a:cubicBezTo>
                  <a:cubicBezTo>
                    <a:pt x="2008" y="16455"/>
                    <a:pt x="2100" y="16654"/>
                    <a:pt x="2223" y="16786"/>
                  </a:cubicBezTo>
                  <a:cubicBezTo>
                    <a:pt x="2346" y="16918"/>
                    <a:pt x="2515" y="16786"/>
                    <a:pt x="2792" y="16720"/>
                  </a:cubicBezTo>
                  <a:cubicBezTo>
                    <a:pt x="3069" y="16654"/>
                    <a:pt x="2954" y="16827"/>
                    <a:pt x="3084" y="16967"/>
                  </a:cubicBezTo>
                  <a:cubicBezTo>
                    <a:pt x="3215" y="17107"/>
                    <a:pt x="3576" y="16967"/>
                    <a:pt x="3837" y="16967"/>
                  </a:cubicBezTo>
                  <a:cubicBezTo>
                    <a:pt x="4099" y="16967"/>
                    <a:pt x="4007" y="17412"/>
                    <a:pt x="3761" y="17412"/>
                  </a:cubicBezTo>
                  <a:cubicBezTo>
                    <a:pt x="3515" y="17412"/>
                    <a:pt x="3761" y="17858"/>
                    <a:pt x="3868" y="18435"/>
                  </a:cubicBezTo>
                  <a:cubicBezTo>
                    <a:pt x="3898" y="18597"/>
                    <a:pt x="3907" y="18741"/>
                    <a:pt x="3905" y="18869"/>
                  </a:cubicBezTo>
                  <a:cubicBezTo>
                    <a:pt x="8682" y="20447"/>
                    <a:pt x="14659" y="21580"/>
                    <a:pt x="21548" y="21163"/>
                  </a:cubicBezTo>
                  <a:cubicBezTo>
                    <a:pt x="21548" y="21163"/>
                    <a:pt x="21244" y="13540"/>
                    <a:pt x="21244" y="13540"/>
                  </a:cubicBezTo>
                  <a:close/>
                  <a:moveTo>
                    <a:pt x="21244" y="13540"/>
                  </a:moveTo>
                </a:path>
              </a:pathLst>
            </a:custGeom>
            <a:grpFill/>
            <a:ln w="12700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71" name="AutoShape 26"/>
            <p:cNvSpPr>
              <a:spLocks/>
            </p:cNvSpPr>
            <p:nvPr/>
          </p:nvSpPr>
          <p:spPr bwMode="auto">
            <a:xfrm>
              <a:off x="170427" y="-678127"/>
              <a:ext cx="598488" cy="933450"/>
            </a:xfrm>
            <a:custGeom>
              <a:avLst/>
              <a:gdLst/>
              <a:ahLst/>
              <a:cxnLst/>
              <a:rect l="0" t="0" r="r" b="b"/>
              <a:pathLst>
                <a:path w="21600" h="21536">
                  <a:moveTo>
                    <a:pt x="18530" y="15686"/>
                  </a:moveTo>
                  <a:lnTo>
                    <a:pt x="18534" y="15667"/>
                  </a:lnTo>
                  <a:cubicBezTo>
                    <a:pt x="18455" y="15616"/>
                    <a:pt x="18342" y="15569"/>
                    <a:pt x="18391" y="15649"/>
                  </a:cubicBezTo>
                  <a:cubicBezTo>
                    <a:pt x="18408" y="15677"/>
                    <a:pt x="18467" y="15711"/>
                    <a:pt x="18520" y="15740"/>
                  </a:cubicBezTo>
                  <a:cubicBezTo>
                    <a:pt x="18520" y="15740"/>
                    <a:pt x="18530" y="15686"/>
                    <a:pt x="18530" y="15686"/>
                  </a:cubicBezTo>
                  <a:close/>
                  <a:moveTo>
                    <a:pt x="18369" y="15377"/>
                  </a:moveTo>
                  <a:cubicBezTo>
                    <a:pt x="18416" y="15422"/>
                    <a:pt x="18512" y="15380"/>
                    <a:pt x="18585" y="15415"/>
                  </a:cubicBezTo>
                  <a:lnTo>
                    <a:pt x="18619" y="15244"/>
                  </a:lnTo>
                  <a:cubicBezTo>
                    <a:pt x="18471" y="15211"/>
                    <a:pt x="18262" y="15275"/>
                    <a:pt x="18369" y="15377"/>
                  </a:cubicBezTo>
                  <a:close/>
                  <a:moveTo>
                    <a:pt x="18751" y="14589"/>
                  </a:moveTo>
                  <a:cubicBezTo>
                    <a:pt x="18582" y="14540"/>
                    <a:pt x="18172" y="14399"/>
                    <a:pt x="18021" y="14476"/>
                  </a:cubicBezTo>
                  <a:cubicBezTo>
                    <a:pt x="17872" y="14552"/>
                    <a:pt x="18018" y="14643"/>
                    <a:pt x="18067" y="14722"/>
                  </a:cubicBezTo>
                  <a:cubicBezTo>
                    <a:pt x="18153" y="14861"/>
                    <a:pt x="18148" y="14856"/>
                    <a:pt x="18343" y="14937"/>
                  </a:cubicBezTo>
                  <a:cubicBezTo>
                    <a:pt x="18521" y="15011"/>
                    <a:pt x="18547" y="15049"/>
                    <a:pt x="18409" y="15173"/>
                  </a:cubicBezTo>
                  <a:cubicBezTo>
                    <a:pt x="18484" y="15151"/>
                    <a:pt x="18564" y="15128"/>
                    <a:pt x="18639" y="15145"/>
                  </a:cubicBezTo>
                  <a:cubicBezTo>
                    <a:pt x="18639" y="15145"/>
                    <a:pt x="18751" y="14589"/>
                    <a:pt x="18751" y="14589"/>
                  </a:cubicBezTo>
                  <a:close/>
                  <a:moveTo>
                    <a:pt x="1077" y="14634"/>
                  </a:moveTo>
                  <a:cubicBezTo>
                    <a:pt x="1080" y="14653"/>
                    <a:pt x="827" y="14594"/>
                    <a:pt x="755" y="14573"/>
                  </a:cubicBezTo>
                  <a:cubicBezTo>
                    <a:pt x="789" y="14674"/>
                    <a:pt x="949" y="14727"/>
                    <a:pt x="1006" y="14821"/>
                  </a:cubicBezTo>
                  <a:cubicBezTo>
                    <a:pt x="1057" y="14905"/>
                    <a:pt x="1124" y="14999"/>
                    <a:pt x="1213" y="15070"/>
                  </a:cubicBezTo>
                  <a:cubicBezTo>
                    <a:pt x="1375" y="15199"/>
                    <a:pt x="1646" y="15295"/>
                    <a:pt x="1778" y="15438"/>
                  </a:cubicBezTo>
                  <a:cubicBezTo>
                    <a:pt x="1913" y="15586"/>
                    <a:pt x="1790" y="15799"/>
                    <a:pt x="1946" y="15929"/>
                  </a:cubicBezTo>
                  <a:cubicBezTo>
                    <a:pt x="2066" y="16028"/>
                    <a:pt x="2014" y="16235"/>
                    <a:pt x="2007" y="16357"/>
                  </a:cubicBezTo>
                  <a:cubicBezTo>
                    <a:pt x="1989" y="16662"/>
                    <a:pt x="2018" y="16816"/>
                    <a:pt x="2218" y="17110"/>
                  </a:cubicBezTo>
                  <a:cubicBezTo>
                    <a:pt x="2499" y="17143"/>
                    <a:pt x="2520" y="17171"/>
                    <a:pt x="2743" y="17062"/>
                  </a:cubicBezTo>
                  <a:cubicBezTo>
                    <a:pt x="2883" y="16993"/>
                    <a:pt x="3022" y="16956"/>
                    <a:pt x="3198" y="16932"/>
                  </a:cubicBezTo>
                  <a:cubicBezTo>
                    <a:pt x="3587" y="16878"/>
                    <a:pt x="3721" y="16776"/>
                    <a:pt x="4020" y="16615"/>
                  </a:cubicBezTo>
                  <a:cubicBezTo>
                    <a:pt x="4161" y="16540"/>
                    <a:pt x="4295" y="16482"/>
                    <a:pt x="4402" y="16611"/>
                  </a:cubicBezTo>
                  <a:cubicBezTo>
                    <a:pt x="4450" y="16669"/>
                    <a:pt x="4329" y="16714"/>
                    <a:pt x="4455" y="16769"/>
                  </a:cubicBezTo>
                  <a:cubicBezTo>
                    <a:pt x="4515" y="16795"/>
                    <a:pt x="4627" y="16773"/>
                    <a:pt x="4694" y="16771"/>
                  </a:cubicBezTo>
                  <a:cubicBezTo>
                    <a:pt x="4987" y="16762"/>
                    <a:pt x="5388" y="16762"/>
                    <a:pt x="5631" y="16643"/>
                  </a:cubicBezTo>
                  <a:cubicBezTo>
                    <a:pt x="5939" y="16492"/>
                    <a:pt x="5985" y="16219"/>
                    <a:pt x="6088" y="16010"/>
                  </a:cubicBezTo>
                  <a:cubicBezTo>
                    <a:pt x="6114" y="15956"/>
                    <a:pt x="6173" y="15878"/>
                    <a:pt x="6182" y="15826"/>
                  </a:cubicBezTo>
                  <a:cubicBezTo>
                    <a:pt x="6193" y="15767"/>
                    <a:pt x="6141" y="15714"/>
                    <a:pt x="6176" y="15655"/>
                  </a:cubicBezTo>
                  <a:cubicBezTo>
                    <a:pt x="6214" y="15590"/>
                    <a:pt x="6371" y="15531"/>
                    <a:pt x="6452" y="15480"/>
                  </a:cubicBezTo>
                  <a:cubicBezTo>
                    <a:pt x="6566" y="15409"/>
                    <a:pt x="6727" y="15303"/>
                    <a:pt x="6725" y="15194"/>
                  </a:cubicBezTo>
                  <a:cubicBezTo>
                    <a:pt x="6724" y="15122"/>
                    <a:pt x="6630" y="14881"/>
                    <a:pt x="6845" y="14942"/>
                  </a:cubicBezTo>
                  <a:cubicBezTo>
                    <a:pt x="6850" y="14944"/>
                    <a:pt x="6893" y="15053"/>
                    <a:pt x="6957" y="15081"/>
                  </a:cubicBezTo>
                  <a:cubicBezTo>
                    <a:pt x="6976" y="15089"/>
                    <a:pt x="7145" y="15113"/>
                    <a:pt x="7167" y="15112"/>
                  </a:cubicBezTo>
                  <a:cubicBezTo>
                    <a:pt x="7307" y="15101"/>
                    <a:pt x="7443" y="15010"/>
                    <a:pt x="7575" y="14971"/>
                  </a:cubicBezTo>
                  <a:cubicBezTo>
                    <a:pt x="7803" y="14905"/>
                    <a:pt x="7805" y="14919"/>
                    <a:pt x="7895" y="14776"/>
                  </a:cubicBezTo>
                  <a:cubicBezTo>
                    <a:pt x="7964" y="14666"/>
                    <a:pt x="8107" y="14584"/>
                    <a:pt x="8174" y="14485"/>
                  </a:cubicBezTo>
                  <a:cubicBezTo>
                    <a:pt x="8267" y="14347"/>
                    <a:pt x="8243" y="14296"/>
                    <a:pt x="8458" y="14219"/>
                  </a:cubicBezTo>
                  <a:cubicBezTo>
                    <a:pt x="8564" y="14181"/>
                    <a:pt x="8686" y="14118"/>
                    <a:pt x="8796" y="14091"/>
                  </a:cubicBezTo>
                  <a:cubicBezTo>
                    <a:pt x="8984" y="14044"/>
                    <a:pt x="9068" y="14061"/>
                    <a:pt x="9230" y="13989"/>
                  </a:cubicBezTo>
                  <a:cubicBezTo>
                    <a:pt x="9369" y="13927"/>
                    <a:pt x="9492" y="13898"/>
                    <a:pt x="9653" y="13863"/>
                  </a:cubicBezTo>
                  <a:cubicBezTo>
                    <a:pt x="9907" y="13809"/>
                    <a:pt x="10123" y="13712"/>
                    <a:pt x="10359" y="13633"/>
                  </a:cubicBezTo>
                  <a:cubicBezTo>
                    <a:pt x="10621" y="13544"/>
                    <a:pt x="10881" y="13530"/>
                    <a:pt x="11141" y="13446"/>
                  </a:cubicBezTo>
                  <a:cubicBezTo>
                    <a:pt x="11447" y="13347"/>
                    <a:pt x="11657" y="13238"/>
                    <a:pt x="11977" y="13181"/>
                  </a:cubicBezTo>
                  <a:cubicBezTo>
                    <a:pt x="12260" y="13130"/>
                    <a:pt x="12538" y="13074"/>
                    <a:pt x="12806" y="12990"/>
                  </a:cubicBezTo>
                  <a:cubicBezTo>
                    <a:pt x="13146" y="12883"/>
                    <a:pt x="13308" y="12762"/>
                    <a:pt x="13149" y="12511"/>
                  </a:cubicBezTo>
                  <a:cubicBezTo>
                    <a:pt x="13027" y="12318"/>
                    <a:pt x="12841" y="12201"/>
                    <a:pt x="12705" y="12007"/>
                  </a:cubicBezTo>
                  <a:cubicBezTo>
                    <a:pt x="12580" y="11828"/>
                    <a:pt x="12408" y="11689"/>
                    <a:pt x="12290" y="11507"/>
                  </a:cubicBezTo>
                  <a:cubicBezTo>
                    <a:pt x="12082" y="11184"/>
                    <a:pt x="11859" y="10766"/>
                    <a:pt x="11334" y="10608"/>
                  </a:cubicBezTo>
                  <a:cubicBezTo>
                    <a:pt x="10982" y="10502"/>
                    <a:pt x="10811" y="10454"/>
                    <a:pt x="10410" y="10503"/>
                  </a:cubicBezTo>
                  <a:cubicBezTo>
                    <a:pt x="10219" y="10527"/>
                    <a:pt x="10087" y="10539"/>
                    <a:pt x="10023" y="10659"/>
                  </a:cubicBezTo>
                  <a:cubicBezTo>
                    <a:pt x="10000" y="10703"/>
                    <a:pt x="10053" y="10745"/>
                    <a:pt x="10009" y="10807"/>
                  </a:cubicBezTo>
                  <a:cubicBezTo>
                    <a:pt x="9965" y="10867"/>
                    <a:pt x="9811" y="10947"/>
                    <a:pt x="9738" y="11000"/>
                  </a:cubicBezTo>
                  <a:cubicBezTo>
                    <a:pt x="9697" y="10933"/>
                    <a:pt x="9606" y="10963"/>
                    <a:pt x="9537" y="10993"/>
                  </a:cubicBezTo>
                  <a:cubicBezTo>
                    <a:pt x="9615" y="10850"/>
                    <a:pt x="9771" y="10745"/>
                    <a:pt x="9784" y="10605"/>
                  </a:cubicBezTo>
                  <a:cubicBezTo>
                    <a:pt x="9802" y="10396"/>
                    <a:pt x="9490" y="10352"/>
                    <a:pt x="9310" y="10497"/>
                  </a:cubicBezTo>
                  <a:cubicBezTo>
                    <a:pt x="9215" y="10573"/>
                    <a:pt x="9041" y="10619"/>
                    <a:pt x="9024" y="10720"/>
                  </a:cubicBezTo>
                  <a:cubicBezTo>
                    <a:pt x="9001" y="10853"/>
                    <a:pt x="8914" y="10757"/>
                    <a:pt x="8939" y="10676"/>
                  </a:cubicBezTo>
                  <a:cubicBezTo>
                    <a:pt x="8965" y="10592"/>
                    <a:pt x="9126" y="10552"/>
                    <a:pt x="9193" y="10486"/>
                  </a:cubicBezTo>
                  <a:cubicBezTo>
                    <a:pt x="9266" y="10414"/>
                    <a:pt x="9241" y="10329"/>
                    <a:pt x="9397" y="10366"/>
                  </a:cubicBezTo>
                  <a:cubicBezTo>
                    <a:pt x="9330" y="10322"/>
                    <a:pt x="9229" y="10334"/>
                    <a:pt x="9145" y="10302"/>
                  </a:cubicBezTo>
                  <a:cubicBezTo>
                    <a:pt x="9074" y="10275"/>
                    <a:pt x="9062" y="10233"/>
                    <a:pt x="9007" y="10208"/>
                  </a:cubicBezTo>
                  <a:cubicBezTo>
                    <a:pt x="8911" y="10166"/>
                    <a:pt x="8819" y="10144"/>
                    <a:pt x="8726" y="10094"/>
                  </a:cubicBezTo>
                  <a:cubicBezTo>
                    <a:pt x="8565" y="10005"/>
                    <a:pt x="8204" y="9776"/>
                    <a:pt x="8126" y="9652"/>
                  </a:cubicBezTo>
                  <a:cubicBezTo>
                    <a:pt x="8051" y="9533"/>
                    <a:pt x="8152" y="9477"/>
                    <a:pt x="7960" y="9380"/>
                  </a:cubicBezTo>
                  <a:cubicBezTo>
                    <a:pt x="7853" y="9325"/>
                    <a:pt x="7723" y="9241"/>
                    <a:pt x="7570" y="9218"/>
                  </a:cubicBezTo>
                  <a:cubicBezTo>
                    <a:pt x="7281" y="9175"/>
                    <a:pt x="6906" y="9284"/>
                    <a:pt x="6599" y="9263"/>
                  </a:cubicBezTo>
                  <a:cubicBezTo>
                    <a:pt x="6220" y="9238"/>
                    <a:pt x="5872" y="9164"/>
                    <a:pt x="5501" y="9147"/>
                  </a:cubicBezTo>
                  <a:cubicBezTo>
                    <a:pt x="5132" y="9130"/>
                    <a:pt x="4888" y="9120"/>
                    <a:pt x="4540" y="9106"/>
                  </a:cubicBezTo>
                  <a:cubicBezTo>
                    <a:pt x="4491" y="9104"/>
                    <a:pt x="4298" y="9080"/>
                    <a:pt x="4262" y="9097"/>
                  </a:cubicBezTo>
                  <a:cubicBezTo>
                    <a:pt x="4130" y="9159"/>
                    <a:pt x="4333" y="9141"/>
                    <a:pt x="4322" y="9189"/>
                  </a:cubicBezTo>
                  <a:cubicBezTo>
                    <a:pt x="4317" y="9209"/>
                    <a:pt x="4222" y="9243"/>
                    <a:pt x="4223" y="9246"/>
                  </a:cubicBezTo>
                  <a:cubicBezTo>
                    <a:pt x="4221" y="9241"/>
                    <a:pt x="4261" y="9326"/>
                    <a:pt x="4262" y="9303"/>
                  </a:cubicBezTo>
                  <a:cubicBezTo>
                    <a:pt x="4262" y="9304"/>
                    <a:pt x="4293" y="9400"/>
                    <a:pt x="4290" y="9444"/>
                  </a:cubicBezTo>
                  <a:cubicBezTo>
                    <a:pt x="4286" y="9502"/>
                    <a:pt x="4301" y="9572"/>
                    <a:pt x="4284" y="9630"/>
                  </a:cubicBezTo>
                  <a:cubicBezTo>
                    <a:pt x="4266" y="9692"/>
                    <a:pt x="4178" y="9744"/>
                    <a:pt x="4199" y="9810"/>
                  </a:cubicBezTo>
                  <a:cubicBezTo>
                    <a:pt x="4229" y="9898"/>
                    <a:pt x="4237" y="10014"/>
                    <a:pt x="4246" y="10096"/>
                  </a:cubicBezTo>
                  <a:cubicBezTo>
                    <a:pt x="4259" y="10203"/>
                    <a:pt x="4153" y="10312"/>
                    <a:pt x="4262" y="10405"/>
                  </a:cubicBezTo>
                  <a:cubicBezTo>
                    <a:pt x="4378" y="10503"/>
                    <a:pt x="4549" y="10451"/>
                    <a:pt x="4521" y="10623"/>
                  </a:cubicBezTo>
                  <a:cubicBezTo>
                    <a:pt x="4503" y="10738"/>
                    <a:pt x="4321" y="10787"/>
                    <a:pt x="4195" y="10845"/>
                  </a:cubicBezTo>
                  <a:cubicBezTo>
                    <a:pt x="4036" y="10919"/>
                    <a:pt x="4071" y="10972"/>
                    <a:pt x="3969" y="11085"/>
                  </a:cubicBezTo>
                  <a:cubicBezTo>
                    <a:pt x="3853" y="11215"/>
                    <a:pt x="3717" y="11216"/>
                    <a:pt x="3555" y="11285"/>
                  </a:cubicBezTo>
                  <a:cubicBezTo>
                    <a:pt x="3404" y="11349"/>
                    <a:pt x="3359" y="11444"/>
                    <a:pt x="3243" y="11535"/>
                  </a:cubicBezTo>
                  <a:cubicBezTo>
                    <a:pt x="3131" y="11623"/>
                    <a:pt x="3045" y="11720"/>
                    <a:pt x="2928" y="11807"/>
                  </a:cubicBezTo>
                  <a:cubicBezTo>
                    <a:pt x="2835" y="11877"/>
                    <a:pt x="2609" y="11946"/>
                    <a:pt x="2561" y="12029"/>
                  </a:cubicBezTo>
                  <a:cubicBezTo>
                    <a:pt x="2468" y="12191"/>
                    <a:pt x="3079" y="12443"/>
                    <a:pt x="2624" y="12523"/>
                  </a:cubicBezTo>
                  <a:cubicBezTo>
                    <a:pt x="2507" y="12544"/>
                    <a:pt x="2264" y="12530"/>
                    <a:pt x="2168" y="12531"/>
                  </a:cubicBezTo>
                  <a:cubicBezTo>
                    <a:pt x="2080" y="12531"/>
                    <a:pt x="2111" y="12423"/>
                    <a:pt x="2013" y="12510"/>
                  </a:cubicBezTo>
                  <a:cubicBezTo>
                    <a:pt x="2014" y="12509"/>
                    <a:pt x="2034" y="12684"/>
                    <a:pt x="2032" y="12695"/>
                  </a:cubicBezTo>
                  <a:cubicBezTo>
                    <a:pt x="2011" y="12838"/>
                    <a:pt x="1958" y="12893"/>
                    <a:pt x="1893" y="12972"/>
                  </a:cubicBezTo>
                  <a:cubicBezTo>
                    <a:pt x="1896" y="12969"/>
                    <a:pt x="1800" y="12997"/>
                    <a:pt x="1785" y="13024"/>
                  </a:cubicBezTo>
                  <a:cubicBezTo>
                    <a:pt x="1764" y="13061"/>
                    <a:pt x="1812" y="13081"/>
                    <a:pt x="1806" y="13108"/>
                  </a:cubicBezTo>
                  <a:cubicBezTo>
                    <a:pt x="1789" y="13181"/>
                    <a:pt x="1815" y="13174"/>
                    <a:pt x="1752" y="13211"/>
                  </a:cubicBezTo>
                  <a:cubicBezTo>
                    <a:pt x="1686" y="13250"/>
                    <a:pt x="1472" y="13277"/>
                    <a:pt x="1376" y="13318"/>
                  </a:cubicBezTo>
                  <a:cubicBezTo>
                    <a:pt x="1214" y="13387"/>
                    <a:pt x="1172" y="13482"/>
                    <a:pt x="1063" y="13566"/>
                  </a:cubicBezTo>
                  <a:cubicBezTo>
                    <a:pt x="1013" y="13604"/>
                    <a:pt x="936" y="13626"/>
                    <a:pt x="888" y="13673"/>
                  </a:cubicBezTo>
                  <a:cubicBezTo>
                    <a:pt x="837" y="13724"/>
                    <a:pt x="923" y="13740"/>
                    <a:pt x="821" y="13797"/>
                  </a:cubicBezTo>
                  <a:cubicBezTo>
                    <a:pt x="732" y="13847"/>
                    <a:pt x="711" y="13757"/>
                    <a:pt x="619" y="13830"/>
                  </a:cubicBezTo>
                  <a:cubicBezTo>
                    <a:pt x="580" y="13861"/>
                    <a:pt x="626" y="13920"/>
                    <a:pt x="596" y="13949"/>
                  </a:cubicBezTo>
                  <a:cubicBezTo>
                    <a:pt x="563" y="13981"/>
                    <a:pt x="528" y="13962"/>
                    <a:pt x="512" y="13974"/>
                  </a:cubicBezTo>
                  <a:cubicBezTo>
                    <a:pt x="456" y="14016"/>
                    <a:pt x="362" y="14024"/>
                    <a:pt x="347" y="14085"/>
                  </a:cubicBezTo>
                  <a:cubicBezTo>
                    <a:pt x="326" y="14167"/>
                    <a:pt x="346" y="14229"/>
                    <a:pt x="268" y="14299"/>
                  </a:cubicBezTo>
                  <a:cubicBezTo>
                    <a:pt x="203" y="14358"/>
                    <a:pt x="87" y="14418"/>
                    <a:pt x="0" y="14367"/>
                  </a:cubicBezTo>
                  <a:cubicBezTo>
                    <a:pt x="165" y="14490"/>
                    <a:pt x="512" y="14461"/>
                    <a:pt x="744" y="14514"/>
                  </a:cubicBezTo>
                  <a:cubicBezTo>
                    <a:pt x="832" y="14534"/>
                    <a:pt x="1067" y="14569"/>
                    <a:pt x="1077" y="14634"/>
                  </a:cubicBezTo>
                  <a:close/>
                  <a:moveTo>
                    <a:pt x="11507" y="7403"/>
                  </a:moveTo>
                  <a:cubicBezTo>
                    <a:pt x="11586" y="7403"/>
                    <a:pt x="11797" y="7305"/>
                    <a:pt x="11862" y="7267"/>
                  </a:cubicBezTo>
                  <a:cubicBezTo>
                    <a:pt x="11985" y="7192"/>
                    <a:pt x="12195" y="7065"/>
                    <a:pt x="12319" y="6952"/>
                  </a:cubicBezTo>
                  <a:cubicBezTo>
                    <a:pt x="12465" y="6818"/>
                    <a:pt x="12554" y="6644"/>
                    <a:pt x="12723" y="6512"/>
                  </a:cubicBezTo>
                  <a:cubicBezTo>
                    <a:pt x="12854" y="6409"/>
                    <a:pt x="13284" y="6155"/>
                    <a:pt x="12999" y="6028"/>
                  </a:cubicBezTo>
                  <a:cubicBezTo>
                    <a:pt x="12809" y="5965"/>
                    <a:pt x="12548" y="6198"/>
                    <a:pt x="12422" y="6252"/>
                  </a:cubicBezTo>
                  <a:cubicBezTo>
                    <a:pt x="12350" y="6282"/>
                    <a:pt x="12364" y="6286"/>
                    <a:pt x="12288" y="6307"/>
                  </a:cubicBezTo>
                  <a:cubicBezTo>
                    <a:pt x="12258" y="6314"/>
                    <a:pt x="12137" y="6311"/>
                    <a:pt x="12091" y="6319"/>
                  </a:cubicBezTo>
                  <a:cubicBezTo>
                    <a:pt x="11931" y="6347"/>
                    <a:pt x="11769" y="6428"/>
                    <a:pt x="11685" y="6519"/>
                  </a:cubicBezTo>
                  <a:cubicBezTo>
                    <a:pt x="11529" y="6686"/>
                    <a:pt x="11185" y="6773"/>
                    <a:pt x="10983" y="6915"/>
                  </a:cubicBezTo>
                  <a:cubicBezTo>
                    <a:pt x="10610" y="7180"/>
                    <a:pt x="11390" y="7164"/>
                    <a:pt x="11252" y="7289"/>
                  </a:cubicBezTo>
                  <a:cubicBezTo>
                    <a:pt x="11410" y="7283"/>
                    <a:pt x="11365" y="7404"/>
                    <a:pt x="11507" y="7403"/>
                  </a:cubicBezTo>
                  <a:close/>
                  <a:moveTo>
                    <a:pt x="9020" y="20578"/>
                  </a:moveTo>
                  <a:lnTo>
                    <a:pt x="17382" y="21386"/>
                  </a:lnTo>
                  <a:lnTo>
                    <a:pt x="18490" y="15887"/>
                  </a:lnTo>
                  <a:cubicBezTo>
                    <a:pt x="18361" y="15853"/>
                    <a:pt x="18285" y="15549"/>
                    <a:pt x="18073" y="15666"/>
                  </a:cubicBezTo>
                  <a:cubicBezTo>
                    <a:pt x="17900" y="15761"/>
                    <a:pt x="18133" y="15784"/>
                    <a:pt x="18140" y="15896"/>
                  </a:cubicBezTo>
                  <a:cubicBezTo>
                    <a:pt x="18077" y="15861"/>
                    <a:pt x="17972" y="15819"/>
                    <a:pt x="17938" y="15769"/>
                  </a:cubicBezTo>
                  <a:cubicBezTo>
                    <a:pt x="17896" y="15708"/>
                    <a:pt x="17974" y="15689"/>
                    <a:pt x="17944" y="15640"/>
                  </a:cubicBezTo>
                  <a:cubicBezTo>
                    <a:pt x="17794" y="15401"/>
                    <a:pt x="17706" y="15675"/>
                    <a:pt x="17550" y="15710"/>
                  </a:cubicBezTo>
                  <a:cubicBezTo>
                    <a:pt x="17426" y="15738"/>
                    <a:pt x="17479" y="15753"/>
                    <a:pt x="17433" y="15784"/>
                  </a:cubicBezTo>
                  <a:cubicBezTo>
                    <a:pt x="17465" y="15762"/>
                    <a:pt x="17319" y="15900"/>
                    <a:pt x="17332" y="15877"/>
                  </a:cubicBezTo>
                  <a:cubicBezTo>
                    <a:pt x="17271" y="15978"/>
                    <a:pt x="17351" y="16091"/>
                    <a:pt x="17289" y="16186"/>
                  </a:cubicBezTo>
                  <a:cubicBezTo>
                    <a:pt x="17274" y="16101"/>
                    <a:pt x="17078" y="15934"/>
                    <a:pt x="16956" y="16016"/>
                  </a:cubicBezTo>
                  <a:cubicBezTo>
                    <a:pt x="16961" y="16004"/>
                    <a:pt x="17018" y="15945"/>
                    <a:pt x="17020" y="15936"/>
                  </a:cubicBezTo>
                  <a:cubicBezTo>
                    <a:pt x="17023" y="15922"/>
                    <a:pt x="16987" y="15859"/>
                    <a:pt x="16985" y="15864"/>
                  </a:cubicBezTo>
                  <a:cubicBezTo>
                    <a:pt x="16998" y="15844"/>
                    <a:pt x="17268" y="15722"/>
                    <a:pt x="17004" y="15763"/>
                  </a:cubicBezTo>
                  <a:cubicBezTo>
                    <a:pt x="16861" y="15785"/>
                    <a:pt x="16464" y="16066"/>
                    <a:pt x="16875" y="16017"/>
                  </a:cubicBezTo>
                  <a:cubicBezTo>
                    <a:pt x="16809" y="16089"/>
                    <a:pt x="16660" y="16081"/>
                    <a:pt x="16570" y="16140"/>
                  </a:cubicBezTo>
                  <a:cubicBezTo>
                    <a:pt x="16500" y="16187"/>
                    <a:pt x="16487" y="16266"/>
                    <a:pt x="16413" y="16314"/>
                  </a:cubicBezTo>
                  <a:cubicBezTo>
                    <a:pt x="16395" y="16257"/>
                    <a:pt x="16499" y="16097"/>
                    <a:pt x="16570" y="16063"/>
                  </a:cubicBezTo>
                  <a:cubicBezTo>
                    <a:pt x="16347" y="15972"/>
                    <a:pt x="16267" y="15950"/>
                    <a:pt x="16526" y="15858"/>
                  </a:cubicBezTo>
                  <a:cubicBezTo>
                    <a:pt x="16669" y="15807"/>
                    <a:pt x="16815" y="15784"/>
                    <a:pt x="16913" y="15684"/>
                  </a:cubicBezTo>
                  <a:cubicBezTo>
                    <a:pt x="16955" y="15643"/>
                    <a:pt x="16930" y="15620"/>
                    <a:pt x="16994" y="15567"/>
                  </a:cubicBezTo>
                  <a:cubicBezTo>
                    <a:pt x="17052" y="15519"/>
                    <a:pt x="17131" y="15506"/>
                    <a:pt x="17181" y="15457"/>
                  </a:cubicBezTo>
                  <a:cubicBezTo>
                    <a:pt x="17271" y="15369"/>
                    <a:pt x="17347" y="15169"/>
                    <a:pt x="17216" y="15085"/>
                  </a:cubicBezTo>
                  <a:cubicBezTo>
                    <a:pt x="16795" y="14818"/>
                    <a:pt x="16371" y="14585"/>
                    <a:pt x="15857" y="14378"/>
                  </a:cubicBezTo>
                  <a:cubicBezTo>
                    <a:pt x="15436" y="14209"/>
                    <a:pt x="15218" y="14195"/>
                    <a:pt x="14929" y="14470"/>
                  </a:cubicBezTo>
                  <a:cubicBezTo>
                    <a:pt x="14866" y="14530"/>
                    <a:pt x="14788" y="14596"/>
                    <a:pt x="14731" y="14655"/>
                  </a:cubicBezTo>
                  <a:cubicBezTo>
                    <a:pt x="14705" y="14682"/>
                    <a:pt x="14629" y="14702"/>
                    <a:pt x="14632" y="14742"/>
                  </a:cubicBezTo>
                  <a:cubicBezTo>
                    <a:pt x="14639" y="14814"/>
                    <a:pt x="14742" y="14774"/>
                    <a:pt x="14770" y="14816"/>
                  </a:cubicBezTo>
                  <a:cubicBezTo>
                    <a:pt x="14870" y="14965"/>
                    <a:pt x="14641" y="15066"/>
                    <a:pt x="14406" y="15110"/>
                  </a:cubicBezTo>
                  <a:cubicBezTo>
                    <a:pt x="14465" y="15041"/>
                    <a:pt x="14633" y="15009"/>
                    <a:pt x="14668" y="14926"/>
                  </a:cubicBezTo>
                  <a:cubicBezTo>
                    <a:pt x="14601" y="14939"/>
                    <a:pt x="14543" y="14977"/>
                    <a:pt x="14477" y="14990"/>
                  </a:cubicBezTo>
                  <a:cubicBezTo>
                    <a:pt x="14353" y="15015"/>
                    <a:pt x="14297" y="14981"/>
                    <a:pt x="14218" y="14981"/>
                  </a:cubicBezTo>
                  <a:cubicBezTo>
                    <a:pt x="14067" y="14981"/>
                    <a:pt x="13990" y="15036"/>
                    <a:pt x="13859" y="15071"/>
                  </a:cubicBezTo>
                  <a:cubicBezTo>
                    <a:pt x="13759" y="15097"/>
                    <a:pt x="13311" y="15169"/>
                    <a:pt x="13404" y="15021"/>
                  </a:cubicBezTo>
                  <a:cubicBezTo>
                    <a:pt x="13431" y="14979"/>
                    <a:pt x="13754" y="14938"/>
                    <a:pt x="13794" y="14878"/>
                  </a:cubicBezTo>
                  <a:cubicBezTo>
                    <a:pt x="13848" y="14796"/>
                    <a:pt x="13716" y="14654"/>
                    <a:pt x="13955" y="14608"/>
                  </a:cubicBezTo>
                  <a:cubicBezTo>
                    <a:pt x="14178" y="14566"/>
                    <a:pt x="14193" y="14695"/>
                    <a:pt x="14239" y="14523"/>
                  </a:cubicBezTo>
                  <a:cubicBezTo>
                    <a:pt x="14260" y="14445"/>
                    <a:pt x="14228" y="14339"/>
                    <a:pt x="14261" y="14252"/>
                  </a:cubicBezTo>
                  <a:cubicBezTo>
                    <a:pt x="14290" y="14175"/>
                    <a:pt x="14326" y="14121"/>
                    <a:pt x="14364" y="14049"/>
                  </a:cubicBezTo>
                  <a:cubicBezTo>
                    <a:pt x="14446" y="13893"/>
                    <a:pt x="14519" y="13727"/>
                    <a:pt x="14427" y="13562"/>
                  </a:cubicBezTo>
                  <a:cubicBezTo>
                    <a:pt x="14355" y="13434"/>
                    <a:pt x="14056" y="13137"/>
                    <a:pt x="13826" y="13152"/>
                  </a:cubicBezTo>
                  <a:cubicBezTo>
                    <a:pt x="13713" y="13159"/>
                    <a:pt x="13555" y="13251"/>
                    <a:pt x="13440" y="13277"/>
                  </a:cubicBezTo>
                  <a:cubicBezTo>
                    <a:pt x="12891" y="13404"/>
                    <a:pt x="12327" y="13502"/>
                    <a:pt x="11752" y="13630"/>
                  </a:cubicBezTo>
                  <a:cubicBezTo>
                    <a:pt x="11486" y="13689"/>
                    <a:pt x="11254" y="13788"/>
                    <a:pt x="10988" y="13842"/>
                  </a:cubicBezTo>
                  <a:cubicBezTo>
                    <a:pt x="10849" y="13871"/>
                    <a:pt x="10670" y="13847"/>
                    <a:pt x="10541" y="13884"/>
                  </a:cubicBezTo>
                  <a:cubicBezTo>
                    <a:pt x="10405" y="13923"/>
                    <a:pt x="10306" y="14058"/>
                    <a:pt x="10177" y="14120"/>
                  </a:cubicBezTo>
                  <a:cubicBezTo>
                    <a:pt x="9896" y="14257"/>
                    <a:pt x="9594" y="14345"/>
                    <a:pt x="9326" y="14474"/>
                  </a:cubicBezTo>
                  <a:cubicBezTo>
                    <a:pt x="9108" y="14579"/>
                    <a:pt x="8538" y="14781"/>
                    <a:pt x="8779" y="15014"/>
                  </a:cubicBezTo>
                  <a:cubicBezTo>
                    <a:pt x="8882" y="15114"/>
                    <a:pt x="9090" y="15060"/>
                    <a:pt x="9168" y="15169"/>
                  </a:cubicBezTo>
                  <a:cubicBezTo>
                    <a:pt x="9261" y="15296"/>
                    <a:pt x="9103" y="15390"/>
                    <a:pt x="8958" y="15416"/>
                  </a:cubicBezTo>
                  <a:cubicBezTo>
                    <a:pt x="8704" y="15462"/>
                    <a:pt x="8487" y="15415"/>
                    <a:pt x="8321" y="15572"/>
                  </a:cubicBezTo>
                  <a:cubicBezTo>
                    <a:pt x="8275" y="15616"/>
                    <a:pt x="8298" y="15660"/>
                    <a:pt x="8227" y="15707"/>
                  </a:cubicBezTo>
                  <a:cubicBezTo>
                    <a:pt x="8168" y="15745"/>
                    <a:pt x="8054" y="15759"/>
                    <a:pt x="7985" y="15795"/>
                  </a:cubicBezTo>
                  <a:cubicBezTo>
                    <a:pt x="7587" y="16003"/>
                    <a:pt x="7278" y="16534"/>
                    <a:pt x="7662" y="16796"/>
                  </a:cubicBezTo>
                  <a:cubicBezTo>
                    <a:pt x="7561" y="16477"/>
                    <a:pt x="8490" y="16692"/>
                    <a:pt x="8196" y="16883"/>
                  </a:cubicBezTo>
                  <a:cubicBezTo>
                    <a:pt x="8258" y="16884"/>
                    <a:pt x="8385" y="16906"/>
                    <a:pt x="8443" y="16891"/>
                  </a:cubicBezTo>
                  <a:cubicBezTo>
                    <a:pt x="8536" y="16868"/>
                    <a:pt x="8522" y="16815"/>
                    <a:pt x="8611" y="16776"/>
                  </a:cubicBezTo>
                  <a:cubicBezTo>
                    <a:pt x="8769" y="16708"/>
                    <a:pt x="8852" y="16788"/>
                    <a:pt x="9019" y="16778"/>
                  </a:cubicBezTo>
                  <a:cubicBezTo>
                    <a:pt x="8976" y="16797"/>
                    <a:pt x="8768" y="16833"/>
                    <a:pt x="8760" y="16870"/>
                  </a:cubicBezTo>
                  <a:cubicBezTo>
                    <a:pt x="8752" y="16908"/>
                    <a:pt x="8856" y="16903"/>
                    <a:pt x="8904" y="16933"/>
                  </a:cubicBezTo>
                  <a:cubicBezTo>
                    <a:pt x="8999" y="16992"/>
                    <a:pt x="9118" y="17114"/>
                    <a:pt x="8874" y="17057"/>
                  </a:cubicBezTo>
                  <a:cubicBezTo>
                    <a:pt x="8959" y="17158"/>
                    <a:pt x="8824" y="17094"/>
                    <a:pt x="8721" y="17092"/>
                  </a:cubicBezTo>
                  <a:cubicBezTo>
                    <a:pt x="8568" y="17090"/>
                    <a:pt x="8414" y="17056"/>
                    <a:pt x="8291" y="17125"/>
                  </a:cubicBezTo>
                  <a:cubicBezTo>
                    <a:pt x="8147" y="17206"/>
                    <a:pt x="8168" y="17339"/>
                    <a:pt x="8316" y="17407"/>
                  </a:cubicBezTo>
                  <a:cubicBezTo>
                    <a:pt x="8386" y="17439"/>
                    <a:pt x="8718" y="17487"/>
                    <a:pt x="8781" y="17479"/>
                  </a:cubicBezTo>
                  <a:cubicBezTo>
                    <a:pt x="8883" y="17466"/>
                    <a:pt x="9199" y="17582"/>
                    <a:pt x="9162" y="17388"/>
                  </a:cubicBezTo>
                  <a:cubicBezTo>
                    <a:pt x="9155" y="17344"/>
                    <a:pt x="8942" y="17346"/>
                    <a:pt x="9052" y="17284"/>
                  </a:cubicBezTo>
                  <a:cubicBezTo>
                    <a:pt x="9164" y="17221"/>
                    <a:pt x="9149" y="17246"/>
                    <a:pt x="9238" y="17296"/>
                  </a:cubicBezTo>
                  <a:cubicBezTo>
                    <a:pt x="9213" y="17281"/>
                    <a:pt x="9309" y="17396"/>
                    <a:pt x="9306" y="17379"/>
                  </a:cubicBezTo>
                  <a:cubicBezTo>
                    <a:pt x="9320" y="17463"/>
                    <a:pt x="9115" y="17510"/>
                    <a:pt x="9371" y="17500"/>
                  </a:cubicBezTo>
                  <a:cubicBezTo>
                    <a:pt x="9761" y="17485"/>
                    <a:pt x="10135" y="17451"/>
                    <a:pt x="10527" y="17440"/>
                  </a:cubicBezTo>
                  <a:cubicBezTo>
                    <a:pt x="10774" y="17434"/>
                    <a:pt x="11118" y="17373"/>
                    <a:pt x="11359" y="17387"/>
                  </a:cubicBezTo>
                  <a:cubicBezTo>
                    <a:pt x="11435" y="17392"/>
                    <a:pt x="11507" y="17396"/>
                    <a:pt x="11559" y="17441"/>
                  </a:cubicBezTo>
                  <a:cubicBezTo>
                    <a:pt x="11634" y="17505"/>
                    <a:pt x="11481" y="17490"/>
                    <a:pt x="11556" y="17548"/>
                  </a:cubicBezTo>
                  <a:cubicBezTo>
                    <a:pt x="11674" y="17640"/>
                    <a:pt x="11919" y="17566"/>
                    <a:pt x="12059" y="17546"/>
                  </a:cubicBezTo>
                  <a:cubicBezTo>
                    <a:pt x="11778" y="17683"/>
                    <a:pt x="11704" y="17672"/>
                    <a:pt x="11453" y="17588"/>
                  </a:cubicBezTo>
                  <a:cubicBezTo>
                    <a:pt x="11301" y="17537"/>
                    <a:pt x="10921" y="17564"/>
                    <a:pt x="10677" y="17620"/>
                  </a:cubicBezTo>
                  <a:cubicBezTo>
                    <a:pt x="10753" y="17639"/>
                    <a:pt x="10839" y="17669"/>
                    <a:pt x="10920" y="17693"/>
                  </a:cubicBezTo>
                  <a:cubicBezTo>
                    <a:pt x="10925" y="17694"/>
                    <a:pt x="11174" y="17768"/>
                    <a:pt x="11158" y="17754"/>
                  </a:cubicBezTo>
                  <a:cubicBezTo>
                    <a:pt x="11282" y="17864"/>
                    <a:pt x="10798" y="17811"/>
                    <a:pt x="10680" y="17820"/>
                  </a:cubicBezTo>
                  <a:cubicBezTo>
                    <a:pt x="10706" y="17810"/>
                    <a:pt x="10741" y="17790"/>
                    <a:pt x="10770" y="17779"/>
                  </a:cubicBezTo>
                  <a:cubicBezTo>
                    <a:pt x="10535" y="17723"/>
                    <a:pt x="10108" y="17822"/>
                    <a:pt x="9876" y="17862"/>
                  </a:cubicBezTo>
                  <a:cubicBezTo>
                    <a:pt x="9795" y="17876"/>
                    <a:pt x="9767" y="17929"/>
                    <a:pt x="9671" y="17948"/>
                  </a:cubicBezTo>
                  <a:cubicBezTo>
                    <a:pt x="9616" y="17959"/>
                    <a:pt x="9521" y="17931"/>
                    <a:pt x="9463" y="17933"/>
                  </a:cubicBezTo>
                  <a:cubicBezTo>
                    <a:pt x="9271" y="17939"/>
                    <a:pt x="9089" y="17985"/>
                    <a:pt x="8893" y="17988"/>
                  </a:cubicBezTo>
                  <a:cubicBezTo>
                    <a:pt x="8673" y="17992"/>
                    <a:pt x="8509" y="17982"/>
                    <a:pt x="8310" y="18047"/>
                  </a:cubicBezTo>
                  <a:cubicBezTo>
                    <a:pt x="8027" y="18139"/>
                    <a:pt x="7667" y="18182"/>
                    <a:pt x="7706" y="18411"/>
                  </a:cubicBezTo>
                  <a:cubicBezTo>
                    <a:pt x="7740" y="18610"/>
                    <a:pt x="7885" y="18746"/>
                    <a:pt x="8074" y="18898"/>
                  </a:cubicBezTo>
                  <a:cubicBezTo>
                    <a:pt x="8117" y="18932"/>
                    <a:pt x="8181" y="18974"/>
                    <a:pt x="8210" y="19013"/>
                  </a:cubicBezTo>
                  <a:cubicBezTo>
                    <a:pt x="8268" y="19096"/>
                    <a:pt x="8210" y="19093"/>
                    <a:pt x="8229" y="19172"/>
                  </a:cubicBezTo>
                  <a:cubicBezTo>
                    <a:pt x="8241" y="19224"/>
                    <a:pt x="8237" y="19251"/>
                    <a:pt x="8303" y="19295"/>
                  </a:cubicBezTo>
                  <a:cubicBezTo>
                    <a:pt x="8420" y="19372"/>
                    <a:pt x="8402" y="19305"/>
                    <a:pt x="8521" y="19331"/>
                  </a:cubicBezTo>
                  <a:cubicBezTo>
                    <a:pt x="8722" y="19376"/>
                    <a:pt x="9031" y="19455"/>
                    <a:pt x="9327" y="19478"/>
                  </a:cubicBezTo>
                  <a:cubicBezTo>
                    <a:pt x="9512" y="19493"/>
                    <a:pt x="9630" y="19446"/>
                    <a:pt x="9816" y="19463"/>
                  </a:cubicBezTo>
                  <a:cubicBezTo>
                    <a:pt x="10083" y="19487"/>
                    <a:pt x="10004" y="19586"/>
                    <a:pt x="10203" y="19642"/>
                  </a:cubicBezTo>
                  <a:cubicBezTo>
                    <a:pt x="10305" y="19670"/>
                    <a:pt x="10435" y="19637"/>
                    <a:pt x="10579" y="19657"/>
                  </a:cubicBezTo>
                  <a:cubicBezTo>
                    <a:pt x="10648" y="19667"/>
                    <a:pt x="10755" y="19719"/>
                    <a:pt x="10791" y="19723"/>
                  </a:cubicBezTo>
                  <a:cubicBezTo>
                    <a:pt x="10858" y="19731"/>
                    <a:pt x="10917" y="19704"/>
                    <a:pt x="11006" y="19702"/>
                  </a:cubicBezTo>
                  <a:cubicBezTo>
                    <a:pt x="11183" y="19697"/>
                    <a:pt x="11350" y="19758"/>
                    <a:pt x="11527" y="19759"/>
                  </a:cubicBezTo>
                  <a:cubicBezTo>
                    <a:pt x="11670" y="19761"/>
                    <a:pt x="11786" y="19754"/>
                    <a:pt x="11924" y="19756"/>
                  </a:cubicBezTo>
                  <a:cubicBezTo>
                    <a:pt x="12102" y="19759"/>
                    <a:pt x="12219" y="19682"/>
                    <a:pt x="12373" y="19676"/>
                  </a:cubicBezTo>
                  <a:cubicBezTo>
                    <a:pt x="12467" y="19673"/>
                    <a:pt x="12545" y="19734"/>
                    <a:pt x="12638" y="19726"/>
                  </a:cubicBezTo>
                  <a:cubicBezTo>
                    <a:pt x="12718" y="19719"/>
                    <a:pt x="12766" y="19653"/>
                    <a:pt x="12841" y="19645"/>
                  </a:cubicBezTo>
                  <a:cubicBezTo>
                    <a:pt x="12999" y="19626"/>
                    <a:pt x="13115" y="19710"/>
                    <a:pt x="13231" y="19764"/>
                  </a:cubicBezTo>
                  <a:cubicBezTo>
                    <a:pt x="13318" y="19804"/>
                    <a:pt x="13309" y="19819"/>
                    <a:pt x="13395" y="19840"/>
                  </a:cubicBezTo>
                  <a:cubicBezTo>
                    <a:pt x="13374" y="19835"/>
                    <a:pt x="13472" y="19805"/>
                    <a:pt x="13499" y="19808"/>
                  </a:cubicBezTo>
                  <a:cubicBezTo>
                    <a:pt x="13525" y="19810"/>
                    <a:pt x="13544" y="19862"/>
                    <a:pt x="13578" y="19871"/>
                  </a:cubicBezTo>
                  <a:cubicBezTo>
                    <a:pt x="13647" y="19889"/>
                    <a:pt x="13747" y="19899"/>
                    <a:pt x="13796" y="19919"/>
                  </a:cubicBezTo>
                  <a:cubicBezTo>
                    <a:pt x="13806" y="19923"/>
                    <a:pt x="13777" y="19981"/>
                    <a:pt x="13799" y="19994"/>
                  </a:cubicBezTo>
                  <a:cubicBezTo>
                    <a:pt x="13838" y="20017"/>
                    <a:pt x="13880" y="19982"/>
                    <a:pt x="13905" y="19998"/>
                  </a:cubicBezTo>
                  <a:cubicBezTo>
                    <a:pt x="13974" y="20045"/>
                    <a:pt x="14079" y="20167"/>
                    <a:pt x="14151" y="20180"/>
                  </a:cubicBezTo>
                  <a:cubicBezTo>
                    <a:pt x="14186" y="20187"/>
                    <a:pt x="14286" y="20127"/>
                    <a:pt x="14385" y="20161"/>
                  </a:cubicBezTo>
                  <a:cubicBezTo>
                    <a:pt x="14444" y="20181"/>
                    <a:pt x="14458" y="20251"/>
                    <a:pt x="14523" y="20275"/>
                  </a:cubicBezTo>
                  <a:cubicBezTo>
                    <a:pt x="14613" y="20310"/>
                    <a:pt x="14633" y="20268"/>
                    <a:pt x="14702" y="20284"/>
                  </a:cubicBezTo>
                  <a:cubicBezTo>
                    <a:pt x="14720" y="20287"/>
                    <a:pt x="14798" y="20323"/>
                    <a:pt x="14836" y="20338"/>
                  </a:cubicBezTo>
                  <a:cubicBezTo>
                    <a:pt x="15009" y="20404"/>
                    <a:pt x="15034" y="20401"/>
                    <a:pt x="15094" y="20539"/>
                  </a:cubicBezTo>
                  <a:cubicBezTo>
                    <a:pt x="15146" y="20659"/>
                    <a:pt x="15125" y="20675"/>
                    <a:pt x="15301" y="20735"/>
                  </a:cubicBezTo>
                  <a:cubicBezTo>
                    <a:pt x="15404" y="20770"/>
                    <a:pt x="15739" y="20762"/>
                    <a:pt x="15762" y="20847"/>
                  </a:cubicBezTo>
                  <a:cubicBezTo>
                    <a:pt x="15769" y="20876"/>
                    <a:pt x="15687" y="20904"/>
                    <a:pt x="15683" y="20895"/>
                  </a:cubicBezTo>
                  <a:cubicBezTo>
                    <a:pt x="15668" y="20863"/>
                    <a:pt x="15674" y="20981"/>
                    <a:pt x="15698" y="20937"/>
                  </a:cubicBezTo>
                  <a:cubicBezTo>
                    <a:pt x="15687" y="20957"/>
                    <a:pt x="15867" y="20955"/>
                    <a:pt x="15683" y="20995"/>
                  </a:cubicBezTo>
                  <a:cubicBezTo>
                    <a:pt x="15604" y="21012"/>
                    <a:pt x="15231" y="20989"/>
                    <a:pt x="15164" y="20979"/>
                  </a:cubicBezTo>
                  <a:cubicBezTo>
                    <a:pt x="15017" y="20958"/>
                    <a:pt x="14900" y="20847"/>
                    <a:pt x="14750" y="20855"/>
                  </a:cubicBezTo>
                  <a:cubicBezTo>
                    <a:pt x="14789" y="20869"/>
                    <a:pt x="14858" y="20909"/>
                    <a:pt x="14912" y="20922"/>
                  </a:cubicBezTo>
                  <a:cubicBezTo>
                    <a:pt x="14886" y="20923"/>
                    <a:pt x="14751" y="20911"/>
                    <a:pt x="14727" y="20920"/>
                  </a:cubicBezTo>
                  <a:cubicBezTo>
                    <a:pt x="14721" y="20923"/>
                    <a:pt x="14557" y="20996"/>
                    <a:pt x="14622" y="20987"/>
                  </a:cubicBezTo>
                  <a:cubicBezTo>
                    <a:pt x="14581" y="20992"/>
                    <a:pt x="14252" y="20920"/>
                    <a:pt x="14391" y="21039"/>
                  </a:cubicBezTo>
                  <a:cubicBezTo>
                    <a:pt x="14223" y="21064"/>
                    <a:pt x="14091" y="20948"/>
                    <a:pt x="13948" y="20912"/>
                  </a:cubicBezTo>
                  <a:cubicBezTo>
                    <a:pt x="13856" y="20889"/>
                    <a:pt x="13861" y="20932"/>
                    <a:pt x="13800" y="20917"/>
                  </a:cubicBezTo>
                  <a:cubicBezTo>
                    <a:pt x="13747" y="20903"/>
                    <a:pt x="13639" y="20848"/>
                    <a:pt x="13580" y="20827"/>
                  </a:cubicBezTo>
                  <a:cubicBezTo>
                    <a:pt x="13263" y="20715"/>
                    <a:pt x="12913" y="20783"/>
                    <a:pt x="12588" y="20671"/>
                  </a:cubicBezTo>
                  <a:cubicBezTo>
                    <a:pt x="12433" y="20617"/>
                    <a:pt x="12371" y="20558"/>
                    <a:pt x="12182" y="20534"/>
                  </a:cubicBezTo>
                  <a:cubicBezTo>
                    <a:pt x="12002" y="20511"/>
                    <a:pt x="11857" y="20530"/>
                    <a:pt x="11680" y="20536"/>
                  </a:cubicBezTo>
                  <a:cubicBezTo>
                    <a:pt x="11378" y="20547"/>
                    <a:pt x="11053" y="20524"/>
                    <a:pt x="10748" y="20523"/>
                  </a:cubicBezTo>
                  <a:cubicBezTo>
                    <a:pt x="10359" y="20520"/>
                    <a:pt x="10004" y="20519"/>
                    <a:pt x="9617" y="20546"/>
                  </a:cubicBezTo>
                  <a:cubicBezTo>
                    <a:pt x="9418" y="20560"/>
                    <a:pt x="9219" y="20571"/>
                    <a:pt x="9020" y="20578"/>
                  </a:cubicBezTo>
                  <a:cubicBezTo>
                    <a:pt x="8643" y="20593"/>
                    <a:pt x="8419" y="20678"/>
                    <a:pt x="8067" y="20790"/>
                  </a:cubicBezTo>
                  <a:cubicBezTo>
                    <a:pt x="8079" y="21011"/>
                    <a:pt x="8015" y="21289"/>
                    <a:pt x="8196" y="21480"/>
                  </a:cubicBezTo>
                  <a:cubicBezTo>
                    <a:pt x="8216" y="21501"/>
                    <a:pt x="8243" y="21517"/>
                    <a:pt x="8266" y="21536"/>
                  </a:cubicBezTo>
                  <a:cubicBezTo>
                    <a:pt x="8521" y="21513"/>
                    <a:pt x="8734" y="21392"/>
                    <a:pt x="8504" y="21107"/>
                  </a:cubicBezTo>
                  <a:cubicBezTo>
                    <a:pt x="8186" y="20715"/>
                    <a:pt x="9020" y="20578"/>
                    <a:pt x="9020" y="20578"/>
                  </a:cubicBezTo>
                  <a:close/>
                  <a:moveTo>
                    <a:pt x="8468" y="5229"/>
                  </a:moveTo>
                  <a:cubicBezTo>
                    <a:pt x="8569" y="5318"/>
                    <a:pt x="8359" y="5452"/>
                    <a:pt x="8227" y="5485"/>
                  </a:cubicBezTo>
                  <a:cubicBezTo>
                    <a:pt x="8358" y="5518"/>
                    <a:pt x="8133" y="5605"/>
                    <a:pt x="8250" y="5715"/>
                  </a:cubicBezTo>
                  <a:cubicBezTo>
                    <a:pt x="8359" y="5819"/>
                    <a:pt x="8639" y="5636"/>
                    <a:pt x="8683" y="5619"/>
                  </a:cubicBezTo>
                  <a:cubicBezTo>
                    <a:pt x="8777" y="5584"/>
                    <a:pt x="8694" y="5570"/>
                    <a:pt x="8832" y="5559"/>
                  </a:cubicBezTo>
                  <a:cubicBezTo>
                    <a:pt x="8975" y="5549"/>
                    <a:pt x="9110" y="5622"/>
                    <a:pt x="9189" y="5691"/>
                  </a:cubicBezTo>
                  <a:cubicBezTo>
                    <a:pt x="9283" y="5772"/>
                    <a:pt x="9274" y="5913"/>
                    <a:pt x="9390" y="5971"/>
                  </a:cubicBezTo>
                  <a:cubicBezTo>
                    <a:pt x="9431" y="5858"/>
                    <a:pt x="9560" y="5802"/>
                    <a:pt x="9741" y="5839"/>
                  </a:cubicBezTo>
                  <a:cubicBezTo>
                    <a:pt x="9663" y="5919"/>
                    <a:pt x="9714" y="5988"/>
                    <a:pt x="9771" y="5866"/>
                  </a:cubicBezTo>
                  <a:cubicBezTo>
                    <a:pt x="9798" y="5808"/>
                    <a:pt x="9767" y="5744"/>
                    <a:pt x="9783" y="5687"/>
                  </a:cubicBezTo>
                  <a:cubicBezTo>
                    <a:pt x="9817" y="5573"/>
                    <a:pt x="10076" y="5194"/>
                    <a:pt x="10195" y="5485"/>
                  </a:cubicBezTo>
                  <a:cubicBezTo>
                    <a:pt x="10207" y="5512"/>
                    <a:pt x="9856" y="5983"/>
                    <a:pt x="10201" y="5889"/>
                  </a:cubicBezTo>
                  <a:cubicBezTo>
                    <a:pt x="10347" y="5850"/>
                    <a:pt x="10205" y="6033"/>
                    <a:pt x="10193" y="6056"/>
                  </a:cubicBezTo>
                  <a:cubicBezTo>
                    <a:pt x="10131" y="6180"/>
                    <a:pt x="10017" y="6258"/>
                    <a:pt x="10146" y="6387"/>
                  </a:cubicBezTo>
                  <a:cubicBezTo>
                    <a:pt x="10262" y="6341"/>
                    <a:pt x="10331" y="6255"/>
                    <a:pt x="10453" y="6224"/>
                  </a:cubicBezTo>
                  <a:cubicBezTo>
                    <a:pt x="10475" y="6357"/>
                    <a:pt x="10669" y="6315"/>
                    <a:pt x="10791" y="6286"/>
                  </a:cubicBezTo>
                  <a:cubicBezTo>
                    <a:pt x="10844" y="6273"/>
                    <a:pt x="10839" y="6205"/>
                    <a:pt x="10917" y="6226"/>
                  </a:cubicBezTo>
                  <a:cubicBezTo>
                    <a:pt x="11022" y="6255"/>
                    <a:pt x="10896" y="6159"/>
                    <a:pt x="10903" y="6153"/>
                  </a:cubicBezTo>
                  <a:cubicBezTo>
                    <a:pt x="11028" y="6036"/>
                    <a:pt x="11091" y="6131"/>
                    <a:pt x="11164" y="6052"/>
                  </a:cubicBezTo>
                  <a:cubicBezTo>
                    <a:pt x="11229" y="5982"/>
                    <a:pt x="11139" y="5898"/>
                    <a:pt x="11096" y="5836"/>
                  </a:cubicBezTo>
                  <a:cubicBezTo>
                    <a:pt x="10954" y="5635"/>
                    <a:pt x="11053" y="5822"/>
                    <a:pt x="11177" y="5739"/>
                  </a:cubicBezTo>
                  <a:cubicBezTo>
                    <a:pt x="11202" y="5723"/>
                    <a:pt x="11109" y="5665"/>
                    <a:pt x="11131" y="5631"/>
                  </a:cubicBezTo>
                  <a:cubicBezTo>
                    <a:pt x="11153" y="5595"/>
                    <a:pt x="11228" y="5626"/>
                    <a:pt x="11254" y="5559"/>
                  </a:cubicBezTo>
                  <a:cubicBezTo>
                    <a:pt x="11287" y="5476"/>
                    <a:pt x="11242" y="5398"/>
                    <a:pt x="11280" y="5314"/>
                  </a:cubicBezTo>
                  <a:cubicBezTo>
                    <a:pt x="11351" y="5157"/>
                    <a:pt x="11301" y="5258"/>
                    <a:pt x="11496" y="5161"/>
                  </a:cubicBezTo>
                  <a:cubicBezTo>
                    <a:pt x="11497" y="5342"/>
                    <a:pt x="11430" y="5527"/>
                    <a:pt x="11466" y="5702"/>
                  </a:cubicBezTo>
                  <a:cubicBezTo>
                    <a:pt x="11486" y="5803"/>
                    <a:pt x="11591" y="5896"/>
                    <a:pt x="11770" y="5788"/>
                  </a:cubicBezTo>
                  <a:cubicBezTo>
                    <a:pt x="11894" y="5712"/>
                    <a:pt x="11850" y="5623"/>
                    <a:pt x="11912" y="5529"/>
                  </a:cubicBezTo>
                  <a:cubicBezTo>
                    <a:pt x="12001" y="5397"/>
                    <a:pt x="12115" y="5509"/>
                    <a:pt x="12232" y="5434"/>
                  </a:cubicBezTo>
                  <a:cubicBezTo>
                    <a:pt x="12330" y="5371"/>
                    <a:pt x="12353" y="5268"/>
                    <a:pt x="12342" y="5182"/>
                  </a:cubicBezTo>
                  <a:cubicBezTo>
                    <a:pt x="12327" y="5070"/>
                    <a:pt x="12246" y="5045"/>
                    <a:pt x="12189" y="4957"/>
                  </a:cubicBezTo>
                  <a:cubicBezTo>
                    <a:pt x="12098" y="4817"/>
                    <a:pt x="12312" y="4883"/>
                    <a:pt x="12289" y="4782"/>
                  </a:cubicBezTo>
                  <a:cubicBezTo>
                    <a:pt x="12369" y="4809"/>
                    <a:pt x="12349" y="4906"/>
                    <a:pt x="12422" y="4917"/>
                  </a:cubicBezTo>
                  <a:cubicBezTo>
                    <a:pt x="12449" y="4921"/>
                    <a:pt x="12684" y="4848"/>
                    <a:pt x="12708" y="4833"/>
                  </a:cubicBezTo>
                  <a:cubicBezTo>
                    <a:pt x="12763" y="4798"/>
                    <a:pt x="12785" y="4782"/>
                    <a:pt x="12790" y="4702"/>
                  </a:cubicBezTo>
                  <a:cubicBezTo>
                    <a:pt x="12795" y="4632"/>
                    <a:pt x="12725" y="4566"/>
                    <a:pt x="12734" y="4507"/>
                  </a:cubicBezTo>
                  <a:cubicBezTo>
                    <a:pt x="12746" y="4423"/>
                    <a:pt x="12756" y="4397"/>
                    <a:pt x="12874" y="4446"/>
                  </a:cubicBezTo>
                  <a:cubicBezTo>
                    <a:pt x="12928" y="4469"/>
                    <a:pt x="12940" y="4321"/>
                    <a:pt x="12975" y="4306"/>
                  </a:cubicBezTo>
                  <a:cubicBezTo>
                    <a:pt x="13011" y="4291"/>
                    <a:pt x="13071" y="4343"/>
                    <a:pt x="13108" y="4340"/>
                  </a:cubicBezTo>
                  <a:cubicBezTo>
                    <a:pt x="13195" y="4335"/>
                    <a:pt x="13242" y="4278"/>
                    <a:pt x="13319" y="4268"/>
                  </a:cubicBezTo>
                  <a:cubicBezTo>
                    <a:pt x="13441" y="4251"/>
                    <a:pt x="13479" y="4237"/>
                    <a:pt x="13480" y="4344"/>
                  </a:cubicBezTo>
                  <a:cubicBezTo>
                    <a:pt x="13480" y="4434"/>
                    <a:pt x="13264" y="4570"/>
                    <a:pt x="13207" y="4646"/>
                  </a:cubicBezTo>
                  <a:cubicBezTo>
                    <a:pt x="13129" y="4752"/>
                    <a:pt x="13161" y="4863"/>
                    <a:pt x="13094" y="4961"/>
                  </a:cubicBezTo>
                  <a:cubicBezTo>
                    <a:pt x="13054" y="5020"/>
                    <a:pt x="12987" y="5064"/>
                    <a:pt x="12949" y="5128"/>
                  </a:cubicBezTo>
                  <a:cubicBezTo>
                    <a:pt x="12880" y="5243"/>
                    <a:pt x="12880" y="5256"/>
                    <a:pt x="12965" y="5377"/>
                  </a:cubicBezTo>
                  <a:cubicBezTo>
                    <a:pt x="12994" y="5419"/>
                    <a:pt x="13040" y="5472"/>
                    <a:pt x="13059" y="5496"/>
                  </a:cubicBezTo>
                  <a:cubicBezTo>
                    <a:pt x="13049" y="5484"/>
                    <a:pt x="13142" y="5551"/>
                    <a:pt x="13140" y="5549"/>
                  </a:cubicBezTo>
                  <a:cubicBezTo>
                    <a:pt x="13164" y="5569"/>
                    <a:pt x="13123" y="5616"/>
                    <a:pt x="13179" y="5648"/>
                  </a:cubicBezTo>
                  <a:cubicBezTo>
                    <a:pt x="13340" y="5738"/>
                    <a:pt x="13767" y="5631"/>
                    <a:pt x="13842" y="5511"/>
                  </a:cubicBezTo>
                  <a:cubicBezTo>
                    <a:pt x="13927" y="5375"/>
                    <a:pt x="13748" y="5129"/>
                    <a:pt x="13955" y="5034"/>
                  </a:cubicBezTo>
                  <a:cubicBezTo>
                    <a:pt x="14107" y="4964"/>
                    <a:pt x="14372" y="5042"/>
                    <a:pt x="14537" y="5012"/>
                  </a:cubicBezTo>
                  <a:cubicBezTo>
                    <a:pt x="14835" y="4959"/>
                    <a:pt x="15042" y="4890"/>
                    <a:pt x="15062" y="4686"/>
                  </a:cubicBezTo>
                  <a:cubicBezTo>
                    <a:pt x="15063" y="4671"/>
                    <a:pt x="15075" y="4508"/>
                    <a:pt x="15066" y="4490"/>
                  </a:cubicBezTo>
                  <a:cubicBezTo>
                    <a:pt x="15025" y="4406"/>
                    <a:pt x="14781" y="4305"/>
                    <a:pt x="14832" y="4200"/>
                  </a:cubicBezTo>
                  <a:cubicBezTo>
                    <a:pt x="14891" y="4082"/>
                    <a:pt x="15065" y="4268"/>
                    <a:pt x="15209" y="4263"/>
                  </a:cubicBezTo>
                  <a:cubicBezTo>
                    <a:pt x="15573" y="4249"/>
                    <a:pt x="15318" y="4095"/>
                    <a:pt x="15211" y="4019"/>
                  </a:cubicBezTo>
                  <a:cubicBezTo>
                    <a:pt x="15076" y="3926"/>
                    <a:pt x="15044" y="3874"/>
                    <a:pt x="15037" y="3753"/>
                  </a:cubicBezTo>
                  <a:cubicBezTo>
                    <a:pt x="15031" y="3678"/>
                    <a:pt x="15008" y="3655"/>
                    <a:pt x="15071" y="3595"/>
                  </a:cubicBezTo>
                  <a:cubicBezTo>
                    <a:pt x="15171" y="3501"/>
                    <a:pt x="15151" y="3543"/>
                    <a:pt x="15293" y="3507"/>
                  </a:cubicBezTo>
                  <a:cubicBezTo>
                    <a:pt x="15561" y="3440"/>
                    <a:pt x="16209" y="3338"/>
                    <a:pt x="15867" y="3107"/>
                  </a:cubicBezTo>
                  <a:cubicBezTo>
                    <a:pt x="15797" y="3060"/>
                    <a:pt x="15764" y="2996"/>
                    <a:pt x="15697" y="2948"/>
                  </a:cubicBezTo>
                  <a:cubicBezTo>
                    <a:pt x="15655" y="2919"/>
                    <a:pt x="15557" y="2887"/>
                    <a:pt x="15526" y="2854"/>
                  </a:cubicBezTo>
                  <a:cubicBezTo>
                    <a:pt x="15459" y="2782"/>
                    <a:pt x="15466" y="2645"/>
                    <a:pt x="15330" y="2597"/>
                  </a:cubicBezTo>
                  <a:cubicBezTo>
                    <a:pt x="15273" y="2578"/>
                    <a:pt x="14994" y="2535"/>
                    <a:pt x="14905" y="2564"/>
                  </a:cubicBezTo>
                  <a:cubicBezTo>
                    <a:pt x="14768" y="2608"/>
                    <a:pt x="14992" y="2590"/>
                    <a:pt x="14935" y="2659"/>
                  </a:cubicBezTo>
                  <a:cubicBezTo>
                    <a:pt x="14898" y="2702"/>
                    <a:pt x="14782" y="2705"/>
                    <a:pt x="14725" y="2721"/>
                  </a:cubicBezTo>
                  <a:cubicBezTo>
                    <a:pt x="14672" y="2736"/>
                    <a:pt x="14645" y="2657"/>
                    <a:pt x="14593" y="2727"/>
                  </a:cubicBezTo>
                  <a:cubicBezTo>
                    <a:pt x="14595" y="2723"/>
                    <a:pt x="14659" y="2884"/>
                    <a:pt x="14660" y="2885"/>
                  </a:cubicBezTo>
                  <a:cubicBezTo>
                    <a:pt x="14717" y="2936"/>
                    <a:pt x="14951" y="2913"/>
                    <a:pt x="14946" y="2983"/>
                  </a:cubicBezTo>
                  <a:cubicBezTo>
                    <a:pt x="14947" y="2964"/>
                    <a:pt x="14715" y="3120"/>
                    <a:pt x="14771" y="3116"/>
                  </a:cubicBezTo>
                  <a:cubicBezTo>
                    <a:pt x="14669" y="3123"/>
                    <a:pt x="14680" y="3050"/>
                    <a:pt x="14615" y="3030"/>
                  </a:cubicBezTo>
                  <a:cubicBezTo>
                    <a:pt x="14309" y="2937"/>
                    <a:pt x="14691" y="3082"/>
                    <a:pt x="14521" y="3151"/>
                  </a:cubicBezTo>
                  <a:cubicBezTo>
                    <a:pt x="14491" y="3163"/>
                    <a:pt x="14339" y="3113"/>
                    <a:pt x="14313" y="3102"/>
                  </a:cubicBezTo>
                  <a:cubicBezTo>
                    <a:pt x="14239" y="3070"/>
                    <a:pt x="14222" y="3026"/>
                    <a:pt x="14165" y="2997"/>
                  </a:cubicBezTo>
                  <a:cubicBezTo>
                    <a:pt x="14069" y="2948"/>
                    <a:pt x="13790" y="2884"/>
                    <a:pt x="13882" y="2813"/>
                  </a:cubicBezTo>
                  <a:cubicBezTo>
                    <a:pt x="13752" y="2827"/>
                    <a:pt x="13656" y="2836"/>
                    <a:pt x="13547" y="2834"/>
                  </a:cubicBezTo>
                  <a:cubicBezTo>
                    <a:pt x="13388" y="2832"/>
                    <a:pt x="13205" y="2763"/>
                    <a:pt x="13039" y="2779"/>
                  </a:cubicBezTo>
                  <a:cubicBezTo>
                    <a:pt x="13013" y="2782"/>
                    <a:pt x="12900" y="2822"/>
                    <a:pt x="12861" y="2829"/>
                  </a:cubicBezTo>
                  <a:cubicBezTo>
                    <a:pt x="12737" y="2848"/>
                    <a:pt x="12742" y="2788"/>
                    <a:pt x="12607" y="2876"/>
                  </a:cubicBezTo>
                  <a:cubicBezTo>
                    <a:pt x="12532" y="2924"/>
                    <a:pt x="12520" y="2996"/>
                    <a:pt x="12462" y="3049"/>
                  </a:cubicBezTo>
                  <a:cubicBezTo>
                    <a:pt x="12382" y="3124"/>
                    <a:pt x="12328" y="3130"/>
                    <a:pt x="12213" y="3178"/>
                  </a:cubicBezTo>
                  <a:cubicBezTo>
                    <a:pt x="12071" y="3238"/>
                    <a:pt x="11999" y="3277"/>
                    <a:pt x="11890" y="3360"/>
                  </a:cubicBezTo>
                  <a:cubicBezTo>
                    <a:pt x="11845" y="3394"/>
                    <a:pt x="11793" y="3438"/>
                    <a:pt x="11737" y="3467"/>
                  </a:cubicBezTo>
                  <a:cubicBezTo>
                    <a:pt x="11728" y="3472"/>
                    <a:pt x="11655" y="3447"/>
                    <a:pt x="11612" y="3472"/>
                  </a:cubicBezTo>
                  <a:cubicBezTo>
                    <a:pt x="11567" y="3497"/>
                    <a:pt x="11552" y="3554"/>
                    <a:pt x="11521" y="3584"/>
                  </a:cubicBezTo>
                  <a:cubicBezTo>
                    <a:pt x="11466" y="3637"/>
                    <a:pt x="11395" y="3672"/>
                    <a:pt x="11321" y="3720"/>
                  </a:cubicBezTo>
                  <a:cubicBezTo>
                    <a:pt x="11291" y="3740"/>
                    <a:pt x="11224" y="3716"/>
                    <a:pt x="11190" y="3744"/>
                  </a:cubicBezTo>
                  <a:cubicBezTo>
                    <a:pt x="11151" y="3776"/>
                    <a:pt x="11206" y="3809"/>
                    <a:pt x="11186" y="3832"/>
                  </a:cubicBezTo>
                  <a:cubicBezTo>
                    <a:pt x="11116" y="3910"/>
                    <a:pt x="11142" y="3910"/>
                    <a:pt x="11014" y="3964"/>
                  </a:cubicBezTo>
                  <a:cubicBezTo>
                    <a:pt x="10913" y="4006"/>
                    <a:pt x="10886" y="3992"/>
                    <a:pt x="10797" y="4016"/>
                  </a:cubicBezTo>
                  <a:cubicBezTo>
                    <a:pt x="10712" y="4039"/>
                    <a:pt x="10663" y="4081"/>
                    <a:pt x="10587" y="4106"/>
                  </a:cubicBezTo>
                  <a:cubicBezTo>
                    <a:pt x="10506" y="4132"/>
                    <a:pt x="10343" y="4100"/>
                    <a:pt x="10322" y="4107"/>
                  </a:cubicBezTo>
                  <a:cubicBezTo>
                    <a:pt x="10233" y="4136"/>
                    <a:pt x="10238" y="4210"/>
                    <a:pt x="10187" y="4263"/>
                  </a:cubicBezTo>
                  <a:cubicBezTo>
                    <a:pt x="10147" y="4304"/>
                    <a:pt x="10021" y="4340"/>
                    <a:pt x="9987" y="4373"/>
                  </a:cubicBezTo>
                  <a:cubicBezTo>
                    <a:pt x="9928" y="4430"/>
                    <a:pt x="9906" y="4493"/>
                    <a:pt x="9846" y="4550"/>
                  </a:cubicBezTo>
                  <a:cubicBezTo>
                    <a:pt x="9716" y="4672"/>
                    <a:pt x="9620" y="4645"/>
                    <a:pt x="9427" y="4621"/>
                  </a:cubicBezTo>
                  <a:cubicBezTo>
                    <a:pt x="9377" y="4615"/>
                    <a:pt x="9322" y="4584"/>
                    <a:pt x="9282" y="4580"/>
                  </a:cubicBezTo>
                  <a:cubicBezTo>
                    <a:pt x="9250" y="4577"/>
                    <a:pt x="9094" y="4592"/>
                    <a:pt x="9052" y="4598"/>
                  </a:cubicBezTo>
                  <a:cubicBezTo>
                    <a:pt x="8838" y="4625"/>
                    <a:pt x="8694" y="4657"/>
                    <a:pt x="8575" y="4784"/>
                  </a:cubicBezTo>
                  <a:cubicBezTo>
                    <a:pt x="8514" y="4849"/>
                    <a:pt x="8523" y="4882"/>
                    <a:pt x="8429" y="4938"/>
                  </a:cubicBezTo>
                  <a:cubicBezTo>
                    <a:pt x="8385" y="4965"/>
                    <a:pt x="8359" y="4917"/>
                    <a:pt x="8323" y="4933"/>
                  </a:cubicBezTo>
                  <a:cubicBezTo>
                    <a:pt x="8273" y="4957"/>
                    <a:pt x="8291" y="5003"/>
                    <a:pt x="8254" y="5028"/>
                  </a:cubicBezTo>
                  <a:cubicBezTo>
                    <a:pt x="8224" y="5048"/>
                    <a:pt x="8175" y="5025"/>
                    <a:pt x="8161" y="5037"/>
                  </a:cubicBezTo>
                  <a:cubicBezTo>
                    <a:pt x="8137" y="5058"/>
                    <a:pt x="8173" y="5088"/>
                    <a:pt x="8144" y="5110"/>
                  </a:cubicBezTo>
                  <a:cubicBezTo>
                    <a:pt x="8078" y="5160"/>
                    <a:pt x="8017" y="5199"/>
                    <a:pt x="7959" y="5253"/>
                  </a:cubicBezTo>
                  <a:cubicBezTo>
                    <a:pt x="8140" y="5261"/>
                    <a:pt x="8172" y="5145"/>
                    <a:pt x="8335" y="5126"/>
                  </a:cubicBezTo>
                  <a:cubicBezTo>
                    <a:pt x="8457" y="5112"/>
                    <a:pt x="8549" y="5171"/>
                    <a:pt x="8468" y="5229"/>
                  </a:cubicBezTo>
                  <a:close/>
                  <a:moveTo>
                    <a:pt x="21464" y="1188"/>
                  </a:moveTo>
                  <a:cubicBezTo>
                    <a:pt x="21460" y="1187"/>
                    <a:pt x="21455" y="1186"/>
                    <a:pt x="21451" y="1185"/>
                  </a:cubicBezTo>
                  <a:lnTo>
                    <a:pt x="21451" y="1187"/>
                  </a:lnTo>
                  <a:cubicBezTo>
                    <a:pt x="21456" y="1188"/>
                    <a:pt x="21459" y="1187"/>
                    <a:pt x="21464" y="1188"/>
                  </a:cubicBezTo>
                  <a:close/>
                  <a:moveTo>
                    <a:pt x="18211" y="3017"/>
                  </a:moveTo>
                  <a:cubicBezTo>
                    <a:pt x="18290" y="3096"/>
                    <a:pt x="18226" y="3147"/>
                    <a:pt x="18375" y="3209"/>
                  </a:cubicBezTo>
                  <a:cubicBezTo>
                    <a:pt x="18453" y="3242"/>
                    <a:pt x="18442" y="3156"/>
                    <a:pt x="18526" y="3237"/>
                  </a:cubicBezTo>
                  <a:cubicBezTo>
                    <a:pt x="18564" y="3273"/>
                    <a:pt x="18534" y="3337"/>
                    <a:pt x="18558" y="3376"/>
                  </a:cubicBezTo>
                  <a:cubicBezTo>
                    <a:pt x="18613" y="3463"/>
                    <a:pt x="18753" y="3548"/>
                    <a:pt x="18899" y="3573"/>
                  </a:cubicBezTo>
                  <a:cubicBezTo>
                    <a:pt x="19104" y="3521"/>
                    <a:pt x="19327" y="3437"/>
                    <a:pt x="19543" y="3409"/>
                  </a:cubicBezTo>
                  <a:cubicBezTo>
                    <a:pt x="19719" y="3386"/>
                    <a:pt x="19802" y="3431"/>
                    <a:pt x="19979" y="3427"/>
                  </a:cubicBezTo>
                  <a:cubicBezTo>
                    <a:pt x="20194" y="3423"/>
                    <a:pt x="20648" y="3276"/>
                    <a:pt x="20742" y="3145"/>
                  </a:cubicBezTo>
                  <a:cubicBezTo>
                    <a:pt x="20813" y="3046"/>
                    <a:pt x="20807" y="2906"/>
                    <a:pt x="20815" y="2795"/>
                  </a:cubicBezTo>
                  <a:cubicBezTo>
                    <a:pt x="20825" y="2653"/>
                    <a:pt x="20950" y="2530"/>
                    <a:pt x="20650" y="2525"/>
                  </a:cubicBezTo>
                  <a:cubicBezTo>
                    <a:pt x="20558" y="2523"/>
                    <a:pt x="20470" y="2585"/>
                    <a:pt x="20370" y="2553"/>
                  </a:cubicBezTo>
                  <a:cubicBezTo>
                    <a:pt x="20327" y="2539"/>
                    <a:pt x="20209" y="2408"/>
                    <a:pt x="20211" y="2377"/>
                  </a:cubicBezTo>
                  <a:cubicBezTo>
                    <a:pt x="20215" y="2228"/>
                    <a:pt x="20481" y="2257"/>
                    <a:pt x="20666" y="2231"/>
                  </a:cubicBezTo>
                  <a:cubicBezTo>
                    <a:pt x="20853" y="2204"/>
                    <a:pt x="21112" y="2167"/>
                    <a:pt x="21272" y="2076"/>
                  </a:cubicBezTo>
                  <a:lnTo>
                    <a:pt x="21334" y="1767"/>
                  </a:lnTo>
                  <a:cubicBezTo>
                    <a:pt x="21157" y="1674"/>
                    <a:pt x="20733" y="1645"/>
                    <a:pt x="20585" y="1672"/>
                  </a:cubicBezTo>
                  <a:cubicBezTo>
                    <a:pt x="20535" y="1682"/>
                    <a:pt x="20389" y="1760"/>
                    <a:pt x="20374" y="1759"/>
                  </a:cubicBezTo>
                  <a:cubicBezTo>
                    <a:pt x="20281" y="1755"/>
                    <a:pt x="20298" y="1688"/>
                    <a:pt x="20246" y="1678"/>
                  </a:cubicBezTo>
                  <a:cubicBezTo>
                    <a:pt x="20112" y="1652"/>
                    <a:pt x="19889" y="1699"/>
                    <a:pt x="19764" y="1728"/>
                  </a:cubicBezTo>
                  <a:cubicBezTo>
                    <a:pt x="19732" y="1736"/>
                    <a:pt x="19702" y="1769"/>
                    <a:pt x="19669" y="1773"/>
                  </a:cubicBezTo>
                  <a:cubicBezTo>
                    <a:pt x="19627" y="1778"/>
                    <a:pt x="19552" y="1754"/>
                    <a:pt x="19563" y="1752"/>
                  </a:cubicBezTo>
                  <a:cubicBezTo>
                    <a:pt x="19520" y="1758"/>
                    <a:pt x="19430" y="1777"/>
                    <a:pt x="19372" y="1785"/>
                  </a:cubicBezTo>
                  <a:cubicBezTo>
                    <a:pt x="19251" y="1801"/>
                    <a:pt x="19167" y="1803"/>
                    <a:pt x="19063" y="1813"/>
                  </a:cubicBezTo>
                  <a:cubicBezTo>
                    <a:pt x="18892" y="1830"/>
                    <a:pt x="18521" y="1934"/>
                    <a:pt x="18451" y="2042"/>
                  </a:cubicBezTo>
                  <a:cubicBezTo>
                    <a:pt x="18336" y="1808"/>
                    <a:pt x="18126" y="2261"/>
                    <a:pt x="18132" y="2350"/>
                  </a:cubicBezTo>
                  <a:cubicBezTo>
                    <a:pt x="18136" y="2419"/>
                    <a:pt x="18102" y="2523"/>
                    <a:pt x="18112" y="2593"/>
                  </a:cubicBezTo>
                  <a:cubicBezTo>
                    <a:pt x="18118" y="2632"/>
                    <a:pt x="18206" y="2675"/>
                    <a:pt x="18195" y="2713"/>
                  </a:cubicBezTo>
                  <a:cubicBezTo>
                    <a:pt x="18181" y="2761"/>
                    <a:pt x="18090" y="2762"/>
                    <a:pt x="18060" y="2813"/>
                  </a:cubicBezTo>
                  <a:cubicBezTo>
                    <a:pt x="17979" y="2953"/>
                    <a:pt x="18137" y="2942"/>
                    <a:pt x="18211" y="3017"/>
                  </a:cubicBezTo>
                  <a:close/>
                  <a:moveTo>
                    <a:pt x="19503" y="909"/>
                  </a:moveTo>
                  <a:cubicBezTo>
                    <a:pt x="19598" y="948"/>
                    <a:pt x="19586" y="1004"/>
                    <a:pt x="19635" y="1055"/>
                  </a:cubicBezTo>
                  <a:cubicBezTo>
                    <a:pt x="19738" y="1164"/>
                    <a:pt x="19734" y="1131"/>
                    <a:pt x="19922" y="1187"/>
                  </a:cubicBezTo>
                  <a:cubicBezTo>
                    <a:pt x="19999" y="1161"/>
                    <a:pt x="20017" y="1039"/>
                    <a:pt x="20075" y="1044"/>
                  </a:cubicBezTo>
                  <a:cubicBezTo>
                    <a:pt x="20247" y="1059"/>
                    <a:pt x="20084" y="959"/>
                    <a:pt x="20208" y="925"/>
                  </a:cubicBezTo>
                  <a:cubicBezTo>
                    <a:pt x="20410" y="869"/>
                    <a:pt x="20444" y="1073"/>
                    <a:pt x="20517" y="1122"/>
                  </a:cubicBezTo>
                  <a:cubicBezTo>
                    <a:pt x="20831" y="1333"/>
                    <a:pt x="21029" y="1091"/>
                    <a:pt x="21327" y="1161"/>
                  </a:cubicBezTo>
                  <a:cubicBezTo>
                    <a:pt x="21376" y="1173"/>
                    <a:pt x="21414" y="1180"/>
                    <a:pt x="21451" y="1185"/>
                  </a:cubicBezTo>
                  <a:lnTo>
                    <a:pt x="21600" y="445"/>
                  </a:lnTo>
                  <a:cubicBezTo>
                    <a:pt x="21569" y="423"/>
                    <a:pt x="21539" y="398"/>
                    <a:pt x="21511" y="368"/>
                  </a:cubicBezTo>
                  <a:cubicBezTo>
                    <a:pt x="21331" y="173"/>
                    <a:pt x="21126" y="-64"/>
                    <a:pt x="20750" y="15"/>
                  </a:cubicBezTo>
                  <a:cubicBezTo>
                    <a:pt x="20587" y="50"/>
                    <a:pt x="20426" y="105"/>
                    <a:pt x="20306" y="187"/>
                  </a:cubicBezTo>
                  <a:cubicBezTo>
                    <a:pt x="20285" y="201"/>
                    <a:pt x="20210" y="211"/>
                    <a:pt x="20208" y="212"/>
                  </a:cubicBezTo>
                  <a:cubicBezTo>
                    <a:pt x="20188" y="228"/>
                    <a:pt x="20222" y="267"/>
                    <a:pt x="20214" y="271"/>
                  </a:cubicBezTo>
                  <a:cubicBezTo>
                    <a:pt x="20134" y="322"/>
                    <a:pt x="20089" y="344"/>
                    <a:pt x="19982" y="379"/>
                  </a:cubicBezTo>
                  <a:cubicBezTo>
                    <a:pt x="19852" y="421"/>
                    <a:pt x="19864" y="416"/>
                    <a:pt x="19739" y="417"/>
                  </a:cubicBezTo>
                  <a:cubicBezTo>
                    <a:pt x="19655" y="417"/>
                    <a:pt x="19572" y="394"/>
                    <a:pt x="19483" y="407"/>
                  </a:cubicBezTo>
                  <a:cubicBezTo>
                    <a:pt x="19305" y="433"/>
                    <a:pt x="19117" y="521"/>
                    <a:pt x="18960" y="573"/>
                  </a:cubicBezTo>
                  <a:cubicBezTo>
                    <a:pt x="18788" y="631"/>
                    <a:pt x="18218" y="887"/>
                    <a:pt x="18529" y="1038"/>
                  </a:cubicBezTo>
                  <a:cubicBezTo>
                    <a:pt x="18761" y="1151"/>
                    <a:pt x="19182" y="778"/>
                    <a:pt x="19503" y="909"/>
                  </a:cubicBezTo>
                  <a:close/>
                  <a:moveTo>
                    <a:pt x="20318" y="6593"/>
                  </a:moveTo>
                  <a:cubicBezTo>
                    <a:pt x="20321" y="6552"/>
                    <a:pt x="20344" y="6524"/>
                    <a:pt x="20377" y="6516"/>
                  </a:cubicBezTo>
                  <a:lnTo>
                    <a:pt x="20514" y="5836"/>
                  </a:lnTo>
                  <a:cubicBezTo>
                    <a:pt x="20345" y="5909"/>
                    <a:pt x="20023" y="5923"/>
                    <a:pt x="19950" y="6059"/>
                  </a:cubicBezTo>
                  <a:cubicBezTo>
                    <a:pt x="19927" y="6105"/>
                    <a:pt x="19970" y="6171"/>
                    <a:pt x="19961" y="6218"/>
                  </a:cubicBezTo>
                  <a:cubicBezTo>
                    <a:pt x="19939" y="6348"/>
                    <a:pt x="19935" y="6261"/>
                    <a:pt x="20018" y="6337"/>
                  </a:cubicBezTo>
                  <a:cubicBezTo>
                    <a:pt x="20079" y="6392"/>
                    <a:pt x="20215" y="6546"/>
                    <a:pt x="20305" y="6588"/>
                  </a:cubicBezTo>
                  <a:cubicBezTo>
                    <a:pt x="20310" y="6589"/>
                    <a:pt x="20314" y="6591"/>
                    <a:pt x="20318" y="6593"/>
                  </a:cubicBezTo>
                  <a:close/>
                  <a:moveTo>
                    <a:pt x="20067" y="7395"/>
                  </a:moveTo>
                  <a:cubicBezTo>
                    <a:pt x="20090" y="7453"/>
                    <a:pt x="20136" y="7461"/>
                    <a:pt x="20188" y="7456"/>
                  </a:cubicBezTo>
                  <a:lnTo>
                    <a:pt x="20223" y="7285"/>
                  </a:lnTo>
                  <a:cubicBezTo>
                    <a:pt x="20126" y="7298"/>
                    <a:pt x="20037" y="7320"/>
                    <a:pt x="20067" y="7395"/>
                  </a:cubicBezTo>
                  <a:close/>
                  <a:moveTo>
                    <a:pt x="16747" y="4969"/>
                  </a:moveTo>
                  <a:cubicBezTo>
                    <a:pt x="17001" y="4918"/>
                    <a:pt x="17171" y="5066"/>
                    <a:pt x="17328" y="4858"/>
                  </a:cubicBezTo>
                  <a:cubicBezTo>
                    <a:pt x="17437" y="4713"/>
                    <a:pt x="17174" y="4542"/>
                    <a:pt x="16981" y="4508"/>
                  </a:cubicBezTo>
                  <a:cubicBezTo>
                    <a:pt x="16849" y="4484"/>
                    <a:pt x="16431" y="4471"/>
                    <a:pt x="16332" y="4523"/>
                  </a:cubicBezTo>
                  <a:cubicBezTo>
                    <a:pt x="16267" y="4557"/>
                    <a:pt x="16071" y="4619"/>
                    <a:pt x="16073" y="4680"/>
                  </a:cubicBezTo>
                  <a:cubicBezTo>
                    <a:pt x="16077" y="4786"/>
                    <a:pt x="16621" y="4922"/>
                    <a:pt x="16747" y="4969"/>
                  </a:cubicBezTo>
                  <a:close/>
                  <a:moveTo>
                    <a:pt x="16995" y="2111"/>
                  </a:moveTo>
                  <a:cubicBezTo>
                    <a:pt x="17040" y="2176"/>
                    <a:pt x="17091" y="2305"/>
                    <a:pt x="17179" y="2356"/>
                  </a:cubicBezTo>
                  <a:cubicBezTo>
                    <a:pt x="17429" y="2500"/>
                    <a:pt x="18040" y="2278"/>
                    <a:pt x="17868" y="2082"/>
                  </a:cubicBezTo>
                  <a:cubicBezTo>
                    <a:pt x="17761" y="1960"/>
                    <a:pt x="17624" y="1868"/>
                    <a:pt x="17564" y="1762"/>
                  </a:cubicBezTo>
                  <a:cubicBezTo>
                    <a:pt x="17551" y="1740"/>
                    <a:pt x="17681" y="1737"/>
                    <a:pt x="17625" y="1698"/>
                  </a:cubicBezTo>
                  <a:cubicBezTo>
                    <a:pt x="17611" y="1688"/>
                    <a:pt x="17526" y="1682"/>
                    <a:pt x="17527" y="1682"/>
                  </a:cubicBezTo>
                  <a:cubicBezTo>
                    <a:pt x="17551" y="1713"/>
                    <a:pt x="17430" y="1653"/>
                    <a:pt x="17423" y="1648"/>
                  </a:cubicBezTo>
                  <a:cubicBezTo>
                    <a:pt x="17491" y="1600"/>
                    <a:pt x="17436" y="1525"/>
                    <a:pt x="17462" y="1445"/>
                  </a:cubicBezTo>
                  <a:cubicBezTo>
                    <a:pt x="17358" y="1456"/>
                    <a:pt x="17183" y="1508"/>
                    <a:pt x="17092" y="1546"/>
                  </a:cubicBezTo>
                  <a:cubicBezTo>
                    <a:pt x="16992" y="1588"/>
                    <a:pt x="16947" y="1652"/>
                    <a:pt x="16841" y="1691"/>
                  </a:cubicBezTo>
                  <a:cubicBezTo>
                    <a:pt x="16808" y="1703"/>
                    <a:pt x="16779" y="1617"/>
                    <a:pt x="16739" y="1672"/>
                  </a:cubicBezTo>
                  <a:cubicBezTo>
                    <a:pt x="16706" y="1717"/>
                    <a:pt x="16761" y="1772"/>
                    <a:pt x="16781" y="1815"/>
                  </a:cubicBezTo>
                  <a:cubicBezTo>
                    <a:pt x="16829" y="1922"/>
                    <a:pt x="16924" y="2011"/>
                    <a:pt x="16995" y="2111"/>
                  </a:cubicBezTo>
                  <a:close/>
                  <a:moveTo>
                    <a:pt x="15765" y="5419"/>
                  </a:moveTo>
                  <a:cubicBezTo>
                    <a:pt x="15697" y="5431"/>
                    <a:pt x="15651" y="5423"/>
                    <a:pt x="15579" y="5431"/>
                  </a:cubicBezTo>
                  <a:cubicBezTo>
                    <a:pt x="15305" y="5465"/>
                    <a:pt x="15218" y="5451"/>
                    <a:pt x="14996" y="5571"/>
                  </a:cubicBezTo>
                  <a:cubicBezTo>
                    <a:pt x="14868" y="5640"/>
                    <a:pt x="14620" y="5820"/>
                    <a:pt x="14779" y="5940"/>
                  </a:cubicBezTo>
                  <a:cubicBezTo>
                    <a:pt x="14888" y="6023"/>
                    <a:pt x="15205" y="5999"/>
                    <a:pt x="15343" y="6055"/>
                  </a:cubicBezTo>
                  <a:cubicBezTo>
                    <a:pt x="15427" y="6090"/>
                    <a:pt x="15453" y="6149"/>
                    <a:pt x="15519" y="6182"/>
                  </a:cubicBezTo>
                  <a:cubicBezTo>
                    <a:pt x="15605" y="6225"/>
                    <a:pt x="15716" y="6235"/>
                    <a:pt x="15803" y="6271"/>
                  </a:cubicBezTo>
                  <a:cubicBezTo>
                    <a:pt x="15553" y="6329"/>
                    <a:pt x="15167" y="6133"/>
                    <a:pt x="14931" y="6097"/>
                  </a:cubicBezTo>
                  <a:cubicBezTo>
                    <a:pt x="14597" y="6046"/>
                    <a:pt x="14316" y="5943"/>
                    <a:pt x="14021" y="6106"/>
                  </a:cubicBezTo>
                  <a:cubicBezTo>
                    <a:pt x="13878" y="6185"/>
                    <a:pt x="13789" y="6272"/>
                    <a:pt x="13857" y="6385"/>
                  </a:cubicBezTo>
                  <a:cubicBezTo>
                    <a:pt x="13874" y="6413"/>
                    <a:pt x="14039" y="6391"/>
                    <a:pt x="13972" y="6491"/>
                  </a:cubicBezTo>
                  <a:cubicBezTo>
                    <a:pt x="13914" y="6578"/>
                    <a:pt x="13877" y="6475"/>
                    <a:pt x="13760" y="6526"/>
                  </a:cubicBezTo>
                  <a:cubicBezTo>
                    <a:pt x="13372" y="6693"/>
                    <a:pt x="14135" y="6842"/>
                    <a:pt x="14326" y="6844"/>
                  </a:cubicBezTo>
                  <a:cubicBezTo>
                    <a:pt x="14645" y="6848"/>
                    <a:pt x="14976" y="6872"/>
                    <a:pt x="15300" y="6888"/>
                  </a:cubicBezTo>
                  <a:cubicBezTo>
                    <a:pt x="15545" y="6900"/>
                    <a:pt x="15487" y="6980"/>
                    <a:pt x="15269" y="7001"/>
                  </a:cubicBezTo>
                  <a:cubicBezTo>
                    <a:pt x="15193" y="7009"/>
                    <a:pt x="14941" y="6995"/>
                    <a:pt x="14871" y="6991"/>
                  </a:cubicBezTo>
                  <a:cubicBezTo>
                    <a:pt x="14784" y="6986"/>
                    <a:pt x="14683" y="6947"/>
                    <a:pt x="14619" y="6943"/>
                  </a:cubicBezTo>
                  <a:cubicBezTo>
                    <a:pt x="14490" y="6936"/>
                    <a:pt x="14570" y="6954"/>
                    <a:pt x="14442" y="6968"/>
                  </a:cubicBezTo>
                  <a:cubicBezTo>
                    <a:pt x="14288" y="6985"/>
                    <a:pt x="14163" y="6981"/>
                    <a:pt x="14007" y="6967"/>
                  </a:cubicBezTo>
                  <a:cubicBezTo>
                    <a:pt x="13859" y="6953"/>
                    <a:pt x="13638" y="6899"/>
                    <a:pt x="13492" y="6923"/>
                  </a:cubicBezTo>
                  <a:cubicBezTo>
                    <a:pt x="13333" y="6949"/>
                    <a:pt x="13219" y="7070"/>
                    <a:pt x="13123" y="7149"/>
                  </a:cubicBezTo>
                  <a:cubicBezTo>
                    <a:pt x="12941" y="7297"/>
                    <a:pt x="12808" y="7394"/>
                    <a:pt x="13128" y="7461"/>
                  </a:cubicBezTo>
                  <a:cubicBezTo>
                    <a:pt x="13381" y="7515"/>
                    <a:pt x="13638" y="7584"/>
                    <a:pt x="13903" y="7550"/>
                  </a:cubicBezTo>
                  <a:cubicBezTo>
                    <a:pt x="14054" y="7531"/>
                    <a:pt x="14267" y="7459"/>
                    <a:pt x="14428" y="7442"/>
                  </a:cubicBezTo>
                  <a:cubicBezTo>
                    <a:pt x="14582" y="7427"/>
                    <a:pt x="14710" y="7456"/>
                    <a:pt x="14865" y="7430"/>
                  </a:cubicBezTo>
                  <a:cubicBezTo>
                    <a:pt x="14962" y="7413"/>
                    <a:pt x="15091" y="7326"/>
                    <a:pt x="15150" y="7406"/>
                  </a:cubicBezTo>
                  <a:cubicBezTo>
                    <a:pt x="14936" y="7386"/>
                    <a:pt x="14922" y="7545"/>
                    <a:pt x="14826" y="7587"/>
                  </a:cubicBezTo>
                  <a:cubicBezTo>
                    <a:pt x="14765" y="7613"/>
                    <a:pt x="14536" y="7595"/>
                    <a:pt x="14414" y="7630"/>
                  </a:cubicBezTo>
                  <a:cubicBezTo>
                    <a:pt x="14263" y="7673"/>
                    <a:pt x="14146" y="7780"/>
                    <a:pt x="13983" y="7795"/>
                  </a:cubicBezTo>
                  <a:cubicBezTo>
                    <a:pt x="13824" y="7809"/>
                    <a:pt x="13635" y="7759"/>
                    <a:pt x="13474" y="7739"/>
                  </a:cubicBezTo>
                  <a:cubicBezTo>
                    <a:pt x="13133" y="7698"/>
                    <a:pt x="12902" y="7596"/>
                    <a:pt x="12621" y="7770"/>
                  </a:cubicBezTo>
                  <a:cubicBezTo>
                    <a:pt x="12540" y="7820"/>
                    <a:pt x="12467" y="7871"/>
                    <a:pt x="12399" y="7928"/>
                  </a:cubicBezTo>
                  <a:cubicBezTo>
                    <a:pt x="12371" y="7951"/>
                    <a:pt x="12381" y="7989"/>
                    <a:pt x="12366" y="8004"/>
                  </a:cubicBezTo>
                  <a:cubicBezTo>
                    <a:pt x="12347" y="8022"/>
                    <a:pt x="12282" y="8018"/>
                    <a:pt x="12269" y="8033"/>
                  </a:cubicBezTo>
                  <a:cubicBezTo>
                    <a:pt x="12179" y="8140"/>
                    <a:pt x="12204" y="8228"/>
                    <a:pt x="12345" y="8324"/>
                  </a:cubicBezTo>
                  <a:cubicBezTo>
                    <a:pt x="12465" y="8406"/>
                    <a:pt x="12629" y="8446"/>
                    <a:pt x="12775" y="8502"/>
                  </a:cubicBezTo>
                  <a:cubicBezTo>
                    <a:pt x="12784" y="8506"/>
                    <a:pt x="12884" y="8561"/>
                    <a:pt x="12922" y="8570"/>
                  </a:cubicBezTo>
                  <a:cubicBezTo>
                    <a:pt x="13119" y="8618"/>
                    <a:pt x="12990" y="8592"/>
                    <a:pt x="13155" y="8539"/>
                  </a:cubicBezTo>
                  <a:cubicBezTo>
                    <a:pt x="13264" y="8504"/>
                    <a:pt x="13559" y="8384"/>
                    <a:pt x="13544" y="8535"/>
                  </a:cubicBezTo>
                  <a:cubicBezTo>
                    <a:pt x="13540" y="8585"/>
                    <a:pt x="13374" y="8667"/>
                    <a:pt x="13421" y="8705"/>
                  </a:cubicBezTo>
                  <a:cubicBezTo>
                    <a:pt x="13458" y="8735"/>
                    <a:pt x="13649" y="8698"/>
                    <a:pt x="13693" y="8692"/>
                  </a:cubicBezTo>
                  <a:cubicBezTo>
                    <a:pt x="13655" y="8756"/>
                    <a:pt x="13459" y="8772"/>
                    <a:pt x="13453" y="8829"/>
                  </a:cubicBezTo>
                  <a:cubicBezTo>
                    <a:pt x="13450" y="8856"/>
                    <a:pt x="13627" y="8935"/>
                    <a:pt x="13661" y="8956"/>
                  </a:cubicBezTo>
                  <a:cubicBezTo>
                    <a:pt x="13786" y="9033"/>
                    <a:pt x="13864" y="9159"/>
                    <a:pt x="14037" y="9080"/>
                  </a:cubicBezTo>
                  <a:cubicBezTo>
                    <a:pt x="14219" y="8997"/>
                    <a:pt x="14019" y="8733"/>
                    <a:pt x="14106" y="8700"/>
                  </a:cubicBezTo>
                  <a:cubicBezTo>
                    <a:pt x="14177" y="8672"/>
                    <a:pt x="14235" y="8822"/>
                    <a:pt x="14318" y="8823"/>
                  </a:cubicBezTo>
                  <a:cubicBezTo>
                    <a:pt x="14421" y="8824"/>
                    <a:pt x="14511" y="8697"/>
                    <a:pt x="14534" y="8650"/>
                  </a:cubicBezTo>
                  <a:cubicBezTo>
                    <a:pt x="14597" y="8791"/>
                    <a:pt x="14291" y="9123"/>
                    <a:pt x="14554" y="9203"/>
                  </a:cubicBezTo>
                  <a:cubicBezTo>
                    <a:pt x="14767" y="9267"/>
                    <a:pt x="15307" y="9002"/>
                    <a:pt x="15383" y="8899"/>
                  </a:cubicBezTo>
                  <a:cubicBezTo>
                    <a:pt x="15448" y="8813"/>
                    <a:pt x="15467" y="8727"/>
                    <a:pt x="15418" y="8629"/>
                  </a:cubicBezTo>
                  <a:cubicBezTo>
                    <a:pt x="15408" y="8610"/>
                    <a:pt x="15239" y="8479"/>
                    <a:pt x="15242" y="8504"/>
                  </a:cubicBezTo>
                  <a:cubicBezTo>
                    <a:pt x="15217" y="8315"/>
                    <a:pt x="15432" y="8472"/>
                    <a:pt x="15481" y="8556"/>
                  </a:cubicBezTo>
                  <a:cubicBezTo>
                    <a:pt x="15680" y="8901"/>
                    <a:pt x="15849" y="8127"/>
                    <a:pt x="15889" y="8088"/>
                  </a:cubicBezTo>
                  <a:cubicBezTo>
                    <a:pt x="15893" y="8081"/>
                    <a:pt x="15901" y="8076"/>
                    <a:pt x="15911" y="8074"/>
                  </a:cubicBezTo>
                  <a:cubicBezTo>
                    <a:pt x="15989" y="8137"/>
                    <a:pt x="15926" y="8282"/>
                    <a:pt x="16029" y="8317"/>
                  </a:cubicBezTo>
                  <a:cubicBezTo>
                    <a:pt x="16109" y="8344"/>
                    <a:pt x="16268" y="8264"/>
                    <a:pt x="16344" y="8256"/>
                  </a:cubicBezTo>
                  <a:cubicBezTo>
                    <a:pt x="16431" y="8247"/>
                    <a:pt x="16494" y="8250"/>
                    <a:pt x="16589" y="8271"/>
                  </a:cubicBezTo>
                  <a:cubicBezTo>
                    <a:pt x="16378" y="8323"/>
                    <a:pt x="16112" y="8399"/>
                    <a:pt x="16010" y="8522"/>
                  </a:cubicBezTo>
                  <a:cubicBezTo>
                    <a:pt x="15974" y="8566"/>
                    <a:pt x="15859" y="8714"/>
                    <a:pt x="15862" y="8757"/>
                  </a:cubicBezTo>
                  <a:cubicBezTo>
                    <a:pt x="15870" y="8875"/>
                    <a:pt x="15967" y="8795"/>
                    <a:pt x="16117" y="8803"/>
                  </a:cubicBezTo>
                  <a:cubicBezTo>
                    <a:pt x="16023" y="8861"/>
                    <a:pt x="15867" y="8849"/>
                    <a:pt x="15785" y="8930"/>
                  </a:cubicBezTo>
                  <a:cubicBezTo>
                    <a:pt x="15660" y="9052"/>
                    <a:pt x="15762" y="9105"/>
                    <a:pt x="15936" y="9118"/>
                  </a:cubicBezTo>
                  <a:cubicBezTo>
                    <a:pt x="16155" y="9135"/>
                    <a:pt x="16516" y="9163"/>
                    <a:pt x="16617" y="8983"/>
                  </a:cubicBezTo>
                  <a:cubicBezTo>
                    <a:pt x="16623" y="9114"/>
                    <a:pt x="16784" y="9137"/>
                    <a:pt x="16942" y="9058"/>
                  </a:cubicBezTo>
                  <a:cubicBezTo>
                    <a:pt x="17133" y="8963"/>
                    <a:pt x="17009" y="8794"/>
                    <a:pt x="17162" y="8685"/>
                  </a:cubicBezTo>
                  <a:cubicBezTo>
                    <a:pt x="17280" y="8773"/>
                    <a:pt x="17102" y="8814"/>
                    <a:pt x="17147" y="8887"/>
                  </a:cubicBezTo>
                  <a:cubicBezTo>
                    <a:pt x="17236" y="9033"/>
                    <a:pt x="17363" y="8862"/>
                    <a:pt x="17401" y="8803"/>
                  </a:cubicBezTo>
                  <a:cubicBezTo>
                    <a:pt x="17406" y="8839"/>
                    <a:pt x="17418" y="8841"/>
                    <a:pt x="17408" y="8877"/>
                  </a:cubicBezTo>
                  <a:cubicBezTo>
                    <a:pt x="17590" y="8947"/>
                    <a:pt x="17261" y="8979"/>
                    <a:pt x="17288" y="9050"/>
                  </a:cubicBezTo>
                  <a:cubicBezTo>
                    <a:pt x="17324" y="9141"/>
                    <a:pt x="17560" y="9078"/>
                    <a:pt x="17646" y="9077"/>
                  </a:cubicBezTo>
                  <a:cubicBezTo>
                    <a:pt x="17793" y="9075"/>
                    <a:pt x="17810" y="9122"/>
                    <a:pt x="17946" y="9034"/>
                  </a:cubicBezTo>
                  <a:cubicBezTo>
                    <a:pt x="18064" y="8957"/>
                    <a:pt x="18009" y="9124"/>
                    <a:pt x="18182" y="9103"/>
                  </a:cubicBezTo>
                  <a:cubicBezTo>
                    <a:pt x="18177" y="9088"/>
                    <a:pt x="18171" y="9070"/>
                    <a:pt x="18168" y="9057"/>
                  </a:cubicBezTo>
                  <a:cubicBezTo>
                    <a:pt x="18431" y="9170"/>
                    <a:pt x="18589" y="8654"/>
                    <a:pt x="18857" y="8929"/>
                  </a:cubicBezTo>
                  <a:cubicBezTo>
                    <a:pt x="18902" y="8975"/>
                    <a:pt x="18517" y="9229"/>
                    <a:pt x="18384" y="9232"/>
                  </a:cubicBezTo>
                  <a:cubicBezTo>
                    <a:pt x="18535" y="9359"/>
                    <a:pt x="18223" y="9314"/>
                    <a:pt x="18223" y="9314"/>
                  </a:cubicBezTo>
                  <a:cubicBezTo>
                    <a:pt x="18097" y="9369"/>
                    <a:pt x="18256" y="9372"/>
                    <a:pt x="18103" y="9450"/>
                  </a:cubicBezTo>
                  <a:cubicBezTo>
                    <a:pt x="17943" y="9531"/>
                    <a:pt x="17765" y="9449"/>
                    <a:pt x="17597" y="9426"/>
                  </a:cubicBezTo>
                  <a:cubicBezTo>
                    <a:pt x="17372" y="9395"/>
                    <a:pt x="17140" y="9398"/>
                    <a:pt x="16914" y="9416"/>
                  </a:cubicBezTo>
                  <a:cubicBezTo>
                    <a:pt x="16791" y="9426"/>
                    <a:pt x="16689" y="9421"/>
                    <a:pt x="16578" y="9467"/>
                  </a:cubicBezTo>
                  <a:cubicBezTo>
                    <a:pt x="16459" y="9518"/>
                    <a:pt x="16413" y="9586"/>
                    <a:pt x="16270" y="9605"/>
                  </a:cubicBezTo>
                  <a:cubicBezTo>
                    <a:pt x="16513" y="9691"/>
                    <a:pt x="16223" y="9694"/>
                    <a:pt x="16118" y="9689"/>
                  </a:cubicBezTo>
                  <a:cubicBezTo>
                    <a:pt x="15952" y="9682"/>
                    <a:pt x="15849" y="9690"/>
                    <a:pt x="15674" y="9722"/>
                  </a:cubicBezTo>
                  <a:cubicBezTo>
                    <a:pt x="15429" y="9767"/>
                    <a:pt x="14961" y="9850"/>
                    <a:pt x="14994" y="10051"/>
                  </a:cubicBezTo>
                  <a:cubicBezTo>
                    <a:pt x="15023" y="10223"/>
                    <a:pt x="15365" y="10463"/>
                    <a:pt x="15547" y="10583"/>
                  </a:cubicBezTo>
                  <a:cubicBezTo>
                    <a:pt x="15768" y="10730"/>
                    <a:pt x="16058" y="10807"/>
                    <a:pt x="16377" y="10837"/>
                  </a:cubicBezTo>
                  <a:cubicBezTo>
                    <a:pt x="17112" y="10839"/>
                    <a:pt x="17709" y="10734"/>
                    <a:pt x="18360" y="10516"/>
                  </a:cubicBezTo>
                  <a:cubicBezTo>
                    <a:pt x="18511" y="10465"/>
                    <a:pt x="18645" y="10410"/>
                    <a:pt x="18780" y="10345"/>
                  </a:cubicBezTo>
                  <a:cubicBezTo>
                    <a:pt x="18903" y="10285"/>
                    <a:pt x="18909" y="10289"/>
                    <a:pt x="18945" y="10213"/>
                  </a:cubicBezTo>
                  <a:cubicBezTo>
                    <a:pt x="18969" y="10164"/>
                    <a:pt x="18877" y="10137"/>
                    <a:pt x="18948" y="10077"/>
                  </a:cubicBezTo>
                  <a:cubicBezTo>
                    <a:pt x="19036" y="10131"/>
                    <a:pt x="19196" y="10069"/>
                    <a:pt x="19243" y="10050"/>
                  </a:cubicBezTo>
                  <a:cubicBezTo>
                    <a:pt x="19293" y="10030"/>
                    <a:pt x="19228" y="9981"/>
                    <a:pt x="19343" y="9971"/>
                  </a:cubicBezTo>
                  <a:cubicBezTo>
                    <a:pt x="19383" y="9968"/>
                    <a:pt x="19450" y="10010"/>
                    <a:pt x="19494" y="10010"/>
                  </a:cubicBezTo>
                  <a:cubicBezTo>
                    <a:pt x="19587" y="10012"/>
                    <a:pt x="19601" y="10002"/>
                    <a:pt x="19682" y="9970"/>
                  </a:cubicBezTo>
                  <a:lnTo>
                    <a:pt x="20026" y="8261"/>
                  </a:lnTo>
                  <a:cubicBezTo>
                    <a:pt x="19971" y="8254"/>
                    <a:pt x="19915" y="8247"/>
                    <a:pt x="19863" y="8242"/>
                  </a:cubicBezTo>
                  <a:cubicBezTo>
                    <a:pt x="19798" y="8236"/>
                    <a:pt x="19705" y="8247"/>
                    <a:pt x="19643" y="8233"/>
                  </a:cubicBezTo>
                  <a:cubicBezTo>
                    <a:pt x="19538" y="8210"/>
                    <a:pt x="19548" y="8163"/>
                    <a:pt x="19474" y="8145"/>
                  </a:cubicBezTo>
                  <a:cubicBezTo>
                    <a:pt x="19315" y="8106"/>
                    <a:pt x="19154" y="8146"/>
                    <a:pt x="19007" y="8170"/>
                  </a:cubicBezTo>
                  <a:cubicBezTo>
                    <a:pt x="18856" y="8194"/>
                    <a:pt x="18770" y="8232"/>
                    <a:pt x="18670" y="8157"/>
                  </a:cubicBezTo>
                  <a:cubicBezTo>
                    <a:pt x="18551" y="8068"/>
                    <a:pt x="18635" y="7860"/>
                    <a:pt x="18671" y="7752"/>
                  </a:cubicBezTo>
                  <a:cubicBezTo>
                    <a:pt x="18711" y="7636"/>
                    <a:pt x="18610" y="7536"/>
                    <a:pt x="18531" y="7443"/>
                  </a:cubicBezTo>
                  <a:cubicBezTo>
                    <a:pt x="18834" y="7432"/>
                    <a:pt x="18423" y="7366"/>
                    <a:pt x="18318" y="7372"/>
                  </a:cubicBezTo>
                  <a:cubicBezTo>
                    <a:pt x="18236" y="7376"/>
                    <a:pt x="18201" y="7414"/>
                    <a:pt x="18120" y="7414"/>
                  </a:cubicBezTo>
                  <a:cubicBezTo>
                    <a:pt x="18062" y="7413"/>
                    <a:pt x="18173" y="7351"/>
                    <a:pt x="18126" y="7349"/>
                  </a:cubicBezTo>
                  <a:cubicBezTo>
                    <a:pt x="18069" y="7347"/>
                    <a:pt x="17996" y="7420"/>
                    <a:pt x="17945" y="7404"/>
                  </a:cubicBezTo>
                  <a:cubicBezTo>
                    <a:pt x="17928" y="7398"/>
                    <a:pt x="17960" y="7308"/>
                    <a:pt x="17986" y="7290"/>
                  </a:cubicBezTo>
                  <a:cubicBezTo>
                    <a:pt x="18096" y="7214"/>
                    <a:pt x="18360" y="7261"/>
                    <a:pt x="18421" y="7177"/>
                  </a:cubicBezTo>
                  <a:cubicBezTo>
                    <a:pt x="18526" y="7032"/>
                    <a:pt x="17958" y="6880"/>
                    <a:pt x="17856" y="6787"/>
                  </a:cubicBezTo>
                  <a:cubicBezTo>
                    <a:pt x="17847" y="6778"/>
                    <a:pt x="17789" y="6638"/>
                    <a:pt x="17790" y="6627"/>
                  </a:cubicBezTo>
                  <a:cubicBezTo>
                    <a:pt x="17795" y="6587"/>
                    <a:pt x="17908" y="6499"/>
                    <a:pt x="17905" y="6482"/>
                  </a:cubicBezTo>
                  <a:cubicBezTo>
                    <a:pt x="17896" y="6435"/>
                    <a:pt x="17826" y="6422"/>
                    <a:pt x="17777" y="6388"/>
                  </a:cubicBezTo>
                  <a:cubicBezTo>
                    <a:pt x="17751" y="6369"/>
                    <a:pt x="17693" y="6384"/>
                    <a:pt x="17665" y="6370"/>
                  </a:cubicBezTo>
                  <a:cubicBezTo>
                    <a:pt x="17632" y="6355"/>
                    <a:pt x="17650" y="6323"/>
                    <a:pt x="17624" y="6305"/>
                  </a:cubicBezTo>
                  <a:cubicBezTo>
                    <a:pt x="17610" y="6296"/>
                    <a:pt x="17580" y="6319"/>
                    <a:pt x="17552" y="6295"/>
                  </a:cubicBezTo>
                  <a:cubicBezTo>
                    <a:pt x="17535" y="6280"/>
                    <a:pt x="17547" y="6239"/>
                    <a:pt x="17525" y="6217"/>
                  </a:cubicBezTo>
                  <a:cubicBezTo>
                    <a:pt x="17465" y="6159"/>
                    <a:pt x="17442" y="6195"/>
                    <a:pt x="17399" y="6183"/>
                  </a:cubicBezTo>
                  <a:cubicBezTo>
                    <a:pt x="17278" y="6149"/>
                    <a:pt x="17135" y="6173"/>
                    <a:pt x="17007" y="6201"/>
                  </a:cubicBezTo>
                  <a:cubicBezTo>
                    <a:pt x="16918" y="6221"/>
                    <a:pt x="16577" y="6312"/>
                    <a:pt x="16485" y="6268"/>
                  </a:cubicBezTo>
                  <a:cubicBezTo>
                    <a:pt x="16370" y="6211"/>
                    <a:pt x="16508" y="6140"/>
                    <a:pt x="16502" y="6072"/>
                  </a:cubicBezTo>
                  <a:cubicBezTo>
                    <a:pt x="16491" y="5953"/>
                    <a:pt x="16403" y="5916"/>
                    <a:pt x="16468" y="5803"/>
                  </a:cubicBezTo>
                  <a:cubicBezTo>
                    <a:pt x="16543" y="5671"/>
                    <a:pt x="16509" y="5550"/>
                    <a:pt x="16308" y="5483"/>
                  </a:cubicBezTo>
                  <a:cubicBezTo>
                    <a:pt x="16222" y="5455"/>
                    <a:pt x="16133" y="5477"/>
                    <a:pt x="16065" y="5451"/>
                  </a:cubicBezTo>
                  <a:cubicBezTo>
                    <a:pt x="15979" y="5417"/>
                    <a:pt x="16004" y="5372"/>
                    <a:pt x="15952" y="5367"/>
                  </a:cubicBezTo>
                  <a:cubicBezTo>
                    <a:pt x="15798" y="5349"/>
                    <a:pt x="15867" y="5401"/>
                    <a:pt x="15765" y="5419"/>
                  </a:cubicBezTo>
                  <a:close/>
                  <a:moveTo>
                    <a:pt x="15765" y="5419"/>
                  </a:moveTo>
                </a:path>
              </a:pathLst>
            </a:custGeom>
            <a:grpFill/>
            <a:ln w="12700" cap="flat">
              <a:solidFill>
                <a:schemeClr val="bg1"/>
              </a:solidFill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F9FC9A23-256A-EC04-E077-EF574007FF7F}"/>
              </a:ext>
            </a:extLst>
          </p:cNvPr>
          <p:cNvSpPr/>
          <p:nvPr/>
        </p:nvSpPr>
        <p:spPr>
          <a:xfrm>
            <a:off x="8375164" y="2429355"/>
            <a:ext cx="2588683" cy="69591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>
                <a:solidFill>
                  <a:schemeClr val="bg1"/>
                </a:solidFill>
              </a:rPr>
              <a:t>Select a country to recolor it using the </a:t>
            </a:r>
            <a:r>
              <a:rPr lang="en-US" sz="1200" b="1" dirty="0">
                <a:solidFill>
                  <a:schemeClr val="bg1"/>
                </a:solidFill>
              </a:rPr>
              <a:t>Shape Fill </a:t>
            </a:r>
            <a:r>
              <a:rPr lang="en-US" sz="1200" dirty="0">
                <a:solidFill>
                  <a:schemeClr val="bg1"/>
                </a:solidFill>
              </a:rPr>
              <a:t>options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56388D4-8C59-1725-D257-433E00C9F9AE}"/>
              </a:ext>
            </a:extLst>
          </p:cNvPr>
          <p:cNvSpPr/>
          <p:nvPr/>
        </p:nvSpPr>
        <p:spPr>
          <a:xfrm>
            <a:off x="8235682" y="657269"/>
            <a:ext cx="2866056" cy="17710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b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</a:rPr>
              <a:t>Each country is a separate object in this map. 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You can find individually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named countries in the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Selection Pane</a:t>
            </a:r>
            <a:r>
              <a:rPr lang="en-US" sz="1200" dirty="0">
                <a:solidFill>
                  <a:schemeClr val="tx1"/>
                </a:solidFill>
              </a:rPr>
              <a:t>: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 dirty="0">
                <a:solidFill>
                  <a:schemeClr val="tx1"/>
                </a:solidFill>
              </a:rPr>
              <a:t>Home tab &gt; Arrange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&gt; Selection Pane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or by pressing </a:t>
            </a:r>
            <a:r>
              <a:rPr lang="en-US" sz="1200" b="1" dirty="0">
                <a:solidFill>
                  <a:schemeClr val="tx1"/>
                </a:solidFill>
              </a:rPr>
              <a:t>Alt + F10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E887E36-1751-3BE5-2F40-AAB99EAA6452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Canada</a:t>
            </a:r>
            <a:endParaRPr lang="en-CA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171485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7041731-501A-488E-8C1B-E21A649E570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2736850" y="1093721"/>
            <a:ext cx="4703793" cy="4888327"/>
            <a:chOff x="6921702" y="2549346"/>
            <a:chExt cx="1869458" cy="2256401"/>
          </a:xfrm>
          <a:solidFill>
            <a:schemeClr val="bg1">
              <a:lumMod val="85000"/>
            </a:schemeClr>
          </a:solidFill>
        </p:grpSpPr>
        <p:sp>
          <p:nvSpPr>
            <p:cNvPr id="196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36ECAF5F-7788-4D94-B43C-408FD869939E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8071905" y="4204849"/>
              <a:ext cx="213956" cy="213957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97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A5BB259C-9FE6-4477-A4DE-15445A7F267F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7985411" y="3971166"/>
              <a:ext cx="323211" cy="309553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99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8C63DC3F-F1D7-42B3-BC70-CA25F1F076D5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6926253" y="2851312"/>
              <a:ext cx="232165" cy="19878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10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7D6512B9-FA84-4A45-B67E-FD4FDA4C2473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gray">
            <a:xfrm>
              <a:off x="8199367" y="3585741"/>
              <a:ext cx="151741" cy="179055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13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037AC8E7-B37B-47E1-A15E-1CB185D4FCBE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7592400" y="2549346"/>
              <a:ext cx="106219" cy="22154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14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09E82D14-C4AB-49E8-BCD5-75457FEE0517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7376927" y="3370269"/>
              <a:ext cx="54627" cy="156295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16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4CBBE532-2E64-49E0-A0A1-3C249A880C95}"/>
                </a:ext>
              </a:extLst>
            </p:cNvPr>
            <p:cNvSpPr>
              <a:spLocks noEditPoints="1"/>
            </p:cNvSpPr>
            <p:nvPr>
              <p:custDataLst>
                <p:tags r:id="rId9"/>
              </p:custDataLst>
            </p:nvPr>
          </p:nvSpPr>
          <p:spPr bwMode="gray">
            <a:xfrm>
              <a:off x="8197849" y="3748107"/>
              <a:ext cx="297414" cy="336867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22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5B92A8B-3698-4DA4-A463-158B6333AD40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8216059" y="4520472"/>
              <a:ext cx="39453" cy="51592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24" name="Sudan">
              <a:extLst>
                <a:ext uri="{FF2B5EF4-FFF2-40B4-BE49-F238E27FC236}">
                  <a16:creationId xmlns:a16="http://schemas.microsoft.com/office/drawing/2014/main" id="{310FF7CC-FA99-463E-9A85-5DC0205067A6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974708" y="2991286"/>
              <a:ext cx="463652" cy="454867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25" name="South Sudan">
              <a:extLst>
                <a:ext uri="{FF2B5EF4-FFF2-40B4-BE49-F238E27FC236}">
                  <a16:creationId xmlns:a16="http://schemas.microsoft.com/office/drawing/2014/main" id="{1560A7C4-CC0B-4780-938D-C6A44ED6556A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8039130" y="3329996"/>
              <a:ext cx="333830" cy="279168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28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392FCAF0-CB98-46E1-A314-19FEB122DB6A}"/>
                </a:ext>
              </a:extLst>
            </p:cNvPr>
            <p:cNvSpPr>
              <a:spLocks noEditPoints="1"/>
            </p:cNvSpPr>
            <p:nvPr>
              <p:custDataLst>
                <p:tags r:id="rId13"/>
              </p:custDataLst>
            </p:nvPr>
          </p:nvSpPr>
          <p:spPr bwMode="gray">
            <a:xfrm>
              <a:off x="7829118" y="4409701"/>
              <a:ext cx="440052" cy="396046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29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4CEA8843-991D-49F0-B95C-9CE6971BF656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8513472" y="3339921"/>
              <a:ext cx="277688" cy="429430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33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DF13236E-D831-4892-A910-0C37C5FE1AD1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7017298" y="3400618"/>
              <a:ext cx="80423" cy="104702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35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48DA91B5-B914-4C24-A966-B32935181AF6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6936876" y="3189697"/>
              <a:ext cx="160847" cy="142637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37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A811B5BF-3CF3-466F-9526-9D21A3252305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gray">
            <a:xfrm>
              <a:off x="8176606" y="3748107"/>
              <a:ext cx="57662" cy="57661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54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D4E947AA-6E04-47E7-89A7-8B5215BDB7A9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7457350" y="3282258"/>
              <a:ext cx="324728" cy="298932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55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F84C6597-74B4-44E8-BF1E-6B00D0B4B090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gray">
            <a:xfrm>
              <a:off x="7389066" y="2981810"/>
              <a:ext cx="430946" cy="365699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61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D38AFEC3-FCD9-4E16-94E6-D1CB0C04E23D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gray">
            <a:xfrm>
              <a:off x="7701654" y="4245820"/>
              <a:ext cx="370249" cy="377838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63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0EE127E4-5044-48F3-8016-46D893161375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8206954" y="4044003"/>
              <a:ext cx="295897" cy="518958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64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E50C5FE8-C080-485A-9BBA-37B5694FE03C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7037024" y="2594868"/>
              <a:ext cx="329281" cy="256444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70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B351EF4-BD20-41ED-98A2-17CDC6F1E63D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6926254" y="2864970"/>
              <a:ext cx="332315" cy="389977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chemeClr val="tx2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71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66124C9A-43D8-4460-8615-0DC134E03AB4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7047648" y="2933252"/>
              <a:ext cx="450674" cy="465848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74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896DD854-CD38-481F-8E6C-330137607B13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gray">
            <a:xfrm>
              <a:off x="8278274" y="4010619"/>
              <a:ext cx="91045" cy="242787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75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425E9B72-02DB-43BA-BE2C-BAFD160D7185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gray">
            <a:xfrm>
              <a:off x="8543822" y="4100148"/>
              <a:ext cx="230647" cy="423360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80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DA48F1DC-C9E9-4A58-AE28-6EFFA4E25704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7637923" y="2676809"/>
              <a:ext cx="426395" cy="430946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81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3206FDBD-AEEB-42E8-8ED8-252587D4969B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gray">
            <a:xfrm>
              <a:off x="7056752" y="3447658"/>
              <a:ext cx="119877" cy="133532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82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F798D098-D880-43F6-97D0-B06CFDBE4106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gray">
            <a:xfrm>
              <a:off x="8108323" y="4611517"/>
              <a:ext cx="65250" cy="63732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291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175407FC-FFE3-460E-B2CF-8607769FCBCA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8320761" y="3569052"/>
              <a:ext cx="218509" cy="295898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309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F6F35FF-9DBE-46F4-B20E-4B149280E62E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gray">
            <a:xfrm>
              <a:off x="6935358" y="3317160"/>
              <a:ext cx="71319" cy="60697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310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909C134-776E-4841-896B-E2BEA0FD1ABF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gray">
            <a:xfrm>
              <a:off x="6970259" y="3320194"/>
              <a:ext cx="201816" cy="171468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314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C52C868B-EBE6-4A57-BF8D-F52A5F824212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 bwMode="gray">
            <a:xfrm>
              <a:off x="7288917" y="3368752"/>
              <a:ext cx="125947" cy="200298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317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EAEFB7A6-6BF2-4F20-9DC6-89594DDEB579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gray">
            <a:xfrm>
              <a:off x="6921702" y="3285294"/>
              <a:ext cx="83459" cy="19727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318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AA6963ED-E469-4E49-B0E4-AA6EACEF1A77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gray">
            <a:xfrm>
              <a:off x="7619714" y="3640370"/>
              <a:ext cx="162365" cy="198782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321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9BB9DB50-5A31-47D0-B8AF-8E4A2B811AE3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gray">
            <a:xfrm>
              <a:off x="8291930" y="3250394"/>
              <a:ext cx="409703" cy="358110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323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01C58EAD-2F7C-4ABF-AADA-7A8DA4FD9072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gray">
            <a:xfrm>
              <a:off x="8378423" y="3151760"/>
              <a:ext cx="186644" cy="177538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324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545E4BBE-98AF-41D1-AE52-B3501102B4AC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gray">
            <a:xfrm>
              <a:off x="7637923" y="3643405"/>
              <a:ext cx="56145" cy="42487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326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BF2AF7D3-95F1-4162-92F5-C3AAE4746808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gray">
            <a:xfrm>
              <a:off x="8046109" y="2725366"/>
              <a:ext cx="306519" cy="312588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336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8FAB3B70-4C2F-4C54-8D4B-35068B6FF8B9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gray">
            <a:xfrm>
              <a:off x="7141728" y="3380891"/>
              <a:ext cx="169951" cy="200298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338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83797908-5C54-4B5B-9416-6F09DDC8E2B7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gray">
            <a:xfrm>
              <a:off x="7719864" y="3547807"/>
              <a:ext cx="523510" cy="588757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339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341AE7B9-C397-4813-9C1A-2CA040312498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gray">
            <a:xfrm>
              <a:off x="7686481" y="3599400"/>
              <a:ext cx="207887" cy="271619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343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1ABC5491-01F9-475F-871F-E10DD411C885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gray">
            <a:xfrm>
              <a:off x="7750212" y="2981810"/>
              <a:ext cx="288309" cy="500748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chemeClr val="tx2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344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5C24B6DA-489D-45BC-BCFA-CB56ED7B6A06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gray">
            <a:xfrm>
              <a:off x="7777526" y="3373304"/>
              <a:ext cx="355077" cy="271619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346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3E8A2399-BA29-4B74-AE7C-A56EFF9D57EE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gray">
            <a:xfrm>
              <a:off x="7616680" y="3305021"/>
              <a:ext cx="212438" cy="359628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348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6DF528B1-0080-47A9-8409-22AC12409669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gray">
            <a:xfrm>
              <a:off x="8181160" y="3792111"/>
              <a:ext cx="51593" cy="65250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349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D697AF0E-341C-4EF7-B42C-8EFF8CA5899E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gray">
            <a:xfrm>
              <a:off x="7228221" y="3245841"/>
              <a:ext cx="221544" cy="174504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352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C1B2241E-A98D-4161-A6A4-63A3A61CF105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gray">
            <a:xfrm>
              <a:off x="7924715" y="4271615"/>
              <a:ext cx="251892" cy="283757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356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1EF2DD88-4C79-40EB-9AB0-C8E10376D052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gray">
            <a:xfrm>
              <a:off x="7402723" y="3329300"/>
              <a:ext cx="86494" cy="192712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367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B80DE717-AEFF-4DCE-A43D-BE46771F9C04}"/>
                </a:ext>
              </a:extLst>
            </p:cNvPr>
            <p:cNvSpPr>
              <a:spLocks noEditPoints="1"/>
            </p:cNvSpPr>
            <p:nvPr>
              <p:custDataLst>
                <p:tags r:id="rId50"/>
              </p:custDataLst>
            </p:nvPr>
          </p:nvSpPr>
          <p:spPr bwMode="gray">
            <a:xfrm>
              <a:off x="7701655" y="3849773"/>
              <a:ext cx="344453" cy="429430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369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34B43355-F89F-4D70-8A87-C4629112F1F0}"/>
                </a:ext>
              </a:extLst>
            </p:cNvPr>
            <p:cNvSpPr>
              <a:spLocks/>
            </p:cNvSpPr>
            <p:nvPr>
              <p:custDataLst>
                <p:tags r:id="rId51"/>
              </p:custDataLst>
            </p:nvPr>
          </p:nvSpPr>
          <p:spPr bwMode="gray">
            <a:xfrm>
              <a:off x="7137177" y="2553897"/>
              <a:ext cx="573585" cy="567513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78B3700B-6CBE-976A-BCF1-FA2ACA0DE122}"/>
              </a:ext>
            </a:extLst>
          </p:cNvPr>
          <p:cNvSpPr/>
          <p:nvPr/>
        </p:nvSpPr>
        <p:spPr>
          <a:xfrm>
            <a:off x="8375164" y="2429355"/>
            <a:ext cx="2588683" cy="69591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>
                <a:solidFill>
                  <a:schemeClr val="bg1"/>
                </a:solidFill>
              </a:rPr>
              <a:t>Select a country to recolor it using the </a:t>
            </a:r>
            <a:r>
              <a:rPr lang="en-US" sz="1200" b="1" dirty="0">
                <a:solidFill>
                  <a:schemeClr val="bg1"/>
                </a:solidFill>
              </a:rPr>
              <a:t>Shape Fill </a:t>
            </a:r>
            <a:r>
              <a:rPr lang="en-US" sz="1200" dirty="0">
                <a:solidFill>
                  <a:schemeClr val="bg1"/>
                </a:solidFill>
              </a:rPr>
              <a:t>options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D2745C-8B17-ED19-B8B5-84DF442BE4C3}"/>
              </a:ext>
            </a:extLst>
          </p:cNvPr>
          <p:cNvSpPr/>
          <p:nvPr/>
        </p:nvSpPr>
        <p:spPr>
          <a:xfrm>
            <a:off x="8235682" y="657269"/>
            <a:ext cx="2866056" cy="17710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b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</a:rPr>
              <a:t>Each country is a separate object in this map. 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You can find individually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named countries in the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Selection Pane</a:t>
            </a:r>
            <a:r>
              <a:rPr lang="en-US" sz="1200" dirty="0">
                <a:solidFill>
                  <a:schemeClr val="tx1"/>
                </a:solidFill>
              </a:rPr>
              <a:t>: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 dirty="0">
                <a:solidFill>
                  <a:schemeClr val="tx1"/>
                </a:solidFill>
              </a:rPr>
              <a:t>Home tab &gt; Arrange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&gt; Selection Pane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or by pressing </a:t>
            </a:r>
            <a:r>
              <a:rPr lang="en-US" sz="1200" b="1" dirty="0">
                <a:solidFill>
                  <a:schemeClr val="tx1"/>
                </a:solidFill>
              </a:rPr>
              <a:t>Alt + F10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FEF5B9A-A852-6211-B8C0-7E130FF8132C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Africa map</a:t>
            </a:r>
            <a:endParaRPr lang="en-CA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892204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roup 57">
            <a:extLst>
              <a:ext uri="{FF2B5EF4-FFF2-40B4-BE49-F238E27FC236}">
                <a16:creationId xmlns:a16="http://schemas.microsoft.com/office/drawing/2014/main" id="{053F8DA8-4E8B-4D98-B79A-B8CC155DCB80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5029200" y="1155480"/>
            <a:ext cx="5643476" cy="5301701"/>
            <a:chOff x="7885262" y="1309615"/>
            <a:chExt cx="4109169" cy="3860313"/>
          </a:xfrm>
          <a:solidFill>
            <a:schemeClr val="bg1">
              <a:lumMod val="85000"/>
            </a:schemeClr>
          </a:solidFill>
        </p:grpSpPr>
        <p:sp>
          <p:nvSpPr>
            <p:cNvPr id="59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33093A02-7930-445F-BC04-3A75EAC334C3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8548374" y="3121412"/>
              <a:ext cx="283756" cy="194229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60" name="West Bank" descr="© INSCALE GmbH, 05.05.2010&#10;http://www.presentationload.com/">
              <a:extLst>
                <a:ext uri="{FF2B5EF4-FFF2-40B4-BE49-F238E27FC236}">
                  <a16:creationId xmlns:a16="http://schemas.microsoft.com/office/drawing/2014/main" id="{34564AB7-4066-4FE7-918E-CC44BFFE5901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8316208" y="2701087"/>
              <a:ext cx="16693" cy="36418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61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E1AEC9AA-FD39-47CD-8BAD-DA99FAFA003B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8797230" y="2295938"/>
              <a:ext cx="459779" cy="257961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62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E472C1EB-1F32-489D-9E42-89CB9A939826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10150768" y="2984845"/>
              <a:ext cx="235199" cy="462813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63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785A60CC-2507-4B8E-842F-94BF751007BC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8777503" y="2886213"/>
              <a:ext cx="130498" cy="124429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6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20A7348-C301-48C3-94B2-02BE4292875B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8727428" y="2379396"/>
              <a:ext cx="391494" cy="235201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65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4A850359-8AC5-4D2A-8F06-D18ED0754E9D}"/>
                </a:ext>
              </a:extLst>
            </p:cNvPr>
            <p:cNvSpPr>
              <a:spLocks noEditPoints="1"/>
            </p:cNvSpPr>
            <p:nvPr>
              <p:custDataLst>
                <p:tags r:id="rId9"/>
              </p:custDataLst>
            </p:nvPr>
          </p:nvSpPr>
          <p:spPr bwMode="gray">
            <a:xfrm>
              <a:off x="8041555" y="2397603"/>
              <a:ext cx="515922" cy="197264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67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1C4E981-1FD9-47E1-B598-82D6F89FB50D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10036959" y="3077407"/>
              <a:ext cx="239752" cy="461295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68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9EAA043B-6B77-4BE6-BDCF-C9289D32A4F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9123474" y="2435539"/>
              <a:ext cx="213956" cy="135051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69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49A782AF-E3CB-43FE-9643-F9C1EB9686AA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10622683" y="2924148"/>
              <a:ext cx="47040" cy="104702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70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72CD1FA0-7E3E-4885-8E85-1C5E313A443D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8320760" y="2546311"/>
              <a:ext cx="174503" cy="160847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71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3B34E8A0-56AF-4345-A4E4-537273DA1B7F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9575665" y="3415791"/>
              <a:ext cx="66766" cy="118358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72" name="Solomon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74F25C01-E8EE-4ECC-AAB3-7C61ED13A8DA}"/>
                </a:ext>
              </a:extLst>
            </p:cNvPr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gray">
            <a:xfrm>
              <a:off x="11698533" y="3925643"/>
              <a:ext cx="144155" cy="135051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73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20C938B9-5B51-4988-86B8-F4A95B4D8474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8316209" y="2710194"/>
              <a:ext cx="576618" cy="494678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74" name="Russia (Urup,Simushir)" descr="© INSCALE GmbH, 05.05.2010&#10;http://www.presentationload.com/">
              <a:extLst>
                <a:ext uri="{FF2B5EF4-FFF2-40B4-BE49-F238E27FC236}">
                  <a16:creationId xmlns:a16="http://schemas.microsoft.com/office/drawing/2014/main" id="{38515701-2E25-44F3-80B3-12071AD0A4E7}"/>
                </a:ext>
              </a:extLst>
            </p:cNvPr>
            <p:cNvSpPr>
              <a:spLocks noEditPoints="1"/>
            </p:cNvSpPr>
            <p:nvPr>
              <p:custDataLst>
                <p:tags r:id="rId17"/>
              </p:custDataLst>
            </p:nvPr>
          </p:nvSpPr>
          <p:spPr bwMode="gray">
            <a:xfrm>
              <a:off x="11035420" y="1884717"/>
              <a:ext cx="116842" cy="464330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75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81537ED6-4434-42C4-8DDB-D3D6C282B212}"/>
                </a:ext>
              </a:extLst>
            </p:cNvPr>
            <p:cNvSpPr>
              <a:spLocks noEditPoints="1"/>
            </p:cNvSpPr>
            <p:nvPr>
              <p:custDataLst>
                <p:tags r:id="rId18"/>
              </p:custDataLst>
            </p:nvPr>
          </p:nvSpPr>
          <p:spPr bwMode="gray">
            <a:xfrm>
              <a:off x="7885262" y="1309615"/>
              <a:ext cx="3511305" cy="1118337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76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4AB349C2-9A5A-4769-A119-B9211E346280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gray">
            <a:xfrm>
              <a:off x="8757777" y="2895317"/>
              <a:ext cx="25797" cy="56144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77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2AE7D5A7-F80F-4CEB-9214-1AA6CC138ECF}"/>
                </a:ext>
              </a:extLst>
            </p:cNvPr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gray">
            <a:xfrm>
              <a:off x="10609027" y="3130518"/>
              <a:ext cx="277688" cy="465848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78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F929F6DA-B80E-4D4B-BFE3-7775BC9135DF}"/>
                </a:ext>
              </a:extLst>
            </p:cNvPr>
            <p:cNvSpPr>
              <a:spLocks noEditPoints="1"/>
            </p:cNvSpPr>
            <p:nvPr>
              <p:custDataLst>
                <p:tags r:id="rId21"/>
              </p:custDataLst>
            </p:nvPr>
          </p:nvSpPr>
          <p:spPr bwMode="gray">
            <a:xfrm>
              <a:off x="11258482" y="3773902"/>
              <a:ext cx="421842" cy="28224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79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96514B5-6EE9-4D67-97D4-78483AD23972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9009669" y="2558451"/>
              <a:ext cx="408186" cy="409703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8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05E7037-7FBB-49A3-92AC-AC7D6DFD994D}"/>
                </a:ext>
              </a:extLst>
            </p:cNvPr>
            <p:cNvSpPr>
              <a:spLocks noEditPoints="1"/>
            </p:cNvSpPr>
            <p:nvPr>
              <p:custDataLst>
                <p:tags r:id="rId23"/>
              </p:custDataLst>
            </p:nvPr>
          </p:nvSpPr>
          <p:spPr bwMode="gray">
            <a:xfrm>
              <a:off x="10420867" y="3176039"/>
              <a:ext cx="36418" cy="24279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81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4ED7F714-A764-469C-8FB8-AB59778E11DD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8800264" y="2933252"/>
              <a:ext cx="209404" cy="260995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82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50BA437-503E-41F9-B051-8C8C49FAD778}"/>
                </a:ext>
              </a:extLst>
            </p:cNvPr>
            <p:cNvSpPr>
              <a:spLocks noEditPoints="1"/>
            </p:cNvSpPr>
            <p:nvPr>
              <p:custDataLst>
                <p:tags r:id="rId25"/>
              </p:custDataLst>
            </p:nvPr>
          </p:nvSpPr>
          <p:spPr bwMode="gray">
            <a:xfrm>
              <a:off x="11501269" y="4789055"/>
              <a:ext cx="493162" cy="380873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83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946501C0-C909-45A8-84EA-C28B4DD72CD4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gray">
            <a:xfrm>
              <a:off x="9522556" y="2763301"/>
              <a:ext cx="227613" cy="127463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84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348FCD35-1C74-4A11-B649-1A9F1842994D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9880667" y="2823998"/>
              <a:ext cx="247339" cy="581171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85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43726FDC-B4AC-489A-A752-B4BEC460481C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gray">
            <a:xfrm>
              <a:off x="9536212" y="2092603"/>
              <a:ext cx="814854" cy="323210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86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B6F10B49-447E-493A-8C71-A0830ACC089A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gray">
            <a:xfrm>
              <a:off x="10138628" y="3505319"/>
              <a:ext cx="118359" cy="169950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87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E05AA911-42F1-4512-AB5A-5DE2574A2F3A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10416315" y="3485594"/>
              <a:ext cx="267066" cy="204851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88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BBBFEDD8-78CF-4A91-BEA4-DDADE64E8427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gray">
            <a:xfrm>
              <a:off x="8308622" y="2632803"/>
              <a:ext cx="42487" cy="60697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89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3D91C765-AF44-4745-9B2C-182A6D156BDA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gray">
            <a:xfrm>
              <a:off x="10099175" y="3012158"/>
              <a:ext cx="233682" cy="270101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90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B3BC6404-7F0D-450B-8DF7-60CFCE1E5A87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 bwMode="gray">
            <a:xfrm>
              <a:off x="9167480" y="2367256"/>
              <a:ext cx="260995" cy="121393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91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BBF18148-E6D4-4728-A083-CD8EAC7F4C14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gray">
            <a:xfrm>
              <a:off x="8630315" y="2776959"/>
              <a:ext cx="53111" cy="47040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92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8950D848-CCD2-49D4-B40F-0B730BD5E58B}"/>
                </a:ext>
              </a:extLst>
            </p:cNvPr>
            <p:cNvSpPr>
              <a:spLocks noEditPoints="1"/>
            </p:cNvSpPr>
            <p:nvPr>
              <p:custDataLst>
                <p:tags r:id="rId35"/>
              </p:custDataLst>
            </p:nvPr>
          </p:nvSpPr>
          <p:spPr bwMode="gray">
            <a:xfrm>
              <a:off x="10656067" y="2511410"/>
              <a:ext cx="106219" cy="165398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93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2DC4AB18-EB47-400E-806E-B90B83A86178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gray">
            <a:xfrm>
              <a:off x="10568056" y="2374842"/>
              <a:ext cx="127463" cy="162364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94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61BB132-4285-43F3-A27D-34D4D4FF7CE4}"/>
                </a:ext>
              </a:extLst>
            </p:cNvPr>
            <p:cNvSpPr>
              <a:spLocks noEditPoints="1"/>
            </p:cNvSpPr>
            <p:nvPr>
              <p:custDataLst>
                <p:tags r:id="rId37"/>
              </p:custDataLst>
            </p:nvPr>
          </p:nvSpPr>
          <p:spPr bwMode="gray">
            <a:xfrm>
              <a:off x="8543822" y="1997006"/>
              <a:ext cx="975700" cy="452191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95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BFD73000-E62E-4EF1-806F-1990E3A679C6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gray">
            <a:xfrm>
              <a:off x="8320761" y="2675292"/>
              <a:ext cx="109254" cy="130498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96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9F5F5A44-C218-4138-8051-0F1F73D70FE5}"/>
                </a:ext>
              </a:extLst>
            </p:cNvPr>
            <p:cNvSpPr>
              <a:spLocks noEditPoints="1"/>
            </p:cNvSpPr>
            <p:nvPr>
              <p:custDataLst>
                <p:tags r:id="rId39"/>
              </p:custDataLst>
            </p:nvPr>
          </p:nvSpPr>
          <p:spPr bwMode="gray">
            <a:xfrm>
              <a:off x="10716764" y="2295938"/>
              <a:ext cx="339901" cy="66311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97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4D304206-FA39-412E-9275-D6CCEF10D936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gray">
            <a:xfrm>
              <a:off x="8297999" y="2670739"/>
              <a:ext cx="39453" cy="124429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98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87853E7E-CCEF-4ED4-9B63-94261D4F4CCA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gray">
            <a:xfrm>
              <a:off x="8411807" y="2549346"/>
              <a:ext cx="265549" cy="256444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99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01833DF8-CF74-4238-A461-4C85AA3D1982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gray">
            <a:xfrm>
              <a:off x="8525612" y="2471957"/>
              <a:ext cx="558410" cy="458260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00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3E671C19-67C3-4EE3-9053-76849ED99618}"/>
                </a:ext>
              </a:extLst>
            </p:cNvPr>
            <p:cNvSpPr>
              <a:spLocks noEditPoints="1"/>
            </p:cNvSpPr>
            <p:nvPr>
              <p:custDataLst>
                <p:tags r:id="rId43"/>
              </p:custDataLst>
            </p:nvPr>
          </p:nvSpPr>
          <p:spPr bwMode="gray">
            <a:xfrm>
              <a:off x="10008129" y="3538702"/>
              <a:ext cx="1267045" cy="505300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01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7AAD8A40-3B40-4A18-AFB2-698ACA94693D}"/>
                </a:ext>
              </a:extLst>
            </p:cNvPr>
            <p:cNvSpPr>
              <a:spLocks noEditPoints="1"/>
            </p:cNvSpPr>
            <p:nvPr>
              <p:custDataLst>
                <p:tags r:id="rId44"/>
              </p:custDataLst>
            </p:nvPr>
          </p:nvSpPr>
          <p:spPr bwMode="gray">
            <a:xfrm>
              <a:off x="9231211" y="2590316"/>
              <a:ext cx="758709" cy="915003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02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780818D8-CC7D-4A17-B48B-92A24F8CD37D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gray">
            <a:xfrm>
              <a:off x="8407253" y="2353599"/>
              <a:ext cx="179054" cy="81940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03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39C7F09A-F3C3-4413-9B11-BD14CEB1E18D}"/>
                </a:ext>
              </a:extLst>
            </p:cNvPr>
            <p:cNvSpPr>
              <a:spLocks noEditPoints="1"/>
            </p:cNvSpPr>
            <p:nvPr>
              <p:custDataLst>
                <p:tags r:id="rId46"/>
              </p:custDataLst>
            </p:nvPr>
          </p:nvSpPr>
          <p:spPr bwMode="gray">
            <a:xfrm>
              <a:off x="10795669" y="3974201"/>
              <a:ext cx="97115" cy="45522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04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54B978B9-B3A5-4461-8433-7142FD615FA3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gray">
            <a:xfrm>
              <a:off x="8234267" y="2602457"/>
              <a:ext cx="57662" cy="33383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05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D77B1FF6-A937-4EEF-8B9C-21ADFC602A4E}"/>
                </a:ext>
              </a:extLst>
            </p:cNvPr>
            <p:cNvSpPr>
              <a:spLocks noEditPoints="1"/>
            </p:cNvSpPr>
            <p:nvPr>
              <p:custDataLst>
                <p:tags r:id="rId48"/>
              </p:custDataLst>
            </p:nvPr>
          </p:nvSpPr>
          <p:spPr bwMode="gray">
            <a:xfrm>
              <a:off x="9284321" y="2048598"/>
              <a:ext cx="1420303" cy="1097093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06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BBAA8101-E17A-4A99-8398-A06DC5E156D9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gray">
            <a:xfrm>
              <a:off x="10190221" y="3261015"/>
              <a:ext cx="147189" cy="130498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07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CA3D846A-10F6-4ADF-B8A7-83B39876B310}"/>
                </a:ext>
              </a:extLst>
            </p:cNvPr>
            <p:cNvSpPr>
              <a:spLocks/>
            </p:cNvSpPr>
            <p:nvPr>
              <p:custDataLst>
                <p:tags r:id="rId50"/>
              </p:custDataLst>
            </p:nvPr>
          </p:nvSpPr>
          <p:spPr bwMode="gray">
            <a:xfrm>
              <a:off x="9763826" y="2830069"/>
              <a:ext cx="91045" cy="51592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08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F98BEAFD-49A9-472F-8DB9-8B8A4C03C172}"/>
                </a:ext>
              </a:extLst>
            </p:cNvPr>
            <p:cNvSpPr>
              <a:spLocks/>
            </p:cNvSpPr>
            <p:nvPr>
              <p:custDataLst>
                <p:tags r:id="rId51"/>
              </p:custDataLst>
            </p:nvPr>
          </p:nvSpPr>
          <p:spPr bwMode="gray">
            <a:xfrm>
              <a:off x="9751688" y="2886213"/>
              <a:ext cx="145672" cy="165398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09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5FE97E0E-5A18-4E9B-85E7-59A617D481BF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gray">
            <a:xfrm>
              <a:off x="8747157" y="2892283"/>
              <a:ext cx="10622" cy="21244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2697641 w 15"/>
                <a:gd name="T7" fmla="*/ 2147483647 h 28"/>
                <a:gd name="T8" fmla="*/ 813299296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10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AF6B11B5-96D3-4375-AFD5-FE9D3502F11D}"/>
                </a:ext>
              </a:extLst>
            </p:cNvPr>
            <p:cNvSpPr>
              <a:spLocks noEditPoints="1"/>
            </p:cNvSpPr>
            <p:nvPr>
              <p:custDataLst>
                <p:tags r:id="rId53"/>
              </p:custDataLst>
            </p:nvPr>
          </p:nvSpPr>
          <p:spPr bwMode="gray">
            <a:xfrm>
              <a:off x="8543824" y="2406710"/>
              <a:ext cx="139602" cy="112289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11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6C6EB7AD-74C6-4618-B714-1A7D58B07BB5}"/>
                </a:ext>
              </a:extLst>
            </p:cNvPr>
            <p:cNvSpPr>
              <a:spLocks noEditPoints="1"/>
            </p:cNvSpPr>
            <p:nvPr>
              <p:custDataLst>
                <p:tags r:id="rId54"/>
              </p:custDataLst>
            </p:nvPr>
          </p:nvSpPr>
          <p:spPr bwMode="gray">
            <a:xfrm>
              <a:off x="10385968" y="4048555"/>
              <a:ext cx="1101646" cy="103336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12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7B73A8A9-D995-424F-8449-7622815C79D9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gray">
            <a:xfrm>
              <a:off x="8504369" y="2423400"/>
              <a:ext cx="86494" cy="81940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13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EA787C65-B725-44DA-AA9F-AE3CE435099E}"/>
                </a:ext>
              </a:extLst>
            </p:cNvPr>
            <p:cNvSpPr>
              <a:spLocks/>
            </p:cNvSpPr>
            <p:nvPr>
              <p:custDataLst>
                <p:tags r:id="rId56"/>
              </p:custDataLst>
            </p:nvPr>
          </p:nvSpPr>
          <p:spPr bwMode="gray">
            <a:xfrm>
              <a:off x="8974776" y="2511406"/>
              <a:ext cx="352042" cy="286791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1CF245E6-AAD5-07A4-B59D-B9AA8CDE0F81}"/>
              </a:ext>
            </a:extLst>
          </p:cNvPr>
          <p:cNvSpPr/>
          <p:nvPr/>
        </p:nvSpPr>
        <p:spPr>
          <a:xfrm>
            <a:off x="1249413" y="4343853"/>
            <a:ext cx="2588683" cy="69591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>
                <a:solidFill>
                  <a:schemeClr val="bg1"/>
                </a:solidFill>
              </a:rPr>
              <a:t>Select a country to recolor it using the </a:t>
            </a:r>
            <a:r>
              <a:rPr lang="en-US" sz="1200" b="1" dirty="0">
                <a:solidFill>
                  <a:schemeClr val="bg1"/>
                </a:solidFill>
              </a:rPr>
              <a:t>Shape Fill </a:t>
            </a:r>
            <a:r>
              <a:rPr lang="en-US" sz="1200" dirty="0">
                <a:solidFill>
                  <a:schemeClr val="bg1"/>
                </a:solidFill>
              </a:rPr>
              <a:t>option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70FCE4-3F35-1CFF-85F0-ECA2EE7BF30B}"/>
              </a:ext>
            </a:extLst>
          </p:cNvPr>
          <p:cNvSpPr/>
          <p:nvPr/>
        </p:nvSpPr>
        <p:spPr>
          <a:xfrm>
            <a:off x="1109931" y="2571767"/>
            <a:ext cx="2866056" cy="17710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b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</a:rPr>
              <a:t>Each country is a separate object in this map. 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You can find individually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named countries in the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Selection Pane</a:t>
            </a:r>
            <a:r>
              <a:rPr lang="en-US" sz="1200" dirty="0">
                <a:solidFill>
                  <a:schemeClr val="tx1"/>
                </a:solidFill>
              </a:rPr>
              <a:t>: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 dirty="0">
                <a:solidFill>
                  <a:schemeClr val="tx1"/>
                </a:solidFill>
              </a:rPr>
              <a:t>Home tab &gt; Arrange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&gt; Selection Pane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or by pressing </a:t>
            </a:r>
            <a:r>
              <a:rPr lang="en-US" sz="1200" b="1" dirty="0">
                <a:solidFill>
                  <a:schemeClr val="tx1"/>
                </a:solidFill>
              </a:rPr>
              <a:t>Alt + F1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9486D1E-F8BD-8DF5-D1C2-1C1D922E9421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Asia and Australasia map</a:t>
            </a:r>
            <a:endParaRPr lang="en-CA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88607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" name="Group 113">
            <a:extLst>
              <a:ext uri="{FF2B5EF4-FFF2-40B4-BE49-F238E27FC236}">
                <a16:creationId xmlns:a16="http://schemas.microsoft.com/office/drawing/2014/main" id="{C22E9BBE-EBD7-4D01-B664-5C791530D3D2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724400" y="713889"/>
            <a:ext cx="7467600" cy="5585311"/>
            <a:chOff x="4433581" y="606230"/>
            <a:chExt cx="7774816" cy="4732651"/>
          </a:xfrm>
          <a:solidFill>
            <a:schemeClr val="bg1">
              <a:lumMod val="85000"/>
            </a:schemeClr>
          </a:solidFill>
        </p:grpSpPr>
        <p:grpSp>
          <p:nvGrpSpPr>
            <p:cNvPr id="115" name="Russia">
              <a:extLst>
                <a:ext uri="{FF2B5EF4-FFF2-40B4-BE49-F238E27FC236}">
                  <a16:creationId xmlns:a16="http://schemas.microsoft.com/office/drawing/2014/main" id="{B7B8D79B-8C92-4539-B2DB-51D6C64BD1E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014630" y="606230"/>
              <a:ext cx="5193767" cy="3990800"/>
              <a:chOff x="2888" y="1429"/>
              <a:chExt cx="1904" cy="1463"/>
            </a:xfrm>
            <a:grpFill/>
          </p:grpSpPr>
          <p:sp>
            <p:nvSpPr>
              <p:cNvPr id="159" name="Freeform 5">
                <a:extLst>
                  <a:ext uri="{FF2B5EF4-FFF2-40B4-BE49-F238E27FC236}">
                    <a16:creationId xmlns:a16="http://schemas.microsoft.com/office/drawing/2014/main" id="{0858EF6D-C21C-4C73-96AD-6F28DA045F53}"/>
                  </a:ext>
                </a:extLst>
              </p:cNvPr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3250" y="2457"/>
                <a:ext cx="5" cy="3"/>
              </a:xfrm>
              <a:custGeom>
                <a:avLst/>
                <a:gdLst>
                  <a:gd name="T0" fmla="*/ 0 w 5"/>
                  <a:gd name="T1" fmla="*/ 0 h 3"/>
                  <a:gd name="T2" fmla="*/ 5 w 5"/>
                  <a:gd name="T3" fmla="*/ 3 h 3"/>
                  <a:gd name="T4" fmla="*/ 2 w 5"/>
                  <a:gd name="T5" fmla="*/ 0 h 3"/>
                  <a:gd name="T6" fmla="*/ 0 w 5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3">
                    <a:moveTo>
                      <a:pt x="0" y="0"/>
                    </a:moveTo>
                    <a:lnTo>
                      <a:pt x="5" y="3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  <p:sp>
            <p:nvSpPr>
              <p:cNvPr id="160" name="Freeform 6">
                <a:extLst>
                  <a:ext uri="{FF2B5EF4-FFF2-40B4-BE49-F238E27FC236}">
                    <a16:creationId xmlns:a16="http://schemas.microsoft.com/office/drawing/2014/main" id="{E141A0EF-57CB-4D57-A873-B473E0D3B387}"/>
                  </a:ext>
                </a:extLst>
              </p:cNvPr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2888" y="2334"/>
                <a:ext cx="89" cy="37"/>
              </a:xfrm>
              <a:custGeom>
                <a:avLst/>
                <a:gdLst>
                  <a:gd name="T0" fmla="*/ 82 w 89"/>
                  <a:gd name="T1" fmla="*/ 4 h 37"/>
                  <a:gd name="T2" fmla="*/ 76 w 89"/>
                  <a:gd name="T3" fmla="*/ 4 h 37"/>
                  <a:gd name="T4" fmla="*/ 70 w 89"/>
                  <a:gd name="T5" fmla="*/ 7 h 37"/>
                  <a:gd name="T6" fmla="*/ 57 w 89"/>
                  <a:gd name="T7" fmla="*/ 7 h 37"/>
                  <a:gd name="T8" fmla="*/ 55 w 89"/>
                  <a:gd name="T9" fmla="*/ 4 h 37"/>
                  <a:gd name="T10" fmla="*/ 49 w 89"/>
                  <a:gd name="T11" fmla="*/ 4 h 37"/>
                  <a:gd name="T12" fmla="*/ 49 w 89"/>
                  <a:gd name="T13" fmla="*/ 0 h 37"/>
                  <a:gd name="T14" fmla="*/ 42 w 89"/>
                  <a:gd name="T15" fmla="*/ 0 h 37"/>
                  <a:gd name="T16" fmla="*/ 42 w 89"/>
                  <a:gd name="T17" fmla="*/ 4 h 37"/>
                  <a:gd name="T18" fmla="*/ 37 w 89"/>
                  <a:gd name="T19" fmla="*/ 10 h 37"/>
                  <a:gd name="T20" fmla="*/ 5 w 89"/>
                  <a:gd name="T21" fmla="*/ 10 h 37"/>
                  <a:gd name="T22" fmla="*/ 0 w 89"/>
                  <a:gd name="T23" fmla="*/ 17 h 37"/>
                  <a:gd name="T24" fmla="*/ 0 w 89"/>
                  <a:gd name="T25" fmla="*/ 19 h 37"/>
                  <a:gd name="T26" fmla="*/ 5 w 89"/>
                  <a:gd name="T27" fmla="*/ 25 h 37"/>
                  <a:gd name="T28" fmla="*/ 3 w 89"/>
                  <a:gd name="T29" fmla="*/ 32 h 37"/>
                  <a:gd name="T30" fmla="*/ 5 w 89"/>
                  <a:gd name="T31" fmla="*/ 34 h 37"/>
                  <a:gd name="T32" fmla="*/ 10 w 89"/>
                  <a:gd name="T33" fmla="*/ 34 h 37"/>
                  <a:gd name="T34" fmla="*/ 12 w 89"/>
                  <a:gd name="T35" fmla="*/ 32 h 37"/>
                  <a:gd name="T36" fmla="*/ 25 w 89"/>
                  <a:gd name="T37" fmla="*/ 32 h 37"/>
                  <a:gd name="T38" fmla="*/ 27 w 89"/>
                  <a:gd name="T39" fmla="*/ 34 h 37"/>
                  <a:gd name="T40" fmla="*/ 33 w 89"/>
                  <a:gd name="T41" fmla="*/ 34 h 37"/>
                  <a:gd name="T42" fmla="*/ 37 w 89"/>
                  <a:gd name="T43" fmla="*/ 37 h 37"/>
                  <a:gd name="T44" fmla="*/ 82 w 89"/>
                  <a:gd name="T45" fmla="*/ 37 h 37"/>
                  <a:gd name="T46" fmla="*/ 82 w 89"/>
                  <a:gd name="T47" fmla="*/ 34 h 37"/>
                  <a:gd name="T48" fmla="*/ 86 w 89"/>
                  <a:gd name="T49" fmla="*/ 34 h 37"/>
                  <a:gd name="T50" fmla="*/ 82 w 89"/>
                  <a:gd name="T51" fmla="*/ 25 h 37"/>
                  <a:gd name="T52" fmla="*/ 89 w 89"/>
                  <a:gd name="T53" fmla="*/ 19 h 37"/>
                  <a:gd name="T54" fmla="*/ 89 w 89"/>
                  <a:gd name="T55" fmla="*/ 10 h 37"/>
                  <a:gd name="T56" fmla="*/ 86 w 89"/>
                  <a:gd name="T57" fmla="*/ 4 h 37"/>
                  <a:gd name="T58" fmla="*/ 82 w 89"/>
                  <a:gd name="T59" fmla="*/ 4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89" h="37">
                    <a:moveTo>
                      <a:pt x="82" y="4"/>
                    </a:moveTo>
                    <a:lnTo>
                      <a:pt x="76" y="4"/>
                    </a:lnTo>
                    <a:lnTo>
                      <a:pt x="70" y="7"/>
                    </a:lnTo>
                    <a:lnTo>
                      <a:pt x="57" y="7"/>
                    </a:lnTo>
                    <a:lnTo>
                      <a:pt x="55" y="4"/>
                    </a:lnTo>
                    <a:lnTo>
                      <a:pt x="49" y="4"/>
                    </a:lnTo>
                    <a:lnTo>
                      <a:pt x="49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37" y="10"/>
                    </a:lnTo>
                    <a:lnTo>
                      <a:pt x="5" y="10"/>
                    </a:lnTo>
                    <a:lnTo>
                      <a:pt x="0" y="17"/>
                    </a:lnTo>
                    <a:lnTo>
                      <a:pt x="0" y="19"/>
                    </a:lnTo>
                    <a:lnTo>
                      <a:pt x="5" y="25"/>
                    </a:lnTo>
                    <a:lnTo>
                      <a:pt x="3" y="32"/>
                    </a:lnTo>
                    <a:lnTo>
                      <a:pt x="5" y="34"/>
                    </a:lnTo>
                    <a:lnTo>
                      <a:pt x="10" y="34"/>
                    </a:lnTo>
                    <a:lnTo>
                      <a:pt x="12" y="32"/>
                    </a:lnTo>
                    <a:lnTo>
                      <a:pt x="25" y="32"/>
                    </a:lnTo>
                    <a:lnTo>
                      <a:pt x="27" y="34"/>
                    </a:lnTo>
                    <a:lnTo>
                      <a:pt x="33" y="34"/>
                    </a:lnTo>
                    <a:lnTo>
                      <a:pt x="37" y="37"/>
                    </a:lnTo>
                    <a:lnTo>
                      <a:pt x="82" y="37"/>
                    </a:lnTo>
                    <a:lnTo>
                      <a:pt x="82" y="34"/>
                    </a:lnTo>
                    <a:lnTo>
                      <a:pt x="86" y="34"/>
                    </a:lnTo>
                    <a:lnTo>
                      <a:pt x="82" y="25"/>
                    </a:lnTo>
                    <a:lnTo>
                      <a:pt x="89" y="19"/>
                    </a:lnTo>
                    <a:lnTo>
                      <a:pt x="89" y="10"/>
                    </a:lnTo>
                    <a:lnTo>
                      <a:pt x="86" y="4"/>
                    </a:lnTo>
                    <a:lnTo>
                      <a:pt x="82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  <p:sp>
            <p:nvSpPr>
              <p:cNvPr id="161" name="Freeform 7">
                <a:extLst>
                  <a:ext uri="{FF2B5EF4-FFF2-40B4-BE49-F238E27FC236}">
                    <a16:creationId xmlns:a16="http://schemas.microsoft.com/office/drawing/2014/main" id="{AA49D352-B6A6-4EDA-AA35-1BF2A977A922}"/>
                  </a:ext>
                </a:extLst>
              </p:cNvPr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3080" y="1545"/>
                <a:ext cx="1712" cy="1347"/>
              </a:xfrm>
              <a:custGeom>
                <a:avLst/>
                <a:gdLst>
                  <a:gd name="T0" fmla="*/ 1593 w 1712"/>
                  <a:gd name="T1" fmla="*/ 57 h 1347"/>
                  <a:gd name="T2" fmla="*/ 1434 w 1712"/>
                  <a:gd name="T3" fmla="*/ 67 h 1347"/>
                  <a:gd name="T4" fmla="*/ 1333 w 1712"/>
                  <a:gd name="T5" fmla="*/ 128 h 1347"/>
                  <a:gd name="T6" fmla="*/ 1327 w 1712"/>
                  <a:gd name="T7" fmla="*/ 170 h 1347"/>
                  <a:gd name="T8" fmla="*/ 1259 w 1712"/>
                  <a:gd name="T9" fmla="*/ 167 h 1347"/>
                  <a:gd name="T10" fmla="*/ 1238 w 1712"/>
                  <a:gd name="T11" fmla="*/ 201 h 1347"/>
                  <a:gd name="T12" fmla="*/ 1177 w 1712"/>
                  <a:gd name="T13" fmla="*/ 180 h 1347"/>
                  <a:gd name="T14" fmla="*/ 1174 w 1712"/>
                  <a:gd name="T15" fmla="*/ 258 h 1347"/>
                  <a:gd name="T16" fmla="*/ 1320 w 1712"/>
                  <a:gd name="T17" fmla="*/ 307 h 1347"/>
                  <a:gd name="T18" fmla="*/ 1296 w 1712"/>
                  <a:gd name="T19" fmla="*/ 302 h 1347"/>
                  <a:gd name="T20" fmla="*/ 1244 w 1712"/>
                  <a:gd name="T21" fmla="*/ 320 h 1347"/>
                  <a:gd name="T22" fmla="*/ 1106 w 1712"/>
                  <a:gd name="T23" fmla="*/ 359 h 1347"/>
                  <a:gd name="T24" fmla="*/ 1195 w 1712"/>
                  <a:gd name="T25" fmla="*/ 298 h 1347"/>
                  <a:gd name="T26" fmla="*/ 1106 w 1712"/>
                  <a:gd name="T27" fmla="*/ 177 h 1347"/>
                  <a:gd name="T28" fmla="*/ 1030 w 1712"/>
                  <a:gd name="T29" fmla="*/ 265 h 1347"/>
                  <a:gd name="T30" fmla="*/ 938 w 1712"/>
                  <a:gd name="T31" fmla="*/ 268 h 1347"/>
                  <a:gd name="T32" fmla="*/ 852 w 1712"/>
                  <a:gd name="T33" fmla="*/ 280 h 1347"/>
                  <a:gd name="T34" fmla="*/ 739 w 1712"/>
                  <a:gd name="T35" fmla="*/ 292 h 1347"/>
                  <a:gd name="T36" fmla="*/ 628 w 1712"/>
                  <a:gd name="T37" fmla="*/ 307 h 1347"/>
                  <a:gd name="T38" fmla="*/ 454 w 1712"/>
                  <a:gd name="T39" fmla="*/ 347 h 1347"/>
                  <a:gd name="T40" fmla="*/ 421 w 1712"/>
                  <a:gd name="T41" fmla="*/ 305 h 1347"/>
                  <a:gd name="T42" fmla="*/ 362 w 1712"/>
                  <a:gd name="T43" fmla="*/ 384 h 1347"/>
                  <a:gd name="T44" fmla="*/ 338 w 1712"/>
                  <a:gd name="T45" fmla="*/ 440 h 1347"/>
                  <a:gd name="T46" fmla="*/ 258 w 1712"/>
                  <a:gd name="T47" fmla="*/ 445 h 1347"/>
                  <a:gd name="T48" fmla="*/ 185 w 1712"/>
                  <a:gd name="T49" fmla="*/ 415 h 1347"/>
                  <a:gd name="T50" fmla="*/ 175 w 1712"/>
                  <a:gd name="T51" fmla="*/ 359 h 1347"/>
                  <a:gd name="T52" fmla="*/ 316 w 1712"/>
                  <a:gd name="T53" fmla="*/ 317 h 1347"/>
                  <a:gd name="T54" fmla="*/ 81 w 1712"/>
                  <a:gd name="T55" fmla="*/ 243 h 1347"/>
                  <a:gd name="T56" fmla="*/ 3 w 1712"/>
                  <a:gd name="T57" fmla="*/ 307 h 1347"/>
                  <a:gd name="T58" fmla="*/ 40 w 1712"/>
                  <a:gd name="T59" fmla="*/ 374 h 1347"/>
                  <a:gd name="T60" fmla="*/ 69 w 1712"/>
                  <a:gd name="T61" fmla="*/ 435 h 1347"/>
                  <a:gd name="T62" fmla="*/ 86 w 1712"/>
                  <a:gd name="T63" fmla="*/ 536 h 1347"/>
                  <a:gd name="T64" fmla="*/ 37 w 1712"/>
                  <a:gd name="T65" fmla="*/ 631 h 1347"/>
                  <a:gd name="T66" fmla="*/ 44 w 1712"/>
                  <a:gd name="T67" fmla="*/ 713 h 1347"/>
                  <a:gd name="T68" fmla="*/ 121 w 1712"/>
                  <a:gd name="T69" fmla="*/ 765 h 1347"/>
                  <a:gd name="T70" fmla="*/ 197 w 1712"/>
                  <a:gd name="T71" fmla="*/ 853 h 1347"/>
                  <a:gd name="T72" fmla="*/ 200 w 1712"/>
                  <a:gd name="T73" fmla="*/ 915 h 1347"/>
                  <a:gd name="T74" fmla="*/ 303 w 1712"/>
                  <a:gd name="T75" fmla="*/ 954 h 1347"/>
                  <a:gd name="T76" fmla="*/ 414 w 1712"/>
                  <a:gd name="T77" fmla="*/ 1000 h 1347"/>
                  <a:gd name="T78" fmla="*/ 463 w 1712"/>
                  <a:gd name="T79" fmla="*/ 1055 h 1347"/>
                  <a:gd name="T80" fmla="*/ 448 w 1712"/>
                  <a:gd name="T81" fmla="*/ 1104 h 1347"/>
                  <a:gd name="T82" fmla="*/ 389 w 1712"/>
                  <a:gd name="T83" fmla="*/ 1180 h 1347"/>
                  <a:gd name="T84" fmla="*/ 458 w 1712"/>
                  <a:gd name="T85" fmla="*/ 1232 h 1347"/>
                  <a:gd name="T86" fmla="*/ 616 w 1712"/>
                  <a:gd name="T87" fmla="*/ 1283 h 1347"/>
                  <a:gd name="T88" fmla="*/ 709 w 1712"/>
                  <a:gd name="T89" fmla="*/ 1317 h 1347"/>
                  <a:gd name="T90" fmla="*/ 776 w 1712"/>
                  <a:gd name="T91" fmla="*/ 1308 h 1347"/>
                  <a:gd name="T92" fmla="*/ 724 w 1712"/>
                  <a:gd name="T93" fmla="*/ 1224 h 1347"/>
                  <a:gd name="T94" fmla="*/ 757 w 1712"/>
                  <a:gd name="T95" fmla="*/ 1150 h 1347"/>
                  <a:gd name="T96" fmla="*/ 692 w 1712"/>
                  <a:gd name="T97" fmla="*/ 1064 h 1347"/>
                  <a:gd name="T98" fmla="*/ 712 w 1712"/>
                  <a:gd name="T99" fmla="*/ 988 h 1347"/>
                  <a:gd name="T100" fmla="*/ 766 w 1712"/>
                  <a:gd name="T101" fmla="*/ 930 h 1347"/>
                  <a:gd name="T102" fmla="*/ 892 w 1712"/>
                  <a:gd name="T103" fmla="*/ 949 h 1347"/>
                  <a:gd name="T104" fmla="*/ 1000 w 1712"/>
                  <a:gd name="T105" fmla="*/ 961 h 1347"/>
                  <a:gd name="T106" fmla="*/ 1116 w 1712"/>
                  <a:gd name="T107" fmla="*/ 970 h 1347"/>
                  <a:gd name="T108" fmla="*/ 1079 w 1712"/>
                  <a:gd name="T109" fmla="*/ 885 h 1347"/>
                  <a:gd name="T110" fmla="*/ 1192 w 1712"/>
                  <a:gd name="T111" fmla="*/ 823 h 1347"/>
                  <a:gd name="T112" fmla="*/ 1357 w 1712"/>
                  <a:gd name="T113" fmla="*/ 796 h 1347"/>
                  <a:gd name="T114" fmla="*/ 1455 w 1712"/>
                  <a:gd name="T115" fmla="*/ 851 h 1347"/>
                  <a:gd name="T116" fmla="*/ 1514 w 1712"/>
                  <a:gd name="T117" fmla="*/ 833 h 1347"/>
                  <a:gd name="T118" fmla="*/ 1689 w 1712"/>
                  <a:gd name="T119" fmla="*/ 954 h 1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712" h="1347">
                    <a:moveTo>
                      <a:pt x="1704" y="5"/>
                    </a:moveTo>
                    <a:lnTo>
                      <a:pt x="1689" y="5"/>
                    </a:lnTo>
                    <a:lnTo>
                      <a:pt x="1682" y="8"/>
                    </a:lnTo>
                    <a:lnTo>
                      <a:pt x="1677" y="8"/>
                    </a:lnTo>
                    <a:lnTo>
                      <a:pt x="1670" y="12"/>
                    </a:lnTo>
                    <a:lnTo>
                      <a:pt x="1670" y="15"/>
                    </a:lnTo>
                    <a:lnTo>
                      <a:pt x="1672" y="20"/>
                    </a:lnTo>
                    <a:lnTo>
                      <a:pt x="1685" y="27"/>
                    </a:lnTo>
                    <a:lnTo>
                      <a:pt x="1694" y="33"/>
                    </a:lnTo>
                    <a:lnTo>
                      <a:pt x="1701" y="33"/>
                    </a:lnTo>
                    <a:lnTo>
                      <a:pt x="1704" y="37"/>
                    </a:lnTo>
                    <a:lnTo>
                      <a:pt x="1633" y="33"/>
                    </a:lnTo>
                    <a:lnTo>
                      <a:pt x="1660" y="42"/>
                    </a:lnTo>
                    <a:lnTo>
                      <a:pt x="1633" y="49"/>
                    </a:lnTo>
                    <a:lnTo>
                      <a:pt x="1627" y="52"/>
                    </a:lnTo>
                    <a:lnTo>
                      <a:pt x="1612" y="54"/>
                    </a:lnTo>
                    <a:lnTo>
                      <a:pt x="1593" y="57"/>
                    </a:lnTo>
                    <a:lnTo>
                      <a:pt x="1581" y="57"/>
                    </a:lnTo>
                    <a:lnTo>
                      <a:pt x="1578" y="54"/>
                    </a:lnTo>
                    <a:lnTo>
                      <a:pt x="1581" y="49"/>
                    </a:lnTo>
                    <a:lnTo>
                      <a:pt x="1588" y="42"/>
                    </a:lnTo>
                    <a:lnTo>
                      <a:pt x="1554" y="42"/>
                    </a:lnTo>
                    <a:lnTo>
                      <a:pt x="1547" y="45"/>
                    </a:lnTo>
                    <a:lnTo>
                      <a:pt x="1539" y="45"/>
                    </a:lnTo>
                    <a:lnTo>
                      <a:pt x="1532" y="49"/>
                    </a:lnTo>
                    <a:lnTo>
                      <a:pt x="1526" y="54"/>
                    </a:lnTo>
                    <a:lnTo>
                      <a:pt x="1517" y="54"/>
                    </a:lnTo>
                    <a:lnTo>
                      <a:pt x="1502" y="57"/>
                    </a:lnTo>
                    <a:lnTo>
                      <a:pt x="1480" y="57"/>
                    </a:lnTo>
                    <a:lnTo>
                      <a:pt x="1465" y="61"/>
                    </a:lnTo>
                    <a:lnTo>
                      <a:pt x="1458" y="64"/>
                    </a:lnTo>
                    <a:lnTo>
                      <a:pt x="1450" y="64"/>
                    </a:lnTo>
                    <a:lnTo>
                      <a:pt x="1443" y="67"/>
                    </a:lnTo>
                    <a:lnTo>
                      <a:pt x="1434" y="67"/>
                    </a:lnTo>
                    <a:lnTo>
                      <a:pt x="1431" y="69"/>
                    </a:lnTo>
                    <a:lnTo>
                      <a:pt x="1428" y="69"/>
                    </a:lnTo>
                    <a:lnTo>
                      <a:pt x="1406" y="86"/>
                    </a:lnTo>
                    <a:lnTo>
                      <a:pt x="1397" y="86"/>
                    </a:lnTo>
                    <a:lnTo>
                      <a:pt x="1394" y="88"/>
                    </a:lnTo>
                    <a:lnTo>
                      <a:pt x="1391" y="88"/>
                    </a:lnTo>
                    <a:lnTo>
                      <a:pt x="1389" y="91"/>
                    </a:lnTo>
                    <a:lnTo>
                      <a:pt x="1391" y="94"/>
                    </a:lnTo>
                    <a:lnTo>
                      <a:pt x="1401" y="101"/>
                    </a:lnTo>
                    <a:lnTo>
                      <a:pt x="1406" y="106"/>
                    </a:lnTo>
                    <a:lnTo>
                      <a:pt x="1416" y="109"/>
                    </a:lnTo>
                    <a:lnTo>
                      <a:pt x="1419" y="113"/>
                    </a:lnTo>
                    <a:lnTo>
                      <a:pt x="1421" y="113"/>
                    </a:lnTo>
                    <a:lnTo>
                      <a:pt x="1401" y="118"/>
                    </a:lnTo>
                    <a:lnTo>
                      <a:pt x="1389" y="125"/>
                    </a:lnTo>
                    <a:lnTo>
                      <a:pt x="1337" y="125"/>
                    </a:lnTo>
                    <a:lnTo>
                      <a:pt x="1333" y="128"/>
                    </a:lnTo>
                    <a:lnTo>
                      <a:pt x="1315" y="121"/>
                    </a:lnTo>
                    <a:lnTo>
                      <a:pt x="1305" y="125"/>
                    </a:lnTo>
                    <a:lnTo>
                      <a:pt x="1278" y="125"/>
                    </a:lnTo>
                    <a:lnTo>
                      <a:pt x="1275" y="128"/>
                    </a:lnTo>
                    <a:lnTo>
                      <a:pt x="1275" y="137"/>
                    </a:lnTo>
                    <a:lnTo>
                      <a:pt x="1278" y="143"/>
                    </a:lnTo>
                    <a:lnTo>
                      <a:pt x="1283" y="150"/>
                    </a:lnTo>
                    <a:lnTo>
                      <a:pt x="1288" y="150"/>
                    </a:lnTo>
                    <a:lnTo>
                      <a:pt x="1290" y="152"/>
                    </a:lnTo>
                    <a:lnTo>
                      <a:pt x="1293" y="158"/>
                    </a:lnTo>
                    <a:lnTo>
                      <a:pt x="1296" y="162"/>
                    </a:lnTo>
                    <a:lnTo>
                      <a:pt x="1300" y="162"/>
                    </a:lnTo>
                    <a:lnTo>
                      <a:pt x="1303" y="165"/>
                    </a:lnTo>
                    <a:lnTo>
                      <a:pt x="1308" y="165"/>
                    </a:lnTo>
                    <a:lnTo>
                      <a:pt x="1315" y="167"/>
                    </a:lnTo>
                    <a:lnTo>
                      <a:pt x="1320" y="167"/>
                    </a:lnTo>
                    <a:lnTo>
                      <a:pt x="1327" y="170"/>
                    </a:lnTo>
                    <a:lnTo>
                      <a:pt x="1337" y="170"/>
                    </a:lnTo>
                    <a:lnTo>
                      <a:pt x="1345" y="174"/>
                    </a:lnTo>
                    <a:lnTo>
                      <a:pt x="1352" y="174"/>
                    </a:lnTo>
                    <a:lnTo>
                      <a:pt x="1357" y="177"/>
                    </a:lnTo>
                    <a:lnTo>
                      <a:pt x="1361" y="177"/>
                    </a:lnTo>
                    <a:lnTo>
                      <a:pt x="1367" y="182"/>
                    </a:lnTo>
                    <a:lnTo>
                      <a:pt x="1367" y="185"/>
                    </a:lnTo>
                    <a:lnTo>
                      <a:pt x="1369" y="189"/>
                    </a:lnTo>
                    <a:lnTo>
                      <a:pt x="1354" y="189"/>
                    </a:lnTo>
                    <a:lnTo>
                      <a:pt x="1345" y="192"/>
                    </a:lnTo>
                    <a:lnTo>
                      <a:pt x="1339" y="192"/>
                    </a:lnTo>
                    <a:lnTo>
                      <a:pt x="1320" y="182"/>
                    </a:lnTo>
                    <a:lnTo>
                      <a:pt x="1303" y="177"/>
                    </a:lnTo>
                    <a:lnTo>
                      <a:pt x="1290" y="174"/>
                    </a:lnTo>
                    <a:lnTo>
                      <a:pt x="1281" y="170"/>
                    </a:lnTo>
                    <a:lnTo>
                      <a:pt x="1268" y="170"/>
                    </a:lnTo>
                    <a:lnTo>
                      <a:pt x="1259" y="167"/>
                    </a:lnTo>
                    <a:lnTo>
                      <a:pt x="1238" y="167"/>
                    </a:lnTo>
                    <a:lnTo>
                      <a:pt x="1236" y="170"/>
                    </a:lnTo>
                    <a:lnTo>
                      <a:pt x="1236" y="177"/>
                    </a:lnTo>
                    <a:lnTo>
                      <a:pt x="1238" y="180"/>
                    </a:lnTo>
                    <a:lnTo>
                      <a:pt x="1241" y="180"/>
                    </a:lnTo>
                    <a:lnTo>
                      <a:pt x="1248" y="185"/>
                    </a:lnTo>
                    <a:lnTo>
                      <a:pt x="1229" y="185"/>
                    </a:lnTo>
                    <a:lnTo>
                      <a:pt x="1223" y="180"/>
                    </a:lnTo>
                    <a:lnTo>
                      <a:pt x="1214" y="180"/>
                    </a:lnTo>
                    <a:lnTo>
                      <a:pt x="1211" y="177"/>
                    </a:lnTo>
                    <a:lnTo>
                      <a:pt x="1199" y="177"/>
                    </a:lnTo>
                    <a:lnTo>
                      <a:pt x="1199" y="180"/>
                    </a:lnTo>
                    <a:lnTo>
                      <a:pt x="1202" y="189"/>
                    </a:lnTo>
                    <a:lnTo>
                      <a:pt x="1204" y="194"/>
                    </a:lnTo>
                    <a:lnTo>
                      <a:pt x="1211" y="197"/>
                    </a:lnTo>
                    <a:lnTo>
                      <a:pt x="1219" y="201"/>
                    </a:lnTo>
                    <a:lnTo>
                      <a:pt x="1238" y="201"/>
                    </a:lnTo>
                    <a:lnTo>
                      <a:pt x="1248" y="204"/>
                    </a:lnTo>
                    <a:lnTo>
                      <a:pt x="1259" y="204"/>
                    </a:lnTo>
                    <a:lnTo>
                      <a:pt x="1266" y="207"/>
                    </a:lnTo>
                    <a:lnTo>
                      <a:pt x="1268" y="214"/>
                    </a:lnTo>
                    <a:lnTo>
                      <a:pt x="1275" y="216"/>
                    </a:lnTo>
                    <a:lnTo>
                      <a:pt x="1259" y="216"/>
                    </a:lnTo>
                    <a:lnTo>
                      <a:pt x="1256" y="214"/>
                    </a:lnTo>
                    <a:lnTo>
                      <a:pt x="1251" y="209"/>
                    </a:lnTo>
                    <a:lnTo>
                      <a:pt x="1223" y="209"/>
                    </a:lnTo>
                    <a:lnTo>
                      <a:pt x="1217" y="207"/>
                    </a:lnTo>
                    <a:lnTo>
                      <a:pt x="1202" y="207"/>
                    </a:lnTo>
                    <a:lnTo>
                      <a:pt x="1199" y="201"/>
                    </a:lnTo>
                    <a:lnTo>
                      <a:pt x="1187" y="201"/>
                    </a:lnTo>
                    <a:lnTo>
                      <a:pt x="1182" y="192"/>
                    </a:lnTo>
                    <a:lnTo>
                      <a:pt x="1167" y="185"/>
                    </a:lnTo>
                    <a:lnTo>
                      <a:pt x="1170" y="182"/>
                    </a:lnTo>
                    <a:lnTo>
                      <a:pt x="1177" y="180"/>
                    </a:lnTo>
                    <a:lnTo>
                      <a:pt x="1180" y="177"/>
                    </a:lnTo>
                    <a:lnTo>
                      <a:pt x="1180" y="170"/>
                    </a:lnTo>
                    <a:lnTo>
                      <a:pt x="1165" y="155"/>
                    </a:lnTo>
                    <a:lnTo>
                      <a:pt x="1158" y="152"/>
                    </a:lnTo>
                    <a:lnTo>
                      <a:pt x="1143" y="152"/>
                    </a:lnTo>
                    <a:lnTo>
                      <a:pt x="1150" y="155"/>
                    </a:lnTo>
                    <a:lnTo>
                      <a:pt x="1162" y="167"/>
                    </a:lnTo>
                    <a:lnTo>
                      <a:pt x="1155" y="174"/>
                    </a:lnTo>
                    <a:lnTo>
                      <a:pt x="1143" y="180"/>
                    </a:lnTo>
                    <a:lnTo>
                      <a:pt x="1137" y="180"/>
                    </a:lnTo>
                    <a:lnTo>
                      <a:pt x="1128" y="201"/>
                    </a:lnTo>
                    <a:lnTo>
                      <a:pt x="1165" y="219"/>
                    </a:lnTo>
                    <a:lnTo>
                      <a:pt x="1174" y="219"/>
                    </a:lnTo>
                    <a:lnTo>
                      <a:pt x="1174" y="238"/>
                    </a:lnTo>
                    <a:lnTo>
                      <a:pt x="1170" y="243"/>
                    </a:lnTo>
                    <a:lnTo>
                      <a:pt x="1170" y="250"/>
                    </a:lnTo>
                    <a:lnTo>
                      <a:pt x="1174" y="258"/>
                    </a:lnTo>
                    <a:lnTo>
                      <a:pt x="1192" y="263"/>
                    </a:lnTo>
                    <a:lnTo>
                      <a:pt x="1192" y="273"/>
                    </a:lnTo>
                    <a:lnTo>
                      <a:pt x="1223" y="280"/>
                    </a:lnTo>
                    <a:lnTo>
                      <a:pt x="1226" y="280"/>
                    </a:lnTo>
                    <a:lnTo>
                      <a:pt x="1229" y="278"/>
                    </a:lnTo>
                    <a:lnTo>
                      <a:pt x="1236" y="278"/>
                    </a:lnTo>
                    <a:lnTo>
                      <a:pt x="1244" y="273"/>
                    </a:lnTo>
                    <a:lnTo>
                      <a:pt x="1263" y="273"/>
                    </a:lnTo>
                    <a:lnTo>
                      <a:pt x="1271" y="278"/>
                    </a:lnTo>
                    <a:lnTo>
                      <a:pt x="1275" y="280"/>
                    </a:lnTo>
                    <a:lnTo>
                      <a:pt x="1281" y="283"/>
                    </a:lnTo>
                    <a:lnTo>
                      <a:pt x="1290" y="283"/>
                    </a:lnTo>
                    <a:lnTo>
                      <a:pt x="1296" y="286"/>
                    </a:lnTo>
                    <a:lnTo>
                      <a:pt x="1315" y="292"/>
                    </a:lnTo>
                    <a:lnTo>
                      <a:pt x="1327" y="305"/>
                    </a:lnTo>
                    <a:lnTo>
                      <a:pt x="1327" y="307"/>
                    </a:lnTo>
                    <a:lnTo>
                      <a:pt x="1320" y="307"/>
                    </a:lnTo>
                    <a:lnTo>
                      <a:pt x="1318" y="310"/>
                    </a:lnTo>
                    <a:lnTo>
                      <a:pt x="1312" y="310"/>
                    </a:lnTo>
                    <a:lnTo>
                      <a:pt x="1308" y="314"/>
                    </a:lnTo>
                    <a:lnTo>
                      <a:pt x="1312" y="317"/>
                    </a:lnTo>
                    <a:lnTo>
                      <a:pt x="1318" y="320"/>
                    </a:lnTo>
                    <a:lnTo>
                      <a:pt x="1327" y="329"/>
                    </a:lnTo>
                    <a:lnTo>
                      <a:pt x="1352" y="329"/>
                    </a:lnTo>
                    <a:lnTo>
                      <a:pt x="1345" y="332"/>
                    </a:lnTo>
                    <a:lnTo>
                      <a:pt x="1342" y="332"/>
                    </a:lnTo>
                    <a:lnTo>
                      <a:pt x="1337" y="335"/>
                    </a:lnTo>
                    <a:lnTo>
                      <a:pt x="1324" y="335"/>
                    </a:lnTo>
                    <a:lnTo>
                      <a:pt x="1318" y="332"/>
                    </a:lnTo>
                    <a:lnTo>
                      <a:pt x="1315" y="329"/>
                    </a:lnTo>
                    <a:lnTo>
                      <a:pt x="1308" y="327"/>
                    </a:lnTo>
                    <a:lnTo>
                      <a:pt x="1308" y="320"/>
                    </a:lnTo>
                    <a:lnTo>
                      <a:pt x="1303" y="307"/>
                    </a:lnTo>
                    <a:lnTo>
                      <a:pt x="1296" y="302"/>
                    </a:lnTo>
                    <a:lnTo>
                      <a:pt x="1283" y="295"/>
                    </a:lnTo>
                    <a:lnTo>
                      <a:pt x="1281" y="292"/>
                    </a:lnTo>
                    <a:lnTo>
                      <a:pt x="1278" y="292"/>
                    </a:lnTo>
                    <a:lnTo>
                      <a:pt x="1275" y="290"/>
                    </a:lnTo>
                    <a:lnTo>
                      <a:pt x="1275" y="283"/>
                    </a:lnTo>
                    <a:lnTo>
                      <a:pt x="1271" y="280"/>
                    </a:lnTo>
                    <a:lnTo>
                      <a:pt x="1259" y="280"/>
                    </a:lnTo>
                    <a:lnTo>
                      <a:pt x="1253" y="283"/>
                    </a:lnTo>
                    <a:lnTo>
                      <a:pt x="1244" y="283"/>
                    </a:lnTo>
                    <a:lnTo>
                      <a:pt x="1238" y="286"/>
                    </a:lnTo>
                    <a:lnTo>
                      <a:pt x="1226" y="286"/>
                    </a:lnTo>
                    <a:lnTo>
                      <a:pt x="1217" y="295"/>
                    </a:lnTo>
                    <a:lnTo>
                      <a:pt x="1219" y="298"/>
                    </a:lnTo>
                    <a:lnTo>
                      <a:pt x="1223" y="305"/>
                    </a:lnTo>
                    <a:lnTo>
                      <a:pt x="1229" y="307"/>
                    </a:lnTo>
                    <a:lnTo>
                      <a:pt x="1238" y="317"/>
                    </a:lnTo>
                    <a:lnTo>
                      <a:pt x="1244" y="320"/>
                    </a:lnTo>
                    <a:lnTo>
                      <a:pt x="1244" y="322"/>
                    </a:lnTo>
                    <a:lnTo>
                      <a:pt x="1232" y="335"/>
                    </a:lnTo>
                    <a:lnTo>
                      <a:pt x="1229" y="335"/>
                    </a:lnTo>
                    <a:lnTo>
                      <a:pt x="1226" y="356"/>
                    </a:lnTo>
                    <a:lnTo>
                      <a:pt x="1204" y="366"/>
                    </a:lnTo>
                    <a:lnTo>
                      <a:pt x="1204" y="369"/>
                    </a:lnTo>
                    <a:lnTo>
                      <a:pt x="1202" y="374"/>
                    </a:lnTo>
                    <a:lnTo>
                      <a:pt x="1199" y="378"/>
                    </a:lnTo>
                    <a:lnTo>
                      <a:pt x="1182" y="378"/>
                    </a:lnTo>
                    <a:lnTo>
                      <a:pt x="1177" y="374"/>
                    </a:lnTo>
                    <a:lnTo>
                      <a:pt x="1162" y="374"/>
                    </a:lnTo>
                    <a:lnTo>
                      <a:pt x="1131" y="371"/>
                    </a:lnTo>
                    <a:lnTo>
                      <a:pt x="1128" y="371"/>
                    </a:lnTo>
                    <a:lnTo>
                      <a:pt x="1125" y="369"/>
                    </a:lnTo>
                    <a:lnTo>
                      <a:pt x="1118" y="366"/>
                    </a:lnTo>
                    <a:lnTo>
                      <a:pt x="1113" y="366"/>
                    </a:lnTo>
                    <a:lnTo>
                      <a:pt x="1106" y="359"/>
                    </a:lnTo>
                    <a:lnTo>
                      <a:pt x="1133" y="359"/>
                    </a:lnTo>
                    <a:lnTo>
                      <a:pt x="1143" y="362"/>
                    </a:lnTo>
                    <a:lnTo>
                      <a:pt x="1155" y="354"/>
                    </a:lnTo>
                    <a:lnTo>
                      <a:pt x="1162" y="354"/>
                    </a:lnTo>
                    <a:lnTo>
                      <a:pt x="1167" y="356"/>
                    </a:lnTo>
                    <a:lnTo>
                      <a:pt x="1177" y="356"/>
                    </a:lnTo>
                    <a:lnTo>
                      <a:pt x="1182" y="354"/>
                    </a:lnTo>
                    <a:lnTo>
                      <a:pt x="1182" y="344"/>
                    </a:lnTo>
                    <a:lnTo>
                      <a:pt x="1187" y="339"/>
                    </a:lnTo>
                    <a:lnTo>
                      <a:pt x="1187" y="332"/>
                    </a:lnTo>
                    <a:lnTo>
                      <a:pt x="1199" y="329"/>
                    </a:lnTo>
                    <a:lnTo>
                      <a:pt x="1199" y="317"/>
                    </a:lnTo>
                    <a:lnTo>
                      <a:pt x="1192" y="317"/>
                    </a:lnTo>
                    <a:lnTo>
                      <a:pt x="1195" y="314"/>
                    </a:lnTo>
                    <a:lnTo>
                      <a:pt x="1199" y="307"/>
                    </a:lnTo>
                    <a:lnTo>
                      <a:pt x="1199" y="302"/>
                    </a:lnTo>
                    <a:lnTo>
                      <a:pt x="1195" y="298"/>
                    </a:lnTo>
                    <a:lnTo>
                      <a:pt x="1192" y="298"/>
                    </a:lnTo>
                    <a:lnTo>
                      <a:pt x="1187" y="295"/>
                    </a:lnTo>
                    <a:lnTo>
                      <a:pt x="1177" y="295"/>
                    </a:lnTo>
                    <a:lnTo>
                      <a:pt x="1167" y="292"/>
                    </a:lnTo>
                    <a:lnTo>
                      <a:pt x="1162" y="292"/>
                    </a:lnTo>
                    <a:lnTo>
                      <a:pt x="1152" y="283"/>
                    </a:lnTo>
                    <a:lnTo>
                      <a:pt x="1152" y="263"/>
                    </a:lnTo>
                    <a:lnTo>
                      <a:pt x="1150" y="256"/>
                    </a:lnTo>
                    <a:lnTo>
                      <a:pt x="1143" y="250"/>
                    </a:lnTo>
                    <a:lnTo>
                      <a:pt x="1137" y="246"/>
                    </a:lnTo>
                    <a:lnTo>
                      <a:pt x="1133" y="241"/>
                    </a:lnTo>
                    <a:lnTo>
                      <a:pt x="1131" y="238"/>
                    </a:lnTo>
                    <a:lnTo>
                      <a:pt x="1128" y="219"/>
                    </a:lnTo>
                    <a:lnTo>
                      <a:pt x="1094" y="201"/>
                    </a:lnTo>
                    <a:lnTo>
                      <a:pt x="1101" y="194"/>
                    </a:lnTo>
                    <a:lnTo>
                      <a:pt x="1106" y="182"/>
                    </a:lnTo>
                    <a:lnTo>
                      <a:pt x="1106" y="177"/>
                    </a:lnTo>
                    <a:lnTo>
                      <a:pt x="1103" y="170"/>
                    </a:lnTo>
                    <a:lnTo>
                      <a:pt x="1091" y="158"/>
                    </a:lnTo>
                    <a:lnTo>
                      <a:pt x="1081" y="158"/>
                    </a:lnTo>
                    <a:lnTo>
                      <a:pt x="1076" y="155"/>
                    </a:lnTo>
                    <a:lnTo>
                      <a:pt x="1069" y="155"/>
                    </a:lnTo>
                    <a:lnTo>
                      <a:pt x="1002" y="150"/>
                    </a:lnTo>
                    <a:lnTo>
                      <a:pt x="995" y="165"/>
                    </a:lnTo>
                    <a:lnTo>
                      <a:pt x="1005" y="174"/>
                    </a:lnTo>
                    <a:lnTo>
                      <a:pt x="1000" y="189"/>
                    </a:lnTo>
                    <a:lnTo>
                      <a:pt x="972" y="201"/>
                    </a:lnTo>
                    <a:lnTo>
                      <a:pt x="965" y="216"/>
                    </a:lnTo>
                    <a:lnTo>
                      <a:pt x="985" y="219"/>
                    </a:lnTo>
                    <a:lnTo>
                      <a:pt x="1000" y="243"/>
                    </a:lnTo>
                    <a:lnTo>
                      <a:pt x="993" y="253"/>
                    </a:lnTo>
                    <a:lnTo>
                      <a:pt x="1008" y="265"/>
                    </a:lnTo>
                    <a:lnTo>
                      <a:pt x="1027" y="263"/>
                    </a:lnTo>
                    <a:lnTo>
                      <a:pt x="1030" y="265"/>
                    </a:lnTo>
                    <a:lnTo>
                      <a:pt x="1032" y="271"/>
                    </a:lnTo>
                    <a:lnTo>
                      <a:pt x="1039" y="273"/>
                    </a:lnTo>
                    <a:lnTo>
                      <a:pt x="1042" y="278"/>
                    </a:lnTo>
                    <a:lnTo>
                      <a:pt x="1049" y="280"/>
                    </a:lnTo>
                    <a:lnTo>
                      <a:pt x="1069" y="280"/>
                    </a:lnTo>
                    <a:lnTo>
                      <a:pt x="1066" y="310"/>
                    </a:lnTo>
                    <a:lnTo>
                      <a:pt x="1057" y="298"/>
                    </a:lnTo>
                    <a:lnTo>
                      <a:pt x="1049" y="305"/>
                    </a:lnTo>
                    <a:lnTo>
                      <a:pt x="1042" y="302"/>
                    </a:lnTo>
                    <a:lnTo>
                      <a:pt x="1027" y="292"/>
                    </a:lnTo>
                    <a:lnTo>
                      <a:pt x="1008" y="286"/>
                    </a:lnTo>
                    <a:lnTo>
                      <a:pt x="995" y="280"/>
                    </a:lnTo>
                    <a:lnTo>
                      <a:pt x="965" y="280"/>
                    </a:lnTo>
                    <a:lnTo>
                      <a:pt x="956" y="271"/>
                    </a:lnTo>
                    <a:lnTo>
                      <a:pt x="953" y="280"/>
                    </a:lnTo>
                    <a:lnTo>
                      <a:pt x="941" y="268"/>
                    </a:lnTo>
                    <a:lnTo>
                      <a:pt x="938" y="268"/>
                    </a:lnTo>
                    <a:lnTo>
                      <a:pt x="935" y="265"/>
                    </a:lnTo>
                    <a:lnTo>
                      <a:pt x="929" y="263"/>
                    </a:lnTo>
                    <a:lnTo>
                      <a:pt x="919" y="263"/>
                    </a:lnTo>
                    <a:lnTo>
                      <a:pt x="907" y="256"/>
                    </a:lnTo>
                    <a:lnTo>
                      <a:pt x="894" y="256"/>
                    </a:lnTo>
                    <a:lnTo>
                      <a:pt x="889" y="258"/>
                    </a:lnTo>
                    <a:lnTo>
                      <a:pt x="874" y="258"/>
                    </a:lnTo>
                    <a:lnTo>
                      <a:pt x="867" y="256"/>
                    </a:lnTo>
                    <a:lnTo>
                      <a:pt x="840" y="256"/>
                    </a:lnTo>
                    <a:lnTo>
                      <a:pt x="837" y="258"/>
                    </a:lnTo>
                    <a:lnTo>
                      <a:pt x="834" y="258"/>
                    </a:lnTo>
                    <a:lnTo>
                      <a:pt x="830" y="263"/>
                    </a:lnTo>
                    <a:lnTo>
                      <a:pt x="830" y="265"/>
                    </a:lnTo>
                    <a:lnTo>
                      <a:pt x="837" y="271"/>
                    </a:lnTo>
                    <a:lnTo>
                      <a:pt x="843" y="273"/>
                    </a:lnTo>
                    <a:lnTo>
                      <a:pt x="849" y="280"/>
                    </a:lnTo>
                    <a:lnTo>
                      <a:pt x="852" y="280"/>
                    </a:lnTo>
                    <a:lnTo>
                      <a:pt x="840" y="295"/>
                    </a:lnTo>
                    <a:lnTo>
                      <a:pt x="834" y="290"/>
                    </a:lnTo>
                    <a:lnTo>
                      <a:pt x="834" y="305"/>
                    </a:lnTo>
                    <a:lnTo>
                      <a:pt x="828" y="305"/>
                    </a:lnTo>
                    <a:lnTo>
                      <a:pt x="822" y="302"/>
                    </a:lnTo>
                    <a:lnTo>
                      <a:pt x="818" y="302"/>
                    </a:lnTo>
                    <a:lnTo>
                      <a:pt x="815" y="298"/>
                    </a:lnTo>
                    <a:lnTo>
                      <a:pt x="815" y="283"/>
                    </a:lnTo>
                    <a:lnTo>
                      <a:pt x="813" y="280"/>
                    </a:lnTo>
                    <a:lnTo>
                      <a:pt x="803" y="280"/>
                    </a:lnTo>
                    <a:lnTo>
                      <a:pt x="798" y="283"/>
                    </a:lnTo>
                    <a:lnTo>
                      <a:pt x="788" y="286"/>
                    </a:lnTo>
                    <a:lnTo>
                      <a:pt x="781" y="292"/>
                    </a:lnTo>
                    <a:lnTo>
                      <a:pt x="769" y="298"/>
                    </a:lnTo>
                    <a:lnTo>
                      <a:pt x="761" y="298"/>
                    </a:lnTo>
                    <a:lnTo>
                      <a:pt x="748" y="292"/>
                    </a:lnTo>
                    <a:lnTo>
                      <a:pt x="739" y="292"/>
                    </a:lnTo>
                    <a:lnTo>
                      <a:pt x="727" y="295"/>
                    </a:lnTo>
                    <a:lnTo>
                      <a:pt x="717" y="298"/>
                    </a:lnTo>
                    <a:lnTo>
                      <a:pt x="709" y="305"/>
                    </a:lnTo>
                    <a:lnTo>
                      <a:pt x="702" y="307"/>
                    </a:lnTo>
                    <a:lnTo>
                      <a:pt x="699" y="310"/>
                    </a:lnTo>
                    <a:lnTo>
                      <a:pt x="665" y="310"/>
                    </a:lnTo>
                    <a:lnTo>
                      <a:pt x="672" y="298"/>
                    </a:lnTo>
                    <a:lnTo>
                      <a:pt x="672" y="280"/>
                    </a:lnTo>
                    <a:lnTo>
                      <a:pt x="665" y="280"/>
                    </a:lnTo>
                    <a:lnTo>
                      <a:pt x="660" y="283"/>
                    </a:lnTo>
                    <a:lnTo>
                      <a:pt x="650" y="286"/>
                    </a:lnTo>
                    <a:lnTo>
                      <a:pt x="643" y="286"/>
                    </a:lnTo>
                    <a:lnTo>
                      <a:pt x="638" y="292"/>
                    </a:lnTo>
                    <a:lnTo>
                      <a:pt x="638" y="298"/>
                    </a:lnTo>
                    <a:lnTo>
                      <a:pt x="641" y="302"/>
                    </a:lnTo>
                    <a:lnTo>
                      <a:pt x="641" y="305"/>
                    </a:lnTo>
                    <a:lnTo>
                      <a:pt x="628" y="307"/>
                    </a:lnTo>
                    <a:lnTo>
                      <a:pt x="628" y="295"/>
                    </a:lnTo>
                    <a:lnTo>
                      <a:pt x="616" y="298"/>
                    </a:lnTo>
                    <a:lnTo>
                      <a:pt x="589" y="302"/>
                    </a:lnTo>
                    <a:lnTo>
                      <a:pt x="567" y="317"/>
                    </a:lnTo>
                    <a:lnTo>
                      <a:pt x="542" y="320"/>
                    </a:lnTo>
                    <a:lnTo>
                      <a:pt x="549" y="329"/>
                    </a:lnTo>
                    <a:lnTo>
                      <a:pt x="542" y="329"/>
                    </a:lnTo>
                    <a:lnTo>
                      <a:pt x="537" y="327"/>
                    </a:lnTo>
                    <a:lnTo>
                      <a:pt x="534" y="327"/>
                    </a:lnTo>
                    <a:lnTo>
                      <a:pt x="527" y="329"/>
                    </a:lnTo>
                    <a:lnTo>
                      <a:pt x="525" y="332"/>
                    </a:lnTo>
                    <a:lnTo>
                      <a:pt x="525" y="354"/>
                    </a:lnTo>
                    <a:lnTo>
                      <a:pt x="488" y="356"/>
                    </a:lnTo>
                    <a:lnTo>
                      <a:pt x="485" y="354"/>
                    </a:lnTo>
                    <a:lnTo>
                      <a:pt x="478" y="351"/>
                    </a:lnTo>
                    <a:lnTo>
                      <a:pt x="475" y="347"/>
                    </a:lnTo>
                    <a:lnTo>
                      <a:pt x="454" y="347"/>
                    </a:lnTo>
                    <a:lnTo>
                      <a:pt x="451" y="344"/>
                    </a:lnTo>
                    <a:lnTo>
                      <a:pt x="451" y="329"/>
                    </a:lnTo>
                    <a:lnTo>
                      <a:pt x="454" y="327"/>
                    </a:lnTo>
                    <a:lnTo>
                      <a:pt x="454" y="322"/>
                    </a:lnTo>
                    <a:lnTo>
                      <a:pt x="458" y="320"/>
                    </a:lnTo>
                    <a:lnTo>
                      <a:pt x="463" y="322"/>
                    </a:lnTo>
                    <a:lnTo>
                      <a:pt x="493" y="322"/>
                    </a:lnTo>
                    <a:lnTo>
                      <a:pt x="488" y="320"/>
                    </a:lnTo>
                    <a:lnTo>
                      <a:pt x="485" y="314"/>
                    </a:lnTo>
                    <a:lnTo>
                      <a:pt x="478" y="310"/>
                    </a:lnTo>
                    <a:lnTo>
                      <a:pt x="473" y="305"/>
                    </a:lnTo>
                    <a:lnTo>
                      <a:pt x="466" y="302"/>
                    </a:lnTo>
                    <a:lnTo>
                      <a:pt x="460" y="295"/>
                    </a:lnTo>
                    <a:lnTo>
                      <a:pt x="396" y="295"/>
                    </a:lnTo>
                    <a:lnTo>
                      <a:pt x="402" y="302"/>
                    </a:lnTo>
                    <a:lnTo>
                      <a:pt x="414" y="302"/>
                    </a:lnTo>
                    <a:lnTo>
                      <a:pt x="421" y="305"/>
                    </a:lnTo>
                    <a:lnTo>
                      <a:pt x="421" y="314"/>
                    </a:lnTo>
                    <a:lnTo>
                      <a:pt x="417" y="322"/>
                    </a:lnTo>
                    <a:lnTo>
                      <a:pt x="417" y="329"/>
                    </a:lnTo>
                    <a:lnTo>
                      <a:pt x="414" y="339"/>
                    </a:lnTo>
                    <a:lnTo>
                      <a:pt x="414" y="351"/>
                    </a:lnTo>
                    <a:lnTo>
                      <a:pt x="417" y="351"/>
                    </a:lnTo>
                    <a:lnTo>
                      <a:pt x="424" y="354"/>
                    </a:lnTo>
                    <a:lnTo>
                      <a:pt x="436" y="354"/>
                    </a:lnTo>
                    <a:lnTo>
                      <a:pt x="439" y="356"/>
                    </a:lnTo>
                    <a:lnTo>
                      <a:pt x="441" y="356"/>
                    </a:lnTo>
                    <a:lnTo>
                      <a:pt x="439" y="374"/>
                    </a:lnTo>
                    <a:lnTo>
                      <a:pt x="445" y="390"/>
                    </a:lnTo>
                    <a:lnTo>
                      <a:pt x="426" y="378"/>
                    </a:lnTo>
                    <a:lnTo>
                      <a:pt x="417" y="390"/>
                    </a:lnTo>
                    <a:lnTo>
                      <a:pt x="414" y="374"/>
                    </a:lnTo>
                    <a:lnTo>
                      <a:pt x="377" y="366"/>
                    </a:lnTo>
                    <a:lnTo>
                      <a:pt x="362" y="384"/>
                    </a:lnTo>
                    <a:lnTo>
                      <a:pt x="350" y="384"/>
                    </a:lnTo>
                    <a:lnTo>
                      <a:pt x="347" y="390"/>
                    </a:lnTo>
                    <a:lnTo>
                      <a:pt x="340" y="393"/>
                    </a:lnTo>
                    <a:lnTo>
                      <a:pt x="338" y="396"/>
                    </a:lnTo>
                    <a:lnTo>
                      <a:pt x="332" y="399"/>
                    </a:lnTo>
                    <a:lnTo>
                      <a:pt x="325" y="399"/>
                    </a:lnTo>
                    <a:lnTo>
                      <a:pt x="320" y="403"/>
                    </a:lnTo>
                    <a:lnTo>
                      <a:pt x="320" y="408"/>
                    </a:lnTo>
                    <a:lnTo>
                      <a:pt x="323" y="411"/>
                    </a:lnTo>
                    <a:lnTo>
                      <a:pt x="328" y="415"/>
                    </a:lnTo>
                    <a:lnTo>
                      <a:pt x="335" y="420"/>
                    </a:lnTo>
                    <a:lnTo>
                      <a:pt x="340" y="423"/>
                    </a:lnTo>
                    <a:lnTo>
                      <a:pt x="344" y="427"/>
                    </a:lnTo>
                    <a:lnTo>
                      <a:pt x="350" y="430"/>
                    </a:lnTo>
                    <a:lnTo>
                      <a:pt x="359" y="445"/>
                    </a:lnTo>
                    <a:lnTo>
                      <a:pt x="344" y="435"/>
                    </a:lnTo>
                    <a:lnTo>
                      <a:pt x="338" y="440"/>
                    </a:lnTo>
                    <a:lnTo>
                      <a:pt x="335" y="442"/>
                    </a:lnTo>
                    <a:lnTo>
                      <a:pt x="328" y="442"/>
                    </a:lnTo>
                    <a:lnTo>
                      <a:pt x="323" y="440"/>
                    </a:lnTo>
                    <a:lnTo>
                      <a:pt x="316" y="440"/>
                    </a:lnTo>
                    <a:lnTo>
                      <a:pt x="308" y="435"/>
                    </a:lnTo>
                    <a:lnTo>
                      <a:pt x="301" y="433"/>
                    </a:lnTo>
                    <a:lnTo>
                      <a:pt x="291" y="433"/>
                    </a:lnTo>
                    <a:lnTo>
                      <a:pt x="286" y="430"/>
                    </a:lnTo>
                    <a:lnTo>
                      <a:pt x="279" y="430"/>
                    </a:lnTo>
                    <a:lnTo>
                      <a:pt x="276" y="427"/>
                    </a:lnTo>
                    <a:lnTo>
                      <a:pt x="276" y="420"/>
                    </a:lnTo>
                    <a:lnTo>
                      <a:pt x="271" y="418"/>
                    </a:lnTo>
                    <a:lnTo>
                      <a:pt x="261" y="418"/>
                    </a:lnTo>
                    <a:lnTo>
                      <a:pt x="249" y="423"/>
                    </a:lnTo>
                    <a:lnTo>
                      <a:pt x="246" y="427"/>
                    </a:lnTo>
                    <a:lnTo>
                      <a:pt x="237" y="427"/>
                    </a:lnTo>
                    <a:lnTo>
                      <a:pt x="258" y="445"/>
                    </a:lnTo>
                    <a:lnTo>
                      <a:pt x="267" y="445"/>
                    </a:lnTo>
                    <a:lnTo>
                      <a:pt x="273" y="448"/>
                    </a:lnTo>
                    <a:lnTo>
                      <a:pt x="279" y="448"/>
                    </a:lnTo>
                    <a:lnTo>
                      <a:pt x="286" y="452"/>
                    </a:lnTo>
                    <a:lnTo>
                      <a:pt x="288" y="452"/>
                    </a:lnTo>
                    <a:lnTo>
                      <a:pt x="288" y="454"/>
                    </a:lnTo>
                    <a:lnTo>
                      <a:pt x="286" y="460"/>
                    </a:lnTo>
                    <a:lnTo>
                      <a:pt x="279" y="463"/>
                    </a:lnTo>
                    <a:lnTo>
                      <a:pt x="276" y="467"/>
                    </a:lnTo>
                    <a:lnTo>
                      <a:pt x="242" y="457"/>
                    </a:lnTo>
                    <a:lnTo>
                      <a:pt x="237" y="454"/>
                    </a:lnTo>
                    <a:lnTo>
                      <a:pt x="234" y="452"/>
                    </a:lnTo>
                    <a:lnTo>
                      <a:pt x="227" y="448"/>
                    </a:lnTo>
                    <a:lnTo>
                      <a:pt x="197" y="448"/>
                    </a:lnTo>
                    <a:lnTo>
                      <a:pt x="194" y="445"/>
                    </a:lnTo>
                    <a:lnTo>
                      <a:pt x="194" y="420"/>
                    </a:lnTo>
                    <a:lnTo>
                      <a:pt x="185" y="415"/>
                    </a:lnTo>
                    <a:lnTo>
                      <a:pt x="190" y="408"/>
                    </a:lnTo>
                    <a:lnTo>
                      <a:pt x="194" y="403"/>
                    </a:lnTo>
                    <a:lnTo>
                      <a:pt x="194" y="393"/>
                    </a:lnTo>
                    <a:lnTo>
                      <a:pt x="185" y="386"/>
                    </a:lnTo>
                    <a:lnTo>
                      <a:pt x="166" y="381"/>
                    </a:lnTo>
                    <a:lnTo>
                      <a:pt x="151" y="378"/>
                    </a:lnTo>
                    <a:lnTo>
                      <a:pt x="145" y="374"/>
                    </a:lnTo>
                    <a:lnTo>
                      <a:pt x="129" y="366"/>
                    </a:lnTo>
                    <a:lnTo>
                      <a:pt x="116" y="356"/>
                    </a:lnTo>
                    <a:lnTo>
                      <a:pt x="111" y="347"/>
                    </a:lnTo>
                    <a:lnTo>
                      <a:pt x="129" y="347"/>
                    </a:lnTo>
                    <a:lnTo>
                      <a:pt x="129" y="354"/>
                    </a:lnTo>
                    <a:lnTo>
                      <a:pt x="136" y="354"/>
                    </a:lnTo>
                    <a:lnTo>
                      <a:pt x="141" y="356"/>
                    </a:lnTo>
                    <a:lnTo>
                      <a:pt x="151" y="356"/>
                    </a:lnTo>
                    <a:lnTo>
                      <a:pt x="160" y="359"/>
                    </a:lnTo>
                    <a:lnTo>
                      <a:pt x="175" y="359"/>
                    </a:lnTo>
                    <a:lnTo>
                      <a:pt x="182" y="362"/>
                    </a:lnTo>
                    <a:lnTo>
                      <a:pt x="185" y="369"/>
                    </a:lnTo>
                    <a:lnTo>
                      <a:pt x="197" y="374"/>
                    </a:lnTo>
                    <a:lnTo>
                      <a:pt x="224" y="374"/>
                    </a:lnTo>
                    <a:lnTo>
                      <a:pt x="239" y="378"/>
                    </a:lnTo>
                    <a:lnTo>
                      <a:pt x="246" y="378"/>
                    </a:lnTo>
                    <a:lnTo>
                      <a:pt x="252" y="381"/>
                    </a:lnTo>
                    <a:lnTo>
                      <a:pt x="264" y="384"/>
                    </a:lnTo>
                    <a:lnTo>
                      <a:pt x="283" y="386"/>
                    </a:lnTo>
                    <a:lnTo>
                      <a:pt x="308" y="384"/>
                    </a:lnTo>
                    <a:lnTo>
                      <a:pt x="332" y="378"/>
                    </a:lnTo>
                    <a:lnTo>
                      <a:pt x="350" y="369"/>
                    </a:lnTo>
                    <a:lnTo>
                      <a:pt x="359" y="359"/>
                    </a:lnTo>
                    <a:lnTo>
                      <a:pt x="355" y="347"/>
                    </a:lnTo>
                    <a:lnTo>
                      <a:pt x="335" y="327"/>
                    </a:lnTo>
                    <a:lnTo>
                      <a:pt x="325" y="320"/>
                    </a:lnTo>
                    <a:lnTo>
                      <a:pt x="316" y="317"/>
                    </a:lnTo>
                    <a:lnTo>
                      <a:pt x="291" y="310"/>
                    </a:lnTo>
                    <a:lnTo>
                      <a:pt x="267" y="302"/>
                    </a:lnTo>
                    <a:lnTo>
                      <a:pt x="230" y="290"/>
                    </a:lnTo>
                    <a:lnTo>
                      <a:pt x="212" y="280"/>
                    </a:lnTo>
                    <a:lnTo>
                      <a:pt x="194" y="278"/>
                    </a:lnTo>
                    <a:lnTo>
                      <a:pt x="126" y="278"/>
                    </a:lnTo>
                    <a:lnTo>
                      <a:pt x="121" y="268"/>
                    </a:lnTo>
                    <a:lnTo>
                      <a:pt x="108" y="271"/>
                    </a:lnTo>
                    <a:lnTo>
                      <a:pt x="89" y="263"/>
                    </a:lnTo>
                    <a:lnTo>
                      <a:pt x="108" y="258"/>
                    </a:lnTo>
                    <a:lnTo>
                      <a:pt x="116" y="253"/>
                    </a:lnTo>
                    <a:lnTo>
                      <a:pt x="114" y="253"/>
                    </a:lnTo>
                    <a:lnTo>
                      <a:pt x="111" y="250"/>
                    </a:lnTo>
                    <a:lnTo>
                      <a:pt x="104" y="250"/>
                    </a:lnTo>
                    <a:lnTo>
                      <a:pt x="96" y="246"/>
                    </a:lnTo>
                    <a:lnTo>
                      <a:pt x="86" y="246"/>
                    </a:lnTo>
                    <a:lnTo>
                      <a:pt x="81" y="243"/>
                    </a:lnTo>
                    <a:lnTo>
                      <a:pt x="74" y="250"/>
                    </a:lnTo>
                    <a:lnTo>
                      <a:pt x="74" y="253"/>
                    </a:lnTo>
                    <a:lnTo>
                      <a:pt x="71" y="256"/>
                    </a:lnTo>
                    <a:lnTo>
                      <a:pt x="62" y="256"/>
                    </a:lnTo>
                    <a:lnTo>
                      <a:pt x="56" y="263"/>
                    </a:lnTo>
                    <a:lnTo>
                      <a:pt x="37" y="263"/>
                    </a:lnTo>
                    <a:lnTo>
                      <a:pt x="35" y="268"/>
                    </a:lnTo>
                    <a:lnTo>
                      <a:pt x="22" y="271"/>
                    </a:lnTo>
                    <a:lnTo>
                      <a:pt x="22" y="273"/>
                    </a:lnTo>
                    <a:lnTo>
                      <a:pt x="20" y="280"/>
                    </a:lnTo>
                    <a:lnTo>
                      <a:pt x="7" y="280"/>
                    </a:lnTo>
                    <a:lnTo>
                      <a:pt x="3" y="286"/>
                    </a:lnTo>
                    <a:lnTo>
                      <a:pt x="10" y="292"/>
                    </a:lnTo>
                    <a:lnTo>
                      <a:pt x="10" y="295"/>
                    </a:lnTo>
                    <a:lnTo>
                      <a:pt x="0" y="295"/>
                    </a:lnTo>
                    <a:lnTo>
                      <a:pt x="0" y="302"/>
                    </a:lnTo>
                    <a:lnTo>
                      <a:pt x="3" y="307"/>
                    </a:lnTo>
                    <a:lnTo>
                      <a:pt x="3" y="310"/>
                    </a:lnTo>
                    <a:lnTo>
                      <a:pt x="7" y="314"/>
                    </a:lnTo>
                    <a:lnTo>
                      <a:pt x="10" y="314"/>
                    </a:lnTo>
                    <a:lnTo>
                      <a:pt x="13" y="310"/>
                    </a:lnTo>
                    <a:lnTo>
                      <a:pt x="22" y="310"/>
                    </a:lnTo>
                    <a:lnTo>
                      <a:pt x="47" y="335"/>
                    </a:lnTo>
                    <a:lnTo>
                      <a:pt x="47" y="341"/>
                    </a:lnTo>
                    <a:lnTo>
                      <a:pt x="44" y="341"/>
                    </a:lnTo>
                    <a:lnTo>
                      <a:pt x="37" y="344"/>
                    </a:lnTo>
                    <a:lnTo>
                      <a:pt x="35" y="344"/>
                    </a:lnTo>
                    <a:lnTo>
                      <a:pt x="35" y="351"/>
                    </a:lnTo>
                    <a:lnTo>
                      <a:pt x="32" y="351"/>
                    </a:lnTo>
                    <a:lnTo>
                      <a:pt x="25" y="354"/>
                    </a:lnTo>
                    <a:lnTo>
                      <a:pt x="22" y="356"/>
                    </a:lnTo>
                    <a:lnTo>
                      <a:pt x="32" y="366"/>
                    </a:lnTo>
                    <a:lnTo>
                      <a:pt x="37" y="369"/>
                    </a:lnTo>
                    <a:lnTo>
                      <a:pt x="40" y="374"/>
                    </a:lnTo>
                    <a:lnTo>
                      <a:pt x="47" y="378"/>
                    </a:lnTo>
                    <a:lnTo>
                      <a:pt x="59" y="390"/>
                    </a:lnTo>
                    <a:lnTo>
                      <a:pt x="65" y="393"/>
                    </a:lnTo>
                    <a:lnTo>
                      <a:pt x="69" y="396"/>
                    </a:lnTo>
                    <a:lnTo>
                      <a:pt x="69" y="399"/>
                    </a:lnTo>
                    <a:lnTo>
                      <a:pt x="65" y="403"/>
                    </a:lnTo>
                    <a:lnTo>
                      <a:pt x="59" y="403"/>
                    </a:lnTo>
                    <a:lnTo>
                      <a:pt x="52" y="399"/>
                    </a:lnTo>
                    <a:lnTo>
                      <a:pt x="50" y="399"/>
                    </a:lnTo>
                    <a:lnTo>
                      <a:pt x="47" y="415"/>
                    </a:lnTo>
                    <a:lnTo>
                      <a:pt x="52" y="420"/>
                    </a:lnTo>
                    <a:lnTo>
                      <a:pt x="52" y="427"/>
                    </a:lnTo>
                    <a:lnTo>
                      <a:pt x="59" y="427"/>
                    </a:lnTo>
                    <a:lnTo>
                      <a:pt x="62" y="430"/>
                    </a:lnTo>
                    <a:lnTo>
                      <a:pt x="65" y="430"/>
                    </a:lnTo>
                    <a:lnTo>
                      <a:pt x="69" y="433"/>
                    </a:lnTo>
                    <a:lnTo>
                      <a:pt x="69" y="435"/>
                    </a:lnTo>
                    <a:lnTo>
                      <a:pt x="65" y="440"/>
                    </a:lnTo>
                    <a:lnTo>
                      <a:pt x="62" y="445"/>
                    </a:lnTo>
                    <a:lnTo>
                      <a:pt x="74" y="448"/>
                    </a:lnTo>
                    <a:lnTo>
                      <a:pt x="81" y="452"/>
                    </a:lnTo>
                    <a:lnTo>
                      <a:pt x="84" y="454"/>
                    </a:lnTo>
                    <a:lnTo>
                      <a:pt x="84" y="457"/>
                    </a:lnTo>
                    <a:lnTo>
                      <a:pt x="71" y="469"/>
                    </a:lnTo>
                    <a:lnTo>
                      <a:pt x="69" y="469"/>
                    </a:lnTo>
                    <a:lnTo>
                      <a:pt x="104" y="487"/>
                    </a:lnTo>
                    <a:lnTo>
                      <a:pt x="108" y="494"/>
                    </a:lnTo>
                    <a:lnTo>
                      <a:pt x="111" y="497"/>
                    </a:lnTo>
                    <a:lnTo>
                      <a:pt x="114" y="503"/>
                    </a:lnTo>
                    <a:lnTo>
                      <a:pt x="114" y="509"/>
                    </a:lnTo>
                    <a:lnTo>
                      <a:pt x="111" y="512"/>
                    </a:lnTo>
                    <a:lnTo>
                      <a:pt x="108" y="518"/>
                    </a:lnTo>
                    <a:lnTo>
                      <a:pt x="89" y="536"/>
                    </a:lnTo>
                    <a:lnTo>
                      <a:pt x="86" y="536"/>
                    </a:lnTo>
                    <a:lnTo>
                      <a:pt x="56" y="567"/>
                    </a:lnTo>
                    <a:lnTo>
                      <a:pt x="25" y="582"/>
                    </a:lnTo>
                    <a:lnTo>
                      <a:pt x="28" y="588"/>
                    </a:lnTo>
                    <a:lnTo>
                      <a:pt x="44" y="580"/>
                    </a:lnTo>
                    <a:lnTo>
                      <a:pt x="47" y="588"/>
                    </a:lnTo>
                    <a:lnTo>
                      <a:pt x="52" y="595"/>
                    </a:lnTo>
                    <a:lnTo>
                      <a:pt x="59" y="597"/>
                    </a:lnTo>
                    <a:lnTo>
                      <a:pt x="62" y="600"/>
                    </a:lnTo>
                    <a:lnTo>
                      <a:pt x="86" y="600"/>
                    </a:lnTo>
                    <a:lnTo>
                      <a:pt x="93" y="610"/>
                    </a:lnTo>
                    <a:lnTo>
                      <a:pt x="86" y="610"/>
                    </a:lnTo>
                    <a:lnTo>
                      <a:pt x="81" y="607"/>
                    </a:lnTo>
                    <a:lnTo>
                      <a:pt x="65" y="607"/>
                    </a:lnTo>
                    <a:lnTo>
                      <a:pt x="59" y="612"/>
                    </a:lnTo>
                    <a:lnTo>
                      <a:pt x="59" y="616"/>
                    </a:lnTo>
                    <a:lnTo>
                      <a:pt x="40" y="616"/>
                    </a:lnTo>
                    <a:lnTo>
                      <a:pt x="37" y="631"/>
                    </a:lnTo>
                    <a:lnTo>
                      <a:pt x="32" y="631"/>
                    </a:lnTo>
                    <a:lnTo>
                      <a:pt x="28" y="637"/>
                    </a:lnTo>
                    <a:lnTo>
                      <a:pt x="32" y="644"/>
                    </a:lnTo>
                    <a:lnTo>
                      <a:pt x="28" y="646"/>
                    </a:lnTo>
                    <a:lnTo>
                      <a:pt x="25" y="646"/>
                    </a:lnTo>
                    <a:lnTo>
                      <a:pt x="20" y="652"/>
                    </a:lnTo>
                    <a:lnTo>
                      <a:pt x="20" y="661"/>
                    </a:lnTo>
                    <a:lnTo>
                      <a:pt x="28" y="664"/>
                    </a:lnTo>
                    <a:lnTo>
                      <a:pt x="22" y="676"/>
                    </a:lnTo>
                    <a:lnTo>
                      <a:pt x="28" y="680"/>
                    </a:lnTo>
                    <a:lnTo>
                      <a:pt x="35" y="689"/>
                    </a:lnTo>
                    <a:lnTo>
                      <a:pt x="25" y="695"/>
                    </a:lnTo>
                    <a:lnTo>
                      <a:pt x="25" y="701"/>
                    </a:lnTo>
                    <a:lnTo>
                      <a:pt x="28" y="701"/>
                    </a:lnTo>
                    <a:lnTo>
                      <a:pt x="35" y="708"/>
                    </a:lnTo>
                    <a:lnTo>
                      <a:pt x="40" y="710"/>
                    </a:lnTo>
                    <a:lnTo>
                      <a:pt x="44" y="713"/>
                    </a:lnTo>
                    <a:lnTo>
                      <a:pt x="44" y="717"/>
                    </a:lnTo>
                    <a:lnTo>
                      <a:pt x="35" y="717"/>
                    </a:lnTo>
                    <a:lnTo>
                      <a:pt x="32" y="725"/>
                    </a:lnTo>
                    <a:lnTo>
                      <a:pt x="44" y="728"/>
                    </a:lnTo>
                    <a:lnTo>
                      <a:pt x="47" y="732"/>
                    </a:lnTo>
                    <a:lnTo>
                      <a:pt x="50" y="738"/>
                    </a:lnTo>
                    <a:lnTo>
                      <a:pt x="56" y="744"/>
                    </a:lnTo>
                    <a:lnTo>
                      <a:pt x="56" y="757"/>
                    </a:lnTo>
                    <a:lnTo>
                      <a:pt x="69" y="757"/>
                    </a:lnTo>
                    <a:lnTo>
                      <a:pt x="71" y="759"/>
                    </a:lnTo>
                    <a:lnTo>
                      <a:pt x="71" y="762"/>
                    </a:lnTo>
                    <a:lnTo>
                      <a:pt x="77" y="759"/>
                    </a:lnTo>
                    <a:lnTo>
                      <a:pt x="96" y="762"/>
                    </a:lnTo>
                    <a:lnTo>
                      <a:pt x="99" y="772"/>
                    </a:lnTo>
                    <a:lnTo>
                      <a:pt x="114" y="762"/>
                    </a:lnTo>
                    <a:lnTo>
                      <a:pt x="116" y="762"/>
                    </a:lnTo>
                    <a:lnTo>
                      <a:pt x="121" y="765"/>
                    </a:lnTo>
                    <a:lnTo>
                      <a:pt x="138" y="774"/>
                    </a:lnTo>
                    <a:lnTo>
                      <a:pt x="141" y="777"/>
                    </a:lnTo>
                    <a:lnTo>
                      <a:pt x="141" y="784"/>
                    </a:lnTo>
                    <a:lnTo>
                      <a:pt x="138" y="787"/>
                    </a:lnTo>
                    <a:lnTo>
                      <a:pt x="145" y="796"/>
                    </a:lnTo>
                    <a:lnTo>
                      <a:pt x="141" y="806"/>
                    </a:lnTo>
                    <a:lnTo>
                      <a:pt x="145" y="808"/>
                    </a:lnTo>
                    <a:lnTo>
                      <a:pt x="151" y="811"/>
                    </a:lnTo>
                    <a:lnTo>
                      <a:pt x="160" y="821"/>
                    </a:lnTo>
                    <a:lnTo>
                      <a:pt x="160" y="826"/>
                    </a:lnTo>
                    <a:lnTo>
                      <a:pt x="175" y="833"/>
                    </a:lnTo>
                    <a:lnTo>
                      <a:pt x="175" y="845"/>
                    </a:lnTo>
                    <a:lnTo>
                      <a:pt x="194" y="845"/>
                    </a:lnTo>
                    <a:lnTo>
                      <a:pt x="197" y="848"/>
                    </a:lnTo>
                    <a:lnTo>
                      <a:pt x="200" y="848"/>
                    </a:lnTo>
                    <a:lnTo>
                      <a:pt x="200" y="851"/>
                    </a:lnTo>
                    <a:lnTo>
                      <a:pt x="197" y="853"/>
                    </a:lnTo>
                    <a:lnTo>
                      <a:pt x="209" y="860"/>
                    </a:lnTo>
                    <a:lnTo>
                      <a:pt x="202" y="863"/>
                    </a:lnTo>
                    <a:lnTo>
                      <a:pt x="200" y="870"/>
                    </a:lnTo>
                    <a:lnTo>
                      <a:pt x="187" y="875"/>
                    </a:lnTo>
                    <a:lnTo>
                      <a:pt x="185" y="875"/>
                    </a:lnTo>
                    <a:lnTo>
                      <a:pt x="182" y="872"/>
                    </a:lnTo>
                    <a:lnTo>
                      <a:pt x="178" y="872"/>
                    </a:lnTo>
                    <a:lnTo>
                      <a:pt x="178" y="870"/>
                    </a:lnTo>
                    <a:lnTo>
                      <a:pt x="166" y="870"/>
                    </a:lnTo>
                    <a:lnTo>
                      <a:pt x="163" y="872"/>
                    </a:lnTo>
                    <a:lnTo>
                      <a:pt x="163" y="875"/>
                    </a:lnTo>
                    <a:lnTo>
                      <a:pt x="175" y="887"/>
                    </a:lnTo>
                    <a:lnTo>
                      <a:pt x="175" y="897"/>
                    </a:lnTo>
                    <a:lnTo>
                      <a:pt x="178" y="900"/>
                    </a:lnTo>
                    <a:lnTo>
                      <a:pt x="182" y="905"/>
                    </a:lnTo>
                    <a:lnTo>
                      <a:pt x="182" y="915"/>
                    </a:lnTo>
                    <a:lnTo>
                      <a:pt x="200" y="915"/>
                    </a:lnTo>
                    <a:lnTo>
                      <a:pt x="202" y="912"/>
                    </a:lnTo>
                    <a:lnTo>
                      <a:pt x="202" y="905"/>
                    </a:lnTo>
                    <a:lnTo>
                      <a:pt x="219" y="905"/>
                    </a:lnTo>
                    <a:lnTo>
                      <a:pt x="224" y="902"/>
                    </a:lnTo>
                    <a:lnTo>
                      <a:pt x="249" y="902"/>
                    </a:lnTo>
                    <a:lnTo>
                      <a:pt x="252" y="912"/>
                    </a:lnTo>
                    <a:lnTo>
                      <a:pt x="254" y="912"/>
                    </a:lnTo>
                    <a:lnTo>
                      <a:pt x="258" y="915"/>
                    </a:lnTo>
                    <a:lnTo>
                      <a:pt x="264" y="917"/>
                    </a:lnTo>
                    <a:lnTo>
                      <a:pt x="267" y="917"/>
                    </a:lnTo>
                    <a:lnTo>
                      <a:pt x="267" y="924"/>
                    </a:lnTo>
                    <a:lnTo>
                      <a:pt x="264" y="927"/>
                    </a:lnTo>
                    <a:lnTo>
                      <a:pt x="261" y="927"/>
                    </a:lnTo>
                    <a:lnTo>
                      <a:pt x="264" y="936"/>
                    </a:lnTo>
                    <a:lnTo>
                      <a:pt x="264" y="946"/>
                    </a:lnTo>
                    <a:lnTo>
                      <a:pt x="283" y="946"/>
                    </a:lnTo>
                    <a:lnTo>
                      <a:pt x="303" y="954"/>
                    </a:lnTo>
                    <a:lnTo>
                      <a:pt x="310" y="979"/>
                    </a:lnTo>
                    <a:lnTo>
                      <a:pt x="313" y="979"/>
                    </a:lnTo>
                    <a:lnTo>
                      <a:pt x="325" y="976"/>
                    </a:lnTo>
                    <a:lnTo>
                      <a:pt x="328" y="979"/>
                    </a:lnTo>
                    <a:lnTo>
                      <a:pt x="335" y="979"/>
                    </a:lnTo>
                    <a:lnTo>
                      <a:pt x="338" y="983"/>
                    </a:lnTo>
                    <a:lnTo>
                      <a:pt x="362" y="983"/>
                    </a:lnTo>
                    <a:lnTo>
                      <a:pt x="365" y="985"/>
                    </a:lnTo>
                    <a:lnTo>
                      <a:pt x="365" y="983"/>
                    </a:lnTo>
                    <a:lnTo>
                      <a:pt x="368" y="979"/>
                    </a:lnTo>
                    <a:lnTo>
                      <a:pt x="374" y="979"/>
                    </a:lnTo>
                    <a:lnTo>
                      <a:pt x="377" y="985"/>
                    </a:lnTo>
                    <a:lnTo>
                      <a:pt x="389" y="998"/>
                    </a:lnTo>
                    <a:lnTo>
                      <a:pt x="396" y="994"/>
                    </a:lnTo>
                    <a:lnTo>
                      <a:pt x="404" y="994"/>
                    </a:lnTo>
                    <a:lnTo>
                      <a:pt x="409" y="998"/>
                    </a:lnTo>
                    <a:lnTo>
                      <a:pt x="414" y="1000"/>
                    </a:lnTo>
                    <a:lnTo>
                      <a:pt x="436" y="1000"/>
                    </a:lnTo>
                    <a:lnTo>
                      <a:pt x="436" y="1003"/>
                    </a:lnTo>
                    <a:lnTo>
                      <a:pt x="439" y="1006"/>
                    </a:lnTo>
                    <a:lnTo>
                      <a:pt x="448" y="1013"/>
                    </a:lnTo>
                    <a:lnTo>
                      <a:pt x="460" y="1013"/>
                    </a:lnTo>
                    <a:lnTo>
                      <a:pt x="463" y="1015"/>
                    </a:lnTo>
                    <a:lnTo>
                      <a:pt x="463" y="1028"/>
                    </a:lnTo>
                    <a:lnTo>
                      <a:pt x="454" y="1034"/>
                    </a:lnTo>
                    <a:lnTo>
                      <a:pt x="458" y="1034"/>
                    </a:lnTo>
                    <a:lnTo>
                      <a:pt x="460" y="1037"/>
                    </a:lnTo>
                    <a:lnTo>
                      <a:pt x="463" y="1037"/>
                    </a:lnTo>
                    <a:lnTo>
                      <a:pt x="466" y="1040"/>
                    </a:lnTo>
                    <a:lnTo>
                      <a:pt x="463" y="1043"/>
                    </a:lnTo>
                    <a:lnTo>
                      <a:pt x="454" y="1043"/>
                    </a:lnTo>
                    <a:lnTo>
                      <a:pt x="451" y="1047"/>
                    </a:lnTo>
                    <a:lnTo>
                      <a:pt x="458" y="1052"/>
                    </a:lnTo>
                    <a:lnTo>
                      <a:pt x="463" y="1055"/>
                    </a:lnTo>
                    <a:lnTo>
                      <a:pt x="463" y="1062"/>
                    </a:lnTo>
                    <a:lnTo>
                      <a:pt x="466" y="1067"/>
                    </a:lnTo>
                    <a:lnTo>
                      <a:pt x="466" y="1071"/>
                    </a:lnTo>
                    <a:lnTo>
                      <a:pt x="460" y="1077"/>
                    </a:lnTo>
                    <a:lnTo>
                      <a:pt x="454" y="1077"/>
                    </a:lnTo>
                    <a:lnTo>
                      <a:pt x="448" y="1079"/>
                    </a:lnTo>
                    <a:lnTo>
                      <a:pt x="433" y="1079"/>
                    </a:lnTo>
                    <a:lnTo>
                      <a:pt x="426" y="1086"/>
                    </a:lnTo>
                    <a:lnTo>
                      <a:pt x="426" y="1089"/>
                    </a:lnTo>
                    <a:lnTo>
                      <a:pt x="424" y="1092"/>
                    </a:lnTo>
                    <a:lnTo>
                      <a:pt x="414" y="1092"/>
                    </a:lnTo>
                    <a:lnTo>
                      <a:pt x="414" y="1111"/>
                    </a:lnTo>
                    <a:lnTo>
                      <a:pt x="417" y="1111"/>
                    </a:lnTo>
                    <a:lnTo>
                      <a:pt x="421" y="1106"/>
                    </a:lnTo>
                    <a:lnTo>
                      <a:pt x="426" y="1106"/>
                    </a:lnTo>
                    <a:lnTo>
                      <a:pt x="433" y="1104"/>
                    </a:lnTo>
                    <a:lnTo>
                      <a:pt x="448" y="1104"/>
                    </a:lnTo>
                    <a:lnTo>
                      <a:pt x="448" y="1111"/>
                    </a:lnTo>
                    <a:lnTo>
                      <a:pt x="445" y="1113"/>
                    </a:lnTo>
                    <a:lnTo>
                      <a:pt x="441" y="1119"/>
                    </a:lnTo>
                    <a:lnTo>
                      <a:pt x="436" y="1123"/>
                    </a:lnTo>
                    <a:lnTo>
                      <a:pt x="433" y="1126"/>
                    </a:lnTo>
                    <a:lnTo>
                      <a:pt x="404" y="1131"/>
                    </a:lnTo>
                    <a:lnTo>
                      <a:pt x="429" y="1150"/>
                    </a:lnTo>
                    <a:lnTo>
                      <a:pt x="426" y="1150"/>
                    </a:lnTo>
                    <a:lnTo>
                      <a:pt x="424" y="1153"/>
                    </a:lnTo>
                    <a:lnTo>
                      <a:pt x="417" y="1153"/>
                    </a:lnTo>
                    <a:lnTo>
                      <a:pt x="414" y="1155"/>
                    </a:lnTo>
                    <a:lnTo>
                      <a:pt x="409" y="1168"/>
                    </a:lnTo>
                    <a:lnTo>
                      <a:pt x="409" y="1177"/>
                    </a:lnTo>
                    <a:lnTo>
                      <a:pt x="402" y="1180"/>
                    </a:lnTo>
                    <a:lnTo>
                      <a:pt x="399" y="1183"/>
                    </a:lnTo>
                    <a:lnTo>
                      <a:pt x="392" y="1183"/>
                    </a:lnTo>
                    <a:lnTo>
                      <a:pt x="389" y="1180"/>
                    </a:lnTo>
                    <a:lnTo>
                      <a:pt x="384" y="1177"/>
                    </a:lnTo>
                    <a:lnTo>
                      <a:pt x="380" y="1175"/>
                    </a:lnTo>
                    <a:lnTo>
                      <a:pt x="377" y="1183"/>
                    </a:lnTo>
                    <a:lnTo>
                      <a:pt x="380" y="1187"/>
                    </a:lnTo>
                    <a:lnTo>
                      <a:pt x="384" y="1192"/>
                    </a:lnTo>
                    <a:lnTo>
                      <a:pt x="387" y="1195"/>
                    </a:lnTo>
                    <a:lnTo>
                      <a:pt x="392" y="1195"/>
                    </a:lnTo>
                    <a:lnTo>
                      <a:pt x="392" y="1199"/>
                    </a:lnTo>
                    <a:lnTo>
                      <a:pt x="396" y="1204"/>
                    </a:lnTo>
                    <a:lnTo>
                      <a:pt x="399" y="1207"/>
                    </a:lnTo>
                    <a:lnTo>
                      <a:pt x="417" y="1207"/>
                    </a:lnTo>
                    <a:lnTo>
                      <a:pt x="421" y="1211"/>
                    </a:lnTo>
                    <a:lnTo>
                      <a:pt x="426" y="1214"/>
                    </a:lnTo>
                    <a:lnTo>
                      <a:pt x="429" y="1219"/>
                    </a:lnTo>
                    <a:lnTo>
                      <a:pt x="433" y="1224"/>
                    </a:lnTo>
                    <a:lnTo>
                      <a:pt x="448" y="1224"/>
                    </a:lnTo>
                    <a:lnTo>
                      <a:pt x="458" y="1232"/>
                    </a:lnTo>
                    <a:lnTo>
                      <a:pt x="460" y="1239"/>
                    </a:lnTo>
                    <a:lnTo>
                      <a:pt x="466" y="1241"/>
                    </a:lnTo>
                    <a:lnTo>
                      <a:pt x="478" y="1254"/>
                    </a:lnTo>
                    <a:lnTo>
                      <a:pt x="482" y="1254"/>
                    </a:lnTo>
                    <a:lnTo>
                      <a:pt x="488" y="1256"/>
                    </a:lnTo>
                    <a:lnTo>
                      <a:pt x="490" y="1256"/>
                    </a:lnTo>
                    <a:lnTo>
                      <a:pt x="495" y="1259"/>
                    </a:lnTo>
                    <a:lnTo>
                      <a:pt x="505" y="1251"/>
                    </a:lnTo>
                    <a:lnTo>
                      <a:pt x="512" y="1251"/>
                    </a:lnTo>
                    <a:lnTo>
                      <a:pt x="522" y="1254"/>
                    </a:lnTo>
                    <a:lnTo>
                      <a:pt x="527" y="1256"/>
                    </a:lnTo>
                    <a:lnTo>
                      <a:pt x="537" y="1259"/>
                    </a:lnTo>
                    <a:lnTo>
                      <a:pt x="567" y="1266"/>
                    </a:lnTo>
                    <a:lnTo>
                      <a:pt x="586" y="1266"/>
                    </a:lnTo>
                    <a:lnTo>
                      <a:pt x="589" y="1268"/>
                    </a:lnTo>
                    <a:lnTo>
                      <a:pt x="591" y="1268"/>
                    </a:lnTo>
                    <a:lnTo>
                      <a:pt x="616" y="1283"/>
                    </a:lnTo>
                    <a:lnTo>
                      <a:pt x="616" y="1288"/>
                    </a:lnTo>
                    <a:lnTo>
                      <a:pt x="619" y="1288"/>
                    </a:lnTo>
                    <a:lnTo>
                      <a:pt x="626" y="1290"/>
                    </a:lnTo>
                    <a:lnTo>
                      <a:pt x="638" y="1290"/>
                    </a:lnTo>
                    <a:lnTo>
                      <a:pt x="641" y="1288"/>
                    </a:lnTo>
                    <a:lnTo>
                      <a:pt x="647" y="1288"/>
                    </a:lnTo>
                    <a:lnTo>
                      <a:pt x="647" y="1283"/>
                    </a:lnTo>
                    <a:lnTo>
                      <a:pt x="662" y="1283"/>
                    </a:lnTo>
                    <a:lnTo>
                      <a:pt x="668" y="1288"/>
                    </a:lnTo>
                    <a:lnTo>
                      <a:pt x="675" y="1293"/>
                    </a:lnTo>
                    <a:lnTo>
                      <a:pt x="690" y="1296"/>
                    </a:lnTo>
                    <a:lnTo>
                      <a:pt x="690" y="1303"/>
                    </a:lnTo>
                    <a:lnTo>
                      <a:pt x="687" y="1305"/>
                    </a:lnTo>
                    <a:lnTo>
                      <a:pt x="687" y="1308"/>
                    </a:lnTo>
                    <a:lnTo>
                      <a:pt x="697" y="1308"/>
                    </a:lnTo>
                    <a:lnTo>
                      <a:pt x="702" y="1315"/>
                    </a:lnTo>
                    <a:lnTo>
                      <a:pt x="709" y="1317"/>
                    </a:lnTo>
                    <a:lnTo>
                      <a:pt x="714" y="1324"/>
                    </a:lnTo>
                    <a:lnTo>
                      <a:pt x="721" y="1320"/>
                    </a:lnTo>
                    <a:lnTo>
                      <a:pt x="724" y="1320"/>
                    </a:lnTo>
                    <a:lnTo>
                      <a:pt x="736" y="1327"/>
                    </a:lnTo>
                    <a:lnTo>
                      <a:pt x="744" y="1337"/>
                    </a:lnTo>
                    <a:lnTo>
                      <a:pt x="748" y="1342"/>
                    </a:lnTo>
                    <a:lnTo>
                      <a:pt x="754" y="1345"/>
                    </a:lnTo>
                    <a:lnTo>
                      <a:pt x="757" y="1347"/>
                    </a:lnTo>
                    <a:lnTo>
                      <a:pt x="769" y="1347"/>
                    </a:lnTo>
                    <a:lnTo>
                      <a:pt x="773" y="1345"/>
                    </a:lnTo>
                    <a:lnTo>
                      <a:pt x="773" y="1339"/>
                    </a:lnTo>
                    <a:lnTo>
                      <a:pt x="781" y="1339"/>
                    </a:lnTo>
                    <a:lnTo>
                      <a:pt x="785" y="1337"/>
                    </a:lnTo>
                    <a:lnTo>
                      <a:pt x="785" y="1320"/>
                    </a:lnTo>
                    <a:lnTo>
                      <a:pt x="781" y="1317"/>
                    </a:lnTo>
                    <a:lnTo>
                      <a:pt x="781" y="1315"/>
                    </a:lnTo>
                    <a:lnTo>
                      <a:pt x="776" y="1308"/>
                    </a:lnTo>
                    <a:lnTo>
                      <a:pt x="773" y="1303"/>
                    </a:lnTo>
                    <a:lnTo>
                      <a:pt x="769" y="1300"/>
                    </a:lnTo>
                    <a:lnTo>
                      <a:pt x="763" y="1296"/>
                    </a:lnTo>
                    <a:lnTo>
                      <a:pt x="761" y="1293"/>
                    </a:lnTo>
                    <a:lnTo>
                      <a:pt x="754" y="1293"/>
                    </a:lnTo>
                    <a:lnTo>
                      <a:pt x="754" y="1281"/>
                    </a:lnTo>
                    <a:lnTo>
                      <a:pt x="751" y="1278"/>
                    </a:lnTo>
                    <a:lnTo>
                      <a:pt x="744" y="1275"/>
                    </a:lnTo>
                    <a:lnTo>
                      <a:pt x="742" y="1268"/>
                    </a:lnTo>
                    <a:lnTo>
                      <a:pt x="739" y="1266"/>
                    </a:lnTo>
                    <a:lnTo>
                      <a:pt x="739" y="1259"/>
                    </a:lnTo>
                    <a:lnTo>
                      <a:pt x="742" y="1254"/>
                    </a:lnTo>
                    <a:lnTo>
                      <a:pt x="742" y="1248"/>
                    </a:lnTo>
                    <a:lnTo>
                      <a:pt x="736" y="1236"/>
                    </a:lnTo>
                    <a:lnTo>
                      <a:pt x="733" y="1232"/>
                    </a:lnTo>
                    <a:lnTo>
                      <a:pt x="729" y="1226"/>
                    </a:lnTo>
                    <a:lnTo>
                      <a:pt x="724" y="1224"/>
                    </a:lnTo>
                    <a:lnTo>
                      <a:pt x="721" y="1219"/>
                    </a:lnTo>
                    <a:lnTo>
                      <a:pt x="714" y="1219"/>
                    </a:lnTo>
                    <a:lnTo>
                      <a:pt x="705" y="1217"/>
                    </a:lnTo>
                    <a:lnTo>
                      <a:pt x="705" y="1207"/>
                    </a:lnTo>
                    <a:lnTo>
                      <a:pt x="724" y="1190"/>
                    </a:lnTo>
                    <a:lnTo>
                      <a:pt x="727" y="1183"/>
                    </a:lnTo>
                    <a:lnTo>
                      <a:pt x="729" y="1180"/>
                    </a:lnTo>
                    <a:lnTo>
                      <a:pt x="729" y="1177"/>
                    </a:lnTo>
                    <a:lnTo>
                      <a:pt x="727" y="1170"/>
                    </a:lnTo>
                    <a:lnTo>
                      <a:pt x="721" y="1165"/>
                    </a:lnTo>
                    <a:lnTo>
                      <a:pt x="727" y="1165"/>
                    </a:lnTo>
                    <a:lnTo>
                      <a:pt x="733" y="1168"/>
                    </a:lnTo>
                    <a:lnTo>
                      <a:pt x="742" y="1168"/>
                    </a:lnTo>
                    <a:lnTo>
                      <a:pt x="748" y="1162"/>
                    </a:lnTo>
                    <a:lnTo>
                      <a:pt x="763" y="1162"/>
                    </a:lnTo>
                    <a:lnTo>
                      <a:pt x="766" y="1160"/>
                    </a:lnTo>
                    <a:lnTo>
                      <a:pt x="757" y="1150"/>
                    </a:lnTo>
                    <a:lnTo>
                      <a:pt x="773" y="1150"/>
                    </a:lnTo>
                    <a:lnTo>
                      <a:pt x="773" y="1141"/>
                    </a:lnTo>
                    <a:lnTo>
                      <a:pt x="766" y="1141"/>
                    </a:lnTo>
                    <a:lnTo>
                      <a:pt x="754" y="1135"/>
                    </a:lnTo>
                    <a:lnTo>
                      <a:pt x="748" y="1128"/>
                    </a:lnTo>
                    <a:lnTo>
                      <a:pt x="748" y="1126"/>
                    </a:lnTo>
                    <a:lnTo>
                      <a:pt x="766" y="1126"/>
                    </a:lnTo>
                    <a:lnTo>
                      <a:pt x="766" y="1119"/>
                    </a:lnTo>
                    <a:lnTo>
                      <a:pt x="761" y="1113"/>
                    </a:lnTo>
                    <a:lnTo>
                      <a:pt x="757" y="1106"/>
                    </a:lnTo>
                    <a:lnTo>
                      <a:pt x="733" y="1082"/>
                    </a:lnTo>
                    <a:lnTo>
                      <a:pt x="727" y="1082"/>
                    </a:lnTo>
                    <a:lnTo>
                      <a:pt x="721" y="1086"/>
                    </a:lnTo>
                    <a:lnTo>
                      <a:pt x="699" y="1086"/>
                    </a:lnTo>
                    <a:lnTo>
                      <a:pt x="697" y="1082"/>
                    </a:lnTo>
                    <a:lnTo>
                      <a:pt x="697" y="1067"/>
                    </a:lnTo>
                    <a:lnTo>
                      <a:pt x="692" y="1064"/>
                    </a:lnTo>
                    <a:lnTo>
                      <a:pt x="680" y="1064"/>
                    </a:lnTo>
                    <a:lnTo>
                      <a:pt x="677" y="1062"/>
                    </a:lnTo>
                    <a:lnTo>
                      <a:pt x="675" y="1062"/>
                    </a:lnTo>
                    <a:lnTo>
                      <a:pt x="675" y="1047"/>
                    </a:lnTo>
                    <a:lnTo>
                      <a:pt x="680" y="1034"/>
                    </a:lnTo>
                    <a:lnTo>
                      <a:pt x="680" y="1022"/>
                    </a:lnTo>
                    <a:lnTo>
                      <a:pt x="677" y="1018"/>
                    </a:lnTo>
                    <a:lnTo>
                      <a:pt x="675" y="1000"/>
                    </a:lnTo>
                    <a:lnTo>
                      <a:pt x="687" y="1000"/>
                    </a:lnTo>
                    <a:lnTo>
                      <a:pt x="687" y="988"/>
                    </a:lnTo>
                    <a:lnTo>
                      <a:pt x="684" y="985"/>
                    </a:lnTo>
                    <a:lnTo>
                      <a:pt x="684" y="979"/>
                    </a:lnTo>
                    <a:lnTo>
                      <a:pt x="687" y="976"/>
                    </a:lnTo>
                    <a:lnTo>
                      <a:pt x="692" y="976"/>
                    </a:lnTo>
                    <a:lnTo>
                      <a:pt x="699" y="979"/>
                    </a:lnTo>
                    <a:lnTo>
                      <a:pt x="705" y="985"/>
                    </a:lnTo>
                    <a:lnTo>
                      <a:pt x="712" y="988"/>
                    </a:lnTo>
                    <a:lnTo>
                      <a:pt x="714" y="994"/>
                    </a:lnTo>
                    <a:lnTo>
                      <a:pt x="721" y="998"/>
                    </a:lnTo>
                    <a:lnTo>
                      <a:pt x="727" y="998"/>
                    </a:lnTo>
                    <a:lnTo>
                      <a:pt x="729" y="994"/>
                    </a:lnTo>
                    <a:lnTo>
                      <a:pt x="733" y="988"/>
                    </a:lnTo>
                    <a:lnTo>
                      <a:pt x="736" y="985"/>
                    </a:lnTo>
                    <a:lnTo>
                      <a:pt x="733" y="979"/>
                    </a:lnTo>
                    <a:lnTo>
                      <a:pt x="727" y="973"/>
                    </a:lnTo>
                    <a:lnTo>
                      <a:pt x="742" y="966"/>
                    </a:lnTo>
                    <a:lnTo>
                      <a:pt x="742" y="954"/>
                    </a:lnTo>
                    <a:lnTo>
                      <a:pt x="744" y="954"/>
                    </a:lnTo>
                    <a:lnTo>
                      <a:pt x="751" y="951"/>
                    </a:lnTo>
                    <a:lnTo>
                      <a:pt x="757" y="951"/>
                    </a:lnTo>
                    <a:lnTo>
                      <a:pt x="763" y="949"/>
                    </a:lnTo>
                    <a:lnTo>
                      <a:pt x="769" y="942"/>
                    </a:lnTo>
                    <a:lnTo>
                      <a:pt x="769" y="934"/>
                    </a:lnTo>
                    <a:lnTo>
                      <a:pt x="766" y="930"/>
                    </a:lnTo>
                    <a:lnTo>
                      <a:pt x="766" y="927"/>
                    </a:lnTo>
                    <a:lnTo>
                      <a:pt x="781" y="927"/>
                    </a:lnTo>
                    <a:lnTo>
                      <a:pt x="788" y="930"/>
                    </a:lnTo>
                    <a:lnTo>
                      <a:pt x="791" y="930"/>
                    </a:lnTo>
                    <a:lnTo>
                      <a:pt x="791" y="934"/>
                    </a:lnTo>
                    <a:lnTo>
                      <a:pt x="793" y="936"/>
                    </a:lnTo>
                    <a:lnTo>
                      <a:pt x="810" y="936"/>
                    </a:lnTo>
                    <a:lnTo>
                      <a:pt x="815" y="930"/>
                    </a:lnTo>
                    <a:lnTo>
                      <a:pt x="822" y="927"/>
                    </a:lnTo>
                    <a:lnTo>
                      <a:pt x="830" y="927"/>
                    </a:lnTo>
                    <a:lnTo>
                      <a:pt x="834" y="930"/>
                    </a:lnTo>
                    <a:lnTo>
                      <a:pt x="837" y="936"/>
                    </a:lnTo>
                    <a:lnTo>
                      <a:pt x="867" y="936"/>
                    </a:lnTo>
                    <a:lnTo>
                      <a:pt x="870" y="939"/>
                    </a:lnTo>
                    <a:lnTo>
                      <a:pt x="870" y="942"/>
                    </a:lnTo>
                    <a:lnTo>
                      <a:pt x="874" y="949"/>
                    </a:lnTo>
                    <a:lnTo>
                      <a:pt x="892" y="949"/>
                    </a:lnTo>
                    <a:lnTo>
                      <a:pt x="899" y="964"/>
                    </a:lnTo>
                    <a:lnTo>
                      <a:pt x="899" y="966"/>
                    </a:lnTo>
                    <a:lnTo>
                      <a:pt x="904" y="973"/>
                    </a:lnTo>
                    <a:lnTo>
                      <a:pt x="911" y="973"/>
                    </a:lnTo>
                    <a:lnTo>
                      <a:pt x="911" y="964"/>
                    </a:lnTo>
                    <a:lnTo>
                      <a:pt x="904" y="958"/>
                    </a:lnTo>
                    <a:lnTo>
                      <a:pt x="904" y="954"/>
                    </a:lnTo>
                    <a:lnTo>
                      <a:pt x="911" y="954"/>
                    </a:lnTo>
                    <a:lnTo>
                      <a:pt x="948" y="973"/>
                    </a:lnTo>
                    <a:lnTo>
                      <a:pt x="950" y="970"/>
                    </a:lnTo>
                    <a:lnTo>
                      <a:pt x="953" y="964"/>
                    </a:lnTo>
                    <a:lnTo>
                      <a:pt x="960" y="961"/>
                    </a:lnTo>
                    <a:lnTo>
                      <a:pt x="965" y="954"/>
                    </a:lnTo>
                    <a:lnTo>
                      <a:pt x="972" y="951"/>
                    </a:lnTo>
                    <a:lnTo>
                      <a:pt x="975" y="951"/>
                    </a:lnTo>
                    <a:lnTo>
                      <a:pt x="993" y="961"/>
                    </a:lnTo>
                    <a:lnTo>
                      <a:pt x="1000" y="961"/>
                    </a:lnTo>
                    <a:lnTo>
                      <a:pt x="1008" y="958"/>
                    </a:lnTo>
                    <a:lnTo>
                      <a:pt x="1015" y="954"/>
                    </a:lnTo>
                    <a:lnTo>
                      <a:pt x="1017" y="951"/>
                    </a:lnTo>
                    <a:lnTo>
                      <a:pt x="1024" y="951"/>
                    </a:lnTo>
                    <a:lnTo>
                      <a:pt x="1027" y="954"/>
                    </a:lnTo>
                    <a:lnTo>
                      <a:pt x="1032" y="958"/>
                    </a:lnTo>
                    <a:lnTo>
                      <a:pt x="1036" y="964"/>
                    </a:lnTo>
                    <a:lnTo>
                      <a:pt x="1049" y="970"/>
                    </a:lnTo>
                    <a:lnTo>
                      <a:pt x="1061" y="970"/>
                    </a:lnTo>
                    <a:lnTo>
                      <a:pt x="1066" y="973"/>
                    </a:lnTo>
                    <a:lnTo>
                      <a:pt x="1073" y="973"/>
                    </a:lnTo>
                    <a:lnTo>
                      <a:pt x="1079" y="961"/>
                    </a:lnTo>
                    <a:lnTo>
                      <a:pt x="1081" y="964"/>
                    </a:lnTo>
                    <a:lnTo>
                      <a:pt x="1088" y="964"/>
                    </a:lnTo>
                    <a:lnTo>
                      <a:pt x="1091" y="966"/>
                    </a:lnTo>
                    <a:lnTo>
                      <a:pt x="1098" y="970"/>
                    </a:lnTo>
                    <a:lnTo>
                      <a:pt x="1116" y="970"/>
                    </a:lnTo>
                    <a:lnTo>
                      <a:pt x="1118" y="966"/>
                    </a:lnTo>
                    <a:lnTo>
                      <a:pt x="1122" y="961"/>
                    </a:lnTo>
                    <a:lnTo>
                      <a:pt x="1122" y="954"/>
                    </a:lnTo>
                    <a:lnTo>
                      <a:pt x="1118" y="946"/>
                    </a:lnTo>
                    <a:lnTo>
                      <a:pt x="1106" y="934"/>
                    </a:lnTo>
                    <a:lnTo>
                      <a:pt x="1101" y="930"/>
                    </a:lnTo>
                    <a:lnTo>
                      <a:pt x="1091" y="927"/>
                    </a:lnTo>
                    <a:lnTo>
                      <a:pt x="1079" y="927"/>
                    </a:lnTo>
                    <a:lnTo>
                      <a:pt x="1064" y="912"/>
                    </a:lnTo>
                    <a:lnTo>
                      <a:pt x="1069" y="912"/>
                    </a:lnTo>
                    <a:lnTo>
                      <a:pt x="1076" y="909"/>
                    </a:lnTo>
                    <a:lnTo>
                      <a:pt x="1081" y="909"/>
                    </a:lnTo>
                    <a:lnTo>
                      <a:pt x="1088" y="902"/>
                    </a:lnTo>
                    <a:lnTo>
                      <a:pt x="1088" y="897"/>
                    </a:lnTo>
                    <a:lnTo>
                      <a:pt x="1086" y="894"/>
                    </a:lnTo>
                    <a:lnTo>
                      <a:pt x="1081" y="887"/>
                    </a:lnTo>
                    <a:lnTo>
                      <a:pt x="1079" y="885"/>
                    </a:lnTo>
                    <a:lnTo>
                      <a:pt x="1086" y="878"/>
                    </a:lnTo>
                    <a:lnTo>
                      <a:pt x="1113" y="878"/>
                    </a:lnTo>
                    <a:lnTo>
                      <a:pt x="1106" y="872"/>
                    </a:lnTo>
                    <a:lnTo>
                      <a:pt x="1101" y="872"/>
                    </a:lnTo>
                    <a:lnTo>
                      <a:pt x="1088" y="866"/>
                    </a:lnTo>
                    <a:lnTo>
                      <a:pt x="1081" y="866"/>
                    </a:lnTo>
                    <a:lnTo>
                      <a:pt x="1088" y="857"/>
                    </a:lnTo>
                    <a:lnTo>
                      <a:pt x="1076" y="857"/>
                    </a:lnTo>
                    <a:lnTo>
                      <a:pt x="1076" y="853"/>
                    </a:lnTo>
                    <a:lnTo>
                      <a:pt x="1073" y="851"/>
                    </a:lnTo>
                    <a:lnTo>
                      <a:pt x="1073" y="848"/>
                    </a:lnTo>
                    <a:lnTo>
                      <a:pt x="1079" y="841"/>
                    </a:lnTo>
                    <a:lnTo>
                      <a:pt x="1098" y="836"/>
                    </a:lnTo>
                    <a:lnTo>
                      <a:pt x="1128" y="833"/>
                    </a:lnTo>
                    <a:lnTo>
                      <a:pt x="1155" y="833"/>
                    </a:lnTo>
                    <a:lnTo>
                      <a:pt x="1158" y="823"/>
                    </a:lnTo>
                    <a:lnTo>
                      <a:pt x="1192" y="823"/>
                    </a:lnTo>
                    <a:lnTo>
                      <a:pt x="1192" y="814"/>
                    </a:lnTo>
                    <a:lnTo>
                      <a:pt x="1195" y="811"/>
                    </a:lnTo>
                    <a:lnTo>
                      <a:pt x="1241" y="811"/>
                    </a:lnTo>
                    <a:lnTo>
                      <a:pt x="1268" y="802"/>
                    </a:lnTo>
                    <a:lnTo>
                      <a:pt x="1275" y="802"/>
                    </a:lnTo>
                    <a:lnTo>
                      <a:pt x="1275" y="796"/>
                    </a:lnTo>
                    <a:lnTo>
                      <a:pt x="1281" y="789"/>
                    </a:lnTo>
                    <a:lnTo>
                      <a:pt x="1288" y="787"/>
                    </a:lnTo>
                    <a:lnTo>
                      <a:pt x="1296" y="784"/>
                    </a:lnTo>
                    <a:lnTo>
                      <a:pt x="1308" y="784"/>
                    </a:lnTo>
                    <a:lnTo>
                      <a:pt x="1318" y="787"/>
                    </a:lnTo>
                    <a:lnTo>
                      <a:pt x="1327" y="787"/>
                    </a:lnTo>
                    <a:lnTo>
                      <a:pt x="1333" y="793"/>
                    </a:lnTo>
                    <a:lnTo>
                      <a:pt x="1339" y="793"/>
                    </a:lnTo>
                    <a:lnTo>
                      <a:pt x="1345" y="787"/>
                    </a:lnTo>
                    <a:lnTo>
                      <a:pt x="1349" y="787"/>
                    </a:lnTo>
                    <a:lnTo>
                      <a:pt x="1357" y="796"/>
                    </a:lnTo>
                    <a:lnTo>
                      <a:pt x="1361" y="802"/>
                    </a:lnTo>
                    <a:lnTo>
                      <a:pt x="1364" y="806"/>
                    </a:lnTo>
                    <a:lnTo>
                      <a:pt x="1369" y="806"/>
                    </a:lnTo>
                    <a:lnTo>
                      <a:pt x="1374" y="808"/>
                    </a:lnTo>
                    <a:lnTo>
                      <a:pt x="1374" y="829"/>
                    </a:lnTo>
                    <a:lnTo>
                      <a:pt x="1376" y="833"/>
                    </a:lnTo>
                    <a:lnTo>
                      <a:pt x="1384" y="833"/>
                    </a:lnTo>
                    <a:lnTo>
                      <a:pt x="1391" y="829"/>
                    </a:lnTo>
                    <a:lnTo>
                      <a:pt x="1401" y="829"/>
                    </a:lnTo>
                    <a:lnTo>
                      <a:pt x="1406" y="821"/>
                    </a:lnTo>
                    <a:lnTo>
                      <a:pt x="1419" y="838"/>
                    </a:lnTo>
                    <a:lnTo>
                      <a:pt x="1431" y="833"/>
                    </a:lnTo>
                    <a:lnTo>
                      <a:pt x="1443" y="838"/>
                    </a:lnTo>
                    <a:lnTo>
                      <a:pt x="1446" y="836"/>
                    </a:lnTo>
                    <a:lnTo>
                      <a:pt x="1450" y="836"/>
                    </a:lnTo>
                    <a:lnTo>
                      <a:pt x="1455" y="838"/>
                    </a:lnTo>
                    <a:lnTo>
                      <a:pt x="1455" y="851"/>
                    </a:lnTo>
                    <a:lnTo>
                      <a:pt x="1453" y="853"/>
                    </a:lnTo>
                    <a:lnTo>
                      <a:pt x="1453" y="857"/>
                    </a:lnTo>
                    <a:lnTo>
                      <a:pt x="1455" y="857"/>
                    </a:lnTo>
                    <a:lnTo>
                      <a:pt x="1458" y="853"/>
                    </a:lnTo>
                    <a:lnTo>
                      <a:pt x="1462" y="853"/>
                    </a:lnTo>
                    <a:lnTo>
                      <a:pt x="1465" y="851"/>
                    </a:lnTo>
                    <a:lnTo>
                      <a:pt x="1468" y="851"/>
                    </a:lnTo>
                    <a:lnTo>
                      <a:pt x="1470" y="853"/>
                    </a:lnTo>
                    <a:lnTo>
                      <a:pt x="1477" y="857"/>
                    </a:lnTo>
                    <a:lnTo>
                      <a:pt x="1480" y="860"/>
                    </a:lnTo>
                    <a:lnTo>
                      <a:pt x="1487" y="863"/>
                    </a:lnTo>
                    <a:lnTo>
                      <a:pt x="1492" y="857"/>
                    </a:lnTo>
                    <a:lnTo>
                      <a:pt x="1492" y="848"/>
                    </a:lnTo>
                    <a:lnTo>
                      <a:pt x="1495" y="845"/>
                    </a:lnTo>
                    <a:lnTo>
                      <a:pt x="1502" y="841"/>
                    </a:lnTo>
                    <a:lnTo>
                      <a:pt x="1507" y="841"/>
                    </a:lnTo>
                    <a:lnTo>
                      <a:pt x="1514" y="833"/>
                    </a:lnTo>
                    <a:lnTo>
                      <a:pt x="1532" y="826"/>
                    </a:lnTo>
                    <a:lnTo>
                      <a:pt x="1541" y="817"/>
                    </a:lnTo>
                    <a:lnTo>
                      <a:pt x="1544" y="817"/>
                    </a:lnTo>
                    <a:lnTo>
                      <a:pt x="1547" y="821"/>
                    </a:lnTo>
                    <a:lnTo>
                      <a:pt x="1547" y="829"/>
                    </a:lnTo>
                    <a:lnTo>
                      <a:pt x="1541" y="836"/>
                    </a:lnTo>
                    <a:lnTo>
                      <a:pt x="1539" y="836"/>
                    </a:lnTo>
                    <a:lnTo>
                      <a:pt x="1556" y="845"/>
                    </a:lnTo>
                    <a:lnTo>
                      <a:pt x="1571" y="851"/>
                    </a:lnTo>
                    <a:lnTo>
                      <a:pt x="1588" y="860"/>
                    </a:lnTo>
                    <a:lnTo>
                      <a:pt x="1593" y="863"/>
                    </a:lnTo>
                    <a:lnTo>
                      <a:pt x="1603" y="870"/>
                    </a:lnTo>
                    <a:lnTo>
                      <a:pt x="1618" y="885"/>
                    </a:lnTo>
                    <a:lnTo>
                      <a:pt x="1655" y="915"/>
                    </a:lnTo>
                    <a:lnTo>
                      <a:pt x="1664" y="927"/>
                    </a:lnTo>
                    <a:lnTo>
                      <a:pt x="1682" y="946"/>
                    </a:lnTo>
                    <a:lnTo>
                      <a:pt x="1689" y="954"/>
                    </a:lnTo>
                    <a:lnTo>
                      <a:pt x="1694" y="961"/>
                    </a:lnTo>
                    <a:lnTo>
                      <a:pt x="1701" y="964"/>
                    </a:lnTo>
                    <a:lnTo>
                      <a:pt x="1707" y="964"/>
                    </a:lnTo>
                    <a:lnTo>
                      <a:pt x="1712" y="961"/>
                    </a:lnTo>
                    <a:lnTo>
                      <a:pt x="1712" y="0"/>
                    </a:lnTo>
                    <a:lnTo>
                      <a:pt x="1707" y="0"/>
                    </a:lnTo>
                    <a:lnTo>
                      <a:pt x="1704" y="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  <p:sp>
            <p:nvSpPr>
              <p:cNvPr id="162" name="Freeform 8">
                <a:extLst>
                  <a:ext uri="{FF2B5EF4-FFF2-40B4-BE49-F238E27FC236}">
                    <a16:creationId xmlns:a16="http://schemas.microsoft.com/office/drawing/2014/main" id="{F1338055-1783-44A4-AE2D-76EF0BC42714}"/>
                  </a:ext>
                </a:extLst>
              </p:cNvPr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3415" y="1465"/>
                <a:ext cx="15" cy="9"/>
              </a:xfrm>
              <a:custGeom>
                <a:avLst/>
                <a:gdLst>
                  <a:gd name="T0" fmla="*/ 3 w 15"/>
                  <a:gd name="T1" fmla="*/ 9 h 9"/>
                  <a:gd name="T2" fmla="*/ 15 w 15"/>
                  <a:gd name="T3" fmla="*/ 0 h 9"/>
                  <a:gd name="T4" fmla="*/ 0 w 15"/>
                  <a:gd name="T5" fmla="*/ 0 h 9"/>
                  <a:gd name="T6" fmla="*/ 0 w 15"/>
                  <a:gd name="T7" fmla="*/ 6 h 9"/>
                  <a:gd name="T8" fmla="*/ 3 w 15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9">
                    <a:moveTo>
                      <a:pt x="3" y="9"/>
                    </a:moveTo>
                    <a:lnTo>
                      <a:pt x="15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3" y="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  <p:sp>
            <p:nvSpPr>
              <p:cNvPr id="163" name="Freeform 9">
                <a:extLst>
                  <a:ext uri="{FF2B5EF4-FFF2-40B4-BE49-F238E27FC236}">
                    <a16:creationId xmlns:a16="http://schemas.microsoft.com/office/drawing/2014/main" id="{4B238AEC-DA29-441D-8DA9-42D4D5EBF71C}"/>
                  </a:ext>
                </a:extLst>
              </p:cNvPr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3573" y="2804"/>
                <a:ext cx="4" cy="0"/>
              </a:xfrm>
              <a:custGeom>
                <a:avLst/>
                <a:gdLst>
                  <a:gd name="T0" fmla="*/ 4 w 4"/>
                  <a:gd name="T1" fmla="*/ 2 w 4"/>
                  <a:gd name="T2" fmla="*/ 0 w 4"/>
                  <a:gd name="T3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  <p:sp>
            <p:nvSpPr>
              <p:cNvPr id="164" name="Freeform 10">
                <a:extLst>
                  <a:ext uri="{FF2B5EF4-FFF2-40B4-BE49-F238E27FC236}">
                    <a16:creationId xmlns:a16="http://schemas.microsoft.com/office/drawing/2014/main" id="{AD1D6EEC-FAA2-42DB-B45B-A6DBA3F58F20}"/>
                  </a:ext>
                </a:extLst>
              </p:cNvPr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3853" y="1783"/>
                <a:ext cx="52" cy="25"/>
              </a:xfrm>
              <a:custGeom>
                <a:avLst/>
                <a:gdLst>
                  <a:gd name="T0" fmla="*/ 12 w 52"/>
                  <a:gd name="T1" fmla="*/ 0 h 25"/>
                  <a:gd name="T2" fmla="*/ 0 w 52"/>
                  <a:gd name="T3" fmla="*/ 0 h 25"/>
                  <a:gd name="T4" fmla="*/ 3 w 52"/>
                  <a:gd name="T5" fmla="*/ 5 h 25"/>
                  <a:gd name="T6" fmla="*/ 15 w 52"/>
                  <a:gd name="T7" fmla="*/ 12 h 25"/>
                  <a:gd name="T8" fmla="*/ 30 w 52"/>
                  <a:gd name="T9" fmla="*/ 20 h 25"/>
                  <a:gd name="T10" fmla="*/ 42 w 52"/>
                  <a:gd name="T11" fmla="*/ 25 h 25"/>
                  <a:gd name="T12" fmla="*/ 52 w 52"/>
                  <a:gd name="T13" fmla="*/ 20 h 25"/>
                  <a:gd name="T14" fmla="*/ 45 w 52"/>
                  <a:gd name="T15" fmla="*/ 12 h 25"/>
                  <a:gd name="T16" fmla="*/ 30 w 52"/>
                  <a:gd name="T17" fmla="*/ 3 h 25"/>
                  <a:gd name="T18" fmla="*/ 12 w 52"/>
                  <a:gd name="T1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2" h="25">
                    <a:moveTo>
                      <a:pt x="12" y="0"/>
                    </a:moveTo>
                    <a:lnTo>
                      <a:pt x="0" y="0"/>
                    </a:lnTo>
                    <a:lnTo>
                      <a:pt x="3" y="5"/>
                    </a:lnTo>
                    <a:lnTo>
                      <a:pt x="15" y="12"/>
                    </a:lnTo>
                    <a:lnTo>
                      <a:pt x="30" y="20"/>
                    </a:lnTo>
                    <a:lnTo>
                      <a:pt x="42" y="25"/>
                    </a:lnTo>
                    <a:lnTo>
                      <a:pt x="52" y="20"/>
                    </a:lnTo>
                    <a:lnTo>
                      <a:pt x="45" y="12"/>
                    </a:lnTo>
                    <a:lnTo>
                      <a:pt x="30" y="3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  <p:sp>
            <p:nvSpPr>
              <p:cNvPr id="165" name="Freeform 11">
                <a:extLst>
                  <a:ext uri="{FF2B5EF4-FFF2-40B4-BE49-F238E27FC236}">
                    <a16:creationId xmlns:a16="http://schemas.microsoft.com/office/drawing/2014/main" id="{4C290012-1AC3-4764-B786-9BBB5B92C58A}"/>
                  </a:ext>
                </a:extLst>
              </p:cNvPr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3371" y="1450"/>
                <a:ext cx="64" cy="15"/>
              </a:xfrm>
              <a:custGeom>
                <a:avLst/>
                <a:gdLst>
                  <a:gd name="T0" fmla="*/ 22 w 64"/>
                  <a:gd name="T1" fmla="*/ 15 h 15"/>
                  <a:gd name="T2" fmla="*/ 64 w 64"/>
                  <a:gd name="T3" fmla="*/ 6 h 15"/>
                  <a:gd name="T4" fmla="*/ 49 w 64"/>
                  <a:gd name="T5" fmla="*/ 0 h 15"/>
                  <a:gd name="T6" fmla="*/ 25 w 64"/>
                  <a:gd name="T7" fmla="*/ 6 h 15"/>
                  <a:gd name="T8" fmla="*/ 0 w 64"/>
                  <a:gd name="T9" fmla="*/ 6 h 15"/>
                  <a:gd name="T10" fmla="*/ 10 w 64"/>
                  <a:gd name="T11" fmla="*/ 12 h 15"/>
                  <a:gd name="T12" fmla="*/ 22 w 64"/>
                  <a:gd name="T13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15">
                    <a:moveTo>
                      <a:pt x="22" y="15"/>
                    </a:moveTo>
                    <a:lnTo>
                      <a:pt x="64" y="6"/>
                    </a:lnTo>
                    <a:lnTo>
                      <a:pt x="49" y="0"/>
                    </a:lnTo>
                    <a:lnTo>
                      <a:pt x="25" y="6"/>
                    </a:lnTo>
                    <a:lnTo>
                      <a:pt x="0" y="6"/>
                    </a:lnTo>
                    <a:lnTo>
                      <a:pt x="10" y="12"/>
                    </a:lnTo>
                    <a:lnTo>
                      <a:pt x="22" y="1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  <p:sp>
            <p:nvSpPr>
              <p:cNvPr id="166" name="Freeform 12">
                <a:extLst>
                  <a:ext uri="{FF2B5EF4-FFF2-40B4-BE49-F238E27FC236}">
                    <a16:creationId xmlns:a16="http://schemas.microsoft.com/office/drawing/2014/main" id="{74CD8AD5-BAC7-4261-AEE4-89E178C0DC39}"/>
                  </a:ext>
                </a:extLst>
              </p:cNvPr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3647" y="1565"/>
                <a:ext cx="347" cy="206"/>
              </a:xfrm>
              <a:custGeom>
                <a:avLst/>
                <a:gdLst>
                  <a:gd name="T0" fmla="*/ 41 w 347"/>
                  <a:gd name="T1" fmla="*/ 172 h 206"/>
                  <a:gd name="T2" fmla="*/ 61 w 347"/>
                  <a:gd name="T3" fmla="*/ 177 h 206"/>
                  <a:gd name="T4" fmla="*/ 68 w 347"/>
                  <a:gd name="T5" fmla="*/ 187 h 206"/>
                  <a:gd name="T6" fmla="*/ 71 w 347"/>
                  <a:gd name="T7" fmla="*/ 196 h 206"/>
                  <a:gd name="T8" fmla="*/ 80 w 347"/>
                  <a:gd name="T9" fmla="*/ 199 h 206"/>
                  <a:gd name="T10" fmla="*/ 95 w 347"/>
                  <a:gd name="T11" fmla="*/ 202 h 206"/>
                  <a:gd name="T12" fmla="*/ 110 w 347"/>
                  <a:gd name="T13" fmla="*/ 206 h 206"/>
                  <a:gd name="T14" fmla="*/ 162 w 347"/>
                  <a:gd name="T15" fmla="*/ 202 h 206"/>
                  <a:gd name="T16" fmla="*/ 110 w 347"/>
                  <a:gd name="T17" fmla="*/ 177 h 206"/>
                  <a:gd name="T18" fmla="*/ 101 w 347"/>
                  <a:gd name="T19" fmla="*/ 162 h 206"/>
                  <a:gd name="T20" fmla="*/ 95 w 347"/>
                  <a:gd name="T21" fmla="*/ 154 h 206"/>
                  <a:gd name="T22" fmla="*/ 105 w 347"/>
                  <a:gd name="T23" fmla="*/ 125 h 206"/>
                  <a:gd name="T24" fmla="*/ 101 w 347"/>
                  <a:gd name="T25" fmla="*/ 120 h 206"/>
                  <a:gd name="T26" fmla="*/ 113 w 347"/>
                  <a:gd name="T27" fmla="*/ 117 h 206"/>
                  <a:gd name="T28" fmla="*/ 125 w 347"/>
                  <a:gd name="T29" fmla="*/ 108 h 206"/>
                  <a:gd name="T30" fmla="*/ 125 w 347"/>
                  <a:gd name="T31" fmla="*/ 105 h 206"/>
                  <a:gd name="T32" fmla="*/ 120 w 347"/>
                  <a:gd name="T33" fmla="*/ 93 h 206"/>
                  <a:gd name="T34" fmla="*/ 145 w 347"/>
                  <a:gd name="T35" fmla="*/ 89 h 206"/>
                  <a:gd name="T36" fmla="*/ 150 w 347"/>
                  <a:gd name="T37" fmla="*/ 83 h 206"/>
                  <a:gd name="T38" fmla="*/ 154 w 347"/>
                  <a:gd name="T39" fmla="*/ 71 h 206"/>
                  <a:gd name="T40" fmla="*/ 166 w 347"/>
                  <a:gd name="T41" fmla="*/ 74 h 206"/>
                  <a:gd name="T42" fmla="*/ 181 w 347"/>
                  <a:gd name="T43" fmla="*/ 68 h 206"/>
                  <a:gd name="T44" fmla="*/ 199 w 347"/>
                  <a:gd name="T45" fmla="*/ 53 h 206"/>
                  <a:gd name="T46" fmla="*/ 231 w 347"/>
                  <a:gd name="T47" fmla="*/ 49 h 206"/>
                  <a:gd name="T48" fmla="*/ 285 w 347"/>
                  <a:gd name="T49" fmla="*/ 41 h 206"/>
                  <a:gd name="T50" fmla="*/ 325 w 347"/>
                  <a:gd name="T51" fmla="*/ 32 h 206"/>
                  <a:gd name="T52" fmla="*/ 340 w 347"/>
                  <a:gd name="T53" fmla="*/ 25 h 206"/>
                  <a:gd name="T54" fmla="*/ 347 w 347"/>
                  <a:gd name="T55" fmla="*/ 17 h 206"/>
                  <a:gd name="T56" fmla="*/ 340 w 347"/>
                  <a:gd name="T57" fmla="*/ 7 h 206"/>
                  <a:gd name="T58" fmla="*/ 307 w 347"/>
                  <a:gd name="T59" fmla="*/ 0 h 206"/>
                  <a:gd name="T60" fmla="*/ 270 w 347"/>
                  <a:gd name="T61" fmla="*/ 10 h 206"/>
                  <a:gd name="T62" fmla="*/ 231 w 347"/>
                  <a:gd name="T63" fmla="*/ 25 h 206"/>
                  <a:gd name="T64" fmla="*/ 181 w 347"/>
                  <a:gd name="T65" fmla="*/ 22 h 206"/>
                  <a:gd name="T66" fmla="*/ 162 w 347"/>
                  <a:gd name="T67" fmla="*/ 34 h 206"/>
                  <a:gd name="T68" fmla="*/ 123 w 347"/>
                  <a:gd name="T69" fmla="*/ 37 h 206"/>
                  <a:gd name="T70" fmla="*/ 93 w 347"/>
                  <a:gd name="T71" fmla="*/ 49 h 206"/>
                  <a:gd name="T72" fmla="*/ 80 w 347"/>
                  <a:gd name="T73" fmla="*/ 53 h 206"/>
                  <a:gd name="T74" fmla="*/ 64 w 347"/>
                  <a:gd name="T75" fmla="*/ 66 h 206"/>
                  <a:gd name="T76" fmla="*/ 80 w 347"/>
                  <a:gd name="T77" fmla="*/ 66 h 206"/>
                  <a:gd name="T78" fmla="*/ 89 w 347"/>
                  <a:gd name="T79" fmla="*/ 71 h 206"/>
                  <a:gd name="T80" fmla="*/ 64 w 347"/>
                  <a:gd name="T81" fmla="*/ 76 h 206"/>
                  <a:gd name="T82" fmla="*/ 56 w 347"/>
                  <a:gd name="T83" fmla="*/ 83 h 206"/>
                  <a:gd name="T84" fmla="*/ 49 w 347"/>
                  <a:gd name="T85" fmla="*/ 89 h 206"/>
                  <a:gd name="T86" fmla="*/ 34 w 347"/>
                  <a:gd name="T87" fmla="*/ 105 h 206"/>
                  <a:gd name="T88" fmla="*/ 59 w 347"/>
                  <a:gd name="T89" fmla="*/ 101 h 206"/>
                  <a:gd name="T90" fmla="*/ 34 w 347"/>
                  <a:gd name="T91" fmla="*/ 117 h 206"/>
                  <a:gd name="T92" fmla="*/ 29 w 347"/>
                  <a:gd name="T93" fmla="*/ 130 h 206"/>
                  <a:gd name="T94" fmla="*/ 12 w 347"/>
                  <a:gd name="T95" fmla="*/ 145 h 206"/>
                  <a:gd name="T96" fmla="*/ 19 w 347"/>
                  <a:gd name="T97" fmla="*/ 147 h 206"/>
                  <a:gd name="T98" fmla="*/ 12 w 347"/>
                  <a:gd name="T99" fmla="*/ 150 h 206"/>
                  <a:gd name="T100" fmla="*/ 4 w 347"/>
                  <a:gd name="T101" fmla="*/ 154 h 206"/>
                  <a:gd name="T102" fmla="*/ 0 w 347"/>
                  <a:gd name="T103" fmla="*/ 160 h 206"/>
                  <a:gd name="T104" fmla="*/ 19 w 347"/>
                  <a:gd name="T105" fmla="*/ 172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47" h="206">
                    <a:moveTo>
                      <a:pt x="19" y="172"/>
                    </a:moveTo>
                    <a:lnTo>
                      <a:pt x="41" y="172"/>
                    </a:lnTo>
                    <a:lnTo>
                      <a:pt x="52" y="174"/>
                    </a:lnTo>
                    <a:lnTo>
                      <a:pt x="61" y="177"/>
                    </a:lnTo>
                    <a:lnTo>
                      <a:pt x="64" y="181"/>
                    </a:lnTo>
                    <a:lnTo>
                      <a:pt x="68" y="187"/>
                    </a:lnTo>
                    <a:lnTo>
                      <a:pt x="68" y="194"/>
                    </a:lnTo>
                    <a:lnTo>
                      <a:pt x="71" y="196"/>
                    </a:lnTo>
                    <a:lnTo>
                      <a:pt x="71" y="199"/>
                    </a:lnTo>
                    <a:lnTo>
                      <a:pt x="80" y="199"/>
                    </a:lnTo>
                    <a:lnTo>
                      <a:pt x="89" y="202"/>
                    </a:lnTo>
                    <a:lnTo>
                      <a:pt x="95" y="202"/>
                    </a:lnTo>
                    <a:lnTo>
                      <a:pt x="105" y="206"/>
                    </a:lnTo>
                    <a:lnTo>
                      <a:pt x="110" y="206"/>
                    </a:lnTo>
                    <a:lnTo>
                      <a:pt x="169" y="202"/>
                    </a:lnTo>
                    <a:lnTo>
                      <a:pt x="162" y="202"/>
                    </a:lnTo>
                    <a:lnTo>
                      <a:pt x="125" y="189"/>
                    </a:lnTo>
                    <a:lnTo>
                      <a:pt x="110" y="177"/>
                    </a:lnTo>
                    <a:lnTo>
                      <a:pt x="105" y="169"/>
                    </a:lnTo>
                    <a:lnTo>
                      <a:pt x="101" y="162"/>
                    </a:lnTo>
                    <a:lnTo>
                      <a:pt x="95" y="160"/>
                    </a:lnTo>
                    <a:lnTo>
                      <a:pt x="95" y="154"/>
                    </a:lnTo>
                    <a:lnTo>
                      <a:pt x="93" y="150"/>
                    </a:lnTo>
                    <a:lnTo>
                      <a:pt x="105" y="125"/>
                    </a:lnTo>
                    <a:lnTo>
                      <a:pt x="101" y="123"/>
                    </a:lnTo>
                    <a:lnTo>
                      <a:pt x="101" y="120"/>
                    </a:lnTo>
                    <a:lnTo>
                      <a:pt x="95" y="120"/>
                    </a:lnTo>
                    <a:lnTo>
                      <a:pt x="113" y="117"/>
                    </a:lnTo>
                    <a:lnTo>
                      <a:pt x="108" y="108"/>
                    </a:lnTo>
                    <a:lnTo>
                      <a:pt x="125" y="108"/>
                    </a:lnTo>
                    <a:lnTo>
                      <a:pt x="113" y="101"/>
                    </a:lnTo>
                    <a:lnTo>
                      <a:pt x="125" y="105"/>
                    </a:lnTo>
                    <a:lnTo>
                      <a:pt x="130" y="98"/>
                    </a:lnTo>
                    <a:lnTo>
                      <a:pt x="120" y="93"/>
                    </a:lnTo>
                    <a:lnTo>
                      <a:pt x="142" y="93"/>
                    </a:lnTo>
                    <a:lnTo>
                      <a:pt x="145" y="89"/>
                    </a:lnTo>
                    <a:lnTo>
                      <a:pt x="135" y="81"/>
                    </a:lnTo>
                    <a:lnTo>
                      <a:pt x="150" y="83"/>
                    </a:lnTo>
                    <a:lnTo>
                      <a:pt x="150" y="68"/>
                    </a:lnTo>
                    <a:lnTo>
                      <a:pt x="154" y="71"/>
                    </a:lnTo>
                    <a:lnTo>
                      <a:pt x="160" y="74"/>
                    </a:lnTo>
                    <a:lnTo>
                      <a:pt x="166" y="74"/>
                    </a:lnTo>
                    <a:lnTo>
                      <a:pt x="175" y="71"/>
                    </a:lnTo>
                    <a:lnTo>
                      <a:pt x="181" y="68"/>
                    </a:lnTo>
                    <a:lnTo>
                      <a:pt x="190" y="62"/>
                    </a:lnTo>
                    <a:lnTo>
                      <a:pt x="199" y="53"/>
                    </a:lnTo>
                    <a:lnTo>
                      <a:pt x="209" y="53"/>
                    </a:lnTo>
                    <a:lnTo>
                      <a:pt x="231" y="49"/>
                    </a:lnTo>
                    <a:lnTo>
                      <a:pt x="258" y="44"/>
                    </a:lnTo>
                    <a:lnTo>
                      <a:pt x="285" y="41"/>
                    </a:lnTo>
                    <a:lnTo>
                      <a:pt x="310" y="34"/>
                    </a:lnTo>
                    <a:lnTo>
                      <a:pt x="325" y="32"/>
                    </a:lnTo>
                    <a:lnTo>
                      <a:pt x="332" y="29"/>
                    </a:lnTo>
                    <a:lnTo>
                      <a:pt x="340" y="25"/>
                    </a:lnTo>
                    <a:lnTo>
                      <a:pt x="344" y="22"/>
                    </a:lnTo>
                    <a:lnTo>
                      <a:pt x="347" y="17"/>
                    </a:lnTo>
                    <a:lnTo>
                      <a:pt x="347" y="13"/>
                    </a:lnTo>
                    <a:lnTo>
                      <a:pt x="340" y="7"/>
                    </a:lnTo>
                    <a:lnTo>
                      <a:pt x="332" y="4"/>
                    </a:lnTo>
                    <a:lnTo>
                      <a:pt x="307" y="0"/>
                    </a:lnTo>
                    <a:lnTo>
                      <a:pt x="285" y="4"/>
                    </a:lnTo>
                    <a:lnTo>
                      <a:pt x="270" y="10"/>
                    </a:lnTo>
                    <a:lnTo>
                      <a:pt x="251" y="17"/>
                    </a:lnTo>
                    <a:lnTo>
                      <a:pt x="231" y="25"/>
                    </a:lnTo>
                    <a:lnTo>
                      <a:pt x="190" y="25"/>
                    </a:lnTo>
                    <a:lnTo>
                      <a:pt x="181" y="22"/>
                    </a:lnTo>
                    <a:lnTo>
                      <a:pt x="172" y="22"/>
                    </a:lnTo>
                    <a:lnTo>
                      <a:pt x="162" y="34"/>
                    </a:lnTo>
                    <a:lnTo>
                      <a:pt x="150" y="25"/>
                    </a:lnTo>
                    <a:lnTo>
                      <a:pt x="123" y="37"/>
                    </a:lnTo>
                    <a:lnTo>
                      <a:pt x="108" y="37"/>
                    </a:lnTo>
                    <a:lnTo>
                      <a:pt x="93" y="49"/>
                    </a:lnTo>
                    <a:lnTo>
                      <a:pt x="105" y="53"/>
                    </a:lnTo>
                    <a:lnTo>
                      <a:pt x="80" y="53"/>
                    </a:lnTo>
                    <a:lnTo>
                      <a:pt x="64" y="56"/>
                    </a:lnTo>
                    <a:lnTo>
                      <a:pt x="64" y="66"/>
                    </a:lnTo>
                    <a:lnTo>
                      <a:pt x="76" y="56"/>
                    </a:lnTo>
                    <a:lnTo>
                      <a:pt x="80" y="66"/>
                    </a:lnTo>
                    <a:lnTo>
                      <a:pt x="93" y="66"/>
                    </a:lnTo>
                    <a:lnTo>
                      <a:pt x="89" y="71"/>
                    </a:lnTo>
                    <a:lnTo>
                      <a:pt x="68" y="71"/>
                    </a:lnTo>
                    <a:lnTo>
                      <a:pt x="64" y="76"/>
                    </a:lnTo>
                    <a:lnTo>
                      <a:pt x="80" y="81"/>
                    </a:lnTo>
                    <a:lnTo>
                      <a:pt x="56" y="83"/>
                    </a:lnTo>
                    <a:lnTo>
                      <a:pt x="74" y="86"/>
                    </a:lnTo>
                    <a:lnTo>
                      <a:pt x="49" y="89"/>
                    </a:lnTo>
                    <a:lnTo>
                      <a:pt x="49" y="98"/>
                    </a:lnTo>
                    <a:lnTo>
                      <a:pt x="34" y="105"/>
                    </a:lnTo>
                    <a:lnTo>
                      <a:pt x="37" y="111"/>
                    </a:lnTo>
                    <a:lnTo>
                      <a:pt x="59" y="101"/>
                    </a:lnTo>
                    <a:lnTo>
                      <a:pt x="52" y="117"/>
                    </a:lnTo>
                    <a:lnTo>
                      <a:pt x="34" y="117"/>
                    </a:lnTo>
                    <a:lnTo>
                      <a:pt x="29" y="120"/>
                    </a:lnTo>
                    <a:lnTo>
                      <a:pt x="29" y="130"/>
                    </a:lnTo>
                    <a:lnTo>
                      <a:pt x="7" y="132"/>
                    </a:lnTo>
                    <a:lnTo>
                      <a:pt x="12" y="145"/>
                    </a:lnTo>
                    <a:lnTo>
                      <a:pt x="29" y="135"/>
                    </a:lnTo>
                    <a:lnTo>
                      <a:pt x="19" y="147"/>
                    </a:lnTo>
                    <a:lnTo>
                      <a:pt x="16" y="147"/>
                    </a:lnTo>
                    <a:lnTo>
                      <a:pt x="12" y="150"/>
                    </a:lnTo>
                    <a:lnTo>
                      <a:pt x="9" y="150"/>
                    </a:lnTo>
                    <a:lnTo>
                      <a:pt x="4" y="154"/>
                    </a:lnTo>
                    <a:lnTo>
                      <a:pt x="0" y="157"/>
                    </a:lnTo>
                    <a:lnTo>
                      <a:pt x="0" y="160"/>
                    </a:lnTo>
                    <a:lnTo>
                      <a:pt x="7" y="165"/>
                    </a:lnTo>
                    <a:lnTo>
                      <a:pt x="19" y="17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  <p:sp>
            <p:nvSpPr>
              <p:cNvPr id="167" name="Freeform 13">
                <a:extLst>
                  <a:ext uri="{FF2B5EF4-FFF2-40B4-BE49-F238E27FC236}">
                    <a16:creationId xmlns:a16="http://schemas.microsoft.com/office/drawing/2014/main" id="{D1E0622E-E52F-45F9-BFA9-7EBE495D4D6F}"/>
                  </a:ext>
                </a:extLst>
              </p:cNvPr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3543" y="1462"/>
                <a:ext cx="34" cy="12"/>
              </a:xfrm>
              <a:custGeom>
                <a:avLst/>
                <a:gdLst>
                  <a:gd name="T0" fmla="*/ 30 w 34"/>
                  <a:gd name="T1" fmla="*/ 9 h 12"/>
                  <a:gd name="T2" fmla="*/ 34 w 34"/>
                  <a:gd name="T3" fmla="*/ 3 h 12"/>
                  <a:gd name="T4" fmla="*/ 12 w 34"/>
                  <a:gd name="T5" fmla="*/ 0 h 12"/>
                  <a:gd name="T6" fmla="*/ 0 w 34"/>
                  <a:gd name="T7" fmla="*/ 7 h 12"/>
                  <a:gd name="T8" fmla="*/ 3 w 34"/>
                  <a:gd name="T9" fmla="*/ 12 h 12"/>
                  <a:gd name="T10" fmla="*/ 30 w 34"/>
                  <a:gd name="T11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" h="12">
                    <a:moveTo>
                      <a:pt x="30" y="9"/>
                    </a:moveTo>
                    <a:lnTo>
                      <a:pt x="34" y="3"/>
                    </a:lnTo>
                    <a:lnTo>
                      <a:pt x="12" y="0"/>
                    </a:lnTo>
                    <a:lnTo>
                      <a:pt x="0" y="7"/>
                    </a:lnTo>
                    <a:lnTo>
                      <a:pt x="3" y="12"/>
                    </a:lnTo>
                    <a:lnTo>
                      <a:pt x="30" y="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  <p:sp>
            <p:nvSpPr>
              <p:cNvPr id="168" name="Freeform 14">
                <a:extLst>
                  <a:ext uri="{FF2B5EF4-FFF2-40B4-BE49-F238E27FC236}">
                    <a16:creationId xmlns:a16="http://schemas.microsoft.com/office/drawing/2014/main" id="{4205F7EE-AB6F-45E3-9A3F-397DAF502549}"/>
                  </a:ext>
                </a:extLst>
              </p:cNvPr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4671" y="1486"/>
                <a:ext cx="121" cy="56"/>
              </a:xfrm>
              <a:custGeom>
                <a:avLst/>
                <a:gdLst>
                  <a:gd name="T0" fmla="*/ 106 w 121"/>
                  <a:gd name="T1" fmla="*/ 28 h 56"/>
                  <a:gd name="T2" fmla="*/ 103 w 121"/>
                  <a:gd name="T3" fmla="*/ 28 h 56"/>
                  <a:gd name="T4" fmla="*/ 101 w 121"/>
                  <a:gd name="T5" fmla="*/ 25 h 56"/>
                  <a:gd name="T6" fmla="*/ 88 w 121"/>
                  <a:gd name="T7" fmla="*/ 19 h 56"/>
                  <a:gd name="T8" fmla="*/ 79 w 121"/>
                  <a:gd name="T9" fmla="*/ 15 h 56"/>
                  <a:gd name="T10" fmla="*/ 73 w 121"/>
                  <a:gd name="T11" fmla="*/ 13 h 56"/>
                  <a:gd name="T12" fmla="*/ 64 w 121"/>
                  <a:gd name="T13" fmla="*/ 13 h 56"/>
                  <a:gd name="T14" fmla="*/ 57 w 121"/>
                  <a:gd name="T15" fmla="*/ 15 h 56"/>
                  <a:gd name="T16" fmla="*/ 54 w 121"/>
                  <a:gd name="T17" fmla="*/ 19 h 56"/>
                  <a:gd name="T18" fmla="*/ 49 w 121"/>
                  <a:gd name="T19" fmla="*/ 22 h 56"/>
                  <a:gd name="T20" fmla="*/ 49 w 121"/>
                  <a:gd name="T21" fmla="*/ 19 h 56"/>
                  <a:gd name="T22" fmla="*/ 46 w 121"/>
                  <a:gd name="T23" fmla="*/ 15 h 56"/>
                  <a:gd name="T24" fmla="*/ 42 w 121"/>
                  <a:gd name="T25" fmla="*/ 10 h 56"/>
                  <a:gd name="T26" fmla="*/ 39 w 121"/>
                  <a:gd name="T27" fmla="*/ 7 h 56"/>
                  <a:gd name="T28" fmla="*/ 27 w 121"/>
                  <a:gd name="T29" fmla="*/ 0 h 56"/>
                  <a:gd name="T30" fmla="*/ 15 w 121"/>
                  <a:gd name="T31" fmla="*/ 7 h 56"/>
                  <a:gd name="T32" fmla="*/ 5 w 121"/>
                  <a:gd name="T33" fmla="*/ 25 h 56"/>
                  <a:gd name="T34" fmla="*/ 2 w 121"/>
                  <a:gd name="T35" fmla="*/ 40 h 56"/>
                  <a:gd name="T36" fmla="*/ 0 w 121"/>
                  <a:gd name="T37" fmla="*/ 49 h 56"/>
                  <a:gd name="T38" fmla="*/ 12 w 121"/>
                  <a:gd name="T39" fmla="*/ 56 h 56"/>
                  <a:gd name="T40" fmla="*/ 21 w 121"/>
                  <a:gd name="T41" fmla="*/ 52 h 56"/>
                  <a:gd name="T42" fmla="*/ 27 w 121"/>
                  <a:gd name="T43" fmla="*/ 52 h 56"/>
                  <a:gd name="T44" fmla="*/ 46 w 121"/>
                  <a:gd name="T45" fmla="*/ 44 h 56"/>
                  <a:gd name="T46" fmla="*/ 121 w 121"/>
                  <a:gd name="T47" fmla="*/ 41 h 56"/>
                  <a:gd name="T48" fmla="*/ 121 w 121"/>
                  <a:gd name="T49" fmla="*/ 36 h 56"/>
                  <a:gd name="T50" fmla="*/ 106 w 121"/>
                  <a:gd name="T51" fmla="*/ 2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1" h="56">
                    <a:moveTo>
                      <a:pt x="106" y="28"/>
                    </a:moveTo>
                    <a:lnTo>
                      <a:pt x="103" y="28"/>
                    </a:lnTo>
                    <a:lnTo>
                      <a:pt x="101" y="25"/>
                    </a:lnTo>
                    <a:lnTo>
                      <a:pt x="88" y="19"/>
                    </a:lnTo>
                    <a:lnTo>
                      <a:pt x="79" y="15"/>
                    </a:lnTo>
                    <a:lnTo>
                      <a:pt x="73" y="13"/>
                    </a:lnTo>
                    <a:lnTo>
                      <a:pt x="64" y="13"/>
                    </a:lnTo>
                    <a:lnTo>
                      <a:pt x="57" y="15"/>
                    </a:lnTo>
                    <a:lnTo>
                      <a:pt x="54" y="19"/>
                    </a:lnTo>
                    <a:lnTo>
                      <a:pt x="49" y="22"/>
                    </a:lnTo>
                    <a:lnTo>
                      <a:pt x="49" y="19"/>
                    </a:lnTo>
                    <a:lnTo>
                      <a:pt x="46" y="15"/>
                    </a:lnTo>
                    <a:lnTo>
                      <a:pt x="42" y="10"/>
                    </a:lnTo>
                    <a:lnTo>
                      <a:pt x="39" y="7"/>
                    </a:lnTo>
                    <a:lnTo>
                      <a:pt x="27" y="0"/>
                    </a:lnTo>
                    <a:lnTo>
                      <a:pt x="15" y="7"/>
                    </a:lnTo>
                    <a:lnTo>
                      <a:pt x="5" y="25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12" y="56"/>
                    </a:lnTo>
                    <a:lnTo>
                      <a:pt x="21" y="52"/>
                    </a:lnTo>
                    <a:lnTo>
                      <a:pt x="27" y="52"/>
                    </a:lnTo>
                    <a:lnTo>
                      <a:pt x="46" y="44"/>
                    </a:lnTo>
                    <a:lnTo>
                      <a:pt x="121" y="41"/>
                    </a:lnTo>
                    <a:lnTo>
                      <a:pt x="121" y="36"/>
                    </a:lnTo>
                    <a:lnTo>
                      <a:pt x="106" y="2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  <p:sp>
            <p:nvSpPr>
              <p:cNvPr id="169" name="Freeform 15">
                <a:extLst>
                  <a:ext uri="{FF2B5EF4-FFF2-40B4-BE49-F238E27FC236}">
                    <a16:creationId xmlns:a16="http://schemas.microsoft.com/office/drawing/2014/main" id="{A664ADC4-9430-414C-B1AE-C4AB0AE46E6A}"/>
                  </a:ext>
                </a:extLst>
              </p:cNvPr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3435" y="1450"/>
                <a:ext cx="74" cy="24"/>
              </a:xfrm>
              <a:custGeom>
                <a:avLst/>
                <a:gdLst>
                  <a:gd name="T0" fmla="*/ 4 w 74"/>
                  <a:gd name="T1" fmla="*/ 21 h 24"/>
                  <a:gd name="T2" fmla="*/ 10 w 74"/>
                  <a:gd name="T3" fmla="*/ 24 h 24"/>
                  <a:gd name="T4" fmla="*/ 25 w 74"/>
                  <a:gd name="T5" fmla="*/ 24 h 24"/>
                  <a:gd name="T6" fmla="*/ 29 w 74"/>
                  <a:gd name="T7" fmla="*/ 19 h 24"/>
                  <a:gd name="T8" fmla="*/ 41 w 74"/>
                  <a:gd name="T9" fmla="*/ 19 h 24"/>
                  <a:gd name="T10" fmla="*/ 47 w 74"/>
                  <a:gd name="T11" fmla="*/ 12 h 24"/>
                  <a:gd name="T12" fmla="*/ 74 w 74"/>
                  <a:gd name="T13" fmla="*/ 12 h 24"/>
                  <a:gd name="T14" fmla="*/ 74 w 74"/>
                  <a:gd name="T15" fmla="*/ 9 h 24"/>
                  <a:gd name="T16" fmla="*/ 69 w 74"/>
                  <a:gd name="T17" fmla="*/ 6 h 24"/>
                  <a:gd name="T18" fmla="*/ 56 w 74"/>
                  <a:gd name="T19" fmla="*/ 6 h 24"/>
                  <a:gd name="T20" fmla="*/ 56 w 74"/>
                  <a:gd name="T21" fmla="*/ 4 h 24"/>
                  <a:gd name="T22" fmla="*/ 54 w 74"/>
                  <a:gd name="T23" fmla="*/ 4 h 24"/>
                  <a:gd name="T24" fmla="*/ 47 w 74"/>
                  <a:gd name="T25" fmla="*/ 0 h 24"/>
                  <a:gd name="T26" fmla="*/ 34 w 74"/>
                  <a:gd name="T27" fmla="*/ 0 h 24"/>
                  <a:gd name="T28" fmla="*/ 32 w 74"/>
                  <a:gd name="T29" fmla="*/ 4 h 24"/>
                  <a:gd name="T30" fmla="*/ 29 w 74"/>
                  <a:gd name="T31" fmla="*/ 9 h 24"/>
                  <a:gd name="T32" fmla="*/ 29 w 74"/>
                  <a:gd name="T33" fmla="*/ 12 h 24"/>
                  <a:gd name="T34" fmla="*/ 25 w 74"/>
                  <a:gd name="T35" fmla="*/ 12 h 24"/>
                  <a:gd name="T36" fmla="*/ 22 w 74"/>
                  <a:gd name="T37" fmla="*/ 15 h 24"/>
                  <a:gd name="T38" fmla="*/ 17 w 74"/>
                  <a:gd name="T39" fmla="*/ 15 h 24"/>
                  <a:gd name="T40" fmla="*/ 7 w 74"/>
                  <a:gd name="T41" fmla="*/ 19 h 24"/>
                  <a:gd name="T42" fmla="*/ 4 w 74"/>
                  <a:gd name="T43" fmla="*/ 19 h 24"/>
                  <a:gd name="T44" fmla="*/ 0 w 74"/>
                  <a:gd name="T45" fmla="*/ 21 h 24"/>
                  <a:gd name="T46" fmla="*/ 4 w 74"/>
                  <a:gd name="T47" fmla="*/ 2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4" h="24">
                    <a:moveTo>
                      <a:pt x="4" y="21"/>
                    </a:moveTo>
                    <a:lnTo>
                      <a:pt x="10" y="24"/>
                    </a:lnTo>
                    <a:lnTo>
                      <a:pt x="25" y="24"/>
                    </a:lnTo>
                    <a:lnTo>
                      <a:pt x="29" y="19"/>
                    </a:lnTo>
                    <a:lnTo>
                      <a:pt x="41" y="19"/>
                    </a:lnTo>
                    <a:lnTo>
                      <a:pt x="47" y="12"/>
                    </a:lnTo>
                    <a:lnTo>
                      <a:pt x="74" y="12"/>
                    </a:lnTo>
                    <a:lnTo>
                      <a:pt x="74" y="9"/>
                    </a:lnTo>
                    <a:lnTo>
                      <a:pt x="69" y="6"/>
                    </a:lnTo>
                    <a:lnTo>
                      <a:pt x="56" y="6"/>
                    </a:lnTo>
                    <a:lnTo>
                      <a:pt x="56" y="4"/>
                    </a:lnTo>
                    <a:lnTo>
                      <a:pt x="54" y="4"/>
                    </a:lnTo>
                    <a:lnTo>
                      <a:pt x="47" y="0"/>
                    </a:lnTo>
                    <a:lnTo>
                      <a:pt x="34" y="0"/>
                    </a:lnTo>
                    <a:lnTo>
                      <a:pt x="32" y="4"/>
                    </a:lnTo>
                    <a:lnTo>
                      <a:pt x="29" y="9"/>
                    </a:lnTo>
                    <a:lnTo>
                      <a:pt x="29" y="12"/>
                    </a:lnTo>
                    <a:lnTo>
                      <a:pt x="25" y="12"/>
                    </a:lnTo>
                    <a:lnTo>
                      <a:pt x="22" y="15"/>
                    </a:lnTo>
                    <a:lnTo>
                      <a:pt x="17" y="15"/>
                    </a:lnTo>
                    <a:lnTo>
                      <a:pt x="7" y="19"/>
                    </a:lnTo>
                    <a:lnTo>
                      <a:pt x="4" y="19"/>
                    </a:lnTo>
                    <a:lnTo>
                      <a:pt x="0" y="21"/>
                    </a:lnTo>
                    <a:lnTo>
                      <a:pt x="4" y="2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  <p:sp>
            <p:nvSpPr>
              <p:cNvPr id="170" name="Freeform 16">
                <a:extLst>
                  <a:ext uri="{FF2B5EF4-FFF2-40B4-BE49-F238E27FC236}">
                    <a16:creationId xmlns:a16="http://schemas.microsoft.com/office/drawing/2014/main" id="{05939E6E-E324-4016-9498-DA6B8CB7DB69}"/>
                  </a:ext>
                </a:extLst>
              </p:cNvPr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3479" y="1469"/>
                <a:ext cx="46" cy="15"/>
              </a:xfrm>
              <a:custGeom>
                <a:avLst/>
                <a:gdLst>
                  <a:gd name="T0" fmla="*/ 10 w 46"/>
                  <a:gd name="T1" fmla="*/ 0 h 15"/>
                  <a:gd name="T2" fmla="*/ 0 w 46"/>
                  <a:gd name="T3" fmla="*/ 5 h 15"/>
                  <a:gd name="T4" fmla="*/ 10 w 46"/>
                  <a:gd name="T5" fmla="*/ 12 h 15"/>
                  <a:gd name="T6" fmla="*/ 18 w 46"/>
                  <a:gd name="T7" fmla="*/ 15 h 15"/>
                  <a:gd name="T8" fmla="*/ 46 w 46"/>
                  <a:gd name="T9" fmla="*/ 12 h 15"/>
                  <a:gd name="T10" fmla="*/ 42 w 46"/>
                  <a:gd name="T11" fmla="*/ 5 h 15"/>
                  <a:gd name="T12" fmla="*/ 27 w 46"/>
                  <a:gd name="T13" fmla="*/ 5 h 15"/>
                  <a:gd name="T14" fmla="*/ 10 w 46"/>
                  <a:gd name="T1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" h="15">
                    <a:moveTo>
                      <a:pt x="10" y="0"/>
                    </a:moveTo>
                    <a:lnTo>
                      <a:pt x="0" y="5"/>
                    </a:lnTo>
                    <a:lnTo>
                      <a:pt x="10" y="12"/>
                    </a:lnTo>
                    <a:lnTo>
                      <a:pt x="18" y="15"/>
                    </a:lnTo>
                    <a:lnTo>
                      <a:pt x="46" y="12"/>
                    </a:lnTo>
                    <a:lnTo>
                      <a:pt x="42" y="5"/>
                    </a:lnTo>
                    <a:lnTo>
                      <a:pt x="27" y="5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  <p:sp>
            <p:nvSpPr>
              <p:cNvPr id="171" name="Freeform 17">
                <a:extLst>
                  <a:ext uri="{FF2B5EF4-FFF2-40B4-BE49-F238E27FC236}">
                    <a16:creationId xmlns:a16="http://schemas.microsoft.com/office/drawing/2014/main" id="{A9737976-A22E-469C-9C1A-00975773496F}"/>
                  </a:ext>
                </a:extLst>
              </p:cNvPr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3723" y="1429"/>
                <a:ext cx="49" cy="8"/>
              </a:xfrm>
              <a:custGeom>
                <a:avLst/>
                <a:gdLst>
                  <a:gd name="T0" fmla="*/ 25 w 49"/>
                  <a:gd name="T1" fmla="*/ 8 h 8"/>
                  <a:gd name="T2" fmla="*/ 34 w 49"/>
                  <a:gd name="T3" fmla="*/ 8 h 8"/>
                  <a:gd name="T4" fmla="*/ 37 w 49"/>
                  <a:gd name="T5" fmla="*/ 8 h 8"/>
                  <a:gd name="T6" fmla="*/ 41 w 49"/>
                  <a:gd name="T7" fmla="*/ 6 h 8"/>
                  <a:gd name="T8" fmla="*/ 47 w 49"/>
                  <a:gd name="T9" fmla="*/ 3 h 8"/>
                  <a:gd name="T10" fmla="*/ 49 w 49"/>
                  <a:gd name="T11" fmla="*/ 0 h 8"/>
                  <a:gd name="T12" fmla="*/ 4 w 49"/>
                  <a:gd name="T13" fmla="*/ 0 h 8"/>
                  <a:gd name="T14" fmla="*/ 0 w 49"/>
                  <a:gd name="T15" fmla="*/ 6 h 8"/>
                  <a:gd name="T16" fmla="*/ 22 w 49"/>
                  <a:gd name="T17" fmla="*/ 6 h 8"/>
                  <a:gd name="T18" fmla="*/ 25 w 49"/>
                  <a:gd name="T1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8">
                    <a:moveTo>
                      <a:pt x="25" y="8"/>
                    </a:moveTo>
                    <a:lnTo>
                      <a:pt x="34" y="8"/>
                    </a:lnTo>
                    <a:lnTo>
                      <a:pt x="37" y="8"/>
                    </a:lnTo>
                    <a:lnTo>
                      <a:pt x="41" y="6"/>
                    </a:lnTo>
                    <a:lnTo>
                      <a:pt x="47" y="3"/>
                    </a:lnTo>
                    <a:lnTo>
                      <a:pt x="49" y="0"/>
                    </a:lnTo>
                    <a:lnTo>
                      <a:pt x="4" y="0"/>
                    </a:lnTo>
                    <a:lnTo>
                      <a:pt x="0" y="6"/>
                    </a:lnTo>
                    <a:lnTo>
                      <a:pt x="22" y="6"/>
                    </a:lnTo>
                    <a:lnTo>
                      <a:pt x="25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  <p:sp>
            <p:nvSpPr>
              <p:cNvPr id="172" name="Freeform 18">
                <a:extLst>
                  <a:ext uri="{FF2B5EF4-FFF2-40B4-BE49-F238E27FC236}">
                    <a16:creationId xmlns:a16="http://schemas.microsoft.com/office/drawing/2014/main" id="{147258F9-2D89-4EAA-BBED-FF897391624A}"/>
                  </a:ext>
                </a:extLst>
              </p:cNvPr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4321" y="1688"/>
                <a:ext cx="22" cy="15"/>
              </a:xfrm>
              <a:custGeom>
                <a:avLst/>
                <a:gdLst>
                  <a:gd name="T0" fmla="*/ 12 w 22"/>
                  <a:gd name="T1" fmla="*/ 12 h 15"/>
                  <a:gd name="T2" fmla="*/ 18 w 22"/>
                  <a:gd name="T3" fmla="*/ 15 h 15"/>
                  <a:gd name="T4" fmla="*/ 22 w 22"/>
                  <a:gd name="T5" fmla="*/ 15 h 15"/>
                  <a:gd name="T6" fmla="*/ 22 w 22"/>
                  <a:gd name="T7" fmla="*/ 12 h 15"/>
                  <a:gd name="T8" fmla="*/ 18 w 22"/>
                  <a:gd name="T9" fmla="*/ 9 h 15"/>
                  <a:gd name="T10" fmla="*/ 12 w 22"/>
                  <a:gd name="T11" fmla="*/ 7 h 15"/>
                  <a:gd name="T12" fmla="*/ 7 w 22"/>
                  <a:gd name="T13" fmla="*/ 2 h 15"/>
                  <a:gd name="T14" fmla="*/ 3 w 22"/>
                  <a:gd name="T15" fmla="*/ 0 h 15"/>
                  <a:gd name="T16" fmla="*/ 0 w 22"/>
                  <a:gd name="T17" fmla="*/ 0 h 15"/>
                  <a:gd name="T18" fmla="*/ 0 w 22"/>
                  <a:gd name="T19" fmla="*/ 9 h 15"/>
                  <a:gd name="T20" fmla="*/ 7 w 22"/>
                  <a:gd name="T21" fmla="*/ 12 h 15"/>
                  <a:gd name="T22" fmla="*/ 12 w 22"/>
                  <a:gd name="T23" fmla="*/ 1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" h="15">
                    <a:moveTo>
                      <a:pt x="12" y="12"/>
                    </a:moveTo>
                    <a:lnTo>
                      <a:pt x="18" y="15"/>
                    </a:lnTo>
                    <a:lnTo>
                      <a:pt x="22" y="15"/>
                    </a:lnTo>
                    <a:lnTo>
                      <a:pt x="22" y="12"/>
                    </a:lnTo>
                    <a:lnTo>
                      <a:pt x="18" y="9"/>
                    </a:lnTo>
                    <a:lnTo>
                      <a:pt x="12" y="7"/>
                    </a:lnTo>
                    <a:lnTo>
                      <a:pt x="7" y="2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7" y="12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  <p:sp>
            <p:nvSpPr>
              <p:cNvPr id="173" name="Freeform 19">
                <a:extLst>
                  <a:ext uri="{FF2B5EF4-FFF2-40B4-BE49-F238E27FC236}">
                    <a16:creationId xmlns:a16="http://schemas.microsoft.com/office/drawing/2014/main" id="{8056C0B9-A066-4153-9D44-13D6122EE3DF}"/>
                  </a:ext>
                </a:extLst>
              </p:cNvPr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3678" y="1441"/>
                <a:ext cx="21" cy="6"/>
              </a:xfrm>
              <a:custGeom>
                <a:avLst/>
                <a:gdLst>
                  <a:gd name="T0" fmla="*/ 21 w 21"/>
                  <a:gd name="T1" fmla="*/ 3 h 6"/>
                  <a:gd name="T2" fmla="*/ 0 w 21"/>
                  <a:gd name="T3" fmla="*/ 0 h 6"/>
                  <a:gd name="T4" fmla="*/ 3 w 21"/>
                  <a:gd name="T5" fmla="*/ 6 h 6"/>
                  <a:gd name="T6" fmla="*/ 21 w 21"/>
                  <a:gd name="T7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" h="6">
                    <a:moveTo>
                      <a:pt x="21" y="3"/>
                    </a:moveTo>
                    <a:lnTo>
                      <a:pt x="0" y="0"/>
                    </a:lnTo>
                    <a:lnTo>
                      <a:pt x="3" y="6"/>
                    </a:lnTo>
                    <a:lnTo>
                      <a:pt x="21" y="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  <p:sp>
            <p:nvSpPr>
              <p:cNvPr id="174" name="Freeform 20">
                <a:extLst>
                  <a:ext uri="{FF2B5EF4-FFF2-40B4-BE49-F238E27FC236}">
                    <a16:creationId xmlns:a16="http://schemas.microsoft.com/office/drawing/2014/main" id="{F8EB0629-DA15-4298-88F0-5564A875D0D4}"/>
                  </a:ext>
                </a:extLst>
              </p:cNvPr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4434" y="1435"/>
                <a:ext cx="108" cy="42"/>
              </a:xfrm>
              <a:custGeom>
                <a:avLst/>
                <a:gdLst>
                  <a:gd name="T0" fmla="*/ 10 w 108"/>
                  <a:gd name="T1" fmla="*/ 27 h 42"/>
                  <a:gd name="T2" fmla="*/ 13 w 108"/>
                  <a:gd name="T3" fmla="*/ 34 h 42"/>
                  <a:gd name="T4" fmla="*/ 22 w 108"/>
                  <a:gd name="T5" fmla="*/ 42 h 42"/>
                  <a:gd name="T6" fmla="*/ 84 w 108"/>
                  <a:gd name="T7" fmla="*/ 42 h 42"/>
                  <a:gd name="T8" fmla="*/ 89 w 108"/>
                  <a:gd name="T9" fmla="*/ 39 h 42"/>
                  <a:gd name="T10" fmla="*/ 101 w 108"/>
                  <a:gd name="T11" fmla="*/ 39 h 42"/>
                  <a:gd name="T12" fmla="*/ 108 w 108"/>
                  <a:gd name="T13" fmla="*/ 36 h 42"/>
                  <a:gd name="T14" fmla="*/ 108 w 108"/>
                  <a:gd name="T15" fmla="*/ 30 h 42"/>
                  <a:gd name="T16" fmla="*/ 99 w 108"/>
                  <a:gd name="T17" fmla="*/ 24 h 42"/>
                  <a:gd name="T18" fmla="*/ 84 w 108"/>
                  <a:gd name="T19" fmla="*/ 15 h 42"/>
                  <a:gd name="T20" fmla="*/ 65 w 108"/>
                  <a:gd name="T21" fmla="*/ 9 h 42"/>
                  <a:gd name="T22" fmla="*/ 52 w 108"/>
                  <a:gd name="T23" fmla="*/ 6 h 42"/>
                  <a:gd name="T24" fmla="*/ 47 w 108"/>
                  <a:gd name="T25" fmla="*/ 2 h 42"/>
                  <a:gd name="T26" fmla="*/ 40 w 108"/>
                  <a:gd name="T27" fmla="*/ 2 h 42"/>
                  <a:gd name="T28" fmla="*/ 35 w 108"/>
                  <a:gd name="T29" fmla="*/ 0 h 42"/>
                  <a:gd name="T30" fmla="*/ 15 w 108"/>
                  <a:gd name="T31" fmla="*/ 0 h 42"/>
                  <a:gd name="T32" fmla="*/ 10 w 108"/>
                  <a:gd name="T33" fmla="*/ 2 h 42"/>
                  <a:gd name="T34" fmla="*/ 3 w 108"/>
                  <a:gd name="T35" fmla="*/ 2 h 42"/>
                  <a:gd name="T36" fmla="*/ 0 w 108"/>
                  <a:gd name="T37" fmla="*/ 9 h 42"/>
                  <a:gd name="T38" fmla="*/ 0 w 108"/>
                  <a:gd name="T39" fmla="*/ 15 h 42"/>
                  <a:gd name="T40" fmla="*/ 3 w 108"/>
                  <a:gd name="T41" fmla="*/ 21 h 42"/>
                  <a:gd name="T42" fmla="*/ 10 w 108"/>
                  <a:gd name="T43" fmla="*/ 27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8" h="42">
                    <a:moveTo>
                      <a:pt x="10" y="27"/>
                    </a:moveTo>
                    <a:lnTo>
                      <a:pt x="13" y="34"/>
                    </a:lnTo>
                    <a:lnTo>
                      <a:pt x="22" y="42"/>
                    </a:lnTo>
                    <a:lnTo>
                      <a:pt x="84" y="42"/>
                    </a:lnTo>
                    <a:lnTo>
                      <a:pt x="89" y="39"/>
                    </a:lnTo>
                    <a:lnTo>
                      <a:pt x="101" y="39"/>
                    </a:lnTo>
                    <a:lnTo>
                      <a:pt x="108" y="36"/>
                    </a:lnTo>
                    <a:lnTo>
                      <a:pt x="108" y="30"/>
                    </a:lnTo>
                    <a:lnTo>
                      <a:pt x="99" y="24"/>
                    </a:lnTo>
                    <a:lnTo>
                      <a:pt x="84" y="15"/>
                    </a:lnTo>
                    <a:lnTo>
                      <a:pt x="65" y="9"/>
                    </a:lnTo>
                    <a:lnTo>
                      <a:pt x="52" y="6"/>
                    </a:lnTo>
                    <a:lnTo>
                      <a:pt x="47" y="2"/>
                    </a:lnTo>
                    <a:lnTo>
                      <a:pt x="40" y="2"/>
                    </a:lnTo>
                    <a:lnTo>
                      <a:pt x="35" y="0"/>
                    </a:lnTo>
                    <a:lnTo>
                      <a:pt x="15" y="0"/>
                    </a:lnTo>
                    <a:lnTo>
                      <a:pt x="10" y="2"/>
                    </a:lnTo>
                    <a:lnTo>
                      <a:pt x="3" y="2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3" y="21"/>
                    </a:lnTo>
                    <a:lnTo>
                      <a:pt x="10" y="2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  <p:sp>
            <p:nvSpPr>
              <p:cNvPr id="175" name="Freeform 21">
                <a:extLst>
                  <a:ext uri="{FF2B5EF4-FFF2-40B4-BE49-F238E27FC236}">
                    <a16:creationId xmlns:a16="http://schemas.microsoft.com/office/drawing/2014/main" id="{B333F324-DD98-4E27-B4BF-FECCFEF86996}"/>
                  </a:ext>
                </a:extLst>
              </p:cNvPr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4284" y="1703"/>
                <a:ext cx="28" cy="16"/>
              </a:xfrm>
              <a:custGeom>
                <a:avLst/>
                <a:gdLst>
                  <a:gd name="T0" fmla="*/ 28 w 28"/>
                  <a:gd name="T1" fmla="*/ 4 h 16"/>
                  <a:gd name="T2" fmla="*/ 13 w 28"/>
                  <a:gd name="T3" fmla="*/ 0 h 16"/>
                  <a:gd name="T4" fmla="*/ 0 w 28"/>
                  <a:gd name="T5" fmla="*/ 9 h 16"/>
                  <a:gd name="T6" fmla="*/ 22 w 28"/>
                  <a:gd name="T7" fmla="*/ 16 h 16"/>
                  <a:gd name="T8" fmla="*/ 28 w 28"/>
                  <a:gd name="T9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6">
                    <a:moveTo>
                      <a:pt x="28" y="4"/>
                    </a:moveTo>
                    <a:lnTo>
                      <a:pt x="13" y="0"/>
                    </a:lnTo>
                    <a:lnTo>
                      <a:pt x="0" y="9"/>
                    </a:lnTo>
                    <a:lnTo>
                      <a:pt x="22" y="16"/>
                    </a:lnTo>
                    <a:lnTo>
                      <a:pt x="28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  <p:sp>
            <p:nvSpPr>
              <p:cNvPr id="176" name="Freeform 22">
                <a:extLst>
                  <a:ext uri="{FF2B5EF4-FFF2-40B4-BE49-F238E27FC236}">
                    <a16:creationId xmlns:a16="http://schemas.microsoft.com/office/drawing/2014/main" id="{4D89BFC3-F7C7-4445-ACA6-EE753A41C53F}"/>
                  </a:ext>
                </a:extLst>
              </p:cNvPr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4501" y="1474"/>
                <a:ext cx="138" cy="34"/>
              </a:xfrm>
              <a:custGeom>
                <a:avLst/>
                <a:gdLst>
                  <a:gd name="T0" fmla="*/ 7 w 138"/>
                  <a:gd name="T1" fmla="*/ 12 h 34"/>
                  <a:gd name="T2" fmla="*/ 0 w 138"/>
                  <a:gd name="T3" fmla="*/ 15 h 34"/>
                  <a:gd name="T4" fmla="*/ 29 w 138"/>
                  <a:gd name="T5" fmla="*/ 25 h 34"/>
                  <a:gd name="T6" fmla="*/ 44 w 138"/>
                  <a:gd name="T7" fmla="*/ 27 h 34"/>
                  <a:gd name="T8" fmla="*/ 54 w 138"/>
                  <a:gd name="T9" fmla="*/ 27 h 34"/>
                  <a:gd name="T10" fmla="*/ 78 w 138"/>
                  <a:gd name="T11" fmla="*/ 25 h 34"/>
                  <a:gd name="T12" fmla="*/ 108 w 138"/>
                  <a:gd name="T13" fmla="*/ 34 h 34"/>
                  <a:gd name="T14" fmla="*/ 138 w 138"/>
                  <a:gd name="T15" fmla="*/ 34 h 34"/>
                  <a:gd name="T16" fmla="*/ 135 w 138"/>
                  <a:gd name="T17" fmla="*/ 25 h 34"/>
                  <a:gd name="T18" fmla="*/ 123 w 138"/>
                  <a:gd name="T19" fmla="*/ 7 h 34"/>
                  <a:gd name="T20" fmla="*/ 114 w 138"/>
                  <a:gd name="T21" fmla="*/ 3 h 34"/>
                  <a:gd name="T22" fmla="*/ 108 w 138"/>
                  <a:gd name="T23" fmla="*/ 0 h 34"/>
                  <a:gd name="T24" fmla="*/ 99 w 138"/>
                  <a:gd name="T25" fmla="*/ 3 h 34"/>
                  <a:gd name="T26" fmla="*/ 81 w 138"/>
                  <a:gd name="T27" fmla="*/ 12 h 34"/>
                  <a:gd name="T28" fmla="*/ 69 w 138"/>
                  <a:gd name="T29" fmla="*/ 0 h 34"/>
                  <a:gd name="T30" fmla="*/ 62 w 138"/>
                  <a:gd name="T31" fmla="*/ 0 h 34"/>
                  <a:gd name="T32" fmla="*/ 25 w 138"/>
                  <a:gd name="T33" fmla="*/ 7 h 34"/>
                  <a:gd name="T34" fmla="*/ 7 w 138"/>
                  <a:gd name="T35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8" h="34">
                    <a:moveTo>
                      <a:pt x="7" y="12"/>
                    </a:moveTo>
                    <a:lnTo>
                      <a:pt x="0" y="15"/>
                    </a:lnTo>
                    <a:lnTo>
                      <a:pt x="29" y="25"/>
                    </a:lnTo>
                    <a:lnTo>
                      <a:pt x="44" y="27"/>
                    </a:lnTo>
                    <a:lnTo>
                      <a:pt x="54" y="27"/>
                    </a:lnTo>
                    <a:lnTo>
                      <a:pt x="78" y="25"/>
                    </a:lnTo>
                    <a:lnTo>
                      <a:pt x="108" y="34"/>
                    </a:lnTo>
                    <a:lnTo>
                      <a:pt x="138" y="34"/>
                    </a:lnTo>
                    <a:lnTo>
                      <a:pt x="135" y="25"/>
                    </a:lnTo>
                    <a:lnTo>
                      <a:pt x="123" y="7"/>
                    </a:lnTo>
                    <a:lnTo>
                      <a:pt x="114" y="3"/>
                    </a:lnTo>
                    <a:lnTo>
                      <a:pt x="108" y="0"/>
                    </a:lnTo>
                    <a:lnTo>
                      <a:pt x="99" y="3"/>
                    </a:lnTo>
                    <a:lnTo>
                      <a:pt x="81" y="12"/>
                    </a:lnTo>
                    <a:lnTo>
                      <a:pt x="69" y="0"/>
                    </a:lnTo>
                    <a:lnTo>
                      <a:pt x="62" y="0"/>
                    </a:lnTo>
                    <a:lnTo>
                      <a:pt x="25" y="7"/>
                    </a:lnTo>
                    <a:lnTo>
                      <a:pt x="7" y="1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  <p:sp>
            <p:nvSpPr>
              <p:cNvPr id="177" name="Freeform 23">
                <a:extLst>
                  <a:ext uri="{FF2B5EF4-FFF2-40B4-BE49-F238E27FC236}">
                    <a16:creationId xmlns:a16="http://schemas.microsoft.com/office/drawing/2014/main" id="{BB2E5A08-D93C-4CA9-B10A-AB207DEBA5D7}"/>
                  </a:ext>
                </a:extLst>
              </p:cNvPr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4434" y="1484"/>
                <a:ext cx="47" cy="9"/>
              </a:xfrm>
              <a:custGeom>
                <a:avLst/>
                <a:gdLst>
                  <a:gd name="T0" fmla="*/ 47 w 47"/>
                  <a:gd name="T1" fmla="*/ 0 h 9"/>
                  <a:gd name="T2" fmla="*/ 0 w 47"/>
                  <a:gd name="T3" fmla="*/ 0 h 9"/>
                  <a:gd name="T4" fmla="*/ 40 w 47"/>
                  <a:gd name="T5" fmla="*/ 9 h 9"/>
                  <a:gd name="T6" fmla="*/ 47 w 47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" h="9">
                    <a:moveTo>
                      <a:pt x="47" y="0"/>
                    </a:moveTo>
                    <a:lnTo>
                      <a:pt x="0" y="0"/>
                    </a:lnTo>
                    <a:lnTo>
                      <a:pt x="40" y="9"/>
                    </a:lnTo>
                    <a:lnTo>
                      <a:pt x="47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  <p:sp>
            <p:nvSpPr>
              <p:cNvPr id="178" name="Freeform 24">
                <a:extLst>
                  <a:ext uri="{FF2B5EF4-FFF2-40B4-BE49-F238E27FC236}">
                    <a16:creationId xmlns:a16="http://schemas.microsoft.com/office/drawing/2014/main" id="{78ED0E98-19E7-4538-82D3-B7D3420AA21D}"/>
                  </a:ext>
                </a:extLst>
              </p:cNvPr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3691" y="1454"/>
                <a:ext cx="54" cy="15"/>
              </a:xfrm>
              <a:custGeom>
                <a:avLst/>
                <a:gdLst>
                  <a:gd name="T0" fmla="*/ 0 w 54"/>
                  <a:gd name="T1" fmla="*/ 5 h 15"/>
                  <a:gd name="T2" fmla="*/ 5 w 54"/>
                  <a:gd name="T3" fmla="*/ 8 h 15"/>
                  <a:gd name="T4" fmla="*/ 12 w 54"/>
                  <a:gd name="T5" fmla="*/ 15 h 15"/>
                  <a:gd name="T6" fmla="*/ 24 w 54"/>
                  <a:gd name="T7" fmla="*/ 8 h 15"/>
                  <a:gd name="T8" fmla="*/ 24 w 54"/>
                  <a:gd name="T9" fmla="*/ 11 h 15"/>
                  <a:gd name="T10" fmla="*/ 36 w 54"/>
                  <a:gd name="T11" fmla="*/ 11 h 15"/>
                  <a:gd name="T12" fmla="*/ 49 w 54"/>
                  <a:gd name="T13" fmla="*/ 5 h 15"/>
                  <a:gd name="T14" fmla="*/ 51 w 54"/>
                  <a:gd name="T15" fmla="*/ 2 h 15"/>
                  <a:gd name="T16" fmla="*/ 54 w 54"/>
                  <a:gd name="T17" fmla="*/ 2 h 15"/>
                  <a:gd name="T18" fmla="*/ 27 w 54"/>
                  <a:gd name="T19" fmla="*/ 0 h 15"/>
                  <a:gd name="T20" fmla="*/ 20 w 54"/>
                  <a:gd name="T21" fmla="*/ 2 h 15"/>
                  <a:gd name="T22" fmla="*/ 17 w 54"/>
                  <a:gd name="T23" fmla="*/ 2 h 15"/>
                  <a:gd name="T24" fmla="*/ 15 w 54"/>
                  <a:gd name="T25" fmla="*/ 0 h 15"/>
                  <a:gd name="T26" fmla="*/ 5 w 54"/>
                  <a:gd name="T27" fmla="*/ 0 h 15"/>
                  <a:gd name="T28" fmla="*/ 0 w 54"/>
                  <a:gd name="T29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4" h="15">
                    <a:moveTo>
                      <a:pt x="0" y="5"/>
                    </a:moveTo>
                    <a:lnTo>
                      <a:pt x="5" y="8"/>
                    </a:lnTo>
                    <a:lnTo>
                      <a:pt x="12" y="15"/>
                    </a:lnTo>
                    <a:lnTo>
                      <a:pt x="24" y="8"/>
                    </a:lnTo>
                    <a:lnTo>
                      <a:pt x="24" y="11"/>
                    </a:lnTo>
                    <a:lnTo>
                      <a:pt x="36" y="11"/>
                    </a:lnTo>
                    <a:lnTo>
                      <a:pt x="49" y="5"/>
                    </a:lnTo>
                    <a:lnTo>
                      <a:pt x="51" y="2"/>
                    </a:lnTo>
                    <a:lnTo>
                      <a:pt x="54" y="2"/>
                    </a:lnTo>
                    <a:lnTo>
                      <a:pt x="27" y="0"/>
                    </a:lnTo>
                    <a:lnTo>
                      <a:pt x="20" y="2"/>
                    </a:lnTo>
                    <a:lnTo>
                      <a:pt x="17" y="2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  <p:sp>
            <p:nvSpPr>
              <p:cNvPr id="179" name="Freeform 25">
                <a:extLst>
                  <a:ext uri="{FF2B5EF4-FFF2-40B4-BE49-F238E27FC236}">
                    <a16:creationId xmlns:a16="http://schemas.microsoft.com/office/drawing/2014/main" id="{7935BEA9-2911-43A6-95FD-F391604E805C}"/>
                  </a:ext>
                </a:extLst>
              </p:cNvPr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3684" y="1471"/>
                <a:ext cx="37" cy="10"/>
              </a:xfrm>
              <a:custGeom>
                <a:avLst/>
                <a:gdLst>
                  <a:gd name="T0" fmla="*/ 0 w 37"/>
                  <a:gd name="T1" fmla="*/ 10 h 10"/>
                  <a:gd name="T2" fmla="*/ 37 w 37"/>
                  <a:gd name="T3" fmla="*/ 10 h 10"/>
                  <a:gd name="T4" fmla="*/ 24 w 37"/>
                  <a:gd name="T5" fmla="*/ 0 h 10"/>
                  <a:gd name="T6" fmla="*/ 0 w 37"/>
                  <a:gd name="T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10">
                    <a:moveTo>
                      <a:pt x="0" y="10"/>
                    </a:moveTo>
                    <a:lnTo>
                      <a:pt x="37" y="10"/>
                    </a:lnTo>
                    <a:lnTo>
                      <a:pt x="24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  <p:sp>
            <p:nvSpPr>
              <p:cNvPr id="180" name="Freeform 26">
                <a:extLst>
                  <a:ext uri="{FF2B5EF4-FFF2-40B4-BE49-F238E27FC236}">
                    <a16:creationId xmlns:a16="http://schemas.microsoft.com/office/drawing/2014/main" id="{0F020DDD-05D4-4C26-ABFE-4A9EE1AD6B57}"/>
                  </a:ext>
                </a:extLst>
              </p:cNvPr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4085" y="1673"/>
                <a:ext cx="34" cy="15"/>
              </a:xfrm>
              <a:custGeom>
                <a:avLst/>
                <a:gdLst>
                  <a:gd name="T0" fmla="*/ 12 w 34"/>
                  <a:gd name="T1" fmla="*/ 15 h 15"/>
                  <a:gd name="T2" fmla="*/ 19 w 34"/>
                  <a:gd name="T3" fmla="*/ 15 h 15"/>
                  <a:gd name="T4" fmla="*/ 27 w 34"/>
                  <a:gd name="T5" fmla="*/ 12 h 15"/>
                  <a:gd name="T6" fmla="*/ 34 w 34"/>
                  <a:gd name="T7" fmla="*/ 9 h 15"/>
                  <a:gd name="T8" fmla="*/ 34 w 34"/>
                  <a:gd name="T9" fmla="*/ 3 h 15"/>
                  <a:gd name="T10" fmla="*/ 31 w 34"/>
                  <a:gd name="T11" fmla="*/ 3 h 15"/>
                  <a:gd name="T12" fmla="*/ 27 w 34"/>
                  <a:gd name="T13" fmla="*/ 0 h 15"/>
                  <a:gd name="T14" fmla="*/ 0 w 34"/>
                  <a:gd name="T15" fmla="*/ 0 h 15"/>
                  <a:gd name="T16" fmla="*/ 0 w 34"/>
                  <a:gd name="T17" fmla="*/ 5 h 15"/>
                  <a:gd name="T18" fmla="*/ 7 w 34"/>
                  <a:gd name="T19" fmla="*/ 12 h 15"/>
                  <a:gd name="T20" fmla="*/ 12 w 34"/>
                  <a:gd name="T21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" h="15">
                    <a:moveTo>
                      <a:pt x="12" y="15"/>
                    </a:moveTo>
                    <a:lnTo>
                      <a:pt x="19" y="15"/>
                    </a:lnTo>
                    <a:lnTo>
                      <a:pt x="27" y="12"/>
                    </a:lnTo>
                    <a:lnTo>
                      <a:pt x="34" y="9"/>
                    </a:lnTo>
                    <a:lnTo>
                      <a:pt x="34" y="3"/>
                    </a:lnTo>
                    <a:lnTo>
                      <a:pt x="31" y="3"/>
                    </a:lnTo>
                    <a:lnTo>
                      <a:pt x="27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7" y="12"/>
                    </a:lnTo>
                    <a:lnTo>
                      <a:pt x="12" y="1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  <p:sp>
            <p:nvSpPr>
              <p:cNvPr id="181" name="Freeform 27">
                <a:extLst>
                  <a:ext uri="{FF2B5EF4-FFF2-40B4-BE49-F238E27FC236}">
                    <a16:creationId xmlns:a16="http://schemas.microsoft.com/office/drawing/2014/main" id="{DB3C564E-1E0B-46B8-9CD6-5BDA8A8D695C}"/>
                  </a:ext>
                </a:extLst>
              </p:cNvPr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3760" y="1441"/>
                <a:ext cx="53" cy="18"/>
              </a:xfrm>
              <a:custGeom>
                <a:avLst/>
                <a:gdLst>
                  <a:gd name="T0" fmla="*/ 4 w 53"/>
                  <a:gd name="T1" fmla="*/ 15 h 18"/>
                  <a:gd name="T2" fmla="*/ 10 w 53"/>
                  <a:gd name="T3" fmla="*/ 18 h 18"/>
                  <a:gd name="T4" fmla="*/ 17 w 53"/>
                  <a:gd name="T5" fmla="*/ 18 h 18"/>
                  <a:gd name="T6" fmla="*/ 19 w 53"/>
                  <a:gd name="T7" fmla="*/ 18 h 18"/>
                  <a:gd name="T8" fmla="*/ 25 w 53"/>
                  <a:gd name="T9" fmla="*/ 13 h 18"/>
                  <a:gd name="T10" fmla="*/ 29 w 53"/>
                  <a:gd name="T11" fmla="*/ 13 h 18"/>
                  <a:gd name="T12" fmla="*/ 32 w 53"/>
                  <a:gd name="T13" fmla="*/ 15 h 18"/>
                  <a:gd name="T14" fmla="*/ 37 w 53"/>
                  <a:gd name="T15" fmla="*/ 15 h 18"/>
                  <a:gd name="T16" fmla="*/ 41 w 53"/>
                  <a:gd name="T17" fmla="*/ 18 h 18"/>
                  <a:gd name="T18" fmla="*/ 47 w 53"/>
                  <a:gd name="T19" fmla="*/ 18 h 18"/>
                  <a:gd name="T20" fmla="*/ 53 w 53"/>
                  <a:gd name="T21" fmla="*/ 13 h 18"/>
                  <a:gd name="T22" fmla="*/ 53 w 53"/>
                  <a:gd name="T23" fmla="*/ 6 h 18"/>
                  <a:gd name="T24" fmla="*/ 49 w 53"/>
                  <a:gd name="T25" fmla="*/ 3 h 18"/>
                  <a:gd name="T26" fmla="*/ 44 w 53"/>
                  <a:gd name="T27" fmla="*/ 0 h 18"/>
                  <a:gd name="T28" fmla="*/ 25 w 53"/>
                  <a:gd name="T29" fmla="*/ 0 h 18"/>
                  <a:gd name="T30" fmla="*/ 0 w 53"/>
                  <a:gd name="T31" fmla="*/ 13 h 18"/>
                  <a:gd name="T32" fmla="*/ 4 w 53"/>
                  <a:gd name="T33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" h="18">
                    <a:moveTo>
                      <a:pt x="4" y="15"/>
                    </a:moveTo>
                    <a:lnTo>
                      <a:pt x="10" y="18"/>
                    </a:lnTo>
                    <a:lnTo>
                      <a:pt x="17" y="18"/>
                    </a:lnTo>
                    <a:lnTo>
                      <a:pt x="19" y="18"/>
                    </a:lnTo>
                    <a:lnTo>
                      <a:pt x="25" y="13"/>
                    </a:lnTo>
                    <a:lnTo>
                      <a:pt x="29" y="13"/>
                    </a:lnTo>
                    <a:lnTo>
                      <a:pt x="32" y="15"/>
                    </a:lnTo>
                    <a:lnTo>
                      <a:pt x="37" y="15"/>
                    </a:lnTo>
                    <a:lnTo>
                      <a:pt x="41" y="18"/>
                    </a:lnTo>
                    <a:lnTo>
                      <a:pt x="47" y="18"/>
                    </a:lnTo>
                    <a:lnTo>
                      <a:pt x="53" y="13"/>
                    </a:lnTo>
                    <a:lnTo>
                      <a:pt x="53" y="6"/>
                    </a:lnTo>
                    <a:lnTo>
                      <a:pt x="49" y="3"/>
                    </a:lnTo>
                    <a:lnTo>
                      <a:pt x="44" y="0"/>
                    </a:lnTo>
                    <a:lnTo>
                      <a:pt x="25" y="0"/>
                    </a:lnTo>
                    <a:lnTo>
                      <a:pt x="0" y="13"/>
                    </a:lnTo>
                    <a:lnTo>
                      <a:pt x="4" y="1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  <p:sp>
            <p:nvSpPr>
              <p:cNvPr id="182" name="Freeform 28">
                <a:extLst>
                  <a:ext uri="{FF2B5EF4-FFF2-40B4-BE49-F238E27FC236}">
                    <a16:creationId xmlns:a16="http://schemas.microsoft.com/office/drawing/2014/main" id="{B607E4F8-C685-41A2-8EB1-BE5FDE178272}"/>
                  </a:ext>
                </a:extLst>
              </p:cNvPr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3706" y="1447"/>
                <a:ext cx="30" cy="7"/>
              </a:xfrm>
              <a:custGeom>
                <a:avLst/>
                <a:gdLst>
                  <a:gd name="T0" fmla="*/ 30 w 30"/>
                  <a:gd name="T1" fmla="*/ 0 h 7"/>
                  <a:gd name="T2" fmla="*/ 0 w 30"/>
                  <a:gd name="T3" fmla="*/ 0 h 7"/>
                  <a:gd name="T4" fmla="*/ 24 w 30"/>
                  <a:gd name="T5" fmla="*/ 7 h 7"/>
                  <a:gd name="T6" fmla="*/ 30 w 30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7">
                    <a:moveTo>
                      <a:pt x="30" y="0"/>
                    </a:moveTo>
                    <a:lnTo>
                      <a:pt x="0" y="0"/>
                    </a:lnTo>
                    <a:lnTo>
                      <a:pt x="24" y="7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lt1"/>
                  </a:solidFill>
                </a:endParaRPr>
              </a:p>
            </p:txBody>
          </p:sp>
        </p:grpSp>
        <p:sp>
          <p:nvSpPr>
            <p:cNvPr id="116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FCB6694F-C925-44F5-8798-268A158B8E3A}"/>
                </a:ext>
              </a:extLst>
            </p:cNvPr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gray">
            <a:xfrm>
              <a:off x="4715155" y="2501453"/>
              <a:ext cx="801410" cy="1142552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17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BBC40E45-6438-44AB-8F46-9AE4009CD849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7265585" y="3384089"/>
              <a:ext cx="1548670" cy="866389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18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1A7FA112-1F51-4786-A94E-F70114845D2E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gray">
            <a:xfrm>
              <a:off x="7585063" y="4488729"/>
              <a:ext cx="1841074" cy="703939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19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789E06-641B-49AB-9C8D-29BE1008A1B7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5863120" y="3866017"/>
              <a:ext cx="400705" cy="222015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20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C7EA3572-A0E3-4C8B-964D-A173AEFC2416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gray">
            <a:xfrm>
              <a:off x="6317977" y="1689217"/>
              <a:ext cx="958445" cy="1369977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21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9DBE0F57-EF29-418B-AD1D-694A21275A08}"/>
                </a:ext>
              </a:extLst>
            </p:cNvPr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gray">
            <a:xfrm>
              <a:off x="4482309" y="4315456"/>
              <a:ext cx="1212941" cy="855558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22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922DF574-4469-4667-9132-E75BE5B7BBB5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6502077" y="3963483"/>
              <a:ext cx="292404" cy="167863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23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E879EE9D-A39F-45AE-8ECE-B824AF876FB8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6799898" y="3681906"/>
              <a:ext cx="492762" cy="200351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24" name="Serbia" descr="© INSCALE GmbH, 05.05.2010&#10;http://www.presentationload.com/">
              <a:extLst>
                <a:ext uri="{FF2B5EF4-FFF2-40B4-BE49-F238E27FC236}">
                  <a16:creationId xmlns:a16="http://schemas.microsoft.com/office/drawing/2014/main" id="{8652BAA6-4E39-42F7-A1CA-58FBFF8BD51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6989421" y="4050123"/>
              <a:ext cx="379044" cy="415582"/>
            </a:xfrm>
            <a:custGeom>
              <a:avLst/>
              <a:gdLst/>
              <a:ahLst/>
              <a:cxnLst>
                <a:cxn ang="0">
                  <a:pos x="464" y="374"/>
                </a:cxn>
                <a:cxn ang="0">
                  <a:pos x="453" y="310"/>
                </a:cxn>
                <a:cxn ang="0">
                  <a:pos x="453" y="235"/>
                </a:cxn>
                <a:cxn ang="0">
                  <a:pos x="378" y="224"/>
                </a:cxn>
                <a:cxn ang="0">
                  <a:pos x="302" y="171"/>
                </a:cxn>
                <a:cxn ang="0">
                  <a:pos x="291" y="118"/>
                </a:cxn>
                <a:cxn ang="0">
                  <a:pos x="259" y="128"/>
                </a:cxn>
                <a:cxn ang="0">
                  <a:pos x="216" y="53"/>
                </a:cxn>
                <a:cxn ang="0">
                  <a:pos x="87" y="0"/>
                </a:cxn>
                <a:cxn ang="0">
                  <a:pos x="0" y="43"/>
                </a:cxn>
                <a:cxn ang="0">
                  <a:pos x="32" y="96"/>
                </a:cxn>
                <a:cxn ang="0">
                  <a:pos x="65" y="139"/>
                </a:cxn>
                <a:cxn ang="0">
                  <a:pos x="54" y="150"/>
                </a:cxn>
                <a:cxn ang="0">
                  <a:pos x="32" y="181"/>
                </a:cxn>
                <a:cxn ang="0">
                  <a:pos x="32" y="192"/>
                </a:cxn>
                <a:cxn ang="0">
                  <a:pos x="76" y="203"/>
                </a:cxn>
                <a:cxn ang="0">
                  <a:pos x="87" y="267"/>
                </a:cxn>
                <a:cxn ang="0">
                  <a:pos x="65" y="310"/>
                </a:cxn>
                <a:cxn ang="0">
                  <a:pos x="98" y="363"/>
                </a:cxn>
                <a:cxn ang="0">
                  <a:pos x="119" y="395"/>
                </a:cxn>
                <a:cxn ang="0">
                  <a:pos x="157" y="442"/>
                </a:cxn>
                <a:cxn ang="0">
                  <a:pos x="173" y="438"/>
                </a:cxn>
                <a:cxn ang="0">
                  <a:pos x="180" y="444"/>
                </a:cxn>
                <a:cxn ang="0">
                  <a:pos x="230" y="446"/>
                </a:cxn>
                <a:cxn ang="0">
                  <a:pos x="237" y="431"/>
                </a:cxn>
                <a:cxn ang="0">
                  <a:pos x="258" y="416"/>
                </a:cxn>
                <a:cxn ang="0">
                  <a:pos x="266" y="418"/>
                </a:cxn>
                <a:cxn ang="0">
                  <a:pos x="268" y="407"/>
                </a:cxn>
                <a:cxn ang="0">
                  <a:pos x="267" y="399"/>
                </a:cxn>
                <a:cxn ang="0">
                  <a:pos x="254" y="388"/>
                </a:cxn>
                <a:cxn ang="0">
                  <a:pos x="262" y="387"/>
                </a:cxn>
                <a:cxn ang="0">
                  <a:pos x="279" y="380"/>
                </a:cxn>
                <a:cxn ang="0">
                  <a:pos x="288" y="372"/>
                </a:cxn>
                <a:cxn ang="0">
                  <a:pos x="298" y="389"/>
                </a:cxn>
                <a:cxn ang="0">
                  <a:pos x="292" y="399"/>
                </a:cxn>
                <a:cxn ang="0">
                  <a:pos x="309" y="402"/>
                </a:cxn>
                <a:cxn ang="0">
                  <a:pos x="321" y="404"/>
                </a:cxn>
                <a:cxn ang="0">
                  <a:pos x="326" y="408"/>
                </a:cxn>
                <a:cxn ang="0">
                  <a:pos x="328" y="433"/>
                </a:cxn>
                <a:cxn ang="0">
                  <a:pos x="334" y="429"/>
                </a:cxn>
                <a:cxn ang="0">
                  <a:pos x="335" y="448"/>
                </a:cxn>
                <a:cxn ang="0">
                  <a:pos x="348" y="452"/>
                </a:cxn>
                <a:cxn ang="0">
                  <a:pos x="356" y="467"/>
                </a:cxn>
                <a:cxn ang="0">
                  <a:pos x="354" y="478"/>
                </a:cxn>
                <a:cxn ang="0">
                  <a:pos x="356" y="482"/>
                </a:cxn>
                <a:cxn ang="0">
                  <a:pos x="369" y="485"/>
                </a:cxn>
                <a:cxn ang="0">
                  <a:pos x="381" y="492"/>
                </a:cxn>
                <a:cxn ang="0">
                  <a:pos x="390" y="496"/>
                </a:cxn>
                <a:cxn ang="0">
                  <a:pos x="399" y="501"/>
                </a:cxn>
                <a:cxn ang="0">
                  <a:pos x="392" y="513"/>
                </a:cxn>
                <a:cxn ang="0">
                  <a:pos x="384" y="528"/>
                </a:cxn>
                <a:cxn ang="0">
                  <a:pos x="376" y="542"/>
                </a:cxn>
                <a:cxn ang="0">
                  <a:pos x="453" y="492"/>
                </a:cxn>
                <a:cxn ang="0">
                  <a:pos x="486" y="470"/>
                </a:cxn>
                <a:cxn ang="0">
                  <a:pos x="486" y="406"/>
                </a:cxn>
              </a:cxnLst>
              <a:rect l="0" t="0" r="r" b="b"/>
              <a:pathLst>
                <a:path w="496" h="542">
                  <a:moveTo>
                    <a:pt x="486" y="406"/>
                  </a:moveTo>
                  <a:cubicBezTo>
                    <a:pt x="453" y="395"/>
                    <a:pt x="453" y="395"/>
                    <a:pt x="453" y="395"/>
                  </a:cubicBezTo>
                  <a:cubicBezTo>
                    <a:pt x="464" y="374"/>
                    <a:pt x="464" y="374"/>
                    <a:pt x="464" y="374"/>
                  </a:cubicBezTo>
                  <a:cubicBezTo>
                    <a:pt x="432" y="363"/>
                    <a:pt x="432" y="363"/>
                    <a:pt x="432" y="363"/>
                  </a:cubicBezTo>
                  <a:cubicBezTo>
                    <a:pt x="432" y="331"/>
                    <a:pt x="432" y="331"/>
                    <a:pt x="432" y="331"/>
                  </a:cubicBezTo>
                  <a:cubicBezTo>
                    <a:pt x="453" y="310"/>
                    <a:pt x="453" y="310"/>
                    <a:pt x="453" y="310"/>
                  </a:cubicBezTo>
                  <a:cubicBezTo>
                    <a:pt x="453" y="267"/>
                    <a:pt x="453" y="267"/>
                    <a:pt x="453" y="267"/>
                  </a:cubicBezTo>
                  <a:cubicBezTo>
                    <a:pt x="442" y="256"/>
                    <a:pt x="442" y="256"/>
                    <a:pt x="442" y="256"/>
                  </a:cubicBezTo>
                  <a:cubicBezTo>
                    <a:pt x="453" y="235"/>
                    <a:pt x="453" y="235"/>
                    <a:pt x="453" y="235"/>
                  </a:cubicBezTo>
                  <a:cubicBezTo>
                    <a:pt x="464" y="224"/>
                    <a:pt x="464" y="224"/>
                    <a:pt x="464" y="224"/>
                  </a:cubicBezTo>
                  <a:cubicBezTo>
                    <a:pt x="421" y="213"/>
                    <a:pt x="421" y="213"/>
                    <a:pt x="421" y="213"/>
                  </a:cubicBezTo>
                  <a:cubicBezTo>
                    <a:pt x="378" y="224"/>
                    <a:pt x="378" y="224"/>
                    <a:pt x="378" y="224"/>
                  </a:cubicBezTo>
                  <a:cubicBezTo>
                    <a:pt x="367" y="213"/>
                    <a:pt x="367" y="213"/>
                    <a:pt x="367" y="213"/>
                  </a:cubicBezTo>
                  <a:cubicBezTo>
                    <a:pt x="324" y="203"/>
                    <a:pt x="324" y="203"/>
                    <a:pt x="324" y="203"/>
                  </a:cubicBezTo>
                  <a:cubicBezTo>
                    <a:pt x="302" y="171"/>
                    <a:pt x="302" y="171"/>
                    <a:pt x="302" y="171"/>
                  </a:cubicBezTo>
                  <a:cubicBezTo>
                    <a:pt x="313" y="160"/>
                    <a:pt x="313" y="160"/>
                    <a:pt x="313" y="160"/>
                  </a:cubicBezTo>
                  <a:cubicBezTo>
                    <a:pt x="313" y="128"/>
                    <a:pt x="313" y="128"/>
                    <a:pt x="313" y="128"/>
                  </a:cubicBezTo>
                  <a:cubicBezTo>
                    <a:pt x="291" y="118"/>
                    <a:pt x="291" y="118"/>
                    <a:pt x="291" y="118"/>
                  </a:cubicBezTo>
                  <a:cubicBezTo>
                    <a:pt x="280" y="118"/>
                    <a:pt x="280" y="118"/>
                    <a:pt x="280" y="118"/>
                  </a:cubicBezTo>
                  <a:cubicBezTo>
                    <a:pt x="270" y="128"/>
                    <a:pt x="270" y="128"/>
                    <a:pt x="270" y="128"/>
                  </a:cubicBezTo>
                  <a:cubicBezTo>
                    <a:pt x="259" y="128"/>
                    <a:pt x="259" y="128"/>
                    <a:pt x="259" y="128"/>
                  </a:cubicBezTo>
                  <a:cubicBezTo>
                    <a:pt x="249" y="118"/>
                    <a:pt x="249" y="118"/>
                    <a:pt x="249" y="118"/>
                  </a:cubicBezTo>
                  <a:cubicBezTo>
                    <a:pt x="227" y="53"/>
                    <a:pt x="227" y="53"/>
                    <a:pt x="227" y="53"/>
                  </a:cubicBezTo>
                  <a:cubicBezTo>
                    <a:pt x="216" y="53"/>
                    <a:pt x="216" y="53"/>
                    <a:pt x="216" y="53"/>
                  </a:cubicBezTo>
                  <a:cubicBezTo>
                    <a:pt x="173" y="21"/>
                    <a:pt x="173" y="21"/>
                    <a:pt x="173" y="21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65" y="139"/>
                    <a:pt x="65" y="139"/>
                    <a:pt x="65" y="139"/>
                  </a:cubicBezTo>
                  <a:cubicBezTo>
                    <a:pt x="76" y="139"/>
                    <a:pt x="76" y="139"/>
                    <a:pt x="76" y="139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54" y="150"/>
                    <a:pt x="54" y="150"/>
                    <a:pt x="54" y="150"/>
                  </a:cubicBezTo>
                  <a:cubicBezTo>
                    <a:pt x="43" y="160"/>
                    <a:pt x="43" y="160"/>
                    <a:pt x="43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32" y="181"/>
                    <a:pt x="32" y="181"/>
                    <a:pt x="32" y="181"/>
                  </a:cubicBezTo>
                  <a:cubicBezTo>
                    <a:pt x="22" y="181"/>
                    <a:pt x="22" y="181"/>
                    <a:pt x="22" y="181"/>
                  </a:cubicBezTo>
                  <a:cubicBezTo>
                    <a:pt x="22" y="192"/>
                    <a:pt x="22" y="192"/>
                    <a:pt x="22" y="192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54" y="181"/>
                    <a:pt x="54" y="181"/>
                    <a:pt x="54" y="181"/>
                  </a:cubicBezTo>
                  <a:cubicBezTo>
                    <a:pt x="76" y="181"/>
                    <a:pt x="76" y="181"/>
                    <a:pt x="76" y="181"/>
                  </a:cubicBezTo>
                  <a:cubicBezTo>
                    <a:pt x="76" y="203"/>
                    <a:pt x="76" y="203"/>
                    <a:pt x="76" y="203"/>
                  </a:cubicBezTo>
                  <a:cubicBezTo>
                    <a:pt x="43" y="235"/>
                    <a:pt x="43" y="235"/>
                    <a:pt x="43" y="235"/>
                  </a:cubicBezTo>
                  <a:cubicBezTo>
                    <a:pt x="43" y="267"/>
                    <a:pt x="43" y="267"/>
                    <a:pt x="43" y="267"/>
                  </a:cubicBezTo>
                  <a:cubicBezTo>
                    <a:pt x="87" y="267"/>
                    <a:pt x="87" y="267"/>
                    <a:pt x="87" y="267"/>
                  </a:cubicBezTo>
                  <a:cubicBezTo>
                    <a:pt x="98" y="278"/>
                    <a:pt x="98" y="278"/>
                    <a:pt x="98" y="278"/>
                  </a:cubicBezTo>
                  <a:cubicBezTo>
                    <a:pt x="108" y="299"/>
                    <a:pt x="108" y="299"/>
                    <a:pt x="108" y="299"/>
                  </a:cubicBezTo>
                  <a:cubicBezTo>
                    <a:pt x="65" y="310"/>
                    <a:pt x="65" y="310"/>
                    <a:pt x="65" y="310"/>
                  </a:cubicBezTo>
                  <a:cubicBezTo>
                    <a:pt x="87" y="331"/>
                    <a:pt x="87" y="331"/>
                    <a:pt x="87" y="331"/>
                  </a:cubicBezTo>
                  <a:cubicBezTo>
                    <a:pt x="98" y="353"/>
                    <a:pt x="98" y="353"/>
                    <a:pt x="98" y="353"/>
                  </a:cubicBezTo>
                  <a:cubicBezTo>
                    <a:pt x="98" y="363"/>
                    <a:pt x="98" y="363"/>
                    <a:pt x="98" y="363"/>
                  </a:cubicBezTo>
                  <a:cubicBezTo>
                    <a:pt x="87" y="363"/>
                    <a:pt x="87" y="363"/>
                    <a:pt x="87" y="363"/>
                  </a:cubicBezTo>
                  <a:cubicBezTo>
                    <a:pt x="87" y="374"/>
                    <a:pt x="87" y="374"/>
                    <a:pt x="87" y="374"/>
                  </a:cubicBezTo>
                  <a:cubicBezTo>
                    <a:pt x="119" y="395"/>
                    <a:pt x="119" y="395"/>
                    <a:pt x="119" y="395"/>
                  </a:cubicBezTo>
                  <a:cubicBezTo>
                    <a:pt x="140" y="417"/>
                    <a:pt x="140" y="417"/>
                    <a:pt x="140" y="417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7" y="442"/>
                    <a:pt x="157" y="442"/>
                    <a:pt x="157" y="442"/>
                  </a:cubicBezTo>
                  <a:cubicBezTo>
                    <a:pt x="159" y="442"/>
                    <a:pt x="161" y="443"/>
                    <a:pt x="166" y="444"/>
                  </a:cubicBezTo>
                  <a:cubicBezTo>
                    <a:pt x="166" y="444"/>
                    <a:pt x="166" y="444"/>
                    <a:pt x="167" y="444"/>
                  </a:cubicBezTo>
                  <a:cubicBezTo>
                    <a:pt x="173" y="438"/>
                    <a:pt x="173" y="438"/>
                    <a:pt x="173" y="438"/>
                  </a:cubicBezTo>
                  <a:cubicBezTo>
                    <a:pt x="173" y="447"/>
                    <a:pt x="173" y="447"/>
                    <a:pt x="173" y="447"/>
                  </a:cubicBezTo>
                  <a:cubicBezTo>
                    <a:pt x="174" y="448"/>
                    <a:pt x="175" y="448"/>
                    <a:pt x="176" y="449"/>
                  </a:cubicBezTo>
                  <a:cubicBezTo>
                    <a:pt x="176" y="449"/>
                    <a:pt x="176" y="449"/>
                    <a:pt x="180" y="444"/>
                  </a:cubicBezTo>
                  <a:cubicBezTo>
                    <a:pt x="180" y="444"/>
                    <a:pt x="180" y="444"/>
                    <a:pt x="199" y="447"/>
                  </a:cubicBezTo>
                  <a:cubicBezTo>
                    <a:pt x="199" y="447"/>
                    <a:pt x="199" y="447"/>
                    <a:pt x="212" y="446"/>
                  </a:cubicBezTo>
                  <a:cubicBezTo>
                    <a:pt x="212" y="446"/>
                    <a:pt x="212" y="446"/>
                    <a:pt x="230" y="446"/>
                  </a:cubicBezTo>
                  <a:cubicBezTo>
                    <a:pt x="230" y="446"/>
                    <a:pt x="230" y="446"/>
                    <a:pt x="240" y="443"/>
                  </a:cubicBezTo>
                  <a:cubicBezTo>
                    <a:pt x="240" y="443"/>
                    <a:pt x="240" y="443"/>
                    <a:pt x="239" y="437"/>
                  </a:cubicBezTo>
                  <a:cubicBezTo>
                    <a:pt x="239" y="437"/>
                    <a:pt x="239" y="437"/>
                    <a:pt x="237" y="431"/>
                  </a:cubicBezTo>
                  <a:cubicBezTo>
                    <a:pt x="237" y="431"/>
                    <a:pt x="237" y="431"/>
                    <a:pt x="245" y="425"/>
                  </a:cubicBezTo>
                  <a:cubicBezTo>
                    <a:pt x="245" y="425"/>
                    <a:pt x="245" y="425"/>
                    <a:pt x="255" y="417"/>
                  </a:cubicBezTo>
                  <a:cubicBezTo>
                    <a:pt x="255" y="417"/>
                    <a:pt x="255" y="417"/>
                    <a:pt x="258" y="416"/>
                  </a:cubicBezTo>
                  <a:cubicBezTo>
                    <a:pt x="258" y="416"/>
                    <a:pt x="258" y="416"/>
                    <a:pt x="258" y="421"/>
                  </a:cubicBezTo>
                  <a:cubicBezTo>
                    <a:pt x="258" y="421"/>
                    <a:pt x="258" y="421"/>
                    <a:pt x="262" y="419"/>
                  </a:cubicBezTo>
                  <a:cubicBezTo>
                    <a:pt x="262" y="419"/>
                    <a:pt x="262" y="419"/>
                    <a:pt x="266" y="418"/>
                  </a:cubicBezTo>
                  <a:cubicBezTo>
                    <a:pt x="266" y="418"/>
                    <a:pt x="266" y="418"/>
                    <a:pt x="263" y="414"/>
                  </a:cubicBezTo>
                  <a:cubicBezTo>
                    <a:pt x="263" y="414"/>
                    <a:pt x="263" y="414"/>
                    <a:pt x="267" y="412"/>
                  </a:cubicBezTo>
                  <a:cubicBezTo>
                    <a:pt x="267" y="412"/>
                    <a:pt x="267" y="412"/>
                    <a:pt x="268" y="407"/>
                  </a:cubicBezTo>
                  <a:cubicBezTo>
                    <a:pt x="268" y="407"/>
                    <a:pt x="268" y="407"/>
                    <a:pt x="264" y="405"/>
                  </a:cubicBezTo>
                  <a:cubicBezTo>
                    <a:pt x="264" y="405"/>
                    <a:pt x="264" y="405"/>
                    <a:pt x="264" y="402"/>
                  </a:cubicBezTo>
                  <a:cubicBezTo>
                    <a:pt x="264" y="402"/>
                    <a:pt x="264" y="402"/>
                    <a:pt x="267" y="399"/>
                  </a:cubicBezTo>
                  <a:cubicBezTo>
                    <a:pt x="267" y="399"/>
                    <a:pt x="267" y="399"/>
                    <a:pt x="266" y="396"/>
                  </a:cubicBezTo>
                  <a:cubicBezTo>
                    <a:pt x="266" y="396"/>
                    <a:pt x="266" y="396"/>
                    <a:pt x="258" y="394"/>
                  </a:cubicBezTo>
                  <a:cubicBezTo>
                    <a:pt x="258" y="394"/>
                    <a:pt x="258" y="394"/>
                    <a:pt x="254" y="388"/>
                  </a:cubicBezTo>
                  <a:cubicBezTo>
                    <a:pt x="254" y="388"/>
                    <a:pt x="254" y="388"/>
                    <a:pt x="256" y="385"/>
                  </a:cubicBezTo>
                  <a:cubicBezTo>
                    <a:pt x="256" y="385"/>
                    <a:pt x="256" y="385"/>
                    <a:pt x="259" y="389"/>
                  </a:cubicBezTo>
                  <a:cubicBezTo>
                    <a:pt x="259" y="389"/>
                    <a:pt x="259" y="389"/>
                    <a:pt x="262" y="387"/>
                  </a:cubicBezTo>
                  <a:cubicBezTo>
                    <a:pt x="262" y="387"/>
                    <a:pt x="262" y="387"/>
                    <a:pt x="267" y="388"/>
                  </a:cubicBezTo>
                  <a:cubicBezTo>
                    <a:pt x="267" y="388"/>
                    <a:pt x="267" y="388"/>
                    <a:pt x="271" y="385"/>
                  </a:cubicBezTo>
                  <a:cubicBezTo>
                    <a:pt x="271" y="385"/>
                    <a:pt x="271" y="385"/>
                    <a:pt x="279" y="380"/>
                  </a:cubicBezTo>
                  <a:cubicBezTo>
                    <a:pt x="279" y="380"/>
                    <a:pt x="279" y="380"/>
                    <a:pt x="282" y="378"/>
                  </a:cubicBezTo>
                  <a:cubicBezTo>
                    <a:pt x="282" y="378"/>
                    <a:pt x="282" y="378"/>
                    <a:pt x="283" y="374"/>
                  </a:cubicBezTo>
                  <a:cubicBezTo>
                    <a:pt x="283" y="374"/>
                    <a:pt x="283" y="374"/>
                    <a:pt x="288" y="372"/>
                  </a:cubicBezTo>
                  <a:cubicBezTo>
                    <a:pt x="288" y="372"/>
                    <a:pt x="288" y="372"/>
                    <a:pt x="293" y="377"/>
                  </a:cubicBezTo>
                  <a:cubicBezTo>
                    <a:pt x="293" y="377"/>
                    <a:pt x="293" y="377"/>
                    <a:pt x="297" y="384"/>
                  </a:cubicBezTo>
                  <a:cubicBezTo>
                    <a:pt x="297" y="384"/>
                    <a:pt x="297" y="384"/>
                    <a:pt x="298" y="389"/>
                  </a:cubicBezTo>
                  <a:cubicBezTo>
                    <a:pt x="298" y="389"/>
                    <a:pt x="298" y="389"/>
                    <a:pt x="298" y="392"/>
                  </a:cubicBezTo>
                  <a:cubicBezTo>
                    <a:pt x="298" y="392"/>
                    <a:pt x="298" y="392"/>
                    <a:pt x="291" y="396"/>
                  </a:cubicBezTo>
                  <a:cubicBezTo>
                    <a:pt x="291" y="396"/>
                    <a:pt x="291" y="396"/>
                    <a:pt x="292" y="399"/>
                  </a:cubicBezTo>
                  <a:cubicBezTo>
                    <a:pt x="292" y="399"/>
                    <a:pt x="292" y="399"/>
                    <a:pt x="299" y="400"/>
                  </a:cubicBezTo>
                  <a:cubicBezTo>
                    <a:pt x="299" y="400"/>
                    <a:pt x="299" y="400"/>
                    <a:pt x="303" y="404"/>
                  </a:cubicBezTo>
                  <a:cubicBezTo>
                    <a:pt x="303" y="404"/>
                    <a:pt x="303" y="404"/>
                    <a:pt x="309" y="402"/>
                  </a:cubicBezTo>
                  <a:cubicBezTo>
                    <a:pt x="309" y="402"/>
                    <a:pt x="309" y="402"/>
                    <a:pt x="314" y="404"/>
                  </a:cubicBezTo>
                  <a:cubicBezTo>
                    <a:pt x="314" y="404"/>
                    <a:pt x="314" y="404"/>
                    <a:pt x="319" y="401"/>
                  </a:cubicBezTo>
                  <a:cubicBezTo>
                    <a:pt x="319" y="401"/>
                    <a:pt x="319" y="401"/>
                    <a:pt x="321" y="404"/>
                  </a:cubicBezTo>
                  <a:cubicBezTo>
                    <a:pt x="321" y="404"/>
                    <a:pt x="321" y="404"/>
                    <a:pt x="318" y="408"/>
                  </a:cubicBezTo>
                  <a:cubicBezTo>
                    <a:pt x="318" y="408"/>
                    <a:pt x="318" y="408"/>
                    <a:pt x="324" y="407"/>
                  </a:cubicBezTo>
                  <a:cubicBezTo>
                    <a:pt x="324" y="407"/>
                    <a:pt x="324" y="407"/>
                    <a:pt x="326" y="408"/>
                  </a:cubicBezTo>
                  <a:cubicBezTo>
                    <a:pt x="326" y="408"/>
                    <a:pt x="326" y="408"/>
                    <a:pt x="324" y="425"/>
                  </a:cubicBezTo>
                  <a:cubicBezTo>
                    <a:pt x="324" y="425"/>
                    <a:pt x="324" y="425"/>
                    <a:pt x="324" y="432"/>
                  </a:cubicBezTo>
                  <a:cubicBezTo>
                    <a:pt x="324" y="432"/>
                    <a:pt x="324" y="432"/>
                    <a:pt x="328" y="433"/>
                  </a:cubicBezTo>
                  <a:cubicBezTo>
                    <a:pt x="328" y="433"/>
                    <a:pt x="328" y="433"/>
                    <a:pt x="330" y="431"/>
                  </a:cubicBezTo>
                  <a:cubicBezTo>
                    <a:pt x="330" y="431"/>
                    <a:pt x="330" y="431"/>
                    <a:pt x="331" y="428"/>
                  </a:cubicBezTo>
                  <a:cubicBezTo>
                    <a:pt x="331" y="428"/>
                    <a:pt x="331" y="428"/>
                    <a:pt x="334" y="429"/>
                  </a:cubicBezTo>
                  <a:cubicBezTo>
                    <a:pt x="334" y="429"/>
                    <a:pt x="334" y="429"/>
                    <a:pt x="336" y="433"/>
                  </a:cubicBezTo>
                  <a:cubicBezTo>
                    <a:pt x="336" y="433"/>
                    <a:pt x="336" y="433"/>
                    <a:pt x="336" y="443"/>
                  </a:cubicBezTo>
                  <a:cubicBezTo>
                    <a:pt x="336" y="443"/>
                    <a:pt x="336" y="443"/>
                    <a:pt x="335" y="448"/>
                  </a:cubicBezTo>
                  <a:cubicBezTo>
                    <a:pt x="335" y="448"/>
                    <a:pt x="335" y="448"/>
                    <a:pt x="339" y="450"/>
                  </a:cubicBezTo>
                  <a:cubicBezTo>
                    <a:pt x="339" y="450"/>
                    <a:pt x="339" y="450"/>
                    <a:pt x="344" y="450"/>
                  </a:cubicBezTo>
                  <a:cubicBezTo>
                    <a:pt x="344" y="450"/>
                    <a:pt x="344" y="450"/>
                    <a:pt x="348" y="452"/>
                  </a:cubicBezTo>
                  <a:cubicBezTo>
                    <a:pt x="348" y="452"/>
                    <a:pt x="348" y="452"/>
                    <a:pt x="353" y="456"/>
                  </a:cubicBezTo>
                  <a:cubicBezTo>
                    <a:pt x="353" y="456"/>
                    <a:pt x="353" y="456"/>
                    <a:pt x="357" y="457"/>
                  </a:cubicBezTo>
                  <a:cubicBezTo>
                    <a:pt x="357" y="457"/>
                    <a:pt x="357" y="457"/>
                    <a:pt x="356" y="467"/>
                  </a:cubicBezTo>
                  <a:cubicBezTo>
                    <a:pt x="356" y="467"/>
                    <a:pt x="356" y="467"/>
                    <a:pt x="356" y="472"/>
                  </a:cubicBezTo>
                  <a:cubicBezTo>
                    <a:pt x="356" y="472"/>
                    <a:pt x="356" y="472"/>
                    <a:pt x="352" y="473"/>
                  </a:cubicBezTo>
                  <a:cubicBezTo>
                    <a:pt x="352" y="473"/>
                    <a:pt x="352" y="473"/>
                    <a:pt x="354" y="478"/>
                  </a:cubicBezTo>
                  <a:cubicBezTo>
                    <a:pt x="354" y="478"/>
                    <a:pt x="354" y="478"/>
                    <a:pt x="351" y="482"/>
                  </a:cubicBezTo>
                  <a:cubicBezTo>
                    <a:pt x="351" y="482"/>
                    <a:pt x="351" y="482"/>
                    <a:pt x="353" y="483"/>
                  </a:cubicBezTo>
                  <a:cubicBezTo>
                    <a:pt x="353" y="483"/>
                    <a:pt x="353" y="483"/>
                    <a:pt x="356" y="482"/>
                  </a:cubicBezTo>
                  <a:cubicBezTo>
                    <a:pt x="356" y="482"/>
                    <a:pt x="356" y="482"/>
                    <a:pt x="361" y="485"/>
                  </a:cubicBezTo>
                  <a:cubicBezTo>
                    <a:pt x="361" y="485"/>
                    <a:pt x="361" y="485"/>
                    <a:pt x="364" y="483"/>
                  </a:cubicBezTo>
                  <a:cubicBezTo>
                    <a:pt x="364" y="483"/>
                    <a:pt x="364" y="483"/>
                    <a:pt x="369" y="485"/>
                  </a:cubicBezTo>
                  <a:cubicBezTo>
                    <a:pt x="369" y="485"/>
                    <a:pt x="369" y="485"/>
                    <a:pt x="372" y="485"/>
                  </a:cubicBezTo>
                  <a:cubicBezTo>
                    <a:pt x="372" y="485"/>
                    <a:pt x="372" y="485"/>
                    <a:pt x="377" y="489"/>
                  </a:cubicBezTo>
                  <a:cubicBezTo>
                    <a:pt x="377" y="489"/>
                    <a:pt x="377" y="489"/>
                    <a:pt x="381" y="492"/>
                  </a:cubicBezTo>
                  <a:cubicBezTo>
                    <a:pt x="381" y="492"/>
                    <a:pt x="381" y="492"/>
                    <a:pt x="383" y="496"/>
                  </a:cubicBezTo>
                  <a:cubicBezTo>
                    <a:pt x="383" y="496"/>
                    <a:pt x="383" y="496"/>
                    <a:pt x="385" y="499"/>
                  </a:cubicBezTo>
                  <a:cubicBezTo>
                    <a:pt x="385" y="499"/>
                    <a:pt x="385" y="499"/>
                    <a:pt x="390" y="496"/>
                  </a:cubicBezTo>
                  <a:cubicBezTo>
                    <a:pt x="390" y="496"/>
                    <a:pt x="390" y="496"/>
                    <a:pt x="394" y="494"/>
                  </a:cubicBezTo>
                  <a:cubicBezTo>
                    <a:pt x="394" y="494"/>
                    <a:pt x="394" y="494"/>
                    <a:pt x="398" y="496"/>
                  </a:cubicBezTo>
                  <a:cubicBezTo>
                    <a:pt x="398" y="496"/>
                    <a:pt x="398" y="496"/>
                    <a:pt x="399" y="501"/>
                  </a:cubicBezTo>
                  <a:cubicBezTo>
                    <a:pt x="399" y="501"/>
                    <a:pt x="399" y="501"/>
                    <a:pt x="395" y="505"/>
                  </a:cubicBezTo>
                  <a:cubicBezTo>
                    <a:pt x="395" y="505"/>
                    <a:pt x="395" y="505"/>
                    <a:pt x="395" y="509"/>
                  </a:cubicBezTo>
                  <a:cubicBezTo>
                    <a:pt x="395" y="509"/>
                    <a:pt x="395" y="509"/>
                    <a:pt x="392" y="513"/>
                  </a:cubicBezTo>
                  <a:cubicBezTo>
                    <a:pt x="392" y="513"/>
                    <a:pt x="392" y="513"/>
                    <a:pt x="392" y="516"/>
                  </a:cubicBezTo>
                  <a:cubicBezTo>
                    <a:pt x="392" y="516"/>
                    <a:pt x="392" y="516"/>
                    <a:pt x="386" y="519"/>
                  </a:cubicBezTo>
                  <a:cubicBezTo>
                    <a:pt x="386" y="519"/>
                    <a:pt x="386" y="519"/>
                    <a:pt x="384" y="528"/>
                  </a:cubicBezTo>
                  <a:cubicBezTo>
                    <a:pt x="384" y="528"/>
                    <a:pt x="384" y="528"/>
                    <a:pt x="379" y="531"/>
                  </a:cubicBezTo>
                  <a:cubicBezTo>
                    <a:pt x="379" y="531"/>
                    <a:pt x="379" y="531"/>
                    <a:pt x="376" y="535"/>
                  </a:cubicBezTo>
                  <a:cubicBezTo>
                    <a:pt x="376" y="535"/>
                    <a:pt x="376" y="535"/>
                    <a:pt x="376" y="542"/>
                  </a:cubicBezTo>
                  <a:cubicBezTo>
                    <a:pt x="432" y="535"/>
                    <a:pt x="432" y="535"/>
                    <a:pt x="432" y="535"/>
                  </a:cubicBezTo>
                  <a:cubicBezTo>
                    <a:pt x="453" y="535"/>
                    <a:pt x="453" y="535"/>
                    <a:pt x="453" y="535"/>
                  </a:cubicBezTo>
                  <a:cubicBezTo>
                    <a:pt x="453" y="492"/>
                    <a:pt x="453" y="492"/>
                    <a:pt x="453" y="492"/>
                  </a:cubicBezTo>
                  <a:cubicBezTo>
                    <a:pt x="442" y="481"/>
                    <a:pt x="442" y="481"/>
                    <a:pt x="442" y="481"/>
                  </a:cubicBezTo>
                  <a:cubicBezTo>
                    <a:pt x="442" y="470"/>
                    <a:pt x="442" y="470"/>
                    <a:pt x="442" y="470"/>
                  </a:cubicBezTo>
                  <a:cubicBezTo>
                    <a:pt x="486" y="470"/>
                    <a:pt x="486" y="470"/>
                    <a:pt x="486" y="470"/>
                  </a:cubicBezTo>
                  <a:cubicBezTo>
                    <a:pt x="496" y="460"/>
                    <a:pt x="496" y="460"/>
                    <a:pt x="496" y="460"/>
                  </a:cubicBezTo>
                  <a:cubicBezTo>
                    <a:pt x="496" y="417"/>
                    <a:pt x="496" y="417"/>
                    <a:pt x="496" y="417"/>
                  </a:cubicBezTo>
                  <a:lnTo>
                    <a:pt x="486" y="40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25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F00A812D-E100-4719-8D4F-4471D97BE0DD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7108556" y="3822698"/>
              <a:ext cx="850145" cy="509002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26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98E22634-EC52-4183-8FE2-3DC04E7F6D59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4433581" y="4499560"/>
              <a:ext cx="314068" cy="568571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27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BD51E8C-801E-4B8D-AE1B-4DFBE86508A3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6561646" y="3118756"/>
              <a:ext cx="866389" cy="622720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28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847D1CA7-693A-4E3F-B253-626CC5E8B184}"/>
                </a:ext>
              </a:extLst>
            </p:cNvPr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gray">
            <a:xfrm>
              <a:off x="5830632" y="709117"/>
              <a:ext cx="1884393" cy="2073916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29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FCD3FDC3-EC21-470A-9A98-B58B2791E7E3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5614034" y="3264961"/>
              <a:ext cx="373630" cy="292404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30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A1057BCE-448D-436D-ADE3-143A73F4A338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gray">
            <a:xfrm>
              <a:off x="6962347" y="4331700"/>
              <a:ext cx="157032" cy="189524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31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771CA21F-E626-459D-984A-73BC6D293291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7660873" y="3801034"/>
              <a:ext cx="297825" cy="330309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accent5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32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226BA4C4-585B-4996-A429-A2C00A8AFA40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gray">
            <a:xfrm>
              <a:off x="6594130" y="5154767"/>
              <a:ext cx="43318" cy="37905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33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F1702E52-098C-4EAF-88B1-52A050AFC962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gray">
            <a:xfrm>
              <a:off x="7157284" y="4461658"/>
              <a:ext cx="227428" cy="178693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34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3F04A766-D5E6-4D93-9E44-2E876FDE845B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5841463" y="3622344"/>
              <a:ext cx="70396" cy="5956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35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8714D664-2F93-435C-B574-7142E50DA8F0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7119387" y="2945479"/>
              <a:ext cx="471101" cy="27074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36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6FDF5E9C-443F-418F-BDB5-09A044DAF141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6155524" y="3925582"/>
              <a:ext cx="21657" cy="32488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37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10125B20-7870-400B-9E3D-286DD4664658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7108556" y="2777617"/>
              <a:ext cx="590228" cy="24908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38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A77A9428-140C-4E13-87ED-30625D26C550}"/>
                </a:ext>
              </a:extLst>
            </p:cNvPr>
            <p:cNvSpPr>
              <a:spLocks noEditPoints="1"/>
            </p:cNvSpPr>
            <p:nvPr>
              <p:custDataLst>
                <p:tags r:id="rId25"/>
              </p:custDataLst>
            </p:nvPr>
          </p:nvSpPr>
          <p:spPr bwMode="gray">
            <a:xfrm>
              <a:off x="7113313" y="4336018"/>
              <a:ext cx="178461" cy="179789"/>
            </a:xfrm>
            <a:custGeom>
              <a:avLst/>
              <a:gdLst/>
              <a:ahLst/>
              <a:cxnLst>
                <a:cxn ang="0">
                  <a:pos x="6" y="75"/>
                </a:cxn>
                <a:cxn ang="0">
                  <a:pos x="0" y="72"/>
                </a:cxn>
                <a:cxn ang="0">
                  <a:pos x="227" y="122"/>
                </a:cxn>
                <a:cxn ang="0">
                  <a:pos x="218" y="127"/>
                </a:cxn>
                <a:cxn ang="0">
                  <a:pos x="214" y="120"/>
                </a:cxn>
                <a:cxn ang="0">
                  <a:pos x="206" y="113"/>
                </a:cxn>
                <a:cxn ang="0">
                  <a:pos x="197" y="111"/>
                </a:cxn>
                <a:cxn ang="0">
                  <a:pos x="190" y="110"/>
                </a:cxn>
                <a:cxn ang="0">
                  <a:pos x="185" y="110"/>
                </a:cxn>
                <a:cxn ang="0">
                  <a:pos x="185" y="101"/>
                </a:cxn>
                <a:cxn ang="0">
                  <a:pos x="189" y="95"/>
                </a:cxn>
                <a:cxn ang="0">
                  <a:pos x="187" y="84"/>
                </a:cxn>
                <a:cxn ang="0">
                  <a:pos x="177" y="78"/>
                </a:cxn>
                <a:cxn ang="0">
                  <a:pos x="169" y="76"/>
                </a:cxn>
                <a:cxn ang="0">
                  <a:pos x="170" y="61"/>
                </a:cxn>
                <a:cxn ang="0">
                  <a:pos x="165" y="56"/>
                </a:cxn>
                <a:cxn ang="0">
                  <a:pos x="161" y="61"/>
                </a:cxn>
                <a:cxn ang="0">
                  <a:pos x="157" y="53"/>
                </a:cxn>
                <a:cxn ang="0">
                  <a:pos x="158" y="35"/>
                </a:cxn>
                <a:cxn ang="0">
                  <a:pos x="154" y="32"/>
                </a:cxn>
                <a:cxn ang="0">
                  <a:pos x="147" y="32"/>
                </a:cxn>
                <a:cxn ang="0">
                  <a:pos x="137" y="32"/>
                </a:cxn>
                <a:cxn ang="0">
                  <a:pos x="126" y="27"/>
                </a:cxn>
                <a:cxn ang="0">
                  <a:pos x="131" y="20"/>
                </a:cxn>
                <a:cxn ang="0">
                  <a:pos x="130" y="12"/>
                </a:cxn>
                <a:cxn ang="0">
                  <a:pos x="122" y="0"/>
                </a:cxn>
                <a:cxn ang="0">
                  <a:pos x="115" y="6"/>
                </a:cxn>
                <a:cxn ang="0">
                  <a:pos x="104" y="13"/>
                </a:cxn>
                <a:cxn ang="0">
                  <a:pos x="96" y="15"/>
                </a:cxn>
                <a:cxn ang="0">
                  <a:pos x="89" y="13"/>
                </a:cxn>
                <a:cxn ang="0">
                  <a:pos x="91" y="22"/>
                </a:cxn>
                <a:cxn ang="0">
                  <a:pos x="101" y="27"/>
                </a:cxn>
                <a:cxn ang="0">
                  <a:pos x="97" y="33"/>
                </a:cxn>
                <a:cxn ang="0">
                  <a:pos x="100" y="40"/>
                </a:cxn>
                <a:cxn ang="0">
                  <a:pos x="99" y="46"/>
                </a:cxn>
                <a:cxn ang="0">
                  <a:pos x="92" y="49"/>
                </a:cxn>
                <a:cxn ang="0">
                  <a:pos x="88" y="45"/>
                </a:cxn>
                <a:cxn ang="0">
                  <a:pos x="70" y="59"/>
                </a:cxn>
                <a:cxn ang="0">
                  <a:pos x="73" y="71"/>
                </a:cxn>
                <a:cxn ang="0">
                  <a:pos x="45" y="74"/>
                </a:cxn>
                <a:cxn ang="0">
                  <a:pos x="14" y="72"/>
                </a:cxn>
                <a:cxn ang="0">
                  <a:pos x="6" y="75"/>
                </a:cxn>
                <a:cxn ang="0">
                  <a:pos x="6" y="141"/>
                </a:cxn>
                <a:cxn ang="0">
                  <a:pos x="14" y="155"/>
                </a:cxn>
                <a:cxn ang="0">
                  <a:pos x="27" y="173"/>
                </a:cxn>
                <a:cxn ang="0">
                  <a:pos x="50" y="175"/>
                </a:cxn>
                <a:cxn ang="0">
                  <a:pos x="60" y="211"/>
                </a:cxn>
                <a:cxn ang="0">
                  <a:pos x="60" y="237"/>
                </a:cxn>
                <a:cxn ang="0">
                  <a:pos x="92" y="226"/>
                </a:cxn>
                <a:cxn ang="0">
                  <a:pos x="138" y="205"/>
                </a:cxn>
                <a:cxn ang="0">
                  <a:pos x="146" y="184"/>
                </a:cxn>
                <a:cxn ang="0">
                  <a:pos x="189" y="173"/>
                </a:cxn>
                <a:cxn ang="0">
                  <a:pos x="209" y="163"/>
                </a:cxn>
                <a:cxn ang="0">
                  <a:pos x="217" y="156"/>
                </a:cxn>
                <a:cxn ang="0">
                  <a:pos x="225" y="144"/>
                </a:cxn>
                <a:cxn ang="0">
                  <a:pos x="228" y="137"/>
                </a:cxn>
                <a:cxn ang="0">
                  <a:pos x="232" y="129"/>
                </a:cxn>
              </a:cxnLst>
              <a:rect l="0" t="0" r="r" b="b"/>
              <a:pathLst>
                <a:path w="232" h="237">
                  <a:moveTo>
                    <a:pt x="0" y="72"/>
                  </a:moveTo>
                  <a:cubicBezTo>
                    <a:pt x="1" y="72"/>
                    <a:pt x="2" y="73"/>
                    <a:pt x="6" y="75"/>
                  </a:cubicBezTo>
                  <a:cubicBezTo>
                    <a:pt x="6" y="66"/>
                    <a:pt x="6" y="66"/>
                    <a:pt x="6" y="66"/>
                  </a:cubicBezTo>
                  <a:lnTo>
                    <a:pt x="0" y="72"/>
                  </a:lnTo>
                  <a:close/>
                  <a:moveTo>
                    <a:pt x="231" y="124"/>
                  </a:moveTo>
                  <a:cubicBezTo>
                    <a:pt x="227" y="122"/>
                    <a:pt x="227" y="122"/>
                    <a:pt x="227" y="122"/>
                  </a:cubicBezTo>
                  <a:cubicBezTo>
                    <a:pt x="223" y="124"/>
                    <a:pt x="223" y="124"/>
                    <a:pt x="223" y="124"/>
                  </a:cubicBezTo>
                  <a:cubicBezTo>
                    <a:pt x="218" y="127"/>
                    <a:pt x="218" y="127"/>
                    <a:pt x="218" y="127"/>
                  </a:cubicBezTo>
                  <a:cubicBezTo>
                    <a:pt x="216" y="124"/>
                    <a:pt x="216" y="124"/>
                    <a:pt x="216" y="124"/>
                  </a:cubicBezTo>
                  <a:cubicBezTo>
                    <a:pt x="214" y="120"/>
                    <a:pt x="214" y="120"/>
                    <a:pt x="214" y="120"/>
                  </a:cubicBezTo>
                  <a:cubicBezTo>
                    <a:pt x="210" y="117"/>
                    <a:pt x="210" y="117"/>
                    <a:pt x="210" y="117"/>
                  </a:cubicBezTo>
                  <a:cubicBezTo>
                    <a:pt x="206" y="113"/>
                    <a:pt x="206" y="113"/>
                    <a:pt x="206" y="113"/>
                  </a:cubicBezTo>
                  <a:cubicBezTo>
                    <a:pt x="202" y="113"/>
                    <a:pt x="202" y="113"/>
                    <a:pt x="202" y="113"/>
                  </a:cubicBezTo>
                  <a:cubicBezTo>
                    <a:pt x="197" y="111"/>
                    <a:pt x="197" y="111"/>
                    <a:pt x="197" y="111"/>
                  </a:cubicBezTo>
                  <a:cubicBezTo>
                    <a:pt x="195" y="113"/>
                    <a:pt x="195" y="113"/>
                    <a:pt x="195" y="113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5" y="110"/>
                    <a:pt x="185" y="110"/>
                    <a:pt x="185" y="110"/>
                  </a:cubicBezTo>
                  <a:cubicBezTo>
                    <a:pt x="187" y="106"/>
                    <a:pt x="187" y="106"/>
                    <a:pt x="187" y="106"/>
                  </a:cubicBezTo>
                  <a:cubicBezTo>
                    <a:pt x="185" y="101"/>
                    <a:pt x="185" y="101"/>
                    <a:pt x="185" y="101"/>
                  </a:cubicBezTo>
                  <a:cubicBezTo>
                    <a:pt x="189" y="100"/>
                    <a:pt x="189" y="100"/>
                    <a:pt x="189" y="100"/>
                  </a:cubicBezTo>
                  <a:cubicBezTo>
                    <a:pt x="189" y="95"/>
                    <a:pt x="189" y="95"/>
                    <a:pt x="189" y="95"/>
                  </a:cubicBezTo>
                  <a:cubicBezTo>
                    <a:pt x="191" y="85"/>
                    <a:pt x="191" y="85"/>
                    <a:pt x="191" y="85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82" y="80"/>
                    <a:pt x="182" y="80"/>
                    <a:pt x="182" y="80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72" y="78"/>
                    <a:pt x="172" y="78"/>
                    <a:pt x="172" y="78"/>
                  </a:cubicBezTo>
                  <a:cubicBezTo>
                    <a:pt x="169" y="76"/>
                    <a:pt x="169" y="76"/>
                    <a:pt x="169" y="76"/>
                  </a:cubicBezTo>
                  <a:cubicBezTo>
                    <a:pt x="169" y="71"/>
                    <a:pt x="169" y="71"/>
                    <a:pt x="169" y="71"/>
                  </a:cubicBezTo>
                  <a:cubicBezTo>
                    <a:pt x="170" y="61"/>
                    <a:pt x="170" y="61"/>
                    <a:pt x="170" y="61"/>
                  </a:cubicBezTo>
                  <a:cubicBezTo>
                    <a:pt x="167" y="57"/>
                    <a:pt x="167" y="57"/>
                    <a:pt x="167" y="57"/>
                  </a:cubicBezTo>
                  <a:cubicBezTo>
                    <a:pt x="165" y="56"/>
                    <a:pt x="165" y="56"/>
                    <a:pt x="165" y="56"/>
                  </a:cubicBezTo>
                  <a:cubicBezTo>
                    <a:pt x="163" y="59"/>
                    <a:pt x="163" y="59"/>
                    <a:pt x="163" y="59"/>
                  </a:cubicBezTo>
                  <a:cubicBezTo>
                    <a:pt x="161" y="61"/>
                    <a:pt x="161" y="61"/>
                    <a:pt x="161" y="61"/>
                  </a:cubicBezTo>
                  <a:cubicBezTo>
                    <a:pt x="158" y="60"/>
                    <a:pt x="158" y="60"/>
                    <a:pt x="158" y="60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9" y="36"/>
                    <a:pt x="159" y="36"/>
                    <a:pt x="159" y="36"/>
                  </a:cubicBezTo>
                  <a:cubicBezTo>
                    <a:pt x="158" y="35"/>
                    <a:pt x="158" y="35"/>
                    <a:pt x="158" y="35"/>
                  </a:cubicBezTo>
                  <a:cubicBezTo>
                    <a:pt x="151" y="36"/>
                    <a:pt x="151" y="36"/>
                    <a:pt x="151" y="36"/>
                  </a:cubicBezTo>
                  <a:cubicBezTo>
                    <a:pt x="154" y="32"/>
                    <a:pt x="154" y="32"/>
                    <a:pt x="154" y="32"/>
                  </a:cubicBezTo>
                  <a:cubicBezTo>
                    <a:pt x="152" y="29"/>
                    <a:pt x="152" y="29"/>
                    <a:pt x="152" y="29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2" y="30"/>
                    <a:pt x="142" y="30"/>
                    <a:pt x="142" y="30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5" y="24"/>
                    <a:pt x="125" y="24"/>
                    <a:pt x="125" y="24"/>
                  </a:cubicBezTo>
                  <a:cubicBezTo>
                    <a:pt x="131" y="20"/>
                    <a:pt x="131" y="20"/>
                    <a:pt x="131" y="20"/>
                  </a:cubicBezTo>
                  <a:cubicBezTo>
                    <a:pt x="131" y="17"/>
                    <a:pt x="131" y="17"/>
                    <a:pt x="131" y="17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6" y="5"/>
                    <a:pt x="126" y="5"/>
                    <a:pt x="126" y="5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2" y="8"/>
                    <a:pt x="112" y="8"/>
                    <a:pt x="112" y="8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0" y="16"/>
                    <a:pt x="100" y="16"/>
                    <a:pt x="100" y="16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91" y="22"/>
                    <a:pt x="91" y="22"/>
                    <a:pt x="91" y="22"/>
                  </a:cubicBezTo>
                  <a:cubicBezTo>
                    <a:pt x="99" y="24"/>
                    <a:pt x="99" y="24"/>
                    <a:pt x="99" y="24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97" y="42"/>
                    <a:pt x="97" y="42"/>
                    <a:pt x="97" y="42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9" y="77"/>
                    <a:pt x="9" y="77"/>
                    <a:pt x="9" y="77"/>
                  </a:cubicBezTo>
                  <a:cubicBezTo>
                    <a:pt x="8" y="76"/>
                    <a:pt x="7" y="76"/>
                    <a:pt x="6" y="75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41"/>
                    <a:pt x="6" y="141"/>
                    <a:pt x="6" y="141"/>
                  </a:cubicBezTo>
                  <a:cubicBezTo>
                    <a:pt x="14" y="153"/>
                    <a:pt x="14" y="153"/>
                    <a:pt x="14" y="153"/>
                  </a:cubicBezTo>
                  <a:cubicBezTo>
                    <a:pt x="14" y="154"/>
                    <a:pt x="14" y="155"/>
                    <a:pt x="14" y="155"/>
                  </a:cubicBezTo>
                  <a:cubicBezTo>
                    <a:pt x="14" y="155"/>
                    <a:pt x="15" y="155"/>
                    <a:pt x="16" y="156"/>
                  </a:cubicBezTo>
                  <a:cubicBezTo>
                    <a:pt x="27" y="173"/>
                    <a:pt x="27" y="173"/>
                    <a:pt x="27" y="173"/>
                  </a:cubicBezTo>
                  <a:cubicBezTo>
                    <a:pt x="48" y="173"/>
                    <a:pt x="48" y="173"/>
                    <a:pt x="48" y="173"/>
                  </a:cubicBezTo>
                  <a:cubicBezTo>
                    <a:pt x="48" y="173"/>
                    <a:pt x="49" y="174"/>
                    <a:pt x="50" y="175"/>
                  </a:cubicBezTo>
                  <a:cubicBezTo>
                    <a:pt x="59" y="201"/>
                    <a:pt x="59" y="201"/>
                    <a:pt x="59" y="201"/>
                  </a:cubicBezTo>
                  <a:cubicBezTo>
                    <a:pt x="59" y="205"/>
                    <a:pt x="60" y="208"/>
                    <a:pt x="60" y="211"/>
                  </a:cubicBezTo>
                  <a:cubicBezTo>
                    <a:pt x="60" y="229"/>
                    <a:pt x="60" y="229"/>
                    <a:pt x="60" y="229"/>
                  </a:cubicBezTo>
                  <a:cubicBezTo>
                    <a:pt x="60" y="237"/>
                    <a:pt x="60" y="237"/>
                    <a:pt x="60" y="237"/>
                  </a:cubicBezTo>
                  <a:cubicBezTo>
                    <a:pt x="76" y="232"/>
                    <a:pt x="76" y="232"/>
                    <a:pt x="76" y="232"/>
                  </a:cubicBezTo>
                  <a:cubicBezTo>
                    <a:pt x="92" y="226"/>
                    <a:pt x="92" y="226"/>
                    <a:pt x="92" y="226"/>
                  </a:cubicBezTo>
                  <a:cubicBezTo>
                    <a:pt x="103" y="205"/>
                    <a:pt x="103" y="205"/>
                    <a:pt x="103" y="205"/>
                  </a:cubicBezTo>
                  <a:cubicBezTo>
                    <a:pt x="138" y="205"/>
                    <a:pt x="138" y="205"/>
                    <a:pt x="138" y="205"/>
                  </a:cubicBezTo>
                  <a:cubicBezTo>
                    <a:pt x="146" y="205"/>
                    <a:pt x="146" y="205"/>
                    <a:pt x="146" y="20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78" y="184"/>
                    <a:pt x="178" y="184"/>
                    <a:pt x="178" y="184"/>
                  </a:cubicBezTo>
                  <a:cubicBezTo>
                    <a:pt x="189" y="173"/>
                    <a:pt x="189" y="173"/>
                    <a:pt x="189" y="173"/>
                  </a:cubicBezTo>
                  <a:cubicBezTo>
                    <a:pt x="210" y="170"/>
                    <a:pt x="210" y="170"/>
                    <a:pt x="210" y="170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3" y="159"/>
                    <a:pt x="213" y="159"/>
                    <a:pt x="213" y="159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9" y="147"/>
                    <a:pt x="219" y="147"/>
                    <a:pt x="219" y="147"/>
                  </a:cubicBezTo>
                  <a:cubicBezTo>
                    <a:pt x="225" y="144"/>
                    <a:pt x="225" y="144"/>
                    <a:pt x="225" y="144"/>
                  </a:cubicBezTo>
                  <a:cubicBezTo>
                    <a:pt x="225" y="141"/>
                    <a:pt x="225" y="141"/>
                    <a:pt x="225" y="141"/>
                  </a:cubicBezTo>
                  <a:cubicBezTo>
                    <a:pt x="228" y="137"/>
                    <a:pt x="228" y="137"/>
                    <a:pt x="228" y="137"/>
                  </a:cubicBezTo>
                  <a:cubicBezTo>
                    <a:pt x="229" y="133"/>
                    <a:pt x="229" y="133"/>
                    <a:pt x="229" y="133"/>
                  </a:cubicBezTo>
                  <a:cubicBezTo>
                    <a:pt x="232" y="129"/>
                    <a:pt x="232" y="129"/>
                    <a:pt x="232" y="129"/>
                  </a:cubicBezTo>
                  <a:cubicBezTo>
                    <a:pt x="231" y="124"/>
                    <a:pt x="231" y="124"/>
                    <a:pt x="231" y="12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39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5E1B69C0-BA68-48BF-9172-C51FA407D7F4}"/>
                </a:ext>
              </a:extLst>
            </p:cNvPr>
            <p:cNvSpPr>
              <a:spLocks noEditPoints="1"/>
            </p:cNvSpPr>
            <p:nvPr>
              <p:custDataLst>
                <p:tags r:id="rId26"/>
              </p:custDataLst>
            </p:nvPr>
          </p:nvSpPr>
          <p:spPr bwMode="gray">
            <a:xfrm>
              <a:off x="5906438" y="3947239"/>
              <a:ext cx="1077573" cy="1147962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40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D342847-24AA-4827-89A5-0F0C881DFE44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4493143" y="3070024"/>
              <a:ext cx="389874" cy="411532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41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4410DD5C-B75F-47DA-8B3E-629655884773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gray">
            <a:xfrm>
              <a:off x="6751173" y="3790207"/>
              <a:ext cx="590228" cy="308651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42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6F65E401-38CD-4BFC-B565-B8B9C9AAC090}"/>
                </a:ext>
              </a:extLst>
            </p:cNvPr>
            <p:cNvSpPr>
              <a:spLocks noEditPoints="1"/>
            </p:cNvSpPr>
            <p:nvPr>
              <p:custDataLst>
                <p:tags r:id="rId29"/>
              </p:custDataLst>
            </p:nvPr>
          </p:nvSpPr>
          <p:spPr bwMode="gray">
            <a:xfrm>
              <a:off x="7151871" y="4537468"/>
              <a:ext cx="736427" cy="763508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43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1B939730-3BD9-40E6-974C-EF4D7A1231B4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5863120" y="3107925"/>
              <a:ext cx="779752" cy="817653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44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F79B2811-C0EB-41C9-A708-B08074879426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gray">
            <a:xfrm>
              <a:off x="8890061" y="4331700"/>
              <a:ext cx="638957" cy="292404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45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8621BA44-EB92-4629-BE11-76AC1914E1D0}"/>
                </a:ext>
              </a:extLst>
            </p:cNvPr>
            <p:cNvSpPr>
              <a:spLocks noEditPoints="1"/>
            </p:cNvSpPr>
            <p:nvPr>
              <p:custDataLst>
                <p:tags r:id="rId32"/>
              </p:custDataLst>
            </p:nvPr>
          </p:nvSpPr>
          <p:spPr bwMode="gray">
            <a:xfrm>
              <a:off x="4915505" y="3503217"/>
              <a:ext cx="1261683" cy="1088404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46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3FB665E-EB44-433B-A88B-CD3EAFCA5CA3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 bwMode="gray">
            <a:xfrm>
              <a:off x="6984004" y="1597163"/>
              <a:ext cx="871806" cy="990933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47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98D038BE-7286-4222-A6E8-D17ED676AA77}"/>
                </a:ext>
              </a:extLst>
            </p:cNvPr>
            <p:cNvSpPr>
              <a:spLocks noEditPoints="1"/>
            </p:cNvSpPr>
            <p:nvPr>
              <p:custDataLst>
                <p:tags r:id="rId34"/>
              </p:custDataLst>
            </p:nvPr>
          </p:nvSpPr>
          <p:spPr bwMode="gray">
            <a:xfrm>
              <a:off x="7157284" y="2620588"/>
              <a:ext cx="481931" cy="216598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48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9E0D7097-956E-4517-BDA9-6D2018224CC0}"/>
                </a:ext>
              </a:extLst>
            </p:cNvPr>
            <p:cNvSpPr>
              <a:spLocks noEditPoints="1"/>
            </p:cNvSpPr>
            <p:nvPr>
              <p:custDataLst>
                <p:tags r:id="rId35"/>
              </p:custDataLst>
            </p:nvPr>
          </p:nvSpPr>
          <p:spPr bwMode="gray">
            <a:xfrm>
              <a:off x="6052644" y="2826352"/>
              <a:ext cx="384461" cy="324892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49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72414381-6673-47C7-93B8-B8818649431A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gray">
            <a:xfrm>
              <a:off x="6393779" y="3524877"/>
              <a:ext cx="584811" cy="265333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50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DCD55514-F247-4740-8472-74A8FF58188C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gray">
            <a:xfrm>
              <a:off x="8272759" y="5219753"/>
              <a:ext cx="205768" cy="119128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51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F5304729-C0AF-47C9-A74E-6A9BE950CB53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gray">
            <a:xfrm>
              <a:off x="6534575" y="4017636"/>
              <a:ext cx="509002" cy="379044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52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EF65EA3A-9E86-4275-B33B-7B8B9FD79E8C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gray">
            <a:xfrm>
              <a:off x="7319734" y="4272138"/>
              <a:ext cx="546910" cy="314065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53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54241B75-81AF-45C0-A587-B85E3C9DBCD6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gray">
            <a:xfrm>
              <a:off x="6702434" y="4147594"/>
              <a:ext cx="368213" cy="324892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54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DCB5912D-8930-4EA1-93B8-280D1D035054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gray">
            <a:xfrm>
              <a:off x="5597791" y="3481559"/>
              <a:ext cx="308655" cy="211185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55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2ED9E1D8-13DD-4927-86D3-930A0B5E4E32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gray">
            <a:xfrm>
              <a:off x="7325154" y="2977967"/>
              <a:ext cx="790583" cy="514419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56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D244E247-5AC4-41AC-B895-A8AB72BAAA68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gray">
            <a:xfrm>
              <a:off x="6177192" y="3741475"/>
              <a:ext cx="633543" cy="281574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chemeClr val="accent5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57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883B2093-1CB1-4627-833C-C7F0CFC82CC3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gray">
            <a:xfrm>
              <a:off x="5440765" y="4440001"/>
              <a:ext cx="43318" cy="21657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58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0501438D-F48E-4E2C-99B4-C1FF4295BDCB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gray">
            <a:xfrm>
              <a:off x="7016510" y="4439994"/>
              <a:ext cx="200354" cy="341143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B7CEB0D0-E17F-6572-CE37-661E45EA809F}"/>
              </a:ext>
            </a:extLst>
          </p:cNvPr>
          <p:cNvSpPr/>
          <p:nvPr/>
        </p:nvSpPr>
        <p:spPr>
          <a:xfrm>
            <a:off x="999140" y="3695659"/>
            <a:ext cx="2588683" cy="69591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>
                <a:solidFill>
                  <a:schemeClr val="bg1"/>
                </a:solidFill>
              </a:rPr>
              <a:t>Select a country to recolor it using the </a:t>
            </a:r>
            <a:r>
              <a:rPr lang="en-US" sz="1200" b="1" dirty="0">
                <a:solidFill>
                  <a:schemeClr val="bg1"/>
                </a:solidFill>
              </a:rPr>
              <a:t>Shape Fill </a:t>
            </a:r>
            <a:r>
              <a:rPr lang="en-US" sz="1200" dirty="0">
                <a:solidFill>
                  <a:schemeClr val="bg1"/>
                </a:solidFill>
              </a:rPr>
              <a:t>option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425997F-2D98-AB42-7E66-CA4A9C98E975}"/>
              </a:ext>
            </a:extLst>
          </p:cNvPr>
          <p:cNvSpPr/>
          <p:nvPr/>
        </p:nvSpPr>
        <p:spPr>
          <a:xfrm>
            <a:off x="859658" y="1923573"/>
            <a:ext cx="2866056" cy="17710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b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</a:rPr>
              <a:t>Each country is a separate object in this map. 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You can find individually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named countries in the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Selection Pane</a:t>
            </a:r>
            <a:r>
              <a:rPr lang="en-US" sz="1200" dirty="0">
                <a:solidFill>
                  <a:schemeClr val="tx1"/>
                </a:solidFill>
              </a:rPr>
              <a:t>: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 dirty="0">
                <a:solidFill>
                  <a:schemeClr val="tx1"/>
                </a:solidFill>
              </a:rPr>
              <a:t>Home tab &gt; Arrange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&gt; Selection Pane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or by pressing </a:t>
            </a:r>
            <a:r>
              <a:rPr lang="en-US" sz="1200" b="1" dirty="0">
                <a:solidFill>
                  <a:schemeClr val="tx1"/>
                </a:solidFill>
              </a:rPr>
              <a:t>Alt + F1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C473ABF-FD66-B4C7-6D6E-986B8BC29778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Europe map</a:t>
            </a:r>
            <a:endParaRPr lang="en-CA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9040233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" name="Group 76">
            <a:extLst>
              <a:ext uri="{FF2B5EF4-FFF2-40B4-BE49-F238E27FC236}">
                <a16:creationId xmlns:a16="http://schemas.microsoft.com/office/drawing/2014/main" id="{60960F04-F288-490B-8153-641CBA9B167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6067422" y="802279"/>
            <a:ext cx="4073656" cy="5253441"/>
            <a:chOff x="4313260" y="2695018"/>
            <a:chExt cx="2109212" cy="2748044"/>
          </a:xfrm>
          <a:solidFill>
            <a:schemeClr val="bg1">
              <a:lumMod val="85000"/>
            </a:schemeClr>
          </a:solidFill>
        </p:grpSpPr>
        <p:sp>
          <p:nvSpPr>
            <p:cNvPr id="78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F0616C0B-D62D-4386-B8EE-5B95D1767684}"/>
                </a:ext>
              </a:extLst>
            </p:cNvPr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gray">
            <a:xfrm>
              <a:off x="5363313" y="3335369"/>
              <a:ext cx="370249" cy="361145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79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3048C02B-6277-44B1-955A-11022D9D4871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5856474" y="4658557"/>
              <a:ext cx="142637" cy="148707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80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2959FE65-7892-4264-AFA2-E6910D63CEFB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5777569" y="3529598"/>
              <a:ext cx="113807" cy="130498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81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20BB9252-3339-422B-9CA5-9C2CB353C138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5557543" y="3141139"/>
              <a:ext cx="53111" cy="22762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82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B2C73EE9-916A-4146-B577-AA9C4B662E24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5135700" y="3714724"/>
              <a:ext cx="365698" cy="578137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83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B4CC5CBC-8510-465B-91B7-63379A9A4C1D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5694110" y="4318657"/>
              <a:ext cx="232165" cy="262513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84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B33A16F9-2EBD-4870-A262-551442018C3A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5096247" y="3415791"/>
              <a:ext cx="157812" cy="75871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85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B23732AD-9A9E-439D-900F-937A090CD790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4979407" y="3251911"/>
              <a:ext cx="125947" cy="128981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86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73EEF231-D7AA-469E-B07B-65543AAA073E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4313260" y="2695018"/>
              <a:ext cx="722291" cy="565997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87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74811D19-09FB-468A-A891-57583B1DC3C0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5246473" y="3141139"/>
              <a:ext cx="60697" cy="19727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88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51E98BAE-11E7-41E9-8981-987CD5644EE0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4936918" y="3215493"/>
              <a:ext cx="172986" cy="95598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89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31029818-E91F-4934-8AAE-59D315E2C7E7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5361796" y="3094099"/>
              <a:ext cx="75871" cy="60697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90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A8698C33-3780-4E8E-97EE-BB4FD572C487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5871648" y="3535667"/>
              <a:ext cx="78905" cy="115323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91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F54CA1F9-E2FA-472A-9B8F-B7E1C89B8020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5686524" y="3452209"/>
              <a:ext cx="125947" cy="22609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92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AC1AA51C-4593-4570-96C0-632E064F4049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gray">
            <a:xfrm>
              <a:off x="4856496" y="3156314"/>
              <a:ext cx="115323" cy="130498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9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FAEEE449-48EF-4116-87C1-865CF7117C62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4909607" y="3264050"/>
              <a:ext cx="66766" cy="44005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94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B10F7967-4105-4EC4-A5AD-27DC196FDDF7}"/>
                </a:ext>
              </a:extLst>
            </p:cNvPr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gray">
            <a:xfrm>
              <a:off x="5140253" y="3666167"/>
              <a:ext cx="160847" cy="204851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95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00AE28EA-8A3F-4BE6-8446-090D5642A4DD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gray">
            <a:xfrm>
              <a:off x="5427045" y="3094099"/>
              <a:ext cx="97115" cy="65250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96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9309B3F9-5DA6-4683-807D-C895465161A5}"/>
                </a:ext>
              </a:extLst>
            </p:cNvPr>
            <p:cNvSpPr>
              <a:spLocks noEditPoints="1"/>
            </p:cNvSpPr>
            <p:nvPr>
              <p:custDataLst>
                <p:tags r:id="rId21"/>
              </p:custDataLst>
            </p:nvPr>
          </p:nvSpPr>
          <p:spPr bwMode="gray">
            <a:xfrm>
              <a:off x="5088661" y="2989398"/>
              <a:ext cx="286792" cy="104702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97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C34E4AC-C030-4ED1-A757-25FB25572222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5017342" y="3365717"/>
              <a:ext cx="92563" cy="89528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98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0CED8BEA-BAD8-4545-B85F-B0F2D51C7C20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5196397" y="3326265"/>
              <a:ext cx="336866" cy="521992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99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BC686E72-2076-4DE3-9E6F-A5108E9FD991}"/>
                </a:ext>
              </a:extLst>
            </p:cNvPr>
            <p:cNvSpPr>
              <a:spLocks noEditPoints="1"/>
            </p:cNvSpPr>
            <p:nvPr>
              <p:custDataLst>
                <p:tags r:id="rId24"/>
              </p:custDataLst>
            </p:nvPr>
          </p:nvSpPr>
          <p:spPr bwMode="gray">
            <a:xfrm>
              <a:off x="5468015" y="4267063"/>
              <a:ext cx="449155" cy="1175999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00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0CF9779C-9351-4A26-9BEE-E11F95405F68}"/>
                </a:ext>
              </a:extLst>
            </p:cNvPr>
            <p:cNvSpPr>
              <a:spLocks noEditPoints="1"/>
            </p:cNvSpPr>
            <p:nvPr>
              <p:custDataLst>
                <p:tags r:id="rId25"/>
              </p:custDataLst>
            </p:nvPr>
          </p:nvSpPr>
          <p:spPr bwMode="gray">
            <a:xfrm>
              <a:off x="5342070" y="3550843"/>
              <a:ext cx="1080402" cy="1221522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01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9DD0A353-2FD1-49C3-B131-3A702AAE6261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gray">
            <a:xfrm>
              <a:off x="5471050" y="4019725"/>
              <a:ext cx="345970" cy="411221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02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3511FB37-076C-43CD-98A9-1F504136A589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4944508" y="3138105"/>
              <a:ext cx="42487" cy="81940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  <p:sp>
          <p:nvSpPr>
            <p:cNvPr id="103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BCFF42E7-1574-4005-A501-50B96494B85E}"/>
                </a:ext>
              </a:extLst>
            </p:cNvPr>
            <p:cNvSpPr>
              <a:spLocks noEditPoints="1"/>
            </p:cNvSpPr>
            <p:nvPr>
              <p:custDataLst>
                <p:tags r:id="rId28"/>
              </p:custDataLst>
            </p:nvPr>
          </p:nvSpPr>
          <p:spPr bwMode="gray">
            <a:xfrm>
              <a:off x="5527195" y="4400595"/>
              <a:ext cx="423360" cy="946869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lt1"/>
                </a:solidFill>
              </a:endParaRP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EEA67F49-AF27-B4A2-20E3-FE8F5274C182}"/>
              </a:ext>
            </a:extLst>
          </p:cNvPr>
          <p:cNvSpPr/>
          <p:nvPr/>
        </p:nvSpPr>
        <p:spPr>
          <a:xfrm>
            <a:off x="1499069" y="4278664"/>
            <a:ext cx="2588683" cy="69591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>
                <a:solidFill>
                  <a:schemeClr val="bg1"/>
                </a:solidFill>
              </a:rPr>
              <a:t>Select a country to recolor it using the </a:t>
            </a:r>
            <a:r>
              <a:rPr lang="en-US" sz="1200" b="1" dirty="0">
                <a:solidFill>
                  <a:schemeClr val="bg1"/>
                </a:solidFill>
              </a:rPr>
              <a:t>Shape Fill </a:t>
            </a:r>
            <a:r>
              <a:rPr lang="en-US" sz="1200" dirty="0">
                <a:solidFill>
                  <a:schemeClr val="bg1"/>
                </a:solidFill>
              </a:rPr>
              <a:t>option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F0823CC-4F45-B6F7-8CAB-75F0892ED1A2}"/>
              </a:ext>
            </a:extLst>
          </p:cNvPr>
          <p:cNvSpPr/>
          <p:nvPr/>
        </p:nvSpPr>
        <p:spPr>
          <a:xfrm>
            <a:off x="1359587" y="2506578"/>
            <a:ext cx="2866056" cy="17710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b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</a:rPr>
              <a:t>Each country is a separate object in this map. 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You can find individually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named countries in the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Selection Pane</a:t>
            </a:r>
            <a:r>
              <a:rPr lang="en-US" sz="1200" dirty="0">
                <a:solidFill>
                  <a:schemeClr val="tx1"/>
                </a:solidFill>
              </a:rPr>
              <a:t>: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 dirty="0">
                <a:solidFill>
                  <a:schemeClr val="tx1"/>
                </a:solidFill>
              </a:rPr>
              <a:t>Home tab &gt; Arrange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&gt; Selection Pane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or by pressing </a:t>
            </a:r>
            <a:r>
              <a:rPr lang="en-US" sz="1200" b="1" dirty="0">
                <a:solidFill>
                  <a:schemeClr val="tx1"/>
                </a:solidFill>
              </a:rPr>
              <a:t>Alt + F1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C78644-5D86-C178-EBE5-46CB6B15FCFB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outh America map</a:t>
            </a:r>
            <a:endParaRPr lang="en-CA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4092260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" name="USA">
            <a:extLst>
              <a:ext uri="{FF2B5EF4-FFF2-40B4-BE49-F238E27FC236}">
                <a16:creationId xmlns:a16="http://schemas.microsoft.com/office/drawing/2014/main" id="{C4C6EA58-2CC0-4237-9551-65DFA7F88E41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41308" y="1639672"/>
            <a:ext cx="7869334" cy="4240428"/>
            <a:chOff x="1121697" y="778934"/>
            <a:chExt cx="9835920" cy="5300134"/>
          </a:xfrm>
          <a:solidFill>
            <a:schemeClr val="bg1">
              <a:lumMod val="85000"/>
            </a:schemeClr>
          </a:solidFill>
        </p:grpSpPr>
        <p:sp>
          <p:nvSpPr>
            <p:cNvPr id="115" name="Wyoming">
              <a:extLst>
                <a:ext uri="{FF2B5EF4-FFF2-40B4-BE49-F238E27FC236}">
                  <a16:creationId xmlns:a16="http://schemas.microsoft.com/office/drawing/2014/main" id="{DB0F963C-64EC-4F1C-8630-ED8119532132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4163305" y="1693424"/>
              <a:ext cx="1076658" cy="755666"/>
            </a:xfrm>
            <a:custGeom>
              <a:avLst/>
              <a:gdLst>
                <a:gd name="T0" fmla="*/ 204 w 644"/>
                <a:gd name="T1" fmla="*/ 452 h 452"/>
                <a:gd name="T2" fmla="*/ 206 w 644"/>
                <a:gd name="T3" fmla="*/ 452 h 452"/>
                <a:gd name="T4" fmla="*/ 644 w 644"/>
                <a:gd name="T5" fmla="*/ 452 h 452"/>
                <a:gd name="T6" fmla="*/ 644 w 644"/>
                <a:gd name="T7" fmla="*/ 203 h 452"/>
                <a:gd name="T8" fmla="*/ 644 w 644"/>
                <a:gd name="T9" fmla="*/ 201 h 452"/>
                <a:gd name="T10" fmla="*/ 644 w 644"/>
                <a:gd name="T11" fmla="*/ 0 h 452"/>
                <a:gd name="T12" fmla="*/ 0 w 644"/>
                <a:gd name="T13" fmla="*/ 0 h 452"/>
                <a:gd name="T14" fmla="*/ 0 w 644"/>
                <a:gd name="T15" fmla="*/ 26 h 452"/>
                <a:gd name="T16" fmla="*/ 0 w 644"/>
                <a:gd name="T17" fmla="*/ 28 h 452"/>
                <a:gd name="T18" fmla="*/ 0 w 644"/>
                <a:gd name="T19" fmla="*/ 317 h 452"/>
                <a:gd name="T20" fmla="*/ 0 w 644"/>
                <a:gd name="T21" fmla="*/ 317 h 452"/>
                <a:gd name="T22" fmla="*/ 0 w 644"/>
                <a:gd name="T23" fmla="*/ 452 h 452"/>
                <a:gd name="T24" fmla="*/ 204 w 644"/>
                <a:gd name="T25" fmla="*/ 452 h 452"/>
                <a:gd name="T26" fmla="*/ 204 w 644"/>
                <a:gd name="T27" fmla="*/ 452 h 452"/>
                <a:gd name="T28" fmla="*/ 204 w 644"/>
                <a:gd name="T29" fmla="*/ 452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44" h="452">
                  <a:moveTo>
                    <a:pt x="204" y="452"/>
                  </a:moveTo>
                  <a:lnTo>
                    <a:pt x="206" y="452"/>
                  </a:lnTo>
                  <a:lnTo>
                    <a:pt x="644" y="452"/>
                  </a:lnTo>
                  <a:lnTo>
                    <a:pt x="644" y="203"/>
                  </a:lnTo>
                  <a:lnTo>
                    <a:pt x="644" y="201"/>
                  </a:lnTo>
                  <a:lnTo>
                    <a:pt x="644" y="0"/>
                  </a:lnTo>
                  <a:lnTo>
                    <a:pt x="0" y="0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317"/>
                  </a:lnTo>
                  <a:lnTo>
                    <a:pt x="0" y="317"/>
                  </a:lnTo>
                  <a:lnTo>
                    <a:pt x="0" y="452"/>
                  </a:lnTo>
                  <a:lnTo>
                    <a:pt x="204" y="452"/>
                  </a:lnTo>
                  <a:lnTo>
                    <a:pt x="204" y="452"/>
                  </a:lnTo>
                  <a:lnTo>
                    <a:pt x="204" y="452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16" name="Wisconsin">
              <a:extLst>
                <a:ext uri="{FF2B5EF4-FFF2-40B4-BE49-F238E27FC236}">
                  <a16:creationId xmlns:a16="http://schemas.microsoft.com/office/drawing/2014/main" id="{EEF81336-1C0A-4476-AEBE-B060CE1CA437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6960274" y="1349027"/>
              <a:ext cx="897772" cy="819196"/>
            </a:xfrm>
            <a:custGeom>
              <a:avLst/>
              <a:gdLst>
                <a:gd name="T0" fmla="*/ 18 w 227"/>
                <a:gd name="T1" fmla="*/ 20 h 207"/>
                <a:gd name="T2" fmla="*/ 0 w 227"/>
                <a:gd name="T3" fmla="*/ 49 h 207"/>
                <a:gd name="T4" fmla="*/ 2 w 227"/>
                <a:gd name="T5" fmla="*/ 70 h 207"/>
                <a:gd name="T6" fmla="*/ 4 w 227"/>
                <a:gd name="T7" fmla="*/ 93 h 207"/>
                <a:gd name="T8" fmla="*/ 43 w 227"/>
                <a:gd name="T9" fmla="*/ 129 h 207"/>
                <a:gd name="T10" fmla="*/ 56 w 227"/>
                <a:gd name="T11" fmla="*/ 145 h 207"/>
                <a:gd name="T12" fmla="*/ 56 w 227"/>
                <a:gd name="T13" fmla="*/ 146 h 207"/>
                <a:gd name="T14" fmla="*/ 55 w 227"/>
                <a:gd name="T15" fmla="*/ 156 h 207"/>
                <a:gd name="T16" fmla="*/ 55 w 227"/>
                <a:gd name="T17" fmla="*/ 158 h 207"/>
                <a:gd name="T18" fmla="*/ 57 w 227"/>
                <a:gd name="T19" fmla="*/ 172 h 207"/>
                <a:gd name="T20" fmla="*/ 76 w 227"/>
                <a:gd name="T21" fmla="*/ 202 h 207"/>
                <a:gd name="T22" fmla="*/ 80 w 227"/>
                <a:gd name="T23" fmla="*/ 207 h 207"/>
                <a:gd name="T24" fmla="*/ 195 w 227"/>
                <a:gd name="T25" fmla="*/ 203 h 207"/>
                <a:gd name="T26" fmla="*/ 227 w 227"/>
                <a:gd name="T27" fmla="*/ 94 h 207"/>
                <a:gd name="T28" fmla="*/ 215 w 227"/>
                <a:gd name="T29" fmla="*/ 118 h 207"/>
                <a:gd name="T30" fmla="*/ 192 w 227"/>
                <a:gd name="T31" fmla="*/ 133 h 207"/>
                <a:gd name="T32" fmla="*/ 198 w 227"/>
                <a:gd name="T33" fmla="*/ 119 h 207"/>
                <a:gd name="T34" fmla="*/ 197 w 227"/>
                <a:gd name="T35" fmla="*/ 112 h 207"/>
                <a:gd name="T36" fmla="*/ 196 w 227"/>
                <a:gd name="T37" fmla="*/ 91 h 207"/>
                <a:gd name="T38" fmla="*/ 197 w 227"/>
                <a:gd name="T39" fmla="*/ 89 h 207"/>
                <a:gd name="T40" fmla="*/ 193 w 227"/>
                <a:gd name="T41" fmla="*/ 82 h 207"/>
                <a:gd name="T42" fmla="*/ 180 w 227"/>
                <a:gd name="T43" fmla="*/ 68 h 207"/>
                <a:gd name="T44" fmla="*/ 179 w 227"/>
                <a:gd name="T45" fmla="*/ 61 h 207"/>
                <a:gd name="T46" fmla="*/ 148 w 227"/>
                <a:gd name="T47" fmla="*/ 50 h 207"/>
                <a:gd name="T48" fmla="*/ 141 w 227"/>
                <a:gd name="T49" fmla="*/ 45 h 207"/>
                <a:gd name="T50" fmla="*/ 140 w 227"/>
                <a:gd name="T51" fmla="*/ 45 h 207"/>
                <a:gd name="T52" fmla="*/ 140 w 227"/>
                <a:gd name="T53" fmla="*/ 45 h 207"/>
                <a:gd name="T54" fmla="*/ 138 w 227"/>
                <a:gd name="T55" fmla="*/ 44 h 207"/>
                <a:gd name="T56" fmla="*/ 123 w 227"/>
                <a:gd name="T57" fmla="*/ 44 h 207"/>
                <a:gd name="T58" fmla="*/ 109 w 227"/>
                <a:gd name="T59" fmla="*/ 39 h 207"/>
                <a:gd name="T60" fmla="*/ 100 w 227"/>
                <a:gd name="T61" fmla="*/ 29 h 207"/>
                <a:gd name="T62" fmla="*/ 82 w 227"/>
                <a:gd name="T63" fmla="*/ 20 h 207"/>
                <a:gd name="T64" fmla="*/ 78 w 227"/>
                <a:gd name="T65" fmla="*/ 20 h 207"/>
                <a:gd name="T66" fmla="*/ 82 w 227"/>
                <a:gd name="T67" fmla="*/ 4 h 207"/>
                <a:gd name="T68" fmla="*/ 51 w 227"/>
                <a:gd name="T69" fmla="*/ 20 h 207"/>
                <a:gd name="T70" fmla="*/ 35 w 227"/>
                <a:gd name="T71" fmla="*/ 20 h 207"/>
                <a:gd name="T72" fmla="*/ 24 w 227"/>
                <a:gd name="T73" fmla="*/ 1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27" h="207">
                  <a:moveTo>
                    <a:pt x="21" y="15"/>
                  </a:moveTo>
                  <a:cubicBezTo>
                    <a:pt x="20" y="16"/>
                    <a:pt x="18" y="18"/>
                    <a:pt x="18" y="20"/>
                  </a:cubicBezTo>
                  <a:cubicBezTo>
                    <a:pt x="16" y="29"/>
                    <a:pt x="10" y="30"/>
                    <a:pt x="9" y="3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2" y="70"/>
                    <a:pt x="2" y="70"/>
                    <a:pt x="2" y="70"/>
                  </a:cubicBezTo>
                  <a:cubicBezTo>
                    <a:pt x="4" y="78"/>
                    <a:pt x="1" y="81"/>
                    <a:pt x="0" y="82"/>
                  </a:cubicBezTo>
                  <a:cubicBezTo>
                    <a:pt x="4" y="93"/>
                    <a:pt x="4" y="93"/>
                    <a:pt x="4" y="93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43" y="129"/>
                    <a:pt x="43" y="129"/>
                    <a:pt x="43" y="129"/>
                  </a:cubicBezTo>
                  <a:cubicBezTo>
                    <a:pt x="44" y="129"/>
                    <a:pt x="46" y="132"/>
                    <a:pt x="55" y="143"/>
                  </a:cubicBezTo>
                  <a:cubicBezTo>
                    <a:pt x="56" y="144"/>
                    <a:pt x="56" y="144"/>
                    <a:pt x="56" y="145"/>
                  </a:cubicBezTo>
                  <a:cubicBezTo>
                    <a:pt x="57" y="145"/>
                    <a:pt x="57" y="145"/>
                    <a:pt x="57" y="145"/>
                  </a:cubicBezTo>
                  <a:cubicBezTo>
                    <a:pt x="56" y="146"/>
                    <a:pt x="56" y="146"/>
                    <a:pt x="56" y="146"/>
                  </a:cubicBezTo>
                  <a:cubicBezTo>
                    <a:pt x="56" y="146"/>
                    <a:pt x="55" y="147"/>
                    <a:pt x="55" y="150"/>
                  </a:cubicBezTo>
                  <a:cubicBezTo>
                    <a:pt x="55" y="152"/>
                    <a:pt x="55" y="154"/>
                    <a:pt x="55" y="156"/>
                  </a:cubicBezTo>
                  <a:cubicBezTo>
                    <a:pt x="56" y="158"/>
                    <a:pt x="56" y="158"/>
                    <a:pt x="56" y="158"/>
                  </a:cubicBezTo>
                  <a:cubicBezTo>
                    <a:pt x="55" y="158"/>
                    <a:pt x="55" y="158"/>
                    <a:pt x="55" y="158"/>
                  </a:cubicBezTo>
                  <a:cubicBezTo>
                    <a:pt x="56" y="164"/>
                    <a:pt x="57" y="170"/>
                    <a:pt x="57" y="172"/>
                  </a:cubicBezTo>
                  <a:cubicBezTo>
                    <a:pt x="57" y="172"/>
                    <a:pt x="57" y="172"/>
                    <a:pt x="57" y="172"/>
                  </a:cubicBezTo>
                  <a:cubicBezTo>
                    <a:pt x="64" y="183"/>
                    <a:pt x="64" y="183"/>
                    <a:pt x="64" y="183"/>
                  </a:cubicBezTo>
                  <a:cubicBezTo>
                    <a:pt x="76" y="202"/>
                    <a:pt x="76" y="202"/>
                    <a:pt x="76" y="202"/>
                  </a:cubicBezTo>
                  <a:cubicBezTo>
                    <a:pt x="80" y="207"/>
                    <a:pt x="80" y="207"/>
                    <a:pt x="80" y="207"/>
                  </a:cubicBezTo>
                  <a:cubicBezTo>
                    <a:pt x="80" y="207"/>
                    <a:pt x="80" y="207"/>
                    <a:pt x="80" y="207"/>
                  </a:cubicBezTo>
                  <a:cubicBezTo>
                    <a:pt x="196" y="207"/>
                    <a:pt x="196" y="207"/>
                    <a:pt x="196" y="207"/>
                  </a:cubicBezTo>
                  <a:cubicBezTo>
                    <a:pt x="195" y="203"/>
                    <a:pt x="195" y="203"/>
                    <a:pt x="195" y="203"/>
                  </a:cubicBezTo>
                  <a:cubicBezTo>
                    <a:pt x="227" y="102"/>
                    <a:pt x="227" y="102"/>
                    <a:pt x="227" y="102"/>
                  </a:cubicBezTo>
                  <a:cubicBezTo>
                    <a:pt x="227" y="94"/>
                    <a:pt x="227" y="94"/>
                    <a:pt x="227" y="94"/>
                  </a:cubicBezTo>
                  <a:cubicBezTo>
                    <a:pt x="215" y="106"/>
                    <a:pt x="215" y="106"/>
                    <a:pt x="215" y="106"/>
                  </a:cubicBezTo>
                  <a:cubicBezTo>
                    <a:pt x="215" y="118"/>
                    <a:pt x="215" y="118"/>
                    <a:pt x="215" y="118"/>
                  </a:cubicBezTo>
                  <a:cubicBezTo>
                    <a:pt x="207" y="118"/>
                    <a:pt x="207" y="118"/>
                    <a:pt x="207" y="118"/>
                  </a:cubicBezTo>
                  <a:cubicBezTo>
                    <a:pt x="192" y="133"/>
                    <a:pt x="192" y="133"/>
                    <a:pt x="192" y="133"/>
                  </a:cubicBezTo>
                  <a:cubicBezTo>
                    <a:pt x="192" y="129"/>
                    <a:pt x="192" y="129"/>
                    <a:pt x="192" y="129"/>
                  </a:cubicBezTo>
                  <a:cubicBezTo>
                    <a:pt x="198" y="119"/>
                    <a:pt x="198" y="119"/>
                    <a:pt x="198" y="119"/>
                  </a:cubicBezTo>
                  <a:cubicBezTo>
                    <a:pt x="198" y="118"/>
                    <a:pt x="198" y="118"/>
                    <a:pt x="198" y="118"/>
                  </a:cubicBezTo>
                  <a:cubicBezTo>
                    <a:pt x="198" y="116"/>
                    <a:pt x="198" y="114"/>
                    <a:pt x="197" y="112"/>
                  </a:cubicBezTo>
                  <a:cubicBezTo>
                    <a:pt x="196" y="109"/>
                    <a:pt x="196" y="106"/>
                    <a:pt x="196" y="104"/>
                  </a:cubicBezTo>
                  <a:cubicBezTo>
                    <a:pt x="197" y="100"/>
                    <a:pt x="197" y="95"/>
                    <a:pt x="196" y="91"/>
                  </a:cubicBezTo>
                  <a:cubicBezTo>
                    <a:pt x="196" y="90"/>
                    <a:pt x="196" y="90"/>
                    <a:pt x="196" y="90"/>
                  </a:cubicBezTo>
                  <a:cubicBezTo>
                    <a:pt x="197" y="89"/>
                    <a:pt x="197" y="89"/>
                    <a:pt x="197" y="89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193" y="83"/>
                    <a:pt x="193" y="83"/>
                    <a:pt x="193" y="82"/>
                  </a:cubicBezTo>
                  <a:cubicBezTo>
                    <a:pt x="192" y="82"/>
                    <a:pt x="192" y="81"/>
                    <a:pt x="191" y="80"/>
                  </a:cubicBezTo>
                  <a:cubicBezTo>
                    <a:pt x="187" y="76"/>
                    <a:pt x="181" y="69"/>
                    <a:pt x="180" y="68"/>
                  </a:cubicBezTo>
                  <a:cubicBezTo>
                    <a:pt x="180" y="67"/>
                    <a:pt x="183" y="64"/>
                    <a:pt x="183" y="63"/>
                  </a:cubicBezTo>
                  <a:cubicBezTo>
                    <a:pt x="182" y="62"/>
                    <a:pt x="181" y="61"/>
                    <a:pt x="179" y="61"/>
                  </a:cubicBezTo>
                  <a:cubicBezTo>
                    <a:pt x="148" y="61"/>
                    <a:pt x="148" y="61"/>
                    <a:pt x="148" y="61"/>
                  </a:cubicBezTo>
                  <a:cubicBezTo>
                    <a:pt x="148" y="50"/>
                    <a:pt x="148" y="50"/>
                    <a:pt x="148" y="50"/>
                  </a:cubicBezTo>
                  <a:cubicBezTo>
                    <a:pt x="149" y="49"/>
                    <a:pt x="148" y="47"/>
                    <a:pt x="144" y="46"/>
                  </a:cubicBezTo>
                  <a:cubicBezTo>
                    <a:pt x="142" y="45"/>
                    <a:pt x="141" y="45"/>
                    <a:pt x="141" y="45"/>
                  </a:cubicBezTo>
                  <a:cubicBezTo>
                    <a:pt x="140" y="45"/>
                    <a:pt x="140" y="45"/>
                    <a:pt x="140" y="45"/>
                  </a:cubicBezTo>
                  <a:cubicBezTo>
                    <a:pt x="140" y="45"/>
                    <a:pt x="140" y="45"/>
                    <a:pt x="140" y="45"/>
                  </a:cubicBezTo>
                  <a:cubicBezTo>
                    <a:pt x="140" y="45"/>
                    <a:pt x="140" y="45"/>
                    <a:pt x="140" y="45"/>
                  </a:cubicBezTo>
                  <a:cubicBezTo>
                    <a:pt x="140" y="45"/>
                    <a:pt x="140" y="45"/>
                    <a:pt x="140" y="45"/>
                  </a:cubicBezTo>
                  <a:cubicBezTo>
                    <a:pt x="140" y="44"/>
                    <a:pt x="140" y="44"/>
                    <a:pt x="140" y="44"/>
                  </a:cubicBezTo>
                  <a:cubicBezTo>
                    <a:pt x="139" y="44"/>
                    <a:pt x="139" y="44"/>
                    <a:pt x="138" y="44"/>
                  </a:cubicBezTo>
                  <a:cubicBezTo>
                    <a:pt x="137" y="43"/>
                    <a:pt x="135" y="43"/>
                    <a:pt x="132" y="43"/>
                  </a:cubicBezTo>
                  <a:cubicBezTo>
                    <a:pt x="127" y="43"/>
                    <a:pt x="123" y="44"/>
                    <a:pt x="123" y="44"/>
                  </a:cubicBezTo>
                  <a:cubicBezTo>
                    <a:pt x="117" y="43"/>
                    <a:pt x="117" y="43"/>
                    <a:pt x="117" y="43"/>
                  </a:cubicBezTo>
                  <a:cubicBezTo>
                    <a:pt x="109" y="39"/>
                    <a:pt x="109" y="39"/>
                    <a:pt x="109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0" y="20"/>
                    <a:pt x="100" y="20"/>
                    <a:pt x="100" y="20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2" y="24"/>
                    <a:pt x="82" y="24"/>
                    <a:pt x="82" y="24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82" y="12"/>
                    <a:pt x="82" y="12"/>
                    <a:pt x="82" y="12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0" y="16"/>
                    <a:pt x="27" y="15"/>
                    <a:pt x="24" y="15"/>
                  </a:cubicBezTo>
                  <a:cubicBezTo>
                    <a:pt x="23" y="15"/>
                    <a:pt x="22" y="15"/>
                    <a:pt x="21" y="15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17" name="West Virginia">
              <a:extLst>
                <a:ext uri="{FF2B5EF4-FFF2-40B4-BE49-F238E27FC236}">
                  <a16:creationId xmlns:a16="http://schemas.microsoft.com/office/drawing/2014/main" id="{C726BF2A-FEC3-452A-8A13-696A0FA7F09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8530122" y="2666428"/>
              <a:ext cx="785760" cy="578453"/>
            </a:xfrm>
            <a:custGeom>
              <a:avLst/>
              <a:gdLst>
                <a:gd name="T0" fmla="*/ 79 w 199"/>
                <a:gd name="T1" fmla="*/ 0 h 146"/>
                <a:gd name="T2" fmla="*/ 74 w 199"/>
                <a:gd name="T3" fmla="*/ 17 h 146"/>
                <a:gd name="T4" fmla="*/ 74 w 199"/>
                <a:gd name="T5" fmla="*/ 29 h 146"/>
                <a:gd name="T6" fmla="*/ 74 w 199"/>
                <a:gd name="T7" fmla="*/ 41 h 146"/>
                <a:gd name="T8" fmla="*/ 69 w 199"/>
                <a:gd name="T9" fmla="*/ 53 h 146"/>
                <a:gd name="T10" fmla="*/ 59 w 199"/>
                <a:gd name="T11" fmla="*/ 64 h 146"/>
                <a:gd name="T12" fmla="*/ 49 w 199"/>
                <a:gd name="T13" fmla="*/ 71 h 146"/>
                <a:gd name="T14" fmla="*/ 44 w 199"/>
                <a:gd name="T15" fmla="*/ 75 h 146"/>
                <a:gd name="T16" fmla="*/ 36 w 199"/>
                <a:gd name="T17" fmla="*/ 80 h 146"/>
                <a:gd name="T18" fmla="*/ 20 w 199"/>
                <a:gd name="T19" fmla="*/ 87 h 146"/>
                <a:gd name="T20" fmla="*/ 4 w 199"/>
                <a:gd name="T21" fmla="*/ 100 h 146"/>
                <a:gd name="T22" fmla="*/ 4 w 199"/>
                <a:gd name="T23" fmla="*/ 103 h 146"/>
                <a:gd name="T24" fmla="*/ 2 w 199"/>
                <a:gd name="T25" fmla="*/ 109 h 146"/>
                <a:gd name="T26" fmla="*/ 0 w 199"/>
                <a:gd name="T27" fmla="*/ 122 h 146"/>
                <a:gd name="T28" fmla="*/ 1 w 199"/>
                <a:gd name="T29" fmla="*/ 129 h 146"/>
                <a:gd name="T30" fmla="*/ 5 w 199"/>
                <a:gd name="T31" fmla="*/ 133 h 146"/>
                <a:gd name="T32" fmla="*/ 11 w 199"/>
                <a:gd name="T33" fmla="*/ 138 h 146"/>
                <a:gd name="T34" fmla="*/ 13 w 199"/>
                <a:gd name="T35" fmla="*/ 137 h 146"/>
                <a:gd name="T36" fmla="*/ 16 w 199"/>
                <a:gd name="T37" fmla="*/ 141 h 146"/>
                <a:gd name="T38" fmla="*/ 18 w 199"/>
                <a:gd name="T39" fmla="*/ 144 h 146"/>
                <a:gd name="T40" fmla="*/ 20 w 199"/>
                <a:gd name="T41" fmla="*/ 144 h 146"/>
                <a:gd name="T42" fmla="*/ 23 w 199"/>
                <a:gd name="T43" fmla="*/ 144 h 146"/>
                <a:gd name="T44" fmla="*/ 26 w 199"/>
                <a:gd name="T45" fmla="*/ 144 h 146"/>
                <a:gd name="T46" fmla="*/ 30 w 199"/>
                <a:gd name="T47" fmla="*/ 144 h 146"/>
                <a:gd name="T48" fmla="*/ 33 w 199"/>
                <a:gd name="T49" fmla="*/ 144 h 146"/>
                <a:gd name="T50" fmla="*/ 37 w 199"/>
                <a:gd name="T51" fmla="*/ 144 h 146"/>
                <a:gd name="T52" fmla="*/ 41 w 199"/>
                <a:gd name="T53" fmla="*/ 145 h 146"/>
                <a:gd name="T54" fmla="*/ 46 w 199"/>
                <a:gd name="T55" fmla="*/ 145 h 146"/>
                <a:gd name="T56" fmla="*/ 47 w 199"/>
                <a:gd name="T57" fmla="*/ 145 h 146"/>
                <a:gd name="T58" fmla="*/ 50 w 199"/>
                <a:gd name="T59" fmla="*/ 145 h 146"/>
                <a:gd name="T60" fmla="*/ 55 w 199"/>
                <a:gd name="T61" fmla="*/ 145 h 146"/>
                <a:gd name="T62" fmla="*/ 58 w 199"/>
                <a:gd name="T63" fmla="*/ 146 h 146"/>
                <a:gd name="T64" fmla="*/ 59 w 199"/>
                <a:gd name="T65" fmla="*/ 146 h 146"/>
                <a:gd name="T66" fmla="*/ 64 w 199"/>
                <a:gd name="T67" fmla="*/ 146 h 146"/>
                <a:gd name="T68" fmla="*/ 70 w 199"/>
                <a:gd name="T69" fmla="*/ 144 h 146"/>
                <a:gd name="T70" fmla="*/ 104 w 199"/>
                <a:gd name="T71" fmla="*/ 142 h 146"/>
                <a:gd name="T72" fmla="*/ 108 w 199"/>
                <a:gd name="T73" fmla="*/ 133 h 146"/>
                <a:gd name="T74" fmla="*/ 114 w 199"/>
                <a:gd name="T75" fmla="*/ 128 h 146"/>
                <a:gd name="T76" fmla="*/ 114 w 199"/>
                <a:gd name="T77" fmla="*/ 128 h 146"/>
                <a:gd name="T78" fmla="*/ 117 w 199"/>
                <a:gd name="T79" fmla="*/ 126 h 146"/>
                <a:gd name="T80" fmla="*/ 115 w 199"/>
                <a:gd name="T81" fmla="*/ 126 h 146"/>
                <a:gd name="T82" fmla="*/ 116 w 199"/>
                <a:gd name="T83" fmla="*/ 124 h 146"/>
                <a:gd name="T84" fmla="*/ 120 w 199"/>
                <a:gd name="T85" fmla="*/ 118 h 146"/>
                <a:gd name="T86" fmla="*/ 128 w 199"/>
                <a:gd name="T87" fmla="*/ 106 h 146"/>
                <a:gd name="T88" fmla="*/ 136 w 199"/>
                <a:gd name="T89" fmla="*/ 104 h 146"/>
                <a:gd name="T90" fmla="*/ 143 w 199"/>
                <a:gd name="T91" fmla="*/ 91 h 146"/>
                <a:gd name="T92" fmla="*/ 151 w 199"/>
                <a:gd name="T93" fmla="*/ 88 h 146"/>
                <a:gd name="T94" fmla="*/ 160 w 199"/>
                <a:gd name="T95" fmla="*/ 77 h 146"/>
                <a:gd name="T96" fmla="*/ 166 w 199"/>
                <a:gd name="T97" fmla="*/ 72 h 146"/>
                <a:gd name="T98" fmla="*/ 174 w 199"/>
                <a:gd name="T99" fmla="*/ 70 h 146"/>
                <a:gd name="T100" fmla="*/ 183 w 199"/>
                <a:gd name="T101" fmla="*/ 74 h 146"/>
                <a:gd name="T102" fmla="*/ 186 w 199"/>
                <a:gd name="T103" fmla="*/ 67 h 146"/>
                <a:gd name="T104" fmla="*/ 195 w 199"/>
                <a:gd name="T105" fmla="*/ 67 h 146"/>
                <a:gd name="T106" fmla="*/ 196 w 199"/>
                <a:gd name="T107" fmla="*/ 65 h 146"/>
                <a:gd name="T108" fmla="*/ 199 w 199"/>
                <a:gd name="T109" fmla="*/ 62 h 146"/>
                <a:gd name="T110" fmla="*/ 192 w 199"/>
                <a:gd name="T111" fmla="*/ 60 h 146"/>
                <a:gd name="T112" fmla="*/ 157 w 199"/>
                <a:gd name="T113" fmla="*/ 61 h 146"/>
                <a:gd name="T114" fmla="*/ 140 w 199"/>
                <a:gd name="T115" fmla="*/ 60 h 146"/>
                <a:gd name="T116" fmla="*/ 129 w 199"/>
                <a:gd name="T117" fmla="*/ 62 h 146"/>
                <a:gd name="T118" fmla="*/ 117 w 199"/>
                <a:gd name="T119" fmla="*/ 66 h 146"/>
                <a:gd name="T120" fmla="*/ 81 w 199"/>
                <a:gd name="T121" fmla="*/ 5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9" h="146">
                  <a:moveTo>
                    <a:pt x="81" y="0"/>
                  </a:moveTo>
                  <a:cubicBezTo>
                    <a:pt x="79" y="0"/>
                    <a:pt x="79" y="0"/>
                    <a:pt x="79" y="0"/>
                  </a:cubicBezTo>
                  <a:cubicBezTo>
                    <a:pt x="74" y="13"/>
                    <a:pt x="74" y="13"/>
                    <a:pt x="74" y="13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4" y="19"/>
                    <a:pt x="75" y="22"/>
                    <a:pt x="74" y="24"/>
                  </a:cubicBezTo>
                  <a:cubicBezTo>
                    <a:pt x="74" y="26"/>
                    <a:pt x="74" y="27"/>
                    <a:pt x="74" y="29"/>
                  </a:cubicBezTo>
                  <a:cubicBezTo>
                    <a:pt x="74" y="30"/>
                    <a:pt x="74" y="31"/>
                    <a:pt x="74" y="33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53"/>
                    <a:pt x="69" y="53"/>
                    <a:pt x="69" y="53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6" y="75"/>
                    <a:pt x="45" y="75"/>
                    <a:pt x="44" y="75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36" y="80"/>
                    <a:pt x="36" y="80"/>
                    <a:pt x="36" y="80"/>
                  </a:cubicBezTo>
                  <a:cubicBezTo>
                    <a:pt x="36" y="80"/>
                    <a:pt x="29" y="83"/>
                    <a:pt x="23" y="85"/>
                  </a:cubicBezTo>
                  <a:cubicBezTo>
                    <a:pt x="20" y="85"/>
                    <a:pt x="20" y="86"/>
                    <a:pt x="20" y="87"/>
                  </a:cubicBezTo>
                  <a:cubicBezTo>
                    <a:pt x="21" y="89"/>
                    <a:pt x="20" y="91"/>
                    <a:pt x="18" y="92"/>
                  </a:cubicBezTo>
                  <a:cubicBezTo>
                    <a:pt x="13" y="95"/>
                    <a:pt x="5" y="100"/>
                    <a:pt x="4" y="100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103"/>
                    <a:pt x="4" y="103"/>
                    <a:pt x="4" y="103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1" y="112"/>
                    <a:pt x="1" y="114"/>
                    <a:pt x="1" y="115"/>
                  </a:cubicBezTo>
                  <a:cubicBezTo>
                    <a:pt x="1" y="117"/>
                    <a:pt x="0" y="120"/>
                    <a:pt x="0" y="122"/>
                  </a:cubicBezTo>
                  <a:cubicBezTo>
                    <a:pt x="0" y="123"/>
                    <a:pt x="0" y="123"/>
                    <a:pt x="0" y="124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2" y="131"/>
                    <a:pt x="2" y="131"/>
                    <a:pt x="2" y="131"/>
                  </a:cubicBezTo>
                  <a:cubicBezTo>
                    <a:pt x="3" y="132"/>
                    <a:pt x="4" y="132"/>
                    <a:pt x="5" y="133"/>
                  </a:cubicBezTo>
                  <a:cubicBezTo>
                    <a:pt x="6" y="134"/>
                    <a:pt x="7" y="135"/>
                    <a:pt x="9" y="137"/>
                  </a:cubicBezTo>
                  <a:cubicBezTo>
                    <a:pt x="9" y="138"/>
                    <a:pt x="10" y="138"/>
                    <a:pt x="11" y="138"/>
                  </a:cubicBezTo>
                  <a:cubicBezTo>
                    <a:pt x="11" y="138"/>
                    <a:pt x="11" y="138"/>
                    <a:pt x="12" y="138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4" y="138"/>
                    <a:pt x="14" y="138"/>
                    <a:pt x="14" y="138"/>
                  </a:cubicBezTo>
                  <a:cubicBezTo>
                    <a:pt x="14" y="139"/>
                    <a:pt x="15" y="140"/>
                    <a:pt x="16" y="141"/>
                  </a:cubicBezTo>
                  <a:cubicBezTo>
                    <a:pt x="17" y="142"/>
                    <a:pt x="18" y="143"/>
                    <a:pt x="18" y="144"/>
                  </a:cubicBezTo>
                  <a:cubicBezTo>
                    <a:pt x="18" y="144"/>
                    <a:pt x="18" y="144"/>
                    <a:pt x="18" y="144"/>
                  </a:cubicBezTo>
                  <a:cubicBezTo>
                    <a:pt x="19" y="144"/>
                    <a:pt x="19" y="144"/>
                    <a:pt x="19" y="144"/>
                  </a:cubicBezTo>
                  <a:cubicBezTo>
                    <a:pt x="20" y="144"/>
                    <a:pt x="20" y="144"/>
                    <a:pt x="20" y="144"/>
                  </a:cubicBezTo>
                  <a:cubicBezTo>
                    <a:pt x="21" y="144"/>
                    <a:pt x="21" y="144"/>
                    <a:pt x="22" y="144"/>
                  </a:cubicBezTo>
                  <a:cubicBezTo>
                    <a:pt x="22" y="144"/>
                    <a:pt x="22" y="144"/>
                    <a:pt x="23" y="144"/>
                  </a:cubicBezTo>
                  <a:cubicBezTo>
                    <a:pt x="23" y="144"/>
                    <a:pt x="23" y="144"/>
                    <a:pt x="23" y="144"/>
                  </a:cubicBezTo>
                  <a:cubicBezTo>
                    <a:pt x="24" y="144"/>
                    <a:pt x="25" y="144"/>
                    <a:pt x="26" y="144"/>
                  </a:cubicBezTo>
                  <a:cubicBezTo>
                    <a:pt x="27" y="144"/>
                    <a:pt x="28" y="144"/>
                    <a:pt x="29" y="144"/>
                  </a:cubicBezTo>
                  <a:cubicBezTo>
                    <a:pt x="30" y="144"/>
                    <a:pt x="30" y="144"/>
                    <a:pt x="30" y="144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32" y="145"/>
                    <a:pt x="33" y="145"/>
                    <a:pt x="33" y="144"/>
                  </a:cubicBezTo>
                  <a:cubicBezTo>
                    <a:pt x="34" y="144"/>
                    <a:pt x="35" y="144"/>
                    <a:pt x="35" y="144"/>
                  </a:cubicBezTo>
                  <a:cubicBezTo>
                    <a:pt x="36" y="144"/>
                    <a:pt x="36" y="144"/>
                    <a:pt x="37" y="144"/>
                  </a:cubicBezTo>
                  <a:cubicBezTo>
                    <a:pt x="37" y="145"/>
                    <a:pt x="38" y="145"/>
                    <a:pt x="39" y="145"/>
                  </a:cubicBezTo>
                  <a:cubicBezTo>
                    <a:pt x="40" y="145"/>
                    <a:pt x="41" y="145"/>
                    <a:pt x="41" y="145"/>
                  </a:cubicBezTo>
                  <a:cubicBezTo>
                    <a:pt x="42" y="145"/>
                    <a:pt x="43" y="145"/>
                    <a:pt x="44" y="145"/>
                  </a:cubicBezTo>
                  <a:cubicBezTo>
                    <a:pt x="45" y="145"/>
                    <a:pt x="45" y="145"/>
                    <a:pt x="46" y="145"/>
                  </a:cubicBezTo>
                  <a:cubicBezTo>
                    <a:pt x="46" y="145"/>
                    <a:pt x="46" y="145"/>
                    <a:pt x="47" y="145"/>
                  </a:cubicBezTo>
                  <a:cubicBezTo>
                    <a:pt x="47" y="145"/>
                    <a:pt x="47" y="145"/>
                    <a:pt x="47" y="145"/>
                  </a:cubicBezTo>
                  <a:cubicBezTo>
                    <a:pt x="48" y="145"/>
                    <a:pt x="49" y="145"/>
                    <a:pt x="50" y="145"/>
                  </a:cubicBezTo>
                  <a:cubicBezTo>
                    <a:pt x="50" y="145"/>
                    <a:pt x="50" y="145"/>
                    <a:pt x="50" y="145"/>
                  </a:cubicBezTo>
                  <a:cubicBezTo>
                    <a:pt x="50" y="145"/>
                    <a:pt x="50" y="145"/>
                    <a:pt x="50" y="145"/>
                  </a:cubicBezTo>
                  <a:cubicBezTo>
                    <a:pt x="55" y="145"/>
                    <a:pt x="55" y="145"/>
                    <a:pt x="55" y="145"/>
                  </a:cubicBezTo>
                  <a:cubicBezTo>
                    <a:pt x="55" y="145"/>
                    <a:pt x="55" y="145"/>
                    <a:pt x="55" y="145"/>
                  </a:cubicBezTo>
                  <a:cubicBezTo>
                    <a:pt x="56" y="145"/>
                    <a:pt x="57" y="145"/>
                    <a:pt x="58" y="146"/>
                  </a:cubicBezTo>
                  <a:cubicBezTo>
                    <a:pt x="58" y="146"/>
                    <a:pt x="58" y="146"/>
                    <a:pt x="58" y="146"/>
                  </a:cubicBezTo>
                  <a:cubicBezTo>
                    <a:pt x="59" y="146"/>
                    <a:pt x="59" y="146"/>
                    <a:pt x="59" y="146"/>
                  </a:cubicBezTo>
                  <a:cubicBezTo>
                    <a:pt x="60" y="146"/>
                    <a:pt x="61" y="146"/>
                    <a:pt x="62" y="146"/>
                  </a:cubicBezTo>
                  <a:cubicBezTo>
                    <a:pt x="63" y="146"/>
                    <a:pt x="64" y="146"/>
                    <a:pt x="64" y="146"/>
                  </a:cubicBezTo>
                  <a:cubicBezTo>
                    <a:pt x="64" y="146"/>
                    <a:pt x="64" y="146"/>
                    <a:pt x="64" y="146"/>
                  </a:cubicBezTo>
                  <a:cubicBezTo>
                    <a:pt x="67" y="146"/>
                    <a:pt x="70" y="145"/>
                    <a:pt x="70" y="144"/>
                  </a:cubicBezTo>
                  <a:cubicBezTo>
                    <a:pt x="81" y="142"/>
                    <a:pt x="81" y="142"/>
                    <a:pt x="81" y="142"/>
                  </a:cubicBezTo>
                  <a:cubicBezTo>
                    <a:pt x="104" y="142"/>
                    <a:pt x="104" y="142"/>
                    <a:pt x="104" y="142"/>
                  </a:cubicBezTo>
                  <a:cubicBezTo>
                    <a:pt x="104" y="138"/>
                    <a:pt x="104" y="138"/>
                    <a:pt x="104" y="138"/>
                  </a:cubicBezTo>
                  <a:cubicBezTo>
                    <a:pt x="104" y="137"/>
                    <a:pt x="108" y="135"/>
                    <a:pt x="108" y="133"/>
                  </a:cubicBezTo>
                  <a:cubicBezTo>
                    <a:pt x="109" y="132"/>
                    <a:pt x="110" y="130"/>
                    <a:pt x="111" y="127"/>
                  </a:cubicBezTo>
                  <a:cubicBezTo>
                    <a:pt x="112" y="127"/>
                    <a:pt x="113" y="128"/>
                    <a:pt x="114" y="128"/>
                  </a:cubicBezTo>
                  <a:cubicBezTo>
                    <a:pt x="114" y="128"/>
                    <a:pt x="114" y="128"/>
                    <a:pt x="114" y="128"/>
                  </a:cubicBezTo>
                  <a:cubicBezTo>
                    <a:pt x="114" y="128"/>
                    <a:pt x="114" y="128"/>
                    <a:pt x="114" y="128"/>
                  </a:cubicBezTo>
                  <a:cubicBezTo>
                    <a:pt x="115" y="128"/>
                    <a:pt x="115" y="128"/>
                    <a:pt x="115" y="128"/>
                  </a:cubicBezTo>
                  <a:cubicBezTo>
                    <a:pt x="117" y="126"/>
                    <a:pt x="117" y="126"/>
                    <a:pt x="117" y="126"/>
                  </a:cubicBezTo>
                  <a:cubicBezTo>
                    <a:pt x="115" y="126"/>
                    <a:pt x="115" y="126"/>
                    <a:pt x="115" y="126"/>
                  </a:cubicBezTo>
                  <a:cubicBezTo>
                    <a:pt x="115" y="126"/>
                    <a:pt x="115" y="126"/>
                    <a:pt x="115" y="126"/>
                  </a:cubicBezTo>
                  <a:cubicBezTo>
                    <a:pt x="115" y="125"/>
                    <a:pt x="115" y="125"/>
                    <a:pt x="115" y="125"/>
                  </a:cubicBezTo>
                  <a:cubicBezTo>
                    <a:pt x="116" y="124"/>
                    <a:pt x="116" y="124"/>
                    <a:pt x="116" y="124"/>
                  </a:cubicBezTo>
                  <a:cubicBezTo>
                    <a:pt x="118" y="121"/>
                    <a:pt x="119" y="120"/>
                    <a:pt x="119" y="120"/>
                  </a:cubicBezTo>
                  <a:cubicBezTo>
                    <a:pt x="119" y="120"/>
                    <a:pt x="119" y="120"/>
                    <a:pt x="120" y="118"/>
                  </a:cubicBezTo>
                  <a:cubicBezTo>
                    <a:pt x="122" y="116"/>
                    <a:pt x="121" y="110"/>
                    <a:pt x="120" y="109"/>
                  </a:cubicBezTo>
                  <a:cubicBezTo>
                    <a:pt x="128" y="106"/>
                    <a:pt x="128" y="106"/>
                    <a:pt x="128" y="106"/>
                  </a:cubicBezTo>
                  <a:cubicBezTo>
                    <a:pt x="137" y="106"/>
                    <a:pt x="137" y="106"/>
                    <a:pt x="137" y="106"/>
                  </a:cubicBezTo>
                  <a:cubicBezTo>
                    <a:pt x="136" y="104"/>
                    <a:pt x="136" y="104"/>
                    <a:pt x="136" y="104"/>
                  </a:cubicBezTo>
                  <a:cubicBezTo>
                    <a:pt x="135" y="103"/>
                    <a:pt x="135" y="101"/>
                    <a:pt x="137" y="99"/>
                  </a:cubicBezTo>
                  <a:cubicBezTo>
                    <a:pt x="139" y="97"/>
                    <a:pt x="142" y="92"/>
                    <a:pt x="143" y="91"/>
                  </a:cubicBezTo>
                  <a:cubicBezTo>
                    <a:pt x="147" y="91"/>
                    <a:pt x="147" y="91"/>
                    <a:pt x="147" y="91"/>
                  </a:cubicBezTo>
                  <a:cubicBezTo>
                    <a:pt x="151" y="88"/>
                    <a:pt x="151" y="88"/>
                    <a:pt x="151" y="88"/>
                  </a:cubicBezTo>
                  <a:cubicBezTo>
                    <a:pt x="155" y="82"/>
                    <a:pt x="155" y="82"/>
                    <a:pt x="155" y="82"/>
                  </a:cubicBezTo>
                  <a:cubicBezTo>
                    <a:pt x="158" y="79"/>
                    <a:pt x="159" y="77"/>
                    <a:pt x="160" y="77"/>
                  </a:cubicBezTo>
                  <a:cubicBezTo>
                    <a:pt x="162" y="77"/>
                    <a:pt x="162" y="77"/>
                    <a:pt x="162" y="77"/>
                  </a:cubicBezTo>
                  <a:cubicBezTo>
                    <a:pt x="166" y="72"/>
                    <a:pt x="166" y="72"/>
                    <a:pt x="166" y="72"/>
                  </a:cubicBezTo>
                  <a:cubicBezTo>
                    <a:pt x="166" y="67"/>
                    <a:pt x="166" y="67"/>
                    <a:pt x="166" y="67"/>
                  </a:cubicBezTo>
                  <a:cubicBezTo>
                    <a:pt x="174" y="70"/>
                    <a:pt x="174" y="70"/>
                    <a:pt x="174" y="70"/>
                  </a:cubicBezTo>
                  <a:cubicBezTo>
                    <a:pt x="178" y="71"/>
                    <a:pt x="178" y="71"/>
                    <a:pt x="178" y="71"/>
                  </a:cubicBezTo>
                  <a:cubicBezTo>
                    <a:pt x="183" y="74"/>
                    <a:pt x="183" y="74"/>
                    <a:pt x="183" y="74"/>
                  </a:cubicBezTo>
                  <a:cubicBezTo>
                    <a:pt x="186" y="71"/>
                    <a:pt x="186" y="71"/>
                    <a:pt x="186" y="71"/>
                  </a:cubicBezTo>
                  <a:cubicBezTo>
                    <a:pt x="186" y="67"/>
                    <a:pt x="186" y="67"/>
                    <a:pt x="186" y="67"/>
                  </a:cubicBezTo>
                  <a:cubicBezTo>
                    <a:pt x="194" y="67"/>
                    <a:pt x="194" y="67"/>
                    <a:pt x="194" y="67"/>
                  </a:cubicBezTo>
                  <a:cubicBezTo>
                    <a:pt x="195" y="67"/>
                    <a:pt x="195" y="67"/>
                    <a:pt x="195" y="67"/>
                  </a:cubicBezTo>
                  <a:cubicBezTo>
                    <a:pt x="196" y="66"/>
                    <a:pt x="196" y="66"/>
                    <a:pt x="196" y="66"/>
                  </a:cubicBezTo>
                  <a:cubicBezTo>
                    <a:pt x="196" y="65"/>
                    <a:pt x="196" y="65"/>
                    <a:pt x="196" y="65"/>
                  </a:cubicBezTo>
                  <a:cubicBezTo>
                    <a:pt x="196" y="65"/>
                    <a:pt x="196" y="65"/>
                    <a:pt x="196" y="65"/>
                  </a:cubicBezTo>
                  <a:cubicBezTo>
                    <a:pt x="199" y="63"/>
                    <a:pt x="199" y="62"/>
                    <a:pt x="199" y="62"/>
                  </a:cubicBezTo>
                  <a:cubicBezTo>
                    <a:pt x="199" y="62"/>
                    <a:pt x="199" y="62"/>
                    <a:pt x="199" y="62"/>
                  </a:cubicBezTo>
                  <a:cubicBezTo>
                    <a:pt x="196" y="61"/>
                    <a:pt x="193" y="60"/>
                    <a:pt x="192" y="60"/>
                  </a:cubicBezTo>
                  <a:cubicBezTo>
                    <a:pt x="179" y="58"/>
                    <a:pt x="179" y="58"/>
                    <a:pt x="179" y="58"/>
                  </a:cubicBezTo>
                  <a:cubicBezTo>
                    <a:pt x="157" y="61"/>
                    <a:pt x="157" y="61"/>
                    <a:pt x="157" y="61"/>
                  </a:cubicBezTo>
                  <a:cubicBezTo>
                    <a:pt x="149" y="61"/>
                    <a:pt x="149" y="61"/>
                    <a:pt x="149" y="61"/>
                  </a:cubicBezTo>
                  <a:cubicBezTo>
                    <a:pt x="140" y="60"/>
                    <a:pt x="140" y="60"/>
                    <a:pt x="140" y="60"/>
                  </a:cubicBezTo>
                  <a:cubicBezTo>
                    <a:pt x="134" y="60"/>
                    <a:pt x="134" y="60"/>
                    <a:pt x="134" y="60"/>
                  </a:cubicBezTo>
                  <a:cubicBezTo>
                    <a:pt x="129" y="62"/>
                    <a:pt x="129" y="62"/>
                    <a:pt x="129" y="62"/>
                  </a:cubicBezTo>
                  <a:cubicBezTo>
                    <a:pt x="129" y="62"/>
                    <a:pt x="125" y="64"/>
                    <a:pt x="119" y="66"/>
                  </a:cubicBezTo>
                  <a:cubicBezTo>
                    <a:pt x="117" y="66"/>
                    <a:pt x="117" y="66"/>
                    <a:pt x="117" y="66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81" y="55"/>
                    <a:pt x="81" y="55"/>
                    <a:pt x="81" y="55"/>
                  </a:cubicBezTo>
                  <a:lnTo>
                    <a:pt x="81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18" name="Washington">
              <a:extLst>
                <a:ext uri="{FF2B5EF4-FFF2-40B4-BE49-F238E27FC236}">
                  <a16:creationId xmlns:a16="http://schemas.microsoft.com/office/drawing/2014/main" id="{AA35900D-143E-4B14-BBFA-6210589A057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083550" y="885931"/>
              <a:ext cx="1181983" cy="645326"/>
            </a:xfrm>
            <a:custGeom>
              <a:avLst/>
              <a:gdLst>
                <a:gd name="T0" fmla="*/ 79 w 299"/>
                <a:gd name="T1" fmla="*/ 152 h 163"/>
                <a:gd name="T2" fmla="*/ 79 w 299"/>
                <a:gd name="T3" fmla="*/ 163 h 163"/>
                <a:gd name="T4" fmla="*/ 205 w 299"/>
                <a:gd name="T5" fmla="*/ 163 h 163"/>
                <a:gd name="T6" fmla="*/ 222 w 299"/>
                <a:gd name="T7" fmla="*/ 148 h 163"/>
                <a:gd name="T8" fmla="*/ 261 w 299"/>
                <a:gd name="T9" fmla="*/ 148 h 163"/>
                <a:gd name="T10" fmla="*/ 272 w 299"/>
                <a:gd name="T11" fmla="*/ 148 h 163"/>
                <a:gd name="T12" fmla="*/ 282 w 299"/>
                <a:gd name="T13" fmla="*/ 148 h 163"/>
                <a:gd name="T14" fmla="*/ 293 w 299"/>
                <a:gd name="T15" fmla="*/ 149 h 163"/>
                <a:gd name="T16" fmla="*/ 298 w 299"/>
                <a:gd name="T17" fmla="*/ 149 h 163"/>
                <a:gd name="T18" fmla="*/ 299 w 299"/>
                <a:gd name="T19" fmla="*/ 149 h 163"/>
                <a:gd name="T20" fmla="*/ 299 w 299"/>
                <a:gd name="T21" fmla="*/ 149 h 163"/>
                <a:gd name="T22" fmla="*/ 299 w 299"/>
                <a:gd name="T23" fmla="*/ 149 h 163"/>
                <a:gd name="T24" fmla="*/ 299 w 299"/>
                <a:gd name="T25" fmla="*/ 0 h 163"/>
                <a:gd name="T26" fmla="*/ 74 w 299"/>
                <a:gd name="T27" fmla="*/ 0 h 163"/>
                <a:gd name="T28" fmla="*/ 78 w 299"/>
                <a:gd name="T29" fmla="*/ 4 h 163"/>
                <a:gd name="T30" fmla="*/ 82 w 299"/>
                <a:gd name="T31" fmla="*/ 12 h 163"/>
                <a:gd name="T32" fmla="*/ 86 w 299"/>
                <a:gd name="T33" fmla="*/ 12 h 163"/>
                <a:gd name="T34" fmla="*/ 94 w 299"/>
                <a:gd name="T35" fmla="*/ 12 h 163"/>
                <a:gd name="T36" fmla="*/ 94 w 299"/>
                <a:gd name="T37" fmla="*/ 16 h 163"/>
                <a:gd name="T38" fmla="*/ 90 w 299"/>
                <a:gd name="T39" fmla="*/ 16 h 163"/>
                <a:gd name="T40" fmla="*/ 90 w 299"/>
                <a:gd name="T41" fmla="*/ 24 h 163"/>
                <a:gd name="T42" fmla="*/ 86 w 299"/>
                <a:gd name="T43" fmla="*/ 28 h 163"/>
                <a:gd name="T44" fmla="*/ 82 w 299"/>
                <a:gd name="T45" fmla="*/ 28 h 163"/>
                <a:gd name="T46" fmla="*/ 86 w 299"/>
                <a:gd name="T47" fmla="*/ 32 h 163"/>
                <a:gd name="T48" fmla="*/ 90 w 299"/>
                <a:gd name="T49" fmla="*/ 35 h 163"/>
                <a:gd name="T50" fmla="*/ 94 w 299"/>
                <a:gd name="T51" fmla="*/ 47 h 163"/>
                <a:gd name="T52" fmla="*/ 94 w 299"/>
                <a:gd name="T53" fmla="*/ 71 h 163"/>
                <a:gd name="T54" fmla="*/ 90 w 299"/>
                <a:gd name="T55" fmla="*/ 63 h 163"/>
                <a:gd name="T56" fmla="*/ 86 w 299"/>
                <a:gd name="T57" fmla="*/ 67 h 163"/>
                <a:gd name="T58" fmla="*/ 78 w 299"/>
                <a:gd name="T59" fmla="*/ 75 h 163"/>
                <a:gd name="T60" fmla="*/ 70 w 299"/>
                <a:gd name="T61" fmla="*/ 82 h 163"/>
                <a:gd name="T62" fmla="*/ 70 w 299"/>
                <a:gd name="T63" fmla="*/ 86 h 163"/>
                <a:gd name="T64" fmla="*/ 70 w 299"/>
                <a:gd name="T65" fmla="*/ 90 h 163"/>
                <a:gd name="T66" fmla="*/ 66 w 299"/>
                <a:gd name="T67" fmla="*/ 90 h 163"/>
                <a:gd name="T68" fmla="*/ 66 w 299"/>
                <a:gd name="T69" fmla="*/ 82 h 163"/>
                <a:gd name="T70" fmla="*/ 74 w 299"/>
                <a:gd name="T71" fmla="*/ 67 h 163"/>
                <a:gd name="T72" fmla="*/ 78 w 299"/>
                <a:gd name="T73" fmla="*/ 63 h 163"/>
                <a:gd name="T74" fmla="*/ 82 w 299"/>
                <a:gd name="T75" fmla="*/ 55 h 163"/>
                <a:gd name="T76" fmla="*/ 78 w 299"/>
                <a:gd name="T77" fmla="*/ 51 h 163"/>
                <a:gd name="T78" fmla="*/ 70 w 299"/>
                <a:gd name="T79" fmla="*/ 51 h 163"/>
                <a:gd name="T80" fmla="*/ 58 w 299"/>
                <a:gd name="T81" fmla="*/ 47 h 163"/>
                <a:gd name="T82" fmla="*/ 35 w 299"/>
                <a:gd name="T83" fmla="*/ 43 h 163"/>
                <a:gd name="T84" fmla="*/ 8 w 299"/>
                <a:gd name="T85" fmla="*/ 32 h 163"/>
                <a:gd name="T86" fmla="*/ 4 w 299"/>
                <a:gd name="T87" fmla="*/ 35 h 163"/>
                <a:gd name="T88" fmla="*/ 0 w 299"/>
                <a:gd name="T89" fmla="*/ 43 h 163"/>
                <a:gd name="T90" fmla="*/ 0 w 299"/>
                <a:gd name="T91" fmla="*/ 51 h 163"/>
                <a:gd name="T92" fmla="*/ 8 w 299"/>
                <a:gd name="T93" fmla="*/ 59 h 163"/>
                <a:gd name="T94" fmla="*/ 12 w 299"/>
                <a:gd name="T95" fmla="*/ 67 h 163"/>
                <a:gd name="T96" fmla="*/ 23 w 299"/>
                <a:gd name="T97" fmla="*/ 114 h 163"/>
                <a:gd name="T98" fmla="*/ 27 w 299"/>
                <a:gd name="T99" fmla="*/ 110 h 163"/>
                <a:gd name="T100" fmla="*/ 31 w 299"/>
                <a:gd name="T101" fmla="*/ 114 h 163"/>
                <a:gd name="T102" fmla="*/ 31 w 299"/>
                <a:gd name="T103" fmla="*/ 117 h 163"/>
                <a:gd name="T104" fmla="*/ 27 w 299"/>
                <a:gd name="T105" fmla="*/ 121 h 163"/>
                <a:gd name="T106" fmla="*/ 27 w 299"/>
                <a:gd name="T107" fmla="*/ 125 h 163"/>
                <a:gd name="T108" fmla="*/ 27 w 299"/>
                <a:gd name="T109" fmla="*/ 129 h 163"/>
                <a:gd name="T110" fmla="*/ 31 w 299"/>
                <a:gd name="T111" fmla="*/ 129 h 163"/>
                <a:gd name="T112" fmla="*/ 35 w 299"/>
                <a:gd name="T113" fmla="*/ 129 h 163"/>
                <a:gd name="T114" fmla="*/ 35 w 299"/>
                <a:gd name="T115" fmla="*/ 133 h 163"/>
                <a:gd name="T116" fmla="*/ 68 w 299"/>
                <a:gd name="T117" fmla="*/ 133 h 163"/>
                <a:gd name="T118" fmla="*/ 79 w 299"/>
                <a:gd name="T119" fmla="*/ 15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9" h="163">
                  <a:moveTo>
                    <a:pt x="79" y="152"/>
                  </a:moveTo>
                  <a:cubicBezTo>
                    <a:pt x="79" y="163"/>
                    <a:pt x="79" y="163"/>
                    <a:pt x="79" y="163"/>
                  </a:cubicBezTo>
                  <a:cubicBezTo>
                    <a:pt x="205" y="163"/>
                    <a:pt x="205" y="163"/>
                    <a:pt x="205" y="163"/>
                  </a:cubicBezTo>
                  <a:cubicBezTo>
                    <a:pt x="222" y="148"/>
                    <a:pt x="222" y="148"/>
                    <a:pt x="222" y="148"/>
                  </a:cubicBezTo>
                  <a:cubicBezTo>
                    <a:pt x="261" y="148"/>
                    <a:pt x="261" y="148"/>
                    <a:pt x="261" y="148"/>
                  </a:cubicBezTo>
                  <a:cubicBezTo>
                    <a:pt x="261" y="148"/>
                    <a:pt x="266" y="148"/>
                    <a:pt x="272" y="148"/>
                  </a:cubicBezTo>
                  <a:cubicBezTo>
                    <a:pt x="276" y="148"/>
                    <a:pt x="279" y="148"/>
                    <a:pt x="282" y="148"/>
                  </a:cubicBezTo>
                  <a:cubicBezTo>
                    <a:pt x="285" y="148"/>
                    <a:pt x="289" y="149"/>
                    <a:pt x="293" y="149"/>
                  </a:cubicBezTo>
                  <a:cubicBezTo>
                    <a:pt x="295" y="149"/>
                    <a:pt x="297" y="149"/>
                    <a:pt x="298" y="149"/>
                  </a:cubicBezTo>
                  <a:cubicBezTo>
                    <a:pt x="299" y="149"/>
                    <a:pt x="299" y="149"/>
                    <a:pt x="299" y="149"/>
                  </a:cubicBezTo>
                  <a:cubicBezTo>
                    <a:pt x="299" y="149"/>
                    <a:pt x="299" y="149"/>
                    <a:pt x="299" y="149"/>
                  </a:cubicBezTo>
                  <a:cubicBezTo>
                    <a:pt x="299" y="149"/>
                    <a:pt x="299" y="149"/>
                    <a:pt x="299" y="149"/>
                  </a:cubicBezTo>
                  <a:cubicBezTo>
                    <a:pt x="299" y="0"/>
                    <a:pt x="299" y="0"/>
                    <a:pt x="299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82" y="12"/>
                    <a:pt x="82" y="12"/>
                    <a:pt x="82" y="1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94" y="12"/>
                    <a:pt x="94" y="12"/>
                    <a:pt x="94" y="12"/>
                  </a:cubicBezTo>
                  <a:cubicBezTo>
                    <a:pt x="94" y="16"/>
                    <a:pt x="94" y="16"/>
                    <a:pt x="94" y="16"/>
                  </a:cubicBezTo>
                  <a:cubicBezTo>
                    <a:pt x="90" y="16"/>
                    <a:pt x="90" y="16"/>
                    <a:pt x="90" y="16"/>
                  </a:cubicBezTo>
                  <a:cubicBezTo>
                    <a:pt x="90" y="24"/>
                    <a:pt x="90" y="24"/>
                    <a:pt x="90" y="24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4" y="71"/>
                    <a:pt x="94" y="71"/>
                    <a:pt x="94" y="71"/>
                  </a:cubicBezTo>
                  <a:cubicBezTo>
                    <a:pt x="90" y="63"/>
                    <a:pt x="90" y="63"/>
                    <a:pt x="90" y="63"/>
                  </a:cubicBezTo>
                  <a:cubicBezTo>
                    <a:pt x="86" y="67"/>
                    <a:pt x="86" y="67"/>
                    <a:pt x="86" y="67"/>
                  </a:cubicBezTo>
                  <a:cubicBezTo>
                    <a:pt x="78" y="75"/>
                    <a:pt x="78" y="75"/>
                    <a:pt x="78" y="75"/>
                  </a:cubicBezTo>
                  <a:cubicBezTo>
                    <a:pt x="70" y="82"/>
                    <a:pt x="70" y="82"/>
                    <a:pt x="70" y="82"/>
                  </a:cubicBezTo>
                  <a:cubicBezTo>
                    <a:pt x="70" y="86"/>
                    <a:pt x="70" y="86"/>
                    <a:pt x="70" y="86"/>
                  </a:cubicBezTo>
                  <a:cubicBezTo>
                    <a:pt x="70" y="90"/>
                    <a:pt x="70" y="90"/>
                    <a:pt x="70" y="90"/>
                  </a:cubicBezTo>
                  <a:cubicBezTo>
                    <a:pt x="66" y="90"/>
                    <a:pt x="66" y="90"/>
                    <a:pt x="66" y="90"/>
                  </a:cubicBezTo>
                  <a:cubicBezTo>
                    <a:pt x="66" y="82"/>
                    <a:pt x="66" y="82"/>
                    <a:pt x="66" y="82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58" y="47"/>
                    <a:pt x="58" y="47"/>
                    <a:pt x="58" y="47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23" y="114"/>
                    <a:pt x="23" y="114"/>
                    <a:pt x="23" y="114"/>
                  </a:cubicBezTo>
                  <a:cubicBezTo>
                    <a:pt x="27" y="110"/>
                    <a:pt x="27" y="110"/>
                    <a:pt x="27" y="110"/>
                  </a:cubicBezTo>
                  <a:cubicBezTo>
                    <a:pt x="31" y="114"/>
                    <a:pt x="31" y="114"/>
                    <a:pt x="31" y="114"/>
                  </a:cubicBezTo>
                  <a:cubicBezTo>
                    <a:pt x="31" y="117"/>
                    <a:pt x="31" y="117"/>
                    <a:pt x="31" y="117"/>
                  </a:cubicBezTo>
                  <a:cubicBezTo>
                    <a:pt x="27" y="121"/>
                    <a:pt x="27" y="121"/>
                    <a:pt x="27" y="121"/>
                  </a:cubicBezTo>
                  <a:cubicBezTo>
                    <a:pt x="27" y="125"/>
                    <a:pt x="27" y="125"/>
                    <a:pt x="27" y="125"/>
                  </a:cubicBezTo>
                  <a:cubicBezTo>
                    <a:pt x="27" y="129"/>
                    <a:pt x="27" y="129"/>
                    <a:pt x="27" y="129"/>
                  </a:cubicBezTo>
                  <a:cubicBezTo>
                    <a:pt x="31" y="129"/>
                    <a:pt x="31" y="129"/>
                    <a:pt x="31" y="129"/>
                  </a:cubicBezTo>
                  <a:cubicBezTo>
                    <a:pt x="35" y="129"/>
                    <a:pt x="35" y="129"/>
                    <a:pt x="35" y="129"/>
                  </a:cubicBezTo>
                  <a:cubicBezTo>
                    <a:pt x="35" y="133"/>
                    <a:pt x="35" y="133"/>
                    <a:pt x="35" y="133"/>
                  </a:cubicBezTo>
                  <a:cubicBezTo>
                    <a:pt x="68" y="133"/>
                    <a:pt x="68" y="133"/>
                    <a:pt x="68" y="133"/>
                  </a:cubicBezTo>
                  <a:lnTo>
                    <a:pt x="79" y="152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19" name="Virginia">
              <a:extLst>
                <a:ext uri="{FF2B5EF4-FFF2-40B4-BE49-F238E27FC236}">
                  <a16:creationId xmlns:a16="http://schemas.microsoft.com/office/drawing/2014/main" id="{630F9563-FE74-48D5-BBEB-2ACAF8F40516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8510060" y="2932249"/>
              <a:ext cx="1011456" cy="396223"/>
            </a:xfrm>
            <a:custGeom>
              <a:avLst/>
              <a:gdLst>
                <a:gd name="T0" fmla="*/ 213 w 256"/>
                <a:gd name="T1" fmla="*/ 40 h 100"/>
                <a:gd name="T2" fmla="*/ 203 w 256"/>
                <a:gd name="T3" fmla="*/ 32 h 100"/>
                <a:gd name="T4" fmla="*/ 207 w 256"/>
                <a:gd name="T5" fmla="*/ 21 h 100"/>
                <a:gd name="T6" fmla="*/ 201 w 256"/>
                <a:gd name="T7" fmla="*/ 0 h 100"/>
                <a:gd name="T8" fmla="*/ 199 w 256"/>
                <a:gd name="T9" fmla="*/ 0 h 100"/>
                <a:gd name="T10" fmla="*/ 191 w 256"/>
                <a:gd name="T11" fmla="*/ 4 h 100"/>
                <a:gd name="T12" fmla="*/ 183 w 256"/>
                <a:gd name="T13" fmla="*/ 4 h 100"/>
                <a:gd name="T14" fmla="*/ 171 w 256"/>
                <a:gd name="T15" fmla="*/ 0 h 100"/>
                <a:gd name="T16" fmla="*/ 167 w 256"/>
                <a:gd name="T17" fmla="*/ 10 h 100"/>
                <a:gd name="T18" fmla="*/ 160 w 256"/>
                <a:gd name="T19" fmla="*/ 15 h 100"/>
                <a:gd name="T20" fmla="*/ 152 w 256"/>
                <a:gd name="T21" fmla="*/ 24 h 100"/>
                <a:gd name="T22" fmla="*/ 142 w 256"/>
                <a:gd name="T23" fmla="*/ 32 h 100"/>
                <a:gd name="T24" fmla="*/ 142 w 256"/>
                <a:gd name="T25" fmla="*/ 39 h 100"/>
                <a:gd name="T26" fmla="*/ 125 w 256"/>
                <a:gd name="T27" fmla="*/ 42 h 100"/>
                <a:gd name="T28" fmla="*/ 124 w 256"/>
                <a:gd name="T29" fmla="*/ 53 h 100"/>
                <a:gd name="T30" fmla="*/ 120 w 256"/>
                <a:gd name="T31" fmla="*/ 58 h 100"/>
                <a:gd name="T32" fmla="*/ 120 w 256"/>
                <a:gd name="T33" fmla="*/ 59 h 100"/>
                <a:gd name="T34" fmla="*/ 120 w 256"/>
                <a:gd name="T35" fmla="*/ 61 h 100"/>
                <a:gd name="T36" fmla="*/ 119 w 256"/>
                <a:gd name="T37" fmla="*/ 61 h 100"/>
                <a:gd name="T38" fmla="*/ 116 w 256"/>
                <a:gd name="T39" fmla="*/ 60 h 100"/>
                <a:gd name="T40" fmla="*/ 109 w 256"/>
                <a:gd name="T41" fmla="*/ 71 h 100"/>
                <a:gd name="T42" fmla="*/ 86 w 256"/>
                <a:gd name="T43" fmla="*/ 75 h 100"/>
                <a:gd name="T44" fmla="*/ 69 w 256"/>
                <a:gd name="T45" fmla="*/ 79 h 100"/>
                <a:gd name="T46" fmla="*/ 67 w 256"/>
                <a:gd name="T47" fmla="*/ 79 h 100"/>
                <a:gd name="T48" fmla="*/ 63 w 256"/>
                <a:gd name="T49" fmla="*/ 79 h 100"/>
                <a:gd name="T50" fmla="*/ 60 w 256"/>
                <a:gd name="T51" fmla="*/ 78 h 100"/>
                <a:gd name="T52" fmla="*/ 55 w 256"/>
                <a:gd name="T53" fmla="*/ 78 h 100"/>
                <a:gd name="T54" fmla="*/ 55 w 256"/>
                <a:gd name="T55" fmla="*/ 78 h 100"/>
                <a:gd name="T56" fmla="*/ 52 w 256"/>
                <a:gd name="T57" fmla="*/ 78 h 100"/>
                <a:gd name="T58" fmla="*/ 49 w 256"/>
                <a:gd name="T59" fmla="*/ 78 h 100"/>
                <a:gd name="T60" fmla="*/ 44 w 256"/>
                <a:gd name="T61" fmla="*/ 78 h 100"/>
                <a:gd name="T62" fmla="*/ 40 w 256"/>
                <a:gd name="T63" fmla="*/ 77 h 100"/>
                <a:gd name="T64" fmla="*/ 36 w 256"/>
                <a:gd name="T65" fmla="*/ 78 h 100"/>
                <a:gd name="T66" fmla="*/ 34 w 256"/>
                <a:gd name="T67" fmla="*/ 77 h 100"/>
                <a:gd name="T68" fmla="*/ 28 w 256"/>
                <a:gd name="T69" fmla="*/ 77 h 100"/>
                <a:gd name="T70" fmla="*/ 27 w 256"/>
                <a:gd name="T71" fmla="*/ 77 h 100"/>
                <a:gd name="T72" fmla="*/ 24 w 256"/>
                <a:gd name="T73" fmla="*/ 77 h 100"/>
                <a:gd name="T74" fmla="*/ 23 w 256"/>
                <a:gd name="T75" fmla="*/ 79 h 100"/>
                <a:gd name="T76" fmla="*/ 22 w 256"/>
                <a:gd name="T77" fmla="*/ 86 h 100"/>
                <a:gd name="T78" fmla="*/ 13 w 256"/>
                <a:gd name="T79" fmla="*/ 91 h 100"/>
                <a:gd name="T80" fmla="*/ 2 w 256"/>
                <a:gd name="T81" fmla="*/ 99 h 100"/>
                <a:gd name="T82" fmla="*/ 33 w 256"/>
                <a:gd name="T83" fmla="*/ 100 h 100"/>
                <a:gd name="T84" fmla="*/ 33 w 256"/>
                <a:gd name="T85" fmla="*/ 100 h 100"/>
                <a:gd name="T86" fmla="*/ 256 w 256"/>
                <a:gd name="T87" fmla="*/ 100 h 100"/>
                <a:gd name="T88" fmla="*/ 252 w 256"/>
                <a:gd name="T89" fmla="*/ 92 h 100"/>
                <a:gd name="T90" fmla="*/ 252 w 256"/>
                <a:gd name="T91" fmla="*/ 84 h 100"/>
                <a:gd name="T92" fmla="*/ 256 w 256"/>
                <a:gd name="T93" fmla="*/ 73 h 100"/>
                <a:gd name="T94" fmla="*/ 237 w 256"/>
                <a:gd name="T95" fmla="*/ 61 h 100"/>
                <a:gd name="T96" fmla="*/ 217 w 256"/>
                <a:gd name="T97" fmla="*/ 49 h 100"/>
                <a:gd name="T98" fmla="*/ 217 w 256"/>
                <a:gd name="T99" fmla="*/ 4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56" h="100">
                  <a:moveTo>
                    <a:pt x="217" y="45"/>
                  </a:moveTo>
                  <a:cubicBezTo>
                    <a:pt x="213" y="40"/>
                    <a:pt x="213" y="40"/>
                    <a:pt x="213" y="40"/>
                  </a:cubicBezTo>
                  <a:cubicBezTo>
                    <a:pt x="207" y="36"/>
                    <a:pt x="207" y="36"/>
                    <a:pt x="207" y="36"/>
                  </a:cubicBezTo>
                  <a:cubicBezTo>
                    <a:pt x="203" y="32"/>
                    <a:pt x="203" y="32"/>
                    <a:pt x="203" y="32"/>
                  </a:cubicBezTo>
                  <a:cubicBezTo>
                    <a:pt x="207" y="27"/>
                    <a:pt x="207" y="27"/>
                    <a:pt x="207" y="27"/>
                  </a:cubicBezTo>
                  <a:cubicBezTo>
                    <a:pt x="207" y="21"/>
                    <a:pt x="207" y="21"/>
                    <a:pt x="207" y="21"/>
                  </a:cubicBezTo>
                  <a:cubicBezTo>
                    <a:pt x="201" y="15"/>
                    <a:pt x="201" y="15"/>
                    <a:pt x="201" y="15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200" y="0"/>
                    <a:pt x="200" y="0"/>
                    <a:pt x="200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91" y="4"/>
                    <a:pt x="191" y="4"/>
                    <a:pt x="191" y="4"/>
                  </a:cubicBezTo>
                  <a:cubicBezTo>
                    <a:pt x="188" y="7"/>
                    <a:pt x="188" y="7"/>
                    <a:pt x="188" y="7"/>
                  </a:cubicBezTo>
                  <a:cubicBezTo>
                    <a:pt x="183" y="4"/>
                    <a:pt x="183" y="4"/>
                    <a:pt x="183" y="4"/>
                  </a:cubicBezTo>
                  <a:cubicBezTo>
                    <a:pt x="179" y="3"/>
                    <a:pt x="179" y="3"/>
                    <a:pt x="179" y="3"/>
                  </a:cubicBezTo>
                  <a:cubicBezTo>
                    <a:pt x="171" y="0"/>
                    <a:pt x="171" y="0"/>
                    <a:pt x="171" y="0"/>
                  </a:cubicBezTo>
                  <a:cubicBezTo>
                    <a:pt x="171" y="5"/>
                    <a:pt x="171" y="5"/>
                    <a:pt x="171" y="5"/>
                  </a:cubicBezTo>
                  <a:cubicBezTo>
                    <a:pt x="167" y="10"/>
                    <a:pt x="167" y="10"/>
                    <a:pt x="167" y="10"/>
                  </a:cubicBezTo>
                  <a:cubicBezTo>
                    <a:pt x="165" y="10"/>
                    <a:pt x="165" y="10"/>
                    <a:pt x="165" y="10"/>
                  </a:cubicBezTo>
                  <a:cubicBezTo>
                    <a:pt x="164" y="10"/>
                    <a:pt x="163" y="12"/>
                    <a:pt x="160" y="15"/>
                  </a:cubicBezTo>
                  <a:cubicBezTo>
                    <a:pt x="156" y="21"/>
                    <a:pt x="156" y="21"/>
                    <a:pt x="156" y="21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48" y="24"/>
                    <a:pt x="148" y="24"/>
                    <a:pt x="148" y="24"/>
                  </a:cubicBezTo>
                  <a:cubicBezTo>
                    <a:pt x="147" y="25"/>
                    <a:pt x="144" y="30"/>
                    <a:pt x="142" y="32"/>
                  </a:cubicBezTo>
                  <a:cubicBezTo>
                    <a:pt x="140" y="34"/>
                    <a:pt x="140" y="36"/>
                    <a:pt x="141" y="37"/>
                  </a:cubicBezTo>
                  <a:cubicBezTo>
                    <a:pt x="142" y="39"/>
                    <a:pt x="142" y="39"/>
                    <a:pt x="142" y="39"/>
                  </a:cubicBezTo>
                  <a:cubicBezTo>
                    <a:pt x="133" y="39"/>
                    <a:pt x="133" y="39"/>
                    <a:pt x="133" y="39"/>
                  </a:cubicBezTo>
                  <a:cubicBezTo>
                    <a:pt x="125" y="42"/>
                    <a:pt x="125" y="42"/>
                    <a:pt x="125" y="42"/>
                  </a:cubicBezTo>
                  <a:cubicBezTo>
                    <a:pt x="126" y="43"/>
                    <a:pt x="127" y="49"/>
                    <a:pt x="125" y="51"/>
                  </a:cubicBezTo>
                  <a:cubicBezTo>
                    <a:pt x="124" y="53"/>
                    <a:pt x="124" y="53"/>
                    <a:pt x="124" y="53"/>
                  </a:cubicBezTo>
                  <a:cubicBezTo>
                    <a:pt x="124" y="53"/>
                    <a:pt x="123" y="54"/>
                    <a:pt x="121" y="57"/>
                  </a:cubicBezTo>
                  <a:cubicBezTo>
                    <a:pt x="120" y="58"/>
                    <a:pt x="120" y="58"/>
                    <a:pt x="120" y="58"/>
                  </a:cubicBezTo>
                  <a:cubicBezTo>
                    <a:pt x="120" y="59"/>
                    <a:pt x="120" y="59"/>
                    <a:pt x="120" y="59"/>
                  </a:cubicBezTo>
                  <a:cubicBezTo>
                    <a:pt x="120" y="59"/>
                    <a:pt x="120" y="59"/>
                    <a:pt x="120" y="59"/>
                  </a:cubicBezTo>
                  <a:cubicBezTo>
                    <a:pt x="122" y="59"/>
                    <a:pt x="122" y="59"/>
                    <a:pt x="122" y="59"/>
                  </a:cubicBezTo>
                  <a:cubicBezTo>
                    <a:pt x="120" y="61"/>
                    <a:pt x="120" y="61"/>
                    <a:pt x="120" y="61"/>
                  </a:cubicBezTo>
                  <a:cubicBezTo>
                    <a:pt x="119" y="61"/>
                    <a:pt x="119" y="61"/>
                    <a:pt x="119" y="61"/>
                  </a:cubicBezTo>
                  <a:cubicBezTo>
                    <a:pt x="119" y="61"/>
                    <a:pt x="119" y="61"/>
                    <a:pt x="119" y="61"/>
                  </a:cubicBezTo>
                  <a:cubicBezTo>
                    <a:pt x="119" y="61"/>
                    <a:pt x="119" y="61"/>
                    <a:pt x="119" y="61"/>
                  </a:cubicBezTo>
                  <a:cubicBezTo>
                    <a:pt x="118" y="61"/>
                    <a:pt x="117" y="60"/>
                    <a:pt x="116" y="60"/>
                  </a:cubicBezTo>
                  <a:cubicBezTo>
                    <a:pt x="115" y="63"/>
                    <a:pt x="114" y="65"/>
                    <a:pt x="113" y="66"/>
                  </a:cubicBezTo>
                  <a:cubicBezTo>
                    <a:pt x="113" y="68"/>
                    <a:pt x="109" y="70"/>
                    <a:pt x="109" y="71"/>
                  </a:cubicBezTo>
                  <a:cubicBezTo>
                    <a:pt x="109" y="75"/>
                    <a:pt x="109" y="75"/>
                    <a:pt x="109" y="75"/>
                  </a:cubicBezTo>
                  <a:cubicBezTo>
                    <a:pt x="86" y="75"/>
                    <a:pt x="86" y="75"/>
                    <a:pt x="86" y="75"/>
                  </a:cubicBezTo>
                  <a:cubicBezTo>
                    <a:pt x="75" y="77"/>
                    <a:pt x="75" y="77"/>
                    <a:pt x="75" y="77"/>
                  </a:cubicBezTo>
                  <a:cubicBezTo>
                    <a:pt x="75" y="78"/>
                    <a:pt x="72" y="79"/>
                    <a:pt x="69" y="79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69" y="79"/>
                    <a:pt x="68" y="79"/>
                    <a:pt x="67" y="79"/>
                  </a:cubicBezTo>
                  <a:cubicBezTo>
                    <a:pt x="66" y="79"/>
                    <a:pt x="65" y="79"/>
                    <a:pt x="64" y="79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2" y="78"/>
                    <a:pt x="61" y="78"/>
                    <a:pt x="60" y="78"/>
                  </a:cubicBezTo>
                  <a:cubicBezTo>
                    <a:pt x="60" y="78"/>
                    <a:pt x="60" y="78"/>
                    <a:pt x="60" y="78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54" y="78"/>
                    <a:pt x="53" y="78"/>
                    <a:pt x="52" y="78"/>
                  </a:cubicBezTo>
                  <a:cubicBezTo>
                    <a:pt x="52" y="78"/>
                    <a:pt x="52" y="78"/>
                    <a:pt x="52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0" y="78"/>
                    <a:pt x="50" y="78"/>
                    <a:pt x="49" y="78"/>
                  </a:cubicBezTo>
                  <a:cubicBezTo>
                    <a:pt x="48" y="78"/>
                    <a:pt x="47" y="78"/>
                    <a:pt x="46" y="78"/>
                  </a:cubicBezTo>
                  <a:cubicBezTo>
                    <a:pt x="46" y="78"/>
                    <a:pt x="45" y="78"/>
                    <a:pt x="44" y="78"/>
                  </a:cubicBezTo>
                  <a:cubicBezTo>
                    <a:pt x="43" y="78"/>
                    <a:pt x="42" y="78"/>
                    <a:pt x="42" y="77"/>
                  </a:cubicBezTo>
                  <a:cubicBezTo>
                    <a:pt x="41" y="77"/>
                    <a:pt x="41" y="77"/>
                    <a:pt x="40" y="77"/>
                  </a:cubicBezTo>
                  <a:cubicBezTo>
                    <a:pt x="40" y="77"/>
                    <a:pt x="39" y="77"/>
                    <a:pt x="38" y="77"/>
                  </a:cubicBezTo>
                  <a:cubicBezTo>
                    <a:pt x="38" y="78"/>
                    <a:pt x="37" y="78"/>
                    <a:pt x="36" y="78"/>
                  </a:cubicBezTo>
                  <a:cubicBezTo>
                    <a:pt x="36" y="78"/>
                    <a:pt x="36" y="78"/>
                    <a:pt x="35" y="77"/>
                  </a:cubicBezTo>
                  <a:cubicBezTo>
                    <a:pt x="35" y="77"/>
                    <a:pt x="35" y="77"/>
                    <a:pt x="34" y="77"/>
                  </a:cubicBezTo>
                  <a:cubicBezTo>
                    <a:pt x="33" y="77"/>
                    <a:pt x="32" y="77"/>
                    <a:pt x="31" y="77"/>
                  </a:cubicBezTo>
                  <a:cubicBezTo>
                    <a:pt x="30" y="77"/>
                    <a:pt x="29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6" y="77"/>
                    <a:pt x="26" y="77"/>
                    <a:pt x="25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78"/>
                    <a:pt x="23" y="78"/>
                    <a:pt x="23" y="79"/>
                  </a:cubicBezTo>
                  <a:cubicBezTo>
                    <a:pt x="23" y="80"/>
                    <a:pt x="23" y="80"/>
                    <a:pt x="23" y="82"/>
                  </a:cubicBezTo>
                  <a:cubicBezTo>
                    <a:pt x="22" y="83"/>
                    <a:pt x="22" y="85"/>
                    <a:pt x="22" y="86"/>
                  </a:cubicBezTo>
                  <a:cubicBezTo>
                    <a:pt x="23" y="87"/>
                    <a:pt x="23" y="87"/>
                    <a:pt x="23" y="87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2" y="92"/>
                    <a:pt x="9" y="94"/>
                    <a:pt x="6" y="96"/>
                  </a:cubicBezTo>
                  <a:cubicBezTo>
                    <a:pt x="5" y="96"/>
                    <a:pt x="3" y="98"/>
                    <a:pt x="2" y="99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33" y="100"/>
                    <a:pt x="33" y="100"/>
                    <a:pt x="33" y="100"/>
                  </a:cubicBezTo>
                  <a:cubicBezTo>
                    <a:pt x="256" y="100"/>
                    <a:pt x="256" y="100"/>
                    <a:pt x="256" y="100"/>
                  </a:cubicBezTo>
                  <a:cubicBezTo>
                    <a:pt x="256" y="100"/>
                    <a:pt x="256" y="100"/>
                    <a:pt x="256" y="100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2" y="92"/>
                    <a:pt x="252" y="92"/>
                    <a:pt x="252" y="92"/>
                  </a:cubicBezTo>
                  <a:cubicBezTo>
                    <a:pt x="252" y="88"/>
                    <a:pt x="252" y="88"/>
                    <a:pt x="252" y="88"/>
                  </a:cubicBezTo>
                  <a:cubicBezTo>
                    <a:pt x="252" y="84"/>
                    <a:pt x="252" y="84"/>
                    <a:pt x="252" y="84"/>
                  </a:cubicBezTo>
                  <a:cubicBezTo>
                    <a:pt x="256" y="77"/>
                    <a:pt x="256" y="77"/>
                    <a:pt x="256" y="77"/>
                  </a:cubicBezTo>
                  <a:cubicBezTo>
                    <a:pt x="256" y="73"/>
                    <a:pt x="256" y="73"/>
                    <a:pt x="256" y="73"/>
                  </a:cubicBezTo>
                  <a:cubicBezTo>
                    <a:pt x="252" y="69"/>
                    <a:pt x="252" y="69"/>
                    <a:pt x="252" y="69"/>
                  </a:cubicBezTo>
                  <a:cubicBezTo>
                    <a:pt x="237" y="61"/>
                    <a:pt x="237" y="61"/>
                    <a:pt x="237" y="61"/>
                  </a:cubicBezTo>
                  <a:cubicBezTo>
                    <a:pt x="229" y="57"/>
                    <a:pt x="229" y="57"/>
                    <a:pt x="229" y="57"/>
                  </a:cubicBezTo>
                  <a:cubicBezTo>
                    <a:pt x="217" y="49"/>
                    <a:pt x="217" y="49"/>
                    <a:pt x="217" y="49"/>
                  </a:cubicBezTo>
                  <a:cubicBezTo>
                    <a:pt x="217" y="47"/>
                    <a:pt x="217" y="47"/>
                    <a:pt x="217" y="47"/>
                  </a:cubicBezTo>
                  <a:cubicBezTo>
                    <a:pt x="217" y="47"/>
                    <a:pt x="217" y="47"/>
                    <a:pt x="217" y="47"/>
                  </a:cubicBezTo>
                  <a:lnTo>
                    <a:pt x="217" y="45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20" name="Vermont">
              <a:extLst>
                <a:ext uri="{FF2B5EF4-FFF2-40B4-BE49-F238E27FC236}">
                  <a16:creationId xmlns:a16="http://schemas.microsoft.com/office/drawing/2014/main" id="{D1328B15-E6D0-4B6C-8D4D-4BAD2D8FE0C5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0013034" y="1777016"/>
              <a:ext cx="240743" cy="434675"/>
            </a:xfrm>
            <a:custGeom>
              <a:avLst/>
              <a:gdLst>
                <a:gd name="T0" fmla="*/ 7 w 61"/>
                <a:gd name="T1" fmla="*/ 98 h 110"/>
                <a:gd name="T2" fmla="*/ 7 w 61"/>
                <a:gd name="T3" fmla="*/ 98 h 110"/>
                <a:gd name="T4" fmla="*/ 4 w 61"/>
                <a:gd name="T5" fmla="*/ 108 h 110"/>
                <a:gd name="T6" fmla="*/ 4 w 61"/>
                <a:gd name="T7" fmla="*/ 110 h 110"/>
                <a:gd name="T8" fmla="*/ 23 w 61"/>
                <a:gd name="T9" fmla="*/ 110 h 110"/>
                <a:gd name="T10" fmla="*/ 23 w 61"/>
                <a:gd name="T11" fmla="*/ 102 h 110"/>
                <a:gd name="T12" fmla="*/ 24 w 61"/>
                <a:gd name="T13" fmla="*/ 102 h 110"/>
                <a:gd name="T14" fmla="*/ 30 w 61"/>
                <a:gd name="T15" fmla="*/ 95 h 110"/>
                <a:gd name="T16" fmla="*/ 30 w 61"/>
                <a:gd name="T17" fmla="*/ 94 h 110"/>
                <a:gd name="T18" fmla="*/ 30 w 61"/>
                <a:gd name="T19" fmla="*/ 94 h 110"/>
                <a:gd name="T20" fmla="*/ 31 w 61"/>
                <a:gd name="T21" fmla="*/ 94 h 110"/>
                <a:gd name="T22" fmla="*/ 31 w 61"/>
                <a:gd name="T23" fmla="*/ 94 h 110"/>
                <a:gd name="T24" fmla="*/ 31 w 61"/>
                <a:gd name="T25" fmla="*/ 93 h 110"/>
                <a:gd name="T26" fmla="*/ 32 w 61"/>
                <a:gd name="T27" fmla="*/ 90 h 110"/>
                <a:gd name="T28" fmla="*/ 33 w 61"/>
                <a:gd name="T29" fmla="*/ 85 h 110"/>
                <a:gd name="T30" fmla="*/ 33 w 61"/>
                <a:gd name="T31" fmla="*/ 85 h 110"/>
                <a:gd name="T32" fmla="*/ 33 w 61"/>
                <a:gd name="T33" fmla="*/ 84 h 110"/>
                <a:gd name="T34" fmla="*/ 33 w 61"/>
                <a:gd name="T35" fmla="*/ 84 h 110"/>
                <a:gd name="T36" fmla="*/ 32 w 61"/>
                <a:gd name="T37" fmla="*/ 84 h 110"/>
                <a:gd name="T38" fmla="*/ 33 w 61"/>
                <a:gd name="T39" fmla="*/ 84 h 110"/>
                <a:gd name="T40" fmla="*/ 33 w 61"/>
                <a:gd name="T41" fmla="*/ 81 h 110"/>
                <a:gd name="T42" fmla="*/ 33 w 61"/>
                <a:gd name="T43" fmla="*/ 68 h 110"/>
                <a:gd name="T44" fmla="*/ 31 w 61"/>
                <a:gd name="T45" fmla="*/ 67 h 110"/>
                <a:gd name="T46" fmla="*/ 30 w 61"/>
                <a:gd name="T47" fmla="*/ 67 h 110"/>
                <a:gd name="T48" fmla="*/ 30 w 61"/>
                <a:gd name="T49" fmla="*/ 67 h 110"/>
                <a:gd name="T50" fmla="*/ 33 w 61"/>
                <a:gd name="T51" fmla="*/ 63 h 110"/>
                <a:gd name="T52" fmla="*/ 38 w 61"/>
                <a:gd name="T53" fmla="*/ 55 h 110"/>
                <a:gd name="T54" fmla="*/ 38 w 61"/>
                <a:gd name="T55" fmla="*/ 54 h 110"/>
                <a:gd name="T56" fmla="*/ 44 w 61"/>
                <a:gd name="T57" fmla="*/ 43 h 110"/>
                <a:gd name="T58" fmla="*/ 42 w 61"/>
                <a:gd name="T59" fmla="*/ 42 h 110"/>
                <a:gd name="T60" fmla="*/ 44 w 61"/>
                <a:gd name="T61" fmla="*/ 38 h 110"/>
                <a:gd name="T62" fmla="*/ 49 w 61"/>
                <a:gd name="T63" fmla="*/ 31 h 110"/>
                <a:gd name="T64" fmla="*/ 49 w 61"/>
                <a:gd name="T65" fmla="*/ 30 h 110"/>
                <a:gd name="T66" fmla="*/ 54 w 61"/>
                <a:gd name="T67" fmla="*/ 24 h 110"/>
                <a:gd name="T68" fmla="*/ 54 w 61"/>
                <a:gd name="T69" fmla="*/ 18 h 110"/>
                <a:gd name="T70" fmla="*/ 55 w 61"/>
                <a:gd name="T71" fmla="*/ 18 h 110"/>
                <a:gd name="T72" fmla="*/ 61 w 61"/>
                <a:gd name="T73" fmla="*/ 12 h 110"/>
                <a:gd name="T74" fmla="*/ 61 w 61"/>
                <a:gd name="T75" fmla="*/ 0 h 110"/>
                <a:gd name="T76" fmla="*/ 60 w 61"/>
                <a:gd name="T77" fmla="*/ 0 h 110"/>
                <a:gd name="T78" fmla="*/ 60 w 61"/>
                <a:gd name="T79" fmla="*/ 2 h 110"/>
                <a:gd name="T80" fmla="*/ 1 w 61"/>
                <a:gd name="T81" fmla="*/ 2 h 110"/>
                <a:gd name="T82" fmla="*/ 0 w 61"/>
                <a:gd name="T83" fmla="*/ 2 h 110"/>
                <a:gd name="T84" fmla="*/ 0 w 61"/>
                <a:gd name="T85" fmla="*/ 87 h 110"/>
                <a:gd name="T86" fmla="*/ 7 w 61"/>
                <a:gd name="T87" fmla="*/ 98 h 110"/>
                <a:gd name="connsiteX0" fmla="*/ 1148 w 10000"/>
                <a:gd name="connsiteY0" fmla="*/ 8909 h 10000"/>
                <a:gd name="connsiteX1" fmla="*/ 1148 w 10000"/>
                <a:gd name="connsiteY1" fmla="*/ 8909 h 10000"/>
                <a:gd name="connsiteX2" fmla="*/ 656 w 10000"/>
                <a:gd name="connsiteY2" fmla="*/ 9818 h 10000"/>
                <a:gd name="connsiteX3" fmla="*/ 656 w 10000"/>
                <a:gd name="connsiteY3" fmla="*/ 10000 h 10000"/>
                <a:gd name="connsiteX4" fmla="*/ 3770 w 10000"/>
                <a:gd name="connsiteY4" fmla="*/ 10000 h 10000"/>
                <a:gd name="connsiteX5" fmla="*/ 3770 w 10000"/>
                <a:gd name="connsiteY5" fmla="*/ 9273 h 10000"/>
                <a:gd name="connsiteX6" fmla="*/ 3934 w 10000"/>
                <a:gd name="connsiteY6" fmla="*/ 9273 h 10000"/>
                <a:gd name="connsiteX7" fmla="*/ 4918 w 10000"/>
                <a:gd name="connsiteY7" fmla="*/ 8636 h 10000"/>
                <a:gd name="connsiteX8" fmla="*/ 4918 w 10000"/>
                <a:gd name="connsiteY8" fmla="*/ 8545 h 10000"/>
                <a:gd name="connsiteX9" fmla="*/ 4918 w 10000"/>
                <a:gd name="connsiteY9" fmla="*/ 8545 h 10000"/>
                <a:gd name="connsiteX10" fmla="*/ 5082 w 10000"/>
                <a:gd name="connsiteY10" fmla="*/ 8545 h 10000"/>
                <a:gd name="connsiteX11" fmla="*/ 5082 w 10000"/>
                <a:gd name="connsiteY11" fmla="*/ 8545 h 10000"/>
                <a:gd name="connsiteX12" fmla="*/ 5082 w 10000"/>
                <a:gd name="connsiteY12" fmla="*/ 8455 h 10000"/>
                <a:gd name="connsiteX13" fmla="*/ 5246 w 10000"/>
                <a:gd name="connsiteY13" fmla="*/ 8182 h 10000"/>
                <a:gd name="connsiteX14" fmla="*/ 5410 w 10000"/>
                <a:gd name="connsiteY14" fmla="*/ 7727 h 10000"/>
                <a:gd name="connsiteX15" fmla="*/ 5410 w 10000"/>
                <a:gd name="connsiteY15" fmla="*/ 7727 h 10000"/>
                <a:gd name="connsiteX16" fmla="*/ 5410 w 10000"/>
                <a:gd name="connsiteY16" fmla="*/ 7636 h 10000"/>
                <a:gd name="connsiteX17" fmla="*/ 5410 w 10000"/>
                <a:gd name="connsiteY17" fmla="*/ 7636 h 10000"/>
                <a:gd name="connsiteX18" fmla="*/ 5410 w 10000"/>
                <a:gd name="connsiteY18" fmla="*/ 7636 h 10000"/>
                <a:gd name="connsiteX19" fmla="*/ 5410 w 10000"/>
                <a:gd name="connsiteY19" fmla="*/ 7364 h 10000"/>
                <a:gd name="connsiteX20" fmla="*/ 5410 w 10000"/>
                <a:gd name="connsiteY20" fmla="*/ 6182 h 10000"/>
                <a:gd name="connsiteX21" fmla="*/ 5082 w 10000"/>
                <a:gd name="connsiteY21" fmla="*/ 6091 h 10000"/>
                <a:gd name="connsiteX22" fmla="*/ 4918 w 10000"/>
                <a:gd name="connsiteY22" fmla="*/ 6091 h 10000"/>
                <a:gd name="connsiteX23" fmla="*/ 4918 w 10000"/>
                <a:gd name="connsiteY23" fmla="*/ 6091 h 10000"/>
                <a:gd name="connsiteX24" fmla="*/ 5410 w 10000"/>
                <a:gd name="connsiteY24" fmla="*/ 5727 h 10000"/>
                <a:gd name="connsiteX25" fmla="*/ 6230 w 10000"/>
                <a:gd name="connsiteY25" fmla="*/ 5000 h 10000"/>
                <a:gd name="connsiteX26" fmla="*/ 6230 w 10000"/>
                <a:gd name="connsiteY26" fmla="*/ 4909 h 10000"/>
                <a:gd name="connsiteX27" fmla="*/ 7213 w 10000"/>
                <a:gd name="connsiteY27" fmla="*/ 3909 h 10000"/>
                <a:gd name="connsiteX28" fmla="*/ 6885 w 10000"/>
                <a:gd name="connsiteY28" fmla="*/ 3818 h 10000"/>
                <a:gd name="connsiteX29" fmla="*/ 7213 w 10000"/>
                <a:gd name="connsiteY29" fmla="*/ 3455 h 10000"/>
                <a:gd name="connsiteX30" fmla="*/ 8033 w 10000"/>
                <a:gd name="connsiteY30" fmla="*/ 2818 h 10000"/>
                <a:gd name="connsiteX31" fmla="*/ 8033 w 10000"/>
                <a:gd name="connsiteY31" fmla="*/ 2727 h 10000"/>
                <a:gd name="connsiteX32" fmla="*/ 8852 w 10000"/>
                <a:gd name="connsiteY32" fmla="*/ 2182 h 10000"/>
                <a:gd name="connsiteX33" fmla="*/ 8852 w 10000"/>
                <a:gd name="connsiteY33" fmla="*/ 1636 h 10000"/>
                <a:gd name="connsiteX34" fmla="*/ 9016 w 10000"/>
                <a:gd name="connsiteY34" fmla="*/ 1636 h 10000"/>
                <a:gd name="connsiteX35" fmla="*/ 10000 w 10000"/>
                <a:gd name="connsiteY35" fmla="*/ 1091 h 10000"/>
                <a:gd name="connsiteX36" fmla="*/ 10000 w 10000"/>
                <a:gd name="connsiteY36" fmla="*/ 0 h 10000"/>
                <a:gd name="connsiteX37" fmla="*/ 9836 w 10000"/>
                <a:gd name="connsiteY37" fmla="*/ 0 h 10000"/>
                <a:gd name="connsiteX38" fmla="*/ 9836 w 10000"/>
                <a:gd name="connsiteY38" fmla="*/ 182 h 10000"/>
                <a:gd name="connsiteX39" fmla="*/ 164 w 10000"/>
                <a:gd name="connsiteY39" fmla="*/ 182 h 10000"/>
                <a:gd name="connsiteX40" fmla="*/ 0 w 10000"/>
                <a:gd name="connsiteY40" fmla="*/ 182 h 10000"/>
                <a:gd name="connsiteX41" fmla="*/ 0 w 10000"/>
                <a:gd name="connsiteY41" fmla="*/ 7909 h 10000"/>
                <a:gd name="connsiteX42" fmla="*/ 1148 w 10000"/>
                <a:gd name="connsiteY42" fmla="*/ 8909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0000" h="10000">
                  <a:moveTo>
                    <a:pt x="1148" y="8909"/>
                  </a:moveTo>
                  <a:lnTo>
                    <a:pt x="1148" y="8909"/>
                  </a:lnTo>
                  <a:cubicBezTo>
                    <a:pt x="984" y="9091"/>
                    <a:pt x="820" y="9455"/>
                    <a:pt x="656" y="9818"/>
                  </a:cubicBezTo>
                  <a:lnTo>
                    <a:pt x="656" y="10000"/>
                  </a:lnTo>
                  <a:lnTo>
                    <a:pt x="3770" y="10000"/>
                  </a:lnTo>
                  <a:lnTo>
                    <a:pt x="3770" y="9273"/>
                  </a:lnTo>
                  <a:lnTo>
                    <a:pt x="3934" y="9273"/>
                  </a:lnTo>
                  <a:cubicBezTo>
                    <a:pt x="4098" y="9182"/>
                    <a:pt x="4590" y="9000"/>
                    <a:pt x="4918" y="8636"/>
                  </a:cubicBezTo>
                  <a:lnTo>
                    <a:pt x="4918" y="8545"/>
                  </a:lnTo>
                  <a:lnTo>
                    <a:pt x="4918" y="8545"/>
                  </a:lnTo>
                  <a:lnTo>
                    <a:pt x="5082" y="8545"/>
                  </a:lnTo>
                  <a:lnTo>
                    <a:pt x="5082" y="8545"/>
                  </a:lnTo>
                  <a:lnTo>
                    <a:pt x="5082" y="8455"/>
                  </a:lnTo>
                  <a:cubicBezTo>
                    <a:pt x="5082" y="8455"/>
                    <a:pt x="5246" y="8273"/>
                    <a:pt x="5246" y="8182"/>
                  </a:cubicBezTo>
                  <a:cubicBezTo>
                    <a:pt x="5246" y="7909"/>
                    <a:pt x="5246" y="7818"/>
                    <a:pt x="5410" y="7727"/>
                  </a:cubicBezTo>
                  <a:lnTo>
                    <a:pt x="5410" y="7727"/>
                  </a:lnTo>
                  <a:lnTo>
                    <a:pt x="5410" y="7636"/>
                  </a:lnTo>
                  <a:lnTo>
                    <a:pt x="5410" y="7636"/>
                  </a:lnTo>
                  <a:lnTo>
                    <a:pt x="5410" y="7636"/>
                  </a:lnTo>
                  <a:lnTo>
                    <a:pt x="5410" y="7364"/>
                  </a:lnTo>
                  <a:lnTo>
                    <a:pt x="5410" y="6182"/>
                  </a:lnTo>
                  <a:cubicBezTo>
                    <a:pt x="5246" y="6182"/>
                    <a:pt x="5082" y="6182"/>
                    <a:pt x="5082" y="6091"/>
                  </a:cubicBezTo>
                  <a:lnTo>
                    <a:pt x="4918" y="6091"/>
                  </a:lnTo>
                  <a:lnTo>
                    <a:pt x="4918" y="6091"/>
                  </a:lnTo>
                  <a:cubicBezTo>
                    <a:pt x="4918" y="6000"/>
                    <a:pt x="5082" y="5909"/>
                    <a:pt x="5410" y="5727"/>
                  </a:cubicBezTo>
                  <a:cubicBezTo>
                    <a:pt x="6230" y="5364"/>
                    <a:pt x="6230" y="5000"/>
                    <a:pt x="6230" y="5000"/>
                  </a:cubicBezTo>
                  <a:lnTo>
                    <a:pt x="6230" y="4909"/>
                  </a:lnTo>
                  <a:lnTo>
                    <a:pt x="7213" y="3909"/>
                  </a:lnTo>
                  <a:cubicBezTo>
                    <a:pt x="7049" y="3909"/>
                    <a:pt x="6885" y="3909"/>
                    <a:pt x="6885" y="3818"/>
                  </a:cubicBezTo>
                  <a:cubicBezTo>
                    <a:pt x="6885" y="3727"/>
                    <a:pt x="6885" y="3636"/>
                    <a:pt x="7213" y="3455"/>
                  </a:cubicBezTo>
                  <a:cubicBezTo>
                    <a:pt x="7705" y="3182"/>
                    <a:pt x="8033" y="2909"/>
                    <a:pt x="8033" y="2818"/>
                  </a:cubicBezTo>
                  <a:lnTo>
                    <a:pt x="8033" y="2727"/>
                  </a:lnTo>
                  <a:lnTo>
                    <a:pt x="8852" y="2182"/>
                  </a:lnTo>
                  <a:lnTo>
                    <a:pt x="8852" y="1636"/>
                  </a:lnTo>
                  <a:lnTo>
                    <a:pt x="9016" y="1636"/>
                  </a:lnTo>
                  <a:cubicBezTo>
                    <a:pt x="9508" y="1455"/>
                    <a:pt x="10000" y="1273"/>
                    <a:pt x="10000" y="1091"/>
                  </a:cubicBezTo>
                  <a:lnTo>
                    <a:pt x="10000" y="0"/>
                  </a:lnTo>
                  <a:lnTo>
                    <a:pt x="9836" y="0"/>
                  </a:lnTo>
                  <a:lnTo>
                    <a:pt x="9836" y="182"/>
                  </a:lnTo>
                  <a:lnTo>
                    <a:pt x="164" y="182"/>
                  </a:lnTo>
                  <a:lnTo>
                    <a:pt x="0" y="182"/>
                  </a:lnTo>
                  <a:lnTo>
                    <a:pt x="0" y="7909"/>
                  </a:lnTo>
                  <a:lnTo>
                    <a:pt x="1148" y="8909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21" name="Utah">
              <a:extLst>
                <a:ext uri="{FF2B5EF4-FFF2-40B4-BE49-F238E27FC236}">
                  <a16:creationId xmlns:a16="http://schemas.microsoft.com/office/drawing/2014/main" id="{C8761EA9-9D1D-475E-9D6C-35F22B4BE99E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725286" y="2223394"/>
              <a:ext cx="779072" cy="966317"/>
            </a:xfrm>
            <a:custGeom>
              <a:avLst/>
              <a:gdLst>
                <a:gd name="T0" fmla="*/ 466 w 466"/>
                <a:gd name="T1" fmla="*/ 135 h 578"/>
                <a:gd name="T2" fmla="*/ 262 w 466"/>
                <a:gd name="T3" fmla="*/ 135 h 578"/>
                <a:gd name="T4" fmla="*/ 262 w 466"/>
                <a:gd name="T5" fmla="*/ 0 h 578"/>
                <a:gd name="T6" fmla="*/ 0 w 466"/>
                <a:gd name="T7" fmla="*/ 0 h 578"/>
                <a:gd name="T8" fmla="*/ 0 w 466"/>
                <a:gd name="T9" fmla="*/ 578 h 578"/>
                <a:gd name="T10" fmla="*/ 466 w 466"/>
                <a:gd name="T11" fmla="*/ 578 h 578"/>
                <a:gd name="T12" fmla="*/ 466 w 466"/>
                <a:gd name="T13" fmla="*/ 576 h 578"/>
                <a:gd name="T14" fmla="*/ 466 w 466"/>
                <a:gd name="T15" fmla="*/ 135 h 578"/>
                <a:gd name="T16" fmla="*/ 466 w 466"/>
                <a:gd name="T17" fmla="*/ 135 h 578"/>
                <a:gd name="T18" fmla="*/ 466 w 466"/>
                <a:gd name="T19" fmla="*/ 135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6" h="578">
                  <a:moveTo>
                    <a:pt x="466" y="135"/>
                  </a:moveTo>
                  <a:lnTo>
                    <a:pt x="262" y="135"/>
                  </a:lnTo>
                  <a:lnTo>
                    <a:pt x="262" y="0"/>
                  </a:lnTo>
                  <a:lnTo>
                    <a:pt x="0" y="0"/>
                  </a:lnTo>
                  <a:lnTo>
                    <a:pt x="0" y="578"/>
                  </a:lnTo>
                  <a:lnTo>
                    <a:pt x="466" y="578"/>
                  </a:lnTo>
                  <a:lnTo>
                    <a:pt x="466" y="576"/>
                  </a:lnTo>
                  <a:lnTo>
                    <a:pt x="466" y="135"/>
                  </a:lnTo>
                  <a:lnTo>
                    <a:pt x="466" y="135"/>
                  </a:lnTo>
                  <a:lnTo>
                    <a:pt x="466" y="135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22" name="Texas">
              <a:extLst>
                <a:ext uri="{FF2B5EF4-FFF2-40B4-BE49-F238E27FC236}">
                  <a16:creationId xmlns:a16="http://schemas.microsoft.com/office/drawing/2014/main" id="{D7F9B0DB-0C21-4156-9B3B-642DED4B50C1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867145" y="3348534"/>
              <a:ext cx="1997835" cy="2051333"/>
            </a:xfrm>
            <a:custGeom>
              <a:avLst/>
              <a:gdLst>
                <a:gd name="T0" fmla="*/ 492 w 505"/>
                <a:gd name="T1" fmla="*/ 336 h 518"/>
                <a:gd name="T2" fmla="*/ 491 w 505"/>
                <a:gd name="T3" fmla="*/ 335 h 518"/>
                <a:gd name="T4" fmla="*/ 495 w 505"/>
                <a:gd name="T5" fmla="*/ 332 h 518"/>
                <a:gd name="T6" fmla="*/ 498 w 505"/>
                <a:gd name="T7" fmla="*/ 328 h 518"/>
                <a:gd name="T8" fmla="*/ 500 w 505"/>
                <a:gd name="T9" fmla="*/ 323 h 518"/>
                <a:gd name="T10" fmla="*/ 501 w 505"/>
                <a:gd name="T11" fmla="*/ 322 h 518"/>
                <a:gd name="T12" fmla="*/ 502 w 505"/>
                <a:gd name="T13" fmla="*/ 315 h 518"/>
                <a:gd name="T14" fmla="*/ 502 w 505"/>
                <a:gd name="T15" fmla="*/ 309 h 518"/>
                <a:gd name="T16" fmla="*/ 502 w 505"/>
                <a:gd name="T17" fmla="*/ 284 h 518"/>
                <a:gd name="T18" fmla="*/ 498 w 505"/>
                <a:gd name="T19" fmla="*/ 276 h 518"/>
                <a:gd name="T20" fmla="*/ 487 w 505"/>
                <a:gd name="T21" fmla="*/ 266 h 518"/>
                <a:gd name="T22" fmla="*/ 482 w 505"/>
                <a:gd name="T23" fmla="*/ 209 h 518"/>
                <a:gd name="T24" fmla="*/ 473 w 505"/>
                <a:gd name="T25" fmla="*/ 139 h 518"/>
                <a:gd name="T26" fmla="*/ 456 w 505"/>
                <a:gd name="T27" fmla="*/ 139 h 518"/>
                <a:gd name="T28" fmla="*/ 454 w 505"/>
                <a:gd name="T29" fmla="*/ 139 h 518"/>
                <a:gd name="T30" fmla="*/ 444 w 505"/>
                <a:gd name="T31" fmla="*/ 133 h 518"/>
                <a:gd name="T32" fmla="*/ 428 w 505"/>
                <a:gd name="T33" fmla="*/ 129 h 518"/>
                <a:gd name="T34" fmla="*/ 412 w 505"/>
                <a:gd name="T35" fmla="*/ 131 h 518"/>
                <a:gd name="T36" fmla="*/ 407 w 505"/>
                <a:gd name="T37" fmla="*/ 134 h 518"/>
                <a:gd name="T38" fmla="*/ 398 w 505"/>
                <a:gd name="T39" fmla="*/ 137 h 518"/>
                <a:gd name="T40" fmla="*/ 343 w 505"/>
                <a:gd name="T41" fmla="*/ 127 h 518"/>
                <a:gd name="T42" fmla="*/ 333 w 505"/>
                <a:gd name="T43" fmla="*/ 127 h 518"/>
                <a:gd name="T44" fmla="*/ 325 w 505"/>
                <a:gd name="T45" fmla="*/ 120 h 518"/>
                <a:gd name="T46" fmla="*/ 304 w 505"/>
                <a:gd name="T47" fmla="*/ 109 h 518"/>
                <a:gd name="T48" fmla="*/ 293 w 505"/>
                <a:gd name="T49" fmla="*/ 108 h 518"/>
                <a:gd name="T50" fmla="*/ 291 w 505"/>
                <a:gd name="T51" fmla="*/ 109 h 518"/>
                <a:gd name="T52" fmla="*/ 276 w 505"/>
                <a:gd name="T53" fmla="*/ 104 h 518"/>
                <a:gd name="T54" fmla="*/ 253 w 505"/>
                <a:gd name="T55" fmla="*/ 89 h 518"/>
                <a:gd name="T56" fmla="*/ 136 w 505"/>
                <a:gd name="T57" fmla="*/ 256 h 518"/>
                <a:gd name="T58" fmla="*/ 0 w 505"/>
                <a:gd name="T59" fmla="*/ 257 h 518"/>
                <a:gd name="T60" fmla="*/ 22 w 505"/>
                <a:gd name="T61" fmla="*/ 272 h 518"/>
                <a:gd name="T62" fmla="*/ 73 w 505"/>
                <a:gd name="T63" fmla="*/ 342 h 518"/>
                <a:gd name="T64" fmla="*/ 151 w 505"/>
                <a:gd name="T65" fmla="*/ 346 h 518"/>
                <a:gd name="T66" fmla="*/ 198 w 505"/>
                <a:gd name="T67" fmla="*/ 346 h 518"/>
                <a:gd name="T68" fmla="*/ 252 w 505"/>
                <a:gd name="T69" fmla="*/ 420 h 518"/>
                <a:gd name="T70" fmla="*/ 279 w 505"/>
                <a:gd name="T71" fmla="*/ 475 h 518"/>
                <a:gd name="T72" fmla="*/ 315 w 505"/>
                <a:gd name="T73" fmla="*/ 502 h 518"/>
                <a:gd name="T74" fmla="*/ 358 w 505"/>
                <a:gd name="T75" fmla="*/ 518 h 518"/>
                <a:gd name="T76" fmla="*/ 361 w 505"/>
                <a:gd name="T77" fmla="*/ 502 h 518"/>
                <a:gd name="T78" fmla="*/ 358 w 505"/>
                <a:gd name="T79" fmla="*/ 471 h 518"/>
                <a:gd name="T80" fmla="*/ 354 w 505"/>
                <a:gd name="T81" fmla="*/ 459 h 518"/>
                <a:gd name="T82" fmla="*/ 365 w 505"/>
                <a:gd name="T83" fmla="*/ 444 h 518"/>
                <a:gd name="T84" fmla="*/ 373 w 505"/>
                <a:gd name="T85" fmla="*/ 428 h 518"/>
                <a:gd name="T86" fmla="*/ 369 w 505"/>
                <a:gd name="T87" fmla="*/ 424 h 518"/>
                <a:gd name="T88" fmla="*/ 385 w 505"/>
                <a:gd name="T89" fmla="*/ 413 h 518"/>
                <a:gd name="T90" fmla="*/ 397 w 505"/>
                <a:gd name="T91" fmla="*/ 405 h 518"/>
                <a:gd name="T92" fmla="*/ 397 w 505"/>
                <a:gd name="T93" fmla="*/ 397 h 518"/>
                <a:gd name="T94" fmla="*/ 404 w 505"/>
                <a:gd name="T95" fmla="*/ 397 h 518"/>
                <a:gd name="T96" fmla="*/ 412 w 505"/>
                <a:gd name="T97" fmla="*/ 401 h 518"/>
                <a:gd name="T98" fmla="*/ 404 w 505"/>
                <a:gd name="T99" fmla="*/ 409 h 518"/>
                <a:gd name="T100" fmla="*/ 451 w 505"/>
                <a:gd name="T101" fmla="*/ 374 h 518"/>
                <a:gd name="T102" fmla="*/ 455 w 505"/>
                <a:gd name="T103" fmla="*/ 346 h 518"/>
                <a:gd name="T104" fmla="*/ 463 w 505"/>
                <a:gd name="T105" fmla="*/ 358 h 518"/>
                <a:gd name="T106" fmla="*/ 479 w 505"/>
                <a:gd name="T107" fmla="*/ 350 h 518"/>
                <a:gd name="T108" fmla="*/ 483 w 505"/>
                <a:gd name="T109" fmla="*/ 341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05" h="518">
                  <a:moveTo>
                    <a:pt x="483" y="341"/>
                  </a:moveTo>
                  <a:cubicBezTo>
                    <a:pt x="488" y="340"/>
                    <a:pt x="491" y="338"/>
                    <a:pt x="492" y="336"/>
                  </a:cubicBezTo>
                  <a:cubicBezTo>
                    <a:pt x="492" y="336"/>
                    <a:pt x="492" y="336"/>
                    <a:pt x="492" y="336"/>
                  </a:cubicBezTo>
                  <a:cubicBezTo>
                    <a:pt x="492" y="336"/>
                    <a:pt x="492" y="336"/>
                    <a:pt x="492" y="336"/>
                  </a:cubicBezTo>
                  <a:cubicBezTo>
                    <a:pt x="492" y="336"/>
                    <a:pt x="492" y="336"/>
                    <a:pt x="492" y="336"/>
                  </a:cubicBezTo>
                  <a:cubicBezTo>
                    <a:pt x="491" y="335"/>
                    <a:pt x="491" y="335"/>
                    <a:pt x="491" y="335"/>
                  </a:cubicBezTo>
                  <a:cubicBezTo>
                    <a:pt x="493" y="334"/>
                    <a:pt x="493" y="334"/>
                    <a:pt x="493" y="334"/>
                  </a:cubicBezTo>
                  <a:cubicBezTo>
                    <a:pt x="494" y="333"/>
                    <a:pt x="494" y="332"/>
                    <a:pt x="494" y="332"/>
                  </a:cubicBezTo>
                  <a:cubicBezTo>
                    <a:pt x="495" y="332"/>
                    <a:pt x="495" y="332"/>
                    <a:pt x="495" y="332"/>
                  </a:cubicBezTo>
                  <a:cubicBezTo>
                    <a:pt x="495" y="332"/>
                    <a:pt x="495" y="332"/>
                    <a:pt x="495" y="332"/>
                  </a:cubicBezTo>
                  <a:cubicBezTo>
                    <a:pt x="495" y="332"/>
                    <a:pt x="496" y="331"/>
                    <a:pt x="497" y="329"/>
                  </a:cubicBezTo>
                  <a:cubicBezTo>
                    <a:pt x="497" y="328"/>
                    <a:pt x="498" y="328"/>
                    <a:pt x="498" y="328"/>
                  </a:cubicBezTo>
                  <a:cubicBezTo>
                    <a:pt x="499" y="327"/>
                    <a:pt x="499" y="327"/>
                    <a:pt x="499" y="327"/>
                  </a:cubicBezTo>
                  <a:cubicBezTo>
                    <a:pt x="499" y="327"/>
                    <a:pt x="499" y="327"/>
                    <a:pt x="499" y="327"/>
                  </a:cubicBezTo>
                  <a:cubicBezTo>
                    <a:pt x="500" y="323"/>
                    <a:pt x="500" y="323"/>
                    <a:pt x="500" y="323"/>
                  </a:cubicBezTo>
                  <a:cubicBezTo>
                    <a:pt x="500" y="323"/>
                    <a:pt x="500" y="323"/>
                    <a:pt x="500" y="323"/>
                  </a:cubicBezTo>
                  <a:cubicBezTo>
                    <a:pt x="501" y="323"/>
                    <a:pt x="501" y="323"/>
                    <a:pt x="501" y="323"/>
                  </a:cubicBezTo>
                  <a:cubicBezTo>
                    <a:pt x="501" y="322"/>
                    <a:pt x="501" y="322"/>
                    <a:pt x="501" y="322"/>
                  </a:cubicBezTo>
                  <a:cubicBezTo>
                    <a:pt x="501" y="322"/>
                    <a:pt x="501" y="322"/>
                    <a:pt x="501" y="322"/>
                  </a:cubicBezTo>
                  <a:cubicBezTo>
                    <a:pt x="501" y="322"/>
                    <a:pt x="501" y="320"/>
                    <a:pt x="502" y="318"/>
                  </a:cubicBezTo>
                  <a:cubicBezTo>
                    <a:pt x="502" y="317"/>
                    <a:pt x="502" y="316"/>
                    <a:pt x="502" y="315"/>
                  </a:cubicBezTo>
                  <a:cubicBezTo>
                    <a:pt x="502" y="314"/>
                    <a:pt x="502" y="314"/>
                    <a:pt x="502" y="314"/>
                  </a:cubicBezTo>
                  <a:cubicBezTo>
                    <a:pt x="502" y="314"/>
                    <a:pt x="502" y="314"/>
                    <a:pt x="502" y="314"/>
                  </a:cubicBezTo>
                  <a:cubicBezTo>
                    <a:pt x="502" y="314"/>
                    <a:pt x="502" y="312"/>
                    <a:pt x="502" y="309"/>
                  </a:cubicBezTo>
                  <a:cubicBezTo>
                    <a:pt x="502" y="298"/>
                    <a:pt x="502" y="298"/>
                    <a:pt x="502" y="298"/>
                  </a:cubicBezTo>
                  <a:cubicBezTo>
                    <a:pt x="502" y="295"/>
                    <a:pt x="503" y="293"/>
                    <a:pt x="504" y="291"/>
                  </a:cubicBezTo>
                  <a:cubicBezTo>
                    <a:pt x="505" y="289"/>
                    <a:pt x="505" y="288"/>
                    <a:pt x="502" y="284"/>
                  </a:cubicBezTo>
                  <a:cubicBezTo>
                    <a:pt x="498" y="277"/>
                    <a:pt x="498" y="277"/>
                    <a:pt x="498" y="277"/>
                  </a:cubicBezTo>
                  <a:cubicBezTo>
                    <a:pt x="498" y="276"/>
                    <a:pt x="498" y="276"/>
                    <a:pt x="498" y="276"/>
                  </a:cubicBezTo>
                  <a:cubicBezTo>
                    <a:pt x="498" y="276"/>
                    <a:pt x="498" y="276"/>
                    <a:pt x="498" y="276"/>
                  </a:cubicBezTo>
                  <a:cubicBezTo>
                    <a:pt x="498" y="275"/>
                    <a:pt x="497" y="274"/>
                    <a:pt x="493" y="271"/>
                  </a:cubicBezTo>
                  <a:cubicBezTo>
                    <a:pt x="487" y="266"/>
                    <a:pt x="487" y="266"/>
                    <a:pt x="487" y="266"/>
                  </a:cubicBezTo>
                  <a:cubicBezTo>
                    <a:pt x="487" y="266"/>
                    <a:pt x="487" y="266"/>
                    <a:pt x="487" y="266"/>
                  </a:cubicBezTo>
                  <a:cubicBezTo>
                    <a:pt x="486" y="265"/>
                    <a:pt x="486" y="263"/>
                    <a:pt x="486" y="260"/>
                  </a:cubicBezTo>
                  <a:cubicBezTo>
                    <a:pt x="486" y="226"/>
                    <a:pt x="486" y="226"/>
                    <a:pt x="486" y="226"/>
                  </a:cubicBezTo>
                  <a:cubicBezTo>
                    <a:pt x="482" y="209"/>
                    <a:pt x="482" y="209"/>
                    <a:pt x="482" y="209"/>
                  </a:cubicBezTo>
                  <a:cubicBezTo>
                    <a:pt x="482" y="173"/>
                    <a:pt x="482" y="173"/>
                    <a:pt x="482" y="173"/>
                  </a:cubicBezTo>
                  <a:cubicBezTo>
                    <a:pt x="482" y="142"/>
                    <a:pt x="482" y="142"/>
                    <a:pt x="482" y="142"/>
                  </a:cubicBezTo>
                  <a:cubicBezTo>
                    <a:pt x="473" y="139"/>
                    <a:pt x="473" y="139"/>
                    <a:pt x="473" y="139"/>
                  </a:cubicBezTo>
                  <a:cubicBezTo>
                    <a:pt x="461" y="139"/>
                    <a:pt x="461" y="139"/>
                    <a:pt x="461" y="139"/>
                  </a:cubicBezTo>
                  <a:cubicBezTo>
                    <a:pt x="459" y="137"/>
                    <a:pt x="459" y="137"/>
                    <a:pt x="459" y="137"/>
                  </a:cubicBezTo>
                  <a:cubicBezTo>
                    <a:pt x="456" y="139"/>
                    <a:pt x="456" y="139"/>
                    <a:pt x="456" y="139"/>
                  </a:cubicBezTo>
                  <a:cubicBezTo>
                    <a:pt x="455" y="139"/>
                    <a:pt x="455" y="139"/>
                    <a:pt x="455" y="139"/>
                  </a:cubicBezTo>
                  <a:cubicBezTo>
                    <a:pt x="454" y="139"/>
                    <a:pt x="454" y="139"/>
                    <a:pt x="454" y="139"/>
                  </a:cubicBezTo>
                  <a:cubicBezTo>
                    <a:pt x="454" y="139"/>
                    <a:pt x="454" y="139"/>
                    <a:pt x="454" y="139"/>
                  </a:cubicBezTo>
                  <a:cubicBezTo>
                    <a:pt x="452" y="138"/>
                    <a:pt x="452" y="136"/>
                    <a:pt x="452" y="135"/>
                  </a:cubicBezTo>
                  <a:cubicBezTo>
                    <a:pt x="444" y="134"/>
                    <a:pt x="444" y="134"/>
                    <a:pt x="444" y="134"/>
                  </a:cubicBezTo>
                  <a:cubicBezTo>
                    <a:pt x="444" y="133"/>
                    <a:pt x="444" y="133"/>
                    <a:pt x="444" y="133"/>
                  </a:cubicBezTo>
                  <a:cubicBezTo>
                    <a:pt x="443" y="132"/>
                    <a:pt x="440" y="128"/>
                    <a:pt x="436" y="126"/>
                  </a:cubicBezTo>
                  <a:cubicBezTo>
                    <a:pt x="435" y="126"/>
                    <a:pt x="434" y="126"/>
                    <a:pt x="434" y="126"/>
                  </a:cubicBezTo>
                  <a:cubicBezTo>
                    <a:pt x="431" y="126"/>
                    <a:pt x="428" y="128"/>
                    <a:pt x="428" y="129"/>
                  </a:cubicBezTo>
                  <a:cubicBezTo>
                    <a:pt x="427" y="130"/>
                    <a:pt x="427" y="130"/>
                    <a:pt x="427" y="130"/>
                  </a:cubicBezTo>
                  <a:cubicBezTo>
                    <a:pt x="415" y="131"/>
                    <a:pt x="415" y="131"/>
                    <a:pt x="415" y="131"/>
                  </a:cubicBezTo>
                  <a:cubicBezTo>
                    <a:pt x="412" y="131"/>
                    <a:pt x="412" y="131"/>
                    <a:pt x="412" y="131"/>
                  </a:cubicBezTo>
                  <a:cubicBezTo>
                    <a:pt x="411" y="131"/>
                    <a:pt x="409" y="132"/>
                    <a:pt x="408" y="133"/>
                  </a:cubicBezTo>
                  <a:cubicBezTo>
                    <a:pt x="408" y="133"/>
                    <a:pt x="408" y="133"/>
                    <a:pt x="408" y="133"/>
                  </a:cubicBezTo>
                  <a:cubicBezTo>
                    <a:pt x="407" y="134"/>
                    <a:pt x="407" y="134"/>
                    <a:pt x="407" y="134"/>
                  </a:cubicBezTo>
                  <a:cubicBezTo>
                    <a:pt x="407" y="134"/>
                    <a:pt x="404" y="135"/>
                    <a:pt x="402" y="137"/>
                  </a:cubicBezTo>
                  <a:cubicBezTo>
                    <a:pt x="402" y="138"/>
                    <a:pt x="401" y="139"/>
                    <a:pt x="400" y="139"/>
                  </a:cubicBezTo>
                  <a:cubicBezTo>
                    <a:pt x="399" y="138"/>
                    <a:pt x="398" y="138"/>
                    <a:pt x="398" y="137"/>
                  </a:cubicBezTo>
                  <a:cubicBezTo>
                    <a:pt x="382" y="137"/>
                    <a:pt x="382" y="137"/>
                    <a:pt x="382" y="137"/>
                  </a:cubicBezTo>
                  <a:cubicBezTo>
                    <a:pt x="382" y="127"/>
                    <a:pt x="382" y="127"/>
                    <a:pt x="382" y="127"/>
                  </a:cubicBezTo>
                  <a:cubicBezTo>
                    <a:pt x="343" y="127"/>
                    <a:pt x="343" y="127"/>
                    <a:pt x="343" y="127"/>
                  </a:cubicBezTo>
                  <a:cubicBezTo>
                    <a:pt x="343" y="123"/>
                    <a:pt x="343" y="123"/>
                    <a:pt x="343" y="123"/>
                  </a:cubicBezTo>
                  <a:cubicBezTo>
                    <a:pt x="338" y="121"/>
                    <a:pt x="338" y="121"/>
                    <a:pt x="338" y="121"/>
                  </a:cubicBezTo>
                  <a:cubicBezTo>
                    <a:pt x="333" y="127"/>
                    <a:pt x="333" y="127"/>
                    <a:pt x="333" y="127"/>
                  </a:cubicBezTo>
                  <a:cubicBezTo>
                    <a:pt x="329" y="127"/>
                    <a:pt x="329" y="127"/>
                    <a:pt x="329" y="127"/>
                  </a:cubicBezTo>
                  <a:cubicBezTo>
                    <a:pt x="325" y="123"/>
                    <a:pt x="325" y="123"/>
                    <a:pt x="325" y="123"/>
                  </a:cubicBezTo>
                  <a:cubicBezTo>
                    <a:pt x="325" y="120"/>
                    <a:pt x="325" y="120"/>
                    <a:pt x="325" y="120"/>
                  </a:cubicBezTo>
                  <a:cubicBezTo>
                    <a:pt x="321" y="115"/>
                    <a:pt x="321" y="115"/>
                    <a:pt x="321" y="115"/>
                  </a:cubicBezTo>
                  <a:cubicBezTo>
                    <a:pt x="314" y="110"/>
                    <a:pt x="314" y="110"/>
                    <a:pt x="314" y="110"/>
                  </a:cubicBezTo>
                  <a:cubicBezTo>
                    <a:pt x="304" y="109"/>
                    <a:pt x="304" y="109"/>
                    <a:pt x="304" y="109"/>
                  </a:cubicBezTo>
                  <a:cubicBezTo>
                    <a:pt x="303" y="109"/>
                    <a:pt x="301" y="110"/>
                    <a:pt x="299" y="110"/>
                  </a:cubicBezTo>
                  <a:cubicBezTo>
                    <a:pt x="298" y="110"/>
                    <a:pt x="297" y="110"/>
                    <a:pt x="295" y="109"/>
                  </a:cubicBezTo>
                  <a:cubicBezTo>
                    <a:pt x="294" y="109"/>
                    <a:pt x="293" y="108"/>
                    <a:pt x="293" y="108"/>
                  </a:cubicBezTo>
                  <a:cubicBezTo>
                    <a:pt x="292" y="108"/>
                    <a:pt x="292" y="108"/>
                    <a:pt x="292" y="109"/>
                  </a:cubicBezTo>
                  <a:cubicBezTo>
                    <a:pt x="292" y="109"/>
                    <a:pt x="292" y="109"/>
                    <a:pt x="292" y="109"/>
                  </a:cubicBezTo>
                  <a:cubicBezTo>
                    <a:pt x="291" y="109"/>
                    <a:pt x="291" y="109"/>
                    <a:pt x="291" y="109"/>
                  </a:cubicBezTo>
                  <a:cubicBezTo>
                    <a:pt x="283" y="109"/>
                    <a:pt x="283" y="109"/>
                    <a:pt x="283" y="109"/>
                  </a:cubicBezTo>
                  <a:cubicBezTo>
                    <a:pt x="280" y="109"/>
                    <a:pt x="277" y="105"/>
                    <a:pt x="276" y="104"/>
                  </a:cubicBezTo>
                  <a:cubicBezTo>
                    <a:pt x="276" y="104"/>
                    <a:pt x="276" y="104"/>
                    <a:pt x="276" y="104"/>
                  </a:cubicBezTo>
                  <a:cubicBezTo>
                    <a:pt x="276" y="97"/>
                    <a:pt x="276" y="97"/>
                    <a:pt x="276" y="97"/>
                  </a:cubicBezTo>
                  <a:cubicBezTo>
                    <a:pt x="257" y="97"/>
                    <a:pt x="257" y="97"/>
                    <a:pt x="257" y="97"/>
                  </a:cubicBezTo>
                  <a:cubicBezTo>
                    <a:pt x="253" y="89"/>
                    <a:pt x="253" y="89"/>
                    <a:pt x="253" y="89"/>
                  </a:cubicBezTo>
                  <a:cubicBezTo>
                    <a:pt x="253" y="0"/>
                    <a:pt x="253" y="0"/>
                    <a:pt x="253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256"/>
                    <a:pt x="136" y="256"/>
                    <a:pt x="136" y="256"/>
                  </a:cubicBezTo>
                  <a:cubicBezTo>
                    <a:pt x="1" y="256"/>
                    <a:pt x="1" y="256"/>
                    <a:pt x="1" y="256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10" y="260"/>
                    <a:pt x="10" y="260"/>
                    <a:pt x="10" y="260"/>
                  </a:cubicBezTo>
                  <a:cubicBezTo>
                    <a:pt x="14" y="268"/>
                    <a:pt x="14" y="268"/>
                    <a:pt x="14" y="268"/>
                  </a:cubicBezTo>
                  <a:cubicBezTo>
                    <a:pt x="22" y="272"/>
                    <a:pt x="22" y="272"/>
                    <a:pt x="22" y="272"/>
                  </a:cubicBezTo>
                  <a:cubicBezTo>
                    <a:pt x="30" y="284"/>
                    <a:pt x="30" y="284"/>
                    <a:pt x="30" y="284"/>
                  </a:cubicBezTo>
                  <a:cubicBezTo>
                    <a:pt x="61" y="307"/>
                    <a:pt x="61" y="307"/>
                    <a:pt x="61" y="307"/>
                  </a:cubicBezTo>
                  <a:cubicBezTo>
                    <a:pt x="73" y="342"/>
                    <a:pt x="73" y="342"/>
                    <a:pt x="73" y="342"/>
                  </a:cubicBezTo>
                  <a:cubicBezTo>
                    <a:pt x="112" y="381"/>
                    <a:pt x="112" y="381"/>
                    <a:pt x="112" y="381"/>
                  </a:cubicBezTo>
                  <a:cubicBezTo>
                    <a:pt x="131" y="381"/>
                    <a:pt x="131" y="381"/>
                    <a:pt x="131" y="381"/>
                  </a:cubicBezTo>
                  <a:cubicBezTo>
                    <a:pt x="151" y="346"/>
                    <a:pt x="151" y="346"/>
                    <a:pt x="151" y="346"/>
                  </a:cubicBezTo>
                  <a:cubicBezTo>
                    <a:pt x="155" y="346"/>
                    <a:pt x="155" y="346"/>
                    <a:pt x="155" y="346"/>
                  </a:cubicBezTo>
                  <a:cubicBezTo>
                    <a:pt x="162" y="346"/>
                    <a:pt x="162" y="346"/>
                    <a:pt x="162" y="346"/>
                  </a:cubicBezTo>
                  <a:cubicBezTo>
                    <a:pt x="198" y="346"/>
                    <a:pt x="198" y="346"/>
                    <a:pt x="198" y="346"/>
                  </a:cubicBezTo>
                  <a:cubicBezTo>
                    <a:pt x="225" y="378"/>
                    <a:pt x="225" y="378"/>
                    <a:pt x="225" y="378"/>
                  </a:cubicBezTo>
                  <a:cubicBezTo>
                    <a:pt x="240" y="409"/>
                    <a:pt x="240" y="409"/>
                    <a:pt x="240" y="409"/>
                  </a:cubicBezTo>
                  <a:cubicBezTo>
                    <a:pt x="252" y="420"/>
                    <a:pt x="252" y="420"/>
                    <a:pt x="252" y="420"/>
                  </a:cubicBezTo>
                  <a:cubicBezTo>
                    <a:pt x="256" y="436"/>
                    <a:pt x="256" y="436"/>
                    <a:pt x="256" y="436"/>
                  </a:cubicBezTo>
                  <a:cubicBezTo>
                    <a:pt x="268" y="444"/>
                    <a:pt x="268" y="444"/>
                    <a:pt x="268" y="444"/>
                  </a:cubicBezTo>
                  <a:cubicBezTo>
                    <a:pt x="279" y="475"/>
                    <a:pt x="279" y="475"/>
                    <a:pt x="279" y="475"/>
                  </a:cubicBezTo>
                  <a:cubicBezTo>
                    <a:pt x="291" y="495"/>
                    <a:pt x="291" y="495"/>
                    <a:pt x="291" y="495"/>
                  </a:cubicBezTo>
                  <a:cubicBezTo>
                    <a:pt x="303" y="502"/>
                    <a:pt x="303" y="502"/>
                    <a:pt x="303" y="502"/>
                  </a:cubicBezTo>
                  <a:cubicBezTo>
                    <a:pt x="315" y="502"/>
                    <a:pt x="315" y="502"/>
                    <a:pt x="315" y="502"/>
                  </a:cubicBezTo>
                  <a:cubicBezTo>
                    <a:pt x="322" y="510"/>
                    <a:pt x="322" y="510"/>
                    <a:pt x="322" y="510"/>
                  </a:cubicBezTo>
                  <a:cubicBezTo>
                    <a:pt x="342" y="510"/>
                    <a:pt x="342" y="510"/>
                    <a:pt x="342" y="510"/>
                  </a:cubicBezTo>
                  <a:cubicBezTo>
                    <a:pt x="358" y="518"/>
                    <a:pt x="358" y="518"/>
                    <a:pt x="358" y="518"/>
                  </a:cubicBezTo>
                  <a:cubicBezTo>
                    <a:pt x="369" y="518"/>
                    <a:pt x="369" y="518"/>
                    <a:pt x="369" y="518"/>
                  </a:cubicBezTo>
                  <a:cubicBezTo>
                    <a:pt x="365" y="514"/>
                    <a:pt x="365" y="514"/>
                    <a:pt x="365" y="514"/>
                  </a:cubicBezTo>
                  <a:cubicBezTo>
                    <a:pt x="361" y="502"/>
                    <a:pt x="361" y="502"/>
                    <a:pt x="361" y="502"/>
                  </a:cubicBezTo>
                  <a:cubicBezTo>
                    <a:pt x="361" y="499"/>
                    <a:pt x="361" y="499"/>
                    <a:pt x="361" y="499"/>
                  </a:cubicBezTo>
                  <a:cubicBezTo>
                    <a:pt x="354" y="475"/>
                    <a:pt x="354" y="475"/>
                    <a:pt x="354" y="475"/>
                  </a:cubicBezTo>
                  <a:cubicBezTo>
                    <a:pt x="358" y="471"/>
                    <a:pt x="358" y="471"/>
                    <a:pt x="358" y="471"/>
                  </a:cubicBezTo>
                  <a:cubicBezTo>
                    <a:pt x="358" y="463"/>
                    <a:pt x="358" y="463"/>
                    <a:pt x="358" y="463"/>
                  </a:cubicBezTo>
                  <a:cubicBezTo>
                    <a:pt x="354" y="463"/>
                    <a:pt x="354" y="463"/>
                    <a:pt x="354" y="463"/>
                  </a:cubicBezTo>
                  <a:cubicBezTo>
                    <a:pt x="354" y="459"/>
                    <a:pt x="354" y="459"/>
                    <a:pt x="354" y="459"/>
                  </a:cubicBezTo>
                  <a:cubicBezTo>
                    <a:pt x="358" y="459"/>
                    <a:pt x="358" y="459"/>
                    <a:pt x="358" y="459"/>
                  </a:cubicBezTo>
                  <a:cubicBezTo>
                    <a:pt x="361" y="459"/>
                    <a:pt x="361" y="459"/>
                    <a:pt x="361" y="459"/>
                  </a:cubicBezTo>
                  <a:cubicBezTo>
                    <a:pt x="365" y="444"/>
                    <a:pt x="365" y="444"/>
                    <a:pt x="365" y="444"/>
                  </a:cubicBezTo>
                  <a:cubicBezTo>
                    <a:pt x="361" y="436"/>
                    <a:pt x="361" y="436"/>
                    <a:pt x="361" y="436"/>
                  </a:cubicBezTo>
                  <a:cubicBezTo>
                    <a:pt x="369" y="436"/>
                    <a:pt x="369" y="436"/>
                    <a:pt x="369" y="436"/>
                  </a:cubicBezTo>
                  <a:cubicBezTo>
                    <a:pt x="373" y="428"/>
                    <a:pt x="373" y="428"/>
                    <a:pt x="373" y="428"/>
                  </a:cubicBezTo>
                  <a:cubicBezTo>
                    <a:pt x="373" y="424"/>
                    <a:pt x="373" y="424"/>
                    <a:pt x="373" y="424"/>
                  </a:cubicBezTo>
                  <a:cubicBezTo>
                    <a:pt x="369" y="428"/>
                    <a:pt x="369" y="428"/>
                    <a:pt x="369" y="428"/>
                  </a:cubicBezTo>
                  <a:cubicBezTo>
                    <a:pt x="369" y="424"/>
                    <a:pt x="369" y="424"/>
                    <a:pt x="369" y="424"/>
                  </a:cubicBezTo>
                  <a:cubicBezTo>
                    <a:pt x="377" y="420"/>
                    <a:pt x="377" y="420"/>
                    <a:pt x="377" y="420"/>
                  </a:cubicBezTo>
                  <a:cubicBezTo>
                    <a:pt x="385" y="417"/>
                    <a:pt x="385" y="417"/>
                    <a:pt x="385" y="417"/>
                  </a:cubicBezTo>
                  <a:cubicBezTo>
                    <a:pt x="385" y="413"/>
                    <a:pt x="385" y="413"/>
                    <a:pt x="385" y="413"/>
                  </a:cubicBezTo>
                  <a:cubicBezTo>
                    <a:pt x="393" y="413"/>
                    <a:pt x="393" y="413"/>
                    <a:pt x="393" y="413"/>
                  </a:cubicBezTo>
                  <a:cubicBezTo>
                    <a:pt x="397" y="409"/>
                    <a:pt x="397" y="409"/>
                    <a:pt x="397" y="409"/>
                  </a:cubicBezTo>
                  <a:cubicBezTo>
                    <a:pt x="397" y="405"/>
                    <a:pt x="397" y="405"/>
                    <a:pt x="397" y="405"/>
                  </a:cubicBezTo>
                  <a:cubicBezTo>
                    <a:pt x="393" y="401"/>
                    <a:pt x="393" y="401"/>
                    <a:pt x="393" y="401"/>
                  </a:cubicBezTo>
                  <a:cubicBezTo>
                    <a:pt x="393" y="397"/>
                    <a:pt x="393" y="397"/>
                    <a:pt x="393" y="397"/>
                  </a:cubicBezTo>
                  <a:cubicBezTo>
                    <a:pt x="397" y="397"/>
                    <a:pt x="397" y="397"/>
                    <a:pt x="397" y="397"/>
                  </a:cubicBezTo>
                  <a:cubicBezTo>
                    <a:pt x="400" y="401"/>
                    <a:pt x="400" y="401"/>
                    <a:pt x="400" y="401"/>
                  </a:cubicBezTo>
                  <a:cubicBezTo>
                    <a:pt x="400" y="397"/>
                    <a:pt x="400" y="397"/>
                    <a:pt x="400" y="397"/>
                  </a:cubicBezTo>
                  <a:cubicBezTo>
                    <a:pt x="404" y="397"/>
                    <a:pt x="404" y="397"/>
                    <a:pt x="404" y="397"/>
                  </a:cubicBezTo>
                  <a:cubicBezTo>
                    <a:pt x="408" y="397"/>
                    <a:pt x="408" y="397"/>
                    <a:pt x="408" y="397"/>
                  </a:cubicBezTo>
                  <a:cubicBezTo>
                    <a:pt x="408" y="393"/>
                    <a:pt x="408" y="393"/>
                    <a:pt x="408" y="393"/>
                  </a:cubicBezTo>
                  <a:cubicBezTo>
                    <a:pt x="412" y="401"/>
                    <a:pt x="412" y="401"/>
                    <a:pt x="412" y="401"/>
                  </a:cubicBezTo>
                  <a:cubicBezTo>
                    <a:pt x="424" y="397"/>
                    <a:pt x="424" y="397"/>
                    <a:pt x="424" y="397"/>
                  </a:cubicBezTo>
                  <a:cubicBezTo>
                    <a:pt x="408" y="405"/>
                    <a:pt x="408" y="405"/>
                    <a:pt x="408" y="405"/>
                  </a:cubicBezTo>
                  <a:cubicBezTo>
                    <a:pt x="404" y="409"/>
                    <a:pt x="404" y="409"/>
                    <a:pt x="404" y="409"/>
                  </a:cubicBezTo>
                  <a:cubicBezTo>
                    <a:pt x="408" y="409"/>
                    <a:pt x="408" y="409"/>
                    <a:pt x="408" y="409"/>
                  </a:cubicBezTo>
                  <a:cubicBezTo>
                    <a:pt x="443" y="385"/>
                    <a:pt x="443" y="385"/>
                    <a:pt x="443" y="385"/>
                  </a:cubicBezTo>
                  <a:cubicBezTo>
                    <a:pt x="451" y="374"/>
                    <a:pt x="451" y="374"/>
                    <a:pt x="451" y="374"/>
                  </a:cubicBezTo>
                  <a:cubicBezTo>
                    <a:pt x="451" y="350"/>
                    <a:pt x="451" y="350"/>
                    <a:pt x="451" y="350"/>
                  </a:cubicBezTo>
                  <a:cubicBezTo>
                    <a:pt x="451" y="346"/>
                    <a:pt x="451" y="346"/>
                    <a:pt x="451" y="346"/>
                  </a:cubicBezTo>
                  <a:cubicBezTo>
                    <a:pt x="455" y="346"/>
                    <a:pt x="455" y="346"/>
                    <a:pt x="455" y="346"/>
                  </a:cubicBezTo>
                  <a:cubicBezTo>
                    <a:pt x="455" y="354"/>
                    <a:pt x="455" y="354"/>
                    <a:pt x="455" y="354"/>
                  </a:cubicBezTo>
                  <a:cubicBezTo>
                    <a:pt x="463" y="354"/>
                    <a:pt x="463" y="354"/>
                    <a:pt x="463" y="354"/>
                  </a:cubicBezTo>
                  <a:cubicBezTo>
                    <a:pt x="463" y="358"/>
                    <a:pt x="463" y="358"/>
                    <a:pt x="463" y="358"/>
                  </a:cubicBezTo>
                  <a:cubicBezTo>
                    <a:pt x="455" y="358"/>
                    <a:pt x="455" y="358"/>
                    <a:pt x="455" y="358"/>
                  </a:cubicBezTo>
                  <a:cubicBezTo>
                    <a:pt x="459" y="362"/>
                    <a:pt x="459" y="362"/>
                    <a:pt x="459" y="362"/>
                  </a:cubicBezTo>
                  <a:cubicBezTo>
                    <a:pt x="479" y="350"/>
                    <a:pt x="479" y="350"/>
                    <a:pt x="479" y="350"/>
                  </a:cubicBezTo>
                  <a:cubicBezTo>
                    <a:pt x="482" y="350"/>
                    <a:pt x="482" y="350"/>
                    <a:pt x="482" y="350"/>
                  </a:cubicBezTo>
                  <a:cubicBezTo>
                    <a:pt x="482" y="341"/>
                    <a:pt x="482" y="341"/>
                    <a:pt x="482" y="341"/>
                  </a:cubicBezTo>
                  <a:lnTo>
                    <a:pt x="483" y="341"/>
                  </a:lnTo>
                  <a:close/>
                </a:path>
              </a:pathLst>
            </a:cu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23" name="Tennessee">
              <a:extLst>
                <a:ext uri="{FF2B5EF4-FFF2-40B4-BE49-F238E27FC236}">
                  <a16:creationId xmlns:a16="http://schemas.microsoft.com/office/drawing/2014/main" id="{28735CCD-4DB8-4418-A760-4BD3404B2166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311358" y="3328472"/>
              <a:ext cx="1329104" cy="309288"/>
            </a:xfrm>
            <a:custGeom>
              <a:avLst/>
              <a:gdLst>
                <a:gd name="T0" fmla="*/ 302 w 336"/>
                <a:gd name="T1" fmla="*/ 0 h 78"/>
                <a:gd name="T2" fmla="*/ 94 w 336"/>
                <a:gd name="T3" fmla="*/ 0 h 78"/>
                <a:gd name="T4" fmla="*/ 94 w 336"/>
                <a:gd name="T5" fmla="*/ 13 h 78"/>
                <a:gd name="T6" fmla="*/ 38 w 336"/>
                <a:gd name="T7" fmla="*/ 13 h 78"/>
                <a:gd name="T8" fmla="*/ 38 w 336"/>
                <a:gd name="T9" fmla="*/ 12 h 78"/>
                <a:gd name="T10" fmla="*/ 38 w 336"/>
                <a:gd name="T11" fmla="*/ 12 h 78"/>
                <a:gd name="T12" fmla="*/ 33 w 336"/>
                <a:gd name="T13" fmla="*/ 21 h 78"/>
                <a:gd name="T14" fmla="*/ 33 w 336"/>
                <a:gd name="T15" fmla="*/ 21 h 78"/>
                <a:gd name="T16" fmla="*/ 33 w 336"/>
                <a:gd name="T17" fmla="*/ 21 h 78"/>
                <a:gd name="T18" fmla="*/ 30 w 336"/>
                <a:gd name="T19" fmla="*/ 24 h 78"/>
                <a:gd name="T20" fmla="*/ 29 w 336"/>
                <a:gd name="T21" fmla="*/ 26 h 78"/>
                <a:gd name="T22" fmla="*/ 26 w 336"/>
                <a:gd name="T23" fmla="*/ 28 h 78"/>
                <a:gd name="T24" fmla="*/ 26 w 336"/>
                <a:gd name="T25" fmla="*/ 29 h 78"/>
                <a:gd name="T26" fmla="*/ 26 w 336"/>
                <a:gd name="T27" fmla="*/ 33 h 78"/>
                <a:gd name="T28" fmla="*/ 24 w 336"/>
                <a:gd name="T29" fmla="*/ 37 h 78"/>
                <a:gd name="T30" fmla="*/ 23 w 336"/>
                <a:gd name="T31" fmla="*/ 39 h 78"/>
                <a:gd name="T32" fmla="*/ 23 w 336"/>
                <a:gd name="T33" fmla="*/ 40 h 78"/>
                <a:gd name="T34" fmla="*/ 23 w 336"/>
                <a:gd name="T35" fmla="*/ 42 h 78"/>
                <a:gd name="T36" fmla="*/ 23 w 336"/>
                <a:gd name="T37" fmla="*/ 44 h 78"/>
                <a:gd name="T38" fmla="*/ 20 w 336"/>
                <a:gd name="T39" fmla="*/ 44 h 78"/>
                <a:gd name="T40" fmla="*/ 22 w 336"/>
                <a:gd name="T41" fmla="*/ 46 h 78"/>
                <a:gd name="T42" fmla="*/ 17 w 336"/>
                <a:gd name="T43" fmla="*/ 50 h 78"/>
                <a:gd name="T44" fmla="*/ 14 w 336"/>
                <a:gd name="T45" fmla="*/ 58 h 78"/>
                <a:gd name="T46" fmla="*/ 6 w 336"/>
                <a:gd name="T47" fmla="*/ 64 h 78"/>
                <a:gd name="T48" fmla="*/ 6 w 336"/>
                <a:gd name="T49" fmla="*/ 70 h 78"/>
                <a:gd name="T50" fmla="*/ 2 w 336"/>
                <a:gd name="T51" fmla="*/ 74 h 78"/>
                <a:gd name="T52" fmla="*/ 0 w 336"/>
                <a:gd name="T53" fmla="*/ 78 h 78"/>
                <a:gd name="T54" fmla="*/ 0 w 336"/>
                <a:gd name="T55" fmla="*/ 78 h 78"/>
                <a:gd name="T56" fmla="*/ 94 w 336"/>
                <a:gd name="T57" fmla="*/ 78 h 78"/>
                <a:gd name="T58" fmla="*/ 189 w 336"/>
                <a:gd name="T59" fmla="*/ 78 h 78"/>
                <a:gd name="T60" fmla="*/ 230 w 336"/>
                <a:gd name="T61" fmla="*/ 78 h 78"/>
                <a:gd name="T62" fmla="*/ 230 w 336"/>
                <a:gd name="T63" fmla="*/ 78 h 78"/>
                <a:gd name="T64" fmla="*/ 230 w 336"/>
                <a:gd name="T65" fmla="*/ 75 h 78"/>
                <a:gd name="T66" fmla="*/ 230 w 336"/>
                <a:gd name="T67" fmla="*/ 73 h 78"/>
                <a:gd name="T68" fmla="*/ 231 w 336"/>
                <a:gd name="T69" fmla="*/ 72 h 78"/>
                <a:gd name="T70" fmla="*/ 233 w 336"/>
                <a:gd name="T71" fmla="*/ 70 h 78"/>
                <a:gd name="T72" fmla="*/ 233 w 336"/>
                <a:gd name="T73" fmla="*/ 70 h 78"/>
                <a:gd name="T74" fmla="*/ 237 w 336"/>
                <a:gd name="T75" fmla="*/ 65 h 78"/>
                <a:gd name="T76" fmla="*/ 245 w 336"/>
                <a:gd name="T77" fmla="*/ 61 h 78"/>
                <a:gd name="T78" fmla="*/ 249 w 336"/>
                <a:gd name="T79" fmla="*/ 58 h 78"/>
                <a:gd name="T80" fmla="*/ 257 w 336"/>
                <a:gd name="T81" fmla="*/ 58 h 78"/>
                <a:gd name="T82" fmla="*/ 261 w 336"/>
                <a:gd name="T83" fmla="*/ 52 h 78"/>
                <a:gd name="T84" fmla="*/ 269 w 336"/>
                <a:gd name="T85" fmla="*/ 48 h 78"/>
                <a:gd name="T86" fmla="*/ 272 w 336"/>
                <a:gd name="T87" fmla="*/ 48 h 78"/>
                <a:gd name="T88" fmla="*/ 276 w 336"/>
                <a:gd name="T89" fmla="*/ 45 h 78"/>
                <a:gd name="T90" fmla="*/ 280 w 336"/>
                <a:gd name="T91" fmla="*/ 45 h 78"/>
                <a:gd name="T92" fmla="*/ 280 w 336"/>
                <a:gd name="T93" fmla="*/ 41 h 78"/>
                <a:gd name="T94" fmla="*/ 296 w 336"/>
                <a:gd name="T95" fmla="*/ 34 h 78"/>
                <a:gd name="T96" fmla="*/ 314 w 336"/>
                <a:gd name="T97" fmla="*/ 34 h 78"/>
                <a:gd name="T98" fmla="*/ 324 w 336"/>
                <a:gd name="T99" fmla="*/ 29 h 78"/>
                <a:gd name="T100" fmla="*/ 324 w 336"/>
                <a:gd name="T101" fmla="*/ 28 h 78"/>
                <a:gd name="T102" fmla="*/ 325 w 336"/>
                <a:gd name="T103" fmla="*/ 25 h 78"/>
                <a:gd name="T104" fmla="*/ 327 w 336"/>
                <a:gd name="T105" fmla="*/ 22 h 78"/>
                <a:gd name="T106" fmla="*/ 333 w 336"/>
                <a:gd name="T107" fmla="*/ 22 h 78"/>
                <a:gd name="T108" fmla="*/ 336 w 336"/>
                <a:gd name="T109" fmla="*/ 15 h 78"/>
                <a:gd name="T110" fmla="*/ 336 w 336"/>
                <a:gd name="T111" fmla="*/ 0 h 78"/>
                <a:gd name="T112" fmla="*/ 336 w 336"/>
                <a:gd name="T113" fmla="*/ 0 h 78"/>
                <a:gd name="T114" fmla="*/ 336 w 336"/>
                <a:gd name="T115" fmla="*/ 0 h 78"/>
                <a:gd name="T116" fmla="*/ 303 w 336"/>
                <a:gd name="T117" fmla="*/ 0 h 78"/>
                <a:gd name="T118" fmla="*/ 303 w 336"/>
                <a:gd name="T119" fmla="*/ 0 h 78"/>
                <a:gd name="T120" fmla="*/ 302 w 336"/>
                <a:gd name="T12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36" h="78">
                  <a:moveTo>
                    <a:pt x="302" y="0"/>
                  </a:moveTo>
                  <a:cubicBezTo>
                    <a:pt x="94" y="0"/>
                    <a:pt x="94" y="0"/>
                    <a:pt x="94" y="0"/>
                  </a:cubicBezTo>
                  <a:cubicBezTo>
                    <a:pt x="94" y="13"/>
                    <a:pt x="94" y="13"/>
                    <a:pt x="94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2" y="22"/>
                    <a:pt x="31" y="23"/>
                    <a:pt x="30" y="24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8" y="27"/>
                    <a:pt x="26" y="28"/>
                    <a:pt x="26" y="28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1"/>
                    <a:pt x="23" y="42"/>
                  </a:cubicBezTo>
                  <a:cubicBezTo>
                    <a:pt x="23" y="43"/>
                    <a:pt x="23" y="43"/>
                    <a:pt x="23" y="44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6"/>
                    <a:pt x="22" y="46"/>
                    <a:pt x="22" y="46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2" y="74"/>
                    <a:pt x="2" y="74"/>
                    <a:pt x="2" y="74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189" y="78"/>
                    <a:pt x="189" y="78"/>
                    <a:pt x="189" y="78"/>
                  </a:cubicBezTo>
                  <a:cubicBezTo>
                    <a:pt x="230" y="78"/>
                    <a:pt x="230" y="78"/>
                    <a:pt x="230" y="78"/>
                  </a:cubicBezTo>
                  <a:cubicBezTo>
                    <a:pt x="230" y="78"/>
                    <a:pt x="230" y="78"/>
                    <a:pt x="230" y="78"/>
                  </a:cubicBezTo>
                  <a:cubicBezTo>
                    <a:pt x="230" y="75"/>
                    <a:pt x="230" y="75"/>
                    <a:pt x="230" y="75"/>
                  </a:cubicBezTo>
                  <a:cubicBezTo>
                    <a:pt x="230" y="74"/>
                    <a:pt x="230" y="73"/>
                    <a:pt x="230" y="73"/>
                  </a:cubicBezTo>
                  <a:cubicBezTo>
                    <a:pt x="230" y="73"/>
                    <a:pt x="230" y="73"/>
                    <a:pt x="231" y="72"/>
                  </a:cubicBezTo>
                  <a:cubicBezTo>
                    <a:pt x="233" y="70"/>
                    <a:pt x="233" y="70"/>
                    <a:pt x="233" y="70"/>
                  </a:cubicBezTo>
                  <a:cubicBezTo>
                    <a:pt x="233" y="70"/>
                    <a:pt x="233" y="70"/>
                    <a:pt x="233" y="70"/>
                  </a:cubicBezTo>
                  <a:cubicBezTo>
                    <a:pt x="234" y="68"/>
                    <a:pt x="235" y="65"/>
                    <a:pt x="237" y="65"/>
                  </a:cubicBezTo>
                  <a:cubicBezTo>
                    <a:pt x="239" y="65"/>
                    <a:pt x="245" y="61"/>
                    <a:pt x="245" y="61"/>
                  </a:cubicBezTo>
                  <a:cubicBezTo>
                    <a:pt x="249" y="58"/>
                    <a:pt x="249" y="58"/>
                    <a:pt x="249" y="58"/>
                  </a:cubicBezTo>
                  <a:cubicBezTo>
                    <a:pt x="257" y="58"/>
                    <a:pt x="257" y="58"/>
                    <a:pt x="257" y="58"/>
                  </a:cubicBezTo>
                  <a:cubicBezTo>
                    <a:pt x="261" y="52"/>
                    <a:pt x="261" y="52"/>
                    <a:pt x="261" y="52"/>
                  </a:cubicBezTo>
                  <a:cubicBezTo>
                    <a:pt x="269" y="48"/>
                    <a:pt x="269" y="48"/>
                    <a:pt x="269" y="48"/>
                  </a:cubicBezTo>
                  <a:cubicBezTo>
                    <a:pt x="272" y="48"/>
                    <a:pt x="272" y="48"/>
                    <a:pt x="272" y="48"/>
                  </a:cubicBezTo>
                  <a:cubicBezTo>
                    <a:pt x="276" y="45"/>
                    <a:pt x="276" y="45"/>
                    <a:pt x="276" y="45"/>
                  </a:cubicBezTo>
                  <a:cubicBezTo>
                    <a:pt x="280" y="45"/>
                    <a:pt x="280" y="45"/>
                    <a:pt x="280" y="45"/>
                  </a:cubicBezTo>
                  <a:cubicBezTo>
                    <a:pt x="280" y="41"/>
                    <a:pt x="280" y="41"/>
                    <a:pt x="280" y="41"/>
                  </a:cubicBezTo>
                  <a:cubicBezTo>
                    <a:pt x="296" y="34"/>
                    <a:pt x="296" y="34"/>
                    <a:pt x="296" y="34"/>
                  </a:cubicBezTo>
                  <a:cubicBezTo>
                    <a:pt x="314" y="34"/>
                    <a:pt x="314" y="34"/>
                    <a:pt x="314" y="34"/>
                  </a:cubicBezTo>
                  <a:cubicBezTo>
                    <a:pt x="324" y="29"/>
                    <a:pt x="324" y="29"/>
                    <a:pt x="324" y="29"/>
                  </a:cubicBezTo>
                  <a:cubicBezTo>
                    <a:pt x="324" y="28"/>
                    <a:pt x="324" y="28"/>
                    <a:pt x="324" y="28"/>
                  </a:cubicBezTo>
                  <a:cubicBezTo>
                    <a:pt x="324" y="27"/>
                    <a:pt x="324" y="26"/>
                    <a:pt x="325" y="25"/>
                  </a:cubicBezTo>
                  <a:cubicBezTo>
                    <a:pt x="327" y="22"/>
                    <a:pt x="327" y="22"/>
                    <a:pt x="327" y="22"/>
                  </a:cubicBezTo>
                  <a:cubicBezTo>
                    <a:pt x="333" y="22"/>
                    <a:pt x="333" y="22"/>
                    <a:pt x="333" y="22"/>
                  </a:cubicBezTo>
                  <a:cubicBezTo>
                    <a:pt x="336" y="15"/>
                    <a:pt x="336" y="15"/>
                    <a:pt x="336" y="15"/>
                  </a:cubicBezTo>
                  <a:cubicBezTo>
                    <a:pt x="336" y="0"/>
                    <a:pt x="336" y="0"/>
                    <a:pt x="336" y="0"/>
                  </a:cubicBezTo>
                  <a:cubicBezTo>
                    <a:pt x="336" y="0"/>
                    <a:pt x="336" y="0"/>
                    <a:pt x="336" y="0"/>
                  </a:cubicBezTo>
                  <a:cubicBezTo>
                    <a:pt x="336" y="0"/>
                    <a:pt x="336" y="0"/>
                    <a:pt x="336" y="0"/>
                  </a:cubicBezTo>
                  <a:cubicBezTo>
                    <a:pt x="303" y="0"/>
                    <a:pt x="303" y="0"/>
                    <a:pt x="303" y="0"/>
                  </a:cubicBezTo>
                  <a:cubicBezTo>
                    <a:pt x="303" y="0"/>
                    <a:pt x="303" y="0"/>
                    <a:pt x="303" y="0"/>
                  </a:cubicBezTo>
                  <a:lnTo>
                    <a:pt x="302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24" name="South Dakota">
              <a:extLst>
                <a:ext uri="{FF2B5EF4-FFF2-40B4-BE49-F238E27FC236}">
                  <a16:creationId xmlns:a16="http://schemas.microsoft.com/office/drawing/2014/main" id="{E8ECF01E-D4B4-4030-83AE-9C3BDB01E697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239963" y="1494477"/>
              <a:ext cx="1185327" cy="638638"/>
            </a:xfrm>
            <a:custGeom>
              <a:avLst/>
              <a:gdLst>
                <a:gd name="T0" fmla="*/ 0 w 709"/>
                <a:gd name="T1" fmla="*/ 322 h 382"/>
                <a:gd name="T2" fmla="*/ 492 w 709"/>
                <a:gd name="T3" fmla="*/ 322 h 382"/>
                <a:gd name="T4" fmla="*/ 525 w 709"/>
                <a:gd name="T5" fmla="*/ 349 h 382"/>
                <a:gd name="T6" fmla="*/ 622 w 709"/>
                <a:gd name="T7" fmla="*/ 349 h 382"/>
                <a:gd name="T8" fmla="*/ 650 w 709"/>
                <a:gd name="T9" fmla="*/ 370 h 382"/>
                <a:gd name="T10" fmla="*/ 679 w 709"/>
                <a:gd name="T11" fmla="*/ 382 h 382"/>
                <a:gd name="T12" fmla="*/ 679 w 709"/>
                <a:gd name="T13" fmla="*/ 382 h 382"/>
                <a:gd name="T14" fmla="*/ 709 w 709"/>
                <a:gd name="T15" fmla="*/ 351 h 382"/>
                <a:gd name="T16" fmla="*/ 709 w 709"/>
                <a:gd name="T17" fmla="*/ 287 h 382"/>
                <a:gd name="T18" fmla="*/ 707 w 709"/>
                <a:gd name="T19" fmla="*/ 287 h 382"/>
                <a:gd name="T20" fmla="*/ 707 w 709"/>
                <a:gd name="T21" fmla="*/ 285 h 382"/>
                <a:gd name="T22" fmla="*/ 707 w 709"/>
                <a:gd name="T23" fmla="*/ 124 h 382"/>
                <a:gd name="T24" fmla="*/ 679 w 709"/>
                <a:gd name="T25" fmla="*/ 90 h 382"/>
                <a:gd name="T26" fmla="*/ 679 w 709"/>
                <a:gd name="T27" fmla="*/ 0 h 382"/>
                <a:gd name="T28" fmla="*/ 2 w 709"/>
                <a:gd name="T29" fmla="*/ 0 h 382"/>
                <a:gd name="T30" fmla="*/ 2 w 709"/>
                <a:gd name="T31" fmla="*/ 116 h 382"/>
                <a:gd name="T32" fmla="*/ 2 w 709"/>
                <a:gd name="T33" fmla="*/ 119 h 382"/>
                <a:gd name="T34" fmla="*/ 0 w 709"/>
                <a:gd name="T35" fmla="*/ 119 h 382"/>
                <a:gd name="T36" fmla="*/ 0 w 709"/>
                <a:gd name="T37" fmla="*/ 320 h 382"/>
                <a:gd name="T38" fmla="*/ 0 w 709"/>
                <a:gd name="T39" fmla="*/ 322 h 382"/>
                <a:gd name="T40" fmla="*/ 0 w 709"/>
                <a:gd name="T41" fmla="*/ 322 h 382"/>
                <a:gd name="T42" fmla="*/ 0 w 709"/>
                <a:gd name="T43" fmla="*/ 322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09" h="382">
                  <a:moveTo>
                    <a:pt x="0" y="322"/>
                  </a:moveTo>
                  <a:lnTo>
                    <a:pt x="492" y="322"/>
                  </a:lnTo>
                  <a:lnTo>
                    <a:pt x="525" y="349"/>
                  </a:lnTo>
                  <a:lnTo>
                    <a:pt x="622" y="349"/>
                  </a:lnTo>
                  <a:lnTo>
                    <a:pt x="650" y="370"/>
                  </a:lnTo>
                  <a:lnTo>
                    <a:pt x="679" y="382"/>
                  </a:lnTo>
                  <a:lnTo>
                    <a:pt x="679" y="382"/>
                  </a:lnTo>
                  <a:lnTo>
                    <a:pt x="709" y="351"/>
                  </a:lnTo>
                  <a:lnTo>
                    <a:pt x="709" y="287"/>
                  </a:lnTo>
                  <a:lnTo>
                    <a:pt x="707" y="287"/>
                  </a:lnTo>
                  <a:lnTo>
                    <a:pt x="707" y="285"/>
                  </a:lnTo>
                  <a:lnTo>
                    <a:pt x="707" y="124"/>
                  </a:lnTo>
                  <a:lnTo>
                    <a:pt x="679" y="90"/>
                  </a:lnTo>
                  <a:lnTo>
                    <a:pt x="679" y="0"/>
                  </a:lnTo>
                  <a:lnTo>
                    <a:pt x="2" y="0"/>
                  </a:lnTo>
                  <a:lnTo>
                    <a:pt x="2" y="116"/>
                  </a:lnTo>
                  <a:lnTo>
                    <a:pt x="2" y="119"/>
                  </a:lnTo>
                  <a:lnTo>
                    <a:pt x="0" y="119"/>
                  </a:lnTo>
                  <a:lnTo>
                    <a:pt x="0" y="320"/>
                  </a:lnTo>
                  <a:lnTo>
                    <a:pt x="0" y="322"/>
                  </a:lnTo>
                  <a:lnTo>
                    <a:pt x="0" y="322"/>
                  </a:lnTo>
                  <a:lnTo>
                    <a:pt x="0" y="322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25" name="South Carolina">
              <a:extLst>
                <a:ext uri="{FF2B5EF4-FFF2-40B4-BE49-F238E27FC236}">
                  <a16:creationId xmlns:a16="http://schemas.microsoft.com/office/drawing/2014/main" id="{046EE032-FFBC-408C-BAF6-525809B9A161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8438171" y="3605996"/>
              <a:ext cx="790775" cy="653685"/>
            </a:xfrm>
            <a:custGeom>
              <a:avLst/>
              <a:gdLst>
                <a:gd name="T0" fmla="*/ 200 w 200"/>
                <a:gd name="T1" fmla="*/ 93 h 165"/>
                <a:gd name="T2" fmla="*/ 199 w 200"/>
                <a:gd name="T3" fmla="*/ 93 h 165"/>
                <a:gd name="T4" fmla="*/ 184 w 200"/>
                <a:gd name="T5" fmla="*/ 62 h 165"/>
                <a:gd name="T6" fmla="*/ 175 w 200"/>
                <a:gd name="T7" fmla="*/ 55 h 165"/>
                <a:gd name="T8" fmla="*/ 165 w 200"/>
                <a:gd name="T9" fmla="*/ 44 h 165"/>
                <a:gd name="T10" fmla="*/ 156 w 200"/>
                <a:gd name="T11" fmla="*/ 29 h 165"/>
                <a:gd name="T12" fmla="*/ 143 w 200"/>
                <a:gd name="T13" fmla="*/ 20 h 165"/>
                <a:gd name="T14" fmla="*/ 110 w 200"/>
                <a:gd name="T15" fmla="*/ 18 h 165"/>
                <a:gd name="T16" fmla="*/ 85 w 200"/>
                <a:gd name="T17" fmla="*/ 1 h 165"/>
                <a:gd name="T18" fmla="*/ 40 w 200"/>
                <a:gd name="T19" fmla="*/ 0 h 165"/>
                <a:gd name="T20" fmla="*/ 18 w 200"/>
                <a:gd name="T21" fmla="*/ 2 h 165"/>
                <a:gd name="T22" fmla="*/ 18 w 200"/>
                <a:gd name="T23" fmla="*/ 4 h 165"/>
                <a:gd name="T24" fmla="*/ 18 w 200"/>
                <a:gd name="T25" fmla="*/ 4 h 165"/>
                <a:gd name="T26" fmla="*/ 0 w 200"/>
                <a:gd name="T27" fmla="*/ 8 h 165"/>
                <a:gd name="T28" fmla="*/ 15 w 200"/>
                <a:gd name="T29" fmla="*/ 41 h 165"/>
                <a:gd name="T30" fmla="*/ 26 w 200"/>
                <a:gd name="T31" fmla="*/ 56 h 165"/>
                <a:gd name="T32" fmla="*/ 37 w 200"/>
                <a:gd name="T33" fmla="*/ 70 h 165"/>
                <a:gd name="T34" fmla="*/ 44 w 200"/>
                <a:gd name="T35" fmla="*/ 80 h 165"/>
                <a:gd name="T36" fmla="*/ 54 w 200"/>
                <a:gd name="T37" fmla="*/ 85 h 165"/>
                <a:gd name="T38" fmla="*/ 60 w 200"/>
                <a:gd name="T39" fmla="*/ 94 h 165"/>
                <a:gd name="T40" fmla="*/ 68 w 200"/>
                <a:gd name="T41" fmla="*/ 108 h 165"/>
                <a:gd name="T42" fmla="*/ 77 w 200"/>
                <a:gd name="T43" fmla="*/ 117 h 165"/>
                <a:gd name="T44" fmla="*/ 84 w 200"/>
                <a:gd name="T45" fmla="*/ 141 h 165"/>
                <a:gd name="T46" fmla="*/ 90 w 200"/>
                <a:gd name="T47" fmla="*/ 153 h 165"/>
                <a:gd name="T48" fmla="*/ 102 w 200"/>
                <a:gd name="T49" fmla="*/ 163 h 165"/>
                <a:gd name="T50" fmla="*/ 105 w 200"/>
                <a:gd name="T51" fmla="*/ 165 h 165"/>
                <a:gd name="T52" fmla="*/ 99 w 200"/>
                <a:gd name="T53" fmla="*/ 156 h 165"/>
                <a:gd name="T54" fmla="*/ 122 w 200"/>
                <a:gd name="T55" fmla="*/ 156 h 165"/>
                <a:gd name="T56" fmla="*/ 141 w 200"/>
                <a:gd name="T57" fmla="*/ 145 h 165"/>
                <a:gd name="T58" fmla="*/ 145 w 200"/>
                <a:gd name="T59" fmla="*/ 141 h 165"/>
                <a:gd name="T60" fmla="*/ 157 w 200"/>
                <a:gd name="T61" fmla="*/ 133 h 165"/>
                <a:gd name="T62" fmla="*/ 161 w 200"/>
                <a:gd name="T63" fmla="*/ 125 h 165"/>
                <a:gd name="T64" fmla="*/ 165 w 200"/>
                <a:gd name="T65" fmla="*/ 117 h 165"/>
                <a:gd name="T66" fmla="*/ 173 w 200"/>
                <a:gd name="T67" fmla="*/ 106 h 165"/>
                <a:gd name="T68" fmla="*/ 184 w 200"/>
                <a:gd name="T69" fmla="*/ 98 h 165"/>
                <a:gd name="T70" fmla="*/ 200 w 200"/>
                <a:gd name="T71" fmla="*/ 93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00" h="165">
                  <a:moveTo>
                    <a:pt x="200" y="93"/>
                  </a:moveTo>
                  <a:cubicBezTo>
                    <a:pt x="200" y="93"/>
                    <a:pt x="200" y="93"/>
                    <a:pt x="200" y="93"/>
                  </a:cubicBezTo>
                  <a:cubicBezTo>
                    <a:pt x="200" y="93"/>
                    <a:pt x="200" y="93"/>
                    <a:pt x="200" y="93"/>
                  </a:cubicBezTo>
                  <a:cubicBezTo>
                    <a:pt x="199" y="93"/>
                    <a:pt x="199" y="93"/>
                    <a:pt x="199" y="93"/>
                  </a:cubicBezTo>
                  <a:cubicBezTo>
                    <a:pt x="184" y="74"/>
                    <a:pt x="184" y="74"/>
                    <a:pt x="184" y="74"/>
                  </a:cubicBezTo>
                  <a:cubicBezTo>
                    <a:pt x="184" y="62"/>
                    <a:pt x="184" y="62"/>
                    <a:pt x="184" y="62"/>
                  </a:cubicBezTo>
                  <a:cubicBezTo>
                    <a:pt x="175" y="55"/>
                    <a:pt x="175" y="55"/>
                    <a:pt x="175" y="55"/>
                  </a:cubicBezTo>
                  <a:cubicBezTo>
                    <a:pt x="175" y="55"/>
                    <a:pt x="175" y="55"/>
                    <a:pt x="175" y="55"/>
                  </a:cubicBezTo>
                  <a:cubicBezTo>
                    <a:pt x="171" y="52"/>
                    <a:pt x="171" y="52"/>
                    <a:pt x="171" y="52"/>
                  </a:cubicBezTo>
                  <a:cubicBezTo>
                    <a:pt x="165" y="44"/>
                    <a:pt x="165" y="44"/>
                    <a:pt x="165" y="44"/>
                  </a:cubicBezTo>
                  <a:cubicBezTo>
                    <a:pt x="156" y="37"/>
                    <a:pt x="156" y="37"/>
                    <a:pt x="156" y="37"/>
                  </a:cubicBezTo>
                  <a:cubicBezTo>
                    <a:pt x="156" y="29"/>
                    <a:pt x="156" y="29"/>
                    <a:pt x="156" y="29"/>
                  </a:cubicBezTo>
                  <a:cubicBezTo>
                    <a:pt x="151" y="25"/>
                    <a:pt x="151" y="25"/>
                    <a:pt x="151" y="25"/>
                  </a:cubicBezTo>
                  <a:cubicBezTo>
                    <a:pt x="143" y="20"/>
                    <a:pt x="143" y="20"/>
                    <a:pt x="143" y="20"/>
                  </a:cubicBezTo>
                  <a:cubicBezTo>
                    <a:pt x="138" y="18"/>
                    <a:pt x="138" y="18"/>
                    <a:pt x="138" y="18"/>
                  </a:cubicBezTo>
                  <a:cubicBezTo>
                    <a:pt x="110" y="18"/>
                    <a:pt x="110" y="18"/>
                    <a:pt x="110" y="18"/>
                  </a:cubicBezTo>
                  <a:cubicBezTo>
                    <a:pt x="99" y="8"/>
                    <a:pt x="99" y="8"/>
                    <a:pt x="99" y="8"/>
                  </a:cubicBezTo>
                  <a:cubicBezTo>
                    <a:pt x="85" y="1"/>
                    <a:pt x="85" y="1"/>
                    <a:pt x="85" y="1"/>
                  </a:cubicBezTo>
                  <a:cubicBezTo>
                    <a:pt x="85" y="1"/>
                    <a:pt x="85" y="1"/>
                    <a:pt x="85" y="1"/>
                  </a:cubicBezTo>
                  <a:cubicBezTo>
                    <a:pt x="72" y="0"/>
                    <a:pt x="54" y="0"/>
                    <a:pt x="40" y="0"/>
                  </a:cubicBezTo>
                  <a:cubicBezTo>
                    <a:pt x="23" y="0"/>
                    <a:pt x="21" y="1"/>
                    <a:pt x="20" y="1"/>
                  </a:cubicBezTo>
                  <a:cubicBezTo>
                    <a:pt x="19" y="1"/>
                    <a:pt x="18" y="2"/>
                    <a:pt x="18" y="2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60" y="103"/>
                    <a:pt x="60" y="103"/>
                    <a:pt x="60" y="103"/>
                  </a:cubicBezTo>
                  <a:cubicBezTo>
                    <a:pt x="68" y="108"/>
                    <a:pt x="68" y="108"/>
                    <a:pt x="68" y="108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7" y="117"/>
                    <a:pt x="77" y="117"/>
                    <a:pt x="77" y="117"/>
                  </a:cubicBezTo>
                  <a:cubicBezTo>
                    <a:pt x="77" y="134"/>
                    <a:pt x="77" y="134"/>
                    <a:pt x="77" y="134"/>
                  </a:cubicBezTo>
                  <a:cubicBezTo>
                    <a:pt x="84" y="141"/>
                    <a:pt x="84" y="141"/>
                    <a:pt x="84" y="141"/>
                  </a:cubicBezTo>
                  <a:cubicBezTo>
                    <a:pt x="84" y="149"/>
                    <a:pt x="84" y="149"/>
                    <a:pt x="84" y="149"/>
                  </a:cubicBezTo>
                  <a:cubicBezTo>
                    <a:pt x="90" y="153"/>
                    <a:pt x="90" y="153"/>
                    <a:pt x="90" y="153"/>
                  </a:cubicBezTo>
                  <a:cubicBezTo>
                    <a:pt x="95" y="153"/>
                    <a:pt x="95" y="153"/>
                    <a:pt x="95" y="153"/>
                  </a:cubicBezTo>
                  <a:cubicBezTo>
                    <a:pt x="102" y="163"/>
                    <a:pt x="102" y="163"/>
                    <a:pt x="102" y="163"/>
                  </a:cubicBezTo>
                  <a:cubicBezTo>
                    <a:pt x="104" y="165"/>
                    <a:pt x="104" y="165"/>
                    <a:pt x="104" y="165"/>
                  </a:cubicBezTo>
                  <a:cubicBezTo>
                    <a:pt x="105" y="165"/>
                    <a:pt x="105" y="165"/>
                    <a:pt x="105" y="165"/>
                  </a:cubicBezTo>
                  <a:cubicBezTo>
                    <a:pt x="102" y="160"/>
                    <a:pt x="102" y="160"/>
                    <a:pt x="102" y="160"/>
                  </a:cubicBezTo>
                  <a:cubicBezTo>
                    <a:pt x="99" y="156"/>
                    <a:pt x="99" y="156"/>
                    <a:pt x="99" y="156"/>
                  </a:cubicBezTo>
                  <a:cubicBezTo>
                    <a:pt x="102" y="156"/>
                    <a:pt x="102" y="156"/>
                    <a:pt x="102" y="156"/>
                  </a:cubicBezTo>
                  <a:cubicBezTo>
                    <a:pt x="122" y="156"/>
                    <a:pt x="122" y="156"/>
                    <a:pt x="122" y="156"/>
                  </a:cubicBezTo>
                  <a:cubicBezTo>
                    <a:pt x="126" y="156"/>
                    <a:pt x="126" y="156"/>
                    <a:pt x="126" y="156"/>
                  </a:cubicBezTo>
                  <a:cubicBezTo>
                    <a:pt x="141" y="145"/>
                    <a:pt x="141" y="145"/>
                    <a:pt x="141" y="145"/>
                  </a:cubicBezTo>
                  <a:cubicBezTo>
                    <a:pt x="145" y="145"/>
                    <a:pt x="145" y="145"/>
                    <a:pt x="145" y="145"/>
                  </a:cubicBezTo>
                  <a:cubicBezTo>
                    <a:pt x="145" y="141"/>
                    <a:pt x="145" y="141"/>
                    <a:pt x="145" y="141"/>
                  </a:cubicBezTo>
                  <a:cubicBezTo>
                    <a:pt x="149" y="137"/>
                    <a:pt x="149" y="137"/>
                    <a:pt x="149" y="137"/>
                  </a:cubicBezTo>
                  <a:cubicBezTo>
                    <a:pt x="157" y="133"/>
                    <a:pt x="157" y="133"/>
                    <a:pt x="157" y="133"/>
                  </a:cubicBezTo>
                  <a:cubicBezTo>
                    <a:pt x="161" y="129"/>
                    <a:pt x="161" y="129"/>
                    <a:pt x="161" y="129"/>
                  </a:cubicBezTo>
                  <a:cubicBezTo>
                    <a:pt x="161" y="125"/>
                    <a:pt x="161" y="125"/>
                    <a:pt x="161" y="125"/>
                  </a:cubicBezTo>
                  <a:cubicBezTo>
                    <a:pt x="161" y="121"/>
                    <a:pt x="161" y="121"/>
                    <a:pt x="161" y="121"/>
                  </a:cubicBezTo>
                  <a:cubicBezTo>
                    <a:pt x="165" y="117"/>
                    <a:pt x="165" y="117"/>
                    <a:pt x="165" y="117"/>
                  </a:cubicBezTo>
                  <a:cubicBezTo>
                    <a:pt x="169" y="110"/>
                    <a:pt x="169" y="110"/>
                    <a:pt x="169" y="110"/>
                  </a:cubicBezTo>
                  <a:cubicBezTo>
                    <a:pt x="173" y="106"/>
                    <a:pt x="173" y="106"/>
                    <a:pt x="173" y="106"/>
                  </a:cubicBezTo>
                  <a:cubicBezTo>
                    <a:pt x="184" y="102"/>
                    <a:pt x="184" y="102"/>
                    <a:pt x="184" y="102"/>
                  </a:cubicBezTo>
                  <a:cubicBezTo>
                    <a:pt x="184" y="98"/>
                    <a:pt x="184" y="98"/>
                    <a:pt x="184" y="98"/>
                  </a:cubicBezTo>
                  <a:cubicBezTo>
                    <a:pt x="200" y="94"/>
                    <a:pt x="200" y="94"/>
                    <a:pt x="200" y="94"/>
                  </a:cubicBezTo>
                  <a:cubicBezTo>
                    <a:pt x="200" y="93"/>
                    <a:pt x="200" y="93"/>
                    <a:pt x="200" y="93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26" name="Rhode Island">
              <a:extLst>
                <a:ext uri="{FF2B5EF4-FFF2-40B4-BE49-F238E27FC236}">
                  <a16:creationId xmlns:a16="http://schemas.microsoft.com/office/drawing/2014/main" id="{75EC72CA-9014-46BE-953D-6CDE12C95246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10210310" y="2413982"/>
              <a:ext cx="95294" cy="133746"/>
            </a:xfrm>
            <a:custGeom>
              <a:avLst/>
              <a:gdLst>
                <a:gd name="T0" fmla="*/ 22 w 24"/>
                <a:gd name="T1" fmla="*/ 7 h 34"/>
                <a:gd name="T2" fmla="*/ 16 w 24"/>
                <a:gd name="T3" fmla="*/ 0 h 34"/>
                <a:gd name="T4" fmla="*/ 0 w 24"/>
                <a:gd name="T5" fmla="*/ 0 h 34"/>
                <a:gd name="T6" fmla="*/ 0 w 24"/>
                <a:gd name="T7" fmla="*/ 34 h 34"/>
                <a:gd name="T8" fmla="*/ 1 w 24"/>
                <a:gd name="T9" fmla="*/ 34 h 34"/>
                <a:gd name="T10" fmla="*/ 14 w 24"/>
                <a:gd name="T11" fmla="*/ 32 h 34"/>
                <a:gd name="T12" fmla="*/ 17 w 24"/>
                <a:gd name="T13" fmla="*/ 28 h 34"/>
                <a:gd name="T14" fmla="*/ 21 w 24"/>
                <a:gd name="T15" fmla="*/ 16 h 34"/>
                <a:gd name="T16" fmla="*/ 21 w 24"/>
                <a:gd name="T17" fmla="*/ 12 h 34"/>
                <a:gd name="T18" fmla="*/ 24 w 24"/>
                <a:gd name="T19" fmla="*/ 15 h 34"/>
                <a:gd name="T20" fmla="*/ 22 w 24"/>
                <a:gd name="T21" fmla="*/ 9 h 34"/>
                <a:gd name="T22" fmla="*/ 22 w 24"/>
                <a:gd name="T23" fmla="*/ 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34">
                  <a:moveTo>
                    <a:pt x="22" y="7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4"/>
                    <a:pt x="23" y="11"/>
                    <a:pt x="22" y="9"/>
                  </a:cubicBezTo>
                  <a:lnTo>
                    <a:pt x="22" y="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27" name="Pennsylvania">
              <a:extLst>
                <a:ext uri="{FF2B5EF4-FFF2-40B4-BE49-F238E27FC236}">
                  <a16:creationId xmlns:a16="http://schemas.microsoft.com/office/drawing/2014/main" id="{02DD176C-2A0B-421A-A9A7-5262ED5F27AD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8849441" y="2370515"/>
              <a:ext cx="886069" cy="526626"/>
            </a:xfrm>
            <a:custGeom>
              <a:avLst/>
              <a:gdLst>
                <a:gd name="T0" fmla="*/ 0 w 224"/>
                <a:gd name="T1" fmla="*/ 71 h 133"/>
                <a:gd name="T2" fmla="*/ 0 w 224"/>
                <a:gd name="T3" fmla="*/ 75 h 133"/>
                <a:gd name="T4" fmla="*/ 0 w 224"/>
                <a:gd name="T5" fmla="*/ 130 h 133"/>
                <a:gd name="T6" fmla="*/ 36 w 224"/>
                <a:gd name="T7" fmla="*/ 130 h 133"/>
                <a:gd name="T8" fmla="*/ 181 w 224"/>
                <a:gd name="T9" fmla="*/ 130 h 133"/>
                <a:gd name="T10" fmla="*/ 191 w 224"/>
                <a:gd name="T11" fmla="*/ 133 h 133"/>
                <a:gd name="T12" fmla="*/ 191 w 224"/>
                <a:gd name="T13" fmla="*/ 133 h 133"/>
                <a:gd name="T14" fmla="*/ 192 w 224"/>
                <a:gd name="T15" fmla="*/ 133 h 133"/>
                <a:gd name="T16" fmla="*/ 198 w 224"/>
                <a:gd name="T17" fmla="*/ 130 h 133"/>
                <a:gd name="T18" fmla="*/ 211 w 224"/>
                <a:gd name="T19" fmla="*/ 118 h 133"/>
                <a:gd name="T20" fmla="*/ 211 w 224"/>
                <a:gd name="T21" fmla="*/ 118 h 133"/>
                <a:gd name="T22" fmla="*/ 211 w 224"/>
                <a:gd name="T23" fmla="*/ 113 h 133"/>
                <a:gd name="T24" fmla="*/ 215 w 224"/>
                <a:gd name="T25" fmla="*/ 107 h 133"/>
                <a:gd name="T26" fmla="*/ 215 w 224"/>
                <a:gd name="T27" fmla="*/ 92 h 133"/>
                <a:gd name="T28" fmla="*/ 208 w 224"/>
                <a:gd name="T29" fmla="*/ 79 h 133"/>
                <a:gd name="T30" fmla="*/ 208 w 224"/>
                <a:gd name="T31" fmla="*/ 79 h 133"/>
                <a:gd name="T32" fmla="*/ 205 w 224"/>
                <a:gd name="T33" fmla="*/ 80 h 133"/>
                <a:gd name="T34" fmla="*/ 205 w 224"/>
                <a:gd name="T35" fmla="*/ 80 h 133"/>
                <a:gd name="T36" fmla="*/ 205 w 224"/>
                <a:gd name="T37" fmla="*/ 79 h 133"/>
                <a:gd name="T38" fmla="*/ 206 w 224"/>
                <a:gd name="T39" fmla="*/ 78 h 133"/>
                <a:gd name="T40" fmla="*/ 206 w 224"/>
                <a:gd name="T41" fmla="*/ 78 h 133"/>
                <a:gd name="T42" fmla="*/ 206 w 224"/>
                <a:gd name="T43" fmla="*/ 78 h 133"/>
                <a:gd name="T44" fmla="*/ 207 w 224"/>
                <a:gd name="T45" fmla="*/ 75 h 133"/>
                <a:gd name="T46" fmla="*/ 209 w 224"/>
                <a:gd name="T47" fmla="*/ 69 h 133"/>
                <a:gd name="T48" fmla="*/ 215 w 224"/>
                <a:gd name="T49" fmla="*/ 60 h 133"/>
                <a:gd name="T50" fmla="*/ 215 w 224"/>
                <a:gd name="T51" fmla="*/ 49 h 133"/>
                <a:gd name="T52" fmla="*/ 224 w 224"/>
                <a:gd name="T53" fmla="*/ 46 h 133"/>
                <a:gd name="T54" fmla="*/ 223 w 224"/>
                <a:gd name="T55" fmla="*/ 46 h 133"/>
                <a:gd name="T56" fmla="*/ 222 w 224"/>
                <a:gd name="T57" fmla="*/ 45 h 133"/>
                <a:gd name="T58" fmla="*/ 215 w 224"/>
                <a:gd name="T59" fmla="*/ 37 h 133"/>
                <a:gd name="T60" fmla="*/ 213 w 224"/>
                <a:gd name="T61" fmla="*/ 30 h 133"/>
                <a:gd name="T62" fmla="*/ 209 w 224"/>
                <a:gd name="T63" fmla="*/ 21 h 133"/>
                <a:gd name="T64" fmla="*/ 209 w 224"/>
                <a:gd name="T65" fmla="*/ 21 h 133"/>
                <a:gd name="T66" fmla="*/ 208 w 224"/>
                <a:gd name="T67" fmla="*/ 21 h 133"/>
                <a:gd name="T68" fmla="*/ 204 w 224"/>
                <a:gd name="T69" fmla="*/ 24 h 133"/>
                <a:gd name="T70" fmla="*/ 206 w 224"/>
                <a:gd name="T71" fmla="*/ 21 h 133"/>
                <a:gd name="T72" fmla="*/ 205 w 224"/>
                <a:gd name="T73" fmla="*/ 16 h 133"/>
                <a:gd name="T74" fmla="*/ 204 w 224"/>
                <a:gd name="T75" fmla="*/ 2 h 133"/>
                <a:gd name="T76" fmla="*/ 26 w 224"/>
                <a:gd name="T77" fmla="*/ 2 h 133"/>
                <a:gd name="T78" fmla="*/ 25 w 224"/>
                <a:gd name="T79" fmla="*/ 1 h 133"/>
                <a:gd name="T80" fmla="*/ 25 w 224"/>
                <a:gd name="T81" fmla="*/ 1 h 133"/>
                <a:gd name="T82" fmla="*/ 18 w 224"/>
                <a:gd name="T83" fmla="*/ 1 h 133"/>
                <a:gd name="T84" fmla="*/ 18 w 224"/>
                <a:gd name="T85" fmla="*/ 0 h 133"/>
                <a:gd name="T86" fmla="*/ 17 w 224"/>
                <a:gd name="T87" fmla="*/ 0 h 133"/>
                <a:gd name="T88" fmla="*/ 0 w 224"/>
                <a:gd name="T89" fmla="*/ 10 h 133"/>
                <a:gd name="T90" fmla="*/ 0 w 224"/>
                <a:gd name="T91" fmla="*/ 12 h 133"/>
                <a:gd name="T92" fmla="*/ 0 w 224"/>
                <a:gd name="T93" fmla="*/ 7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24" h="133">
                  <a:moveTo>
                    <a:pt x="0" y="71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36" y="130"/>
                    <a:pt x="36" y="130"/>
                    <a:pt x="36" y="130"/>
                  </a:cubicBezTo>
                  <a:cubicBezTo>
                    <a:pt x="181" y="130"/>
                    <a:pt x="181" y="130"/>
                    <a:pt x="181" y="130"/>
                  </a:cubicBezTo>
                  <a:cubicBezTo>
                    <a:pt x="182" y="130"/>
                    <a:pt x="186" y="133"/>
                    <a:pt x="191" y="133"/>
                  </a:cubicBezTo>
                  <a:cubicBezTo>
                    <a:pt x="191" y="133"/>
                    <a:pt x="191" y="133"/>
                    <a:pt x="191" y="133"/>
                  </a:cubicBezTo>
                  <a:cubicBezTo>
                    <a:pt x="192" y="133"/>
                    <a:pt x="192" y="133"/>
                    <a:pt x="192" y="133"/>
                  </a:cubicBezTo>
                  <a:cubicBezTo>
                    <a:pt x="195" y="133"/>
                    <a:pt x="197" y="132"/>
                    <a:pt x="198" y="130"/>
                  </a:cubicBezTo>
                  <a:cubicBezTo>
                    <a:pt x="204" y="124"/>
                    <a:pt x="209" y="119"/>
                    <a:pt x="211" y="118"/>
                  </a:cubicBezTo>
                  <a:cubicBezTo>
                    <a:pt x="211" y="118"/>
                    <a:pt x="211" y="118"/>
                    <a:pt x="211" y="118"/>
                  </a:cubicBezTo>
                  <a:cubicBezTo>
                    <a:pt x="211" y="113"/>
                    <a:pt x="211" y="113"/>
                    <a:pt x="211" y="113"/>
                  </a:cubicBezTo>
                  <a:cubicBezTo>
                    <a:pt x="215" y="107"/>
                    <a:pt x="215" y="107"/>
                    <a:pt x="215" y="107"/>
                  </a:cubicBezTo>
                  <a:cubicBezTo>
                    <a:pt x="215" y="92"/>
                    <a:pt x="215" y="92"/>
                    <a:pt x="215" y="92"/>
                  </a:cubicBezTo>
                  <a:cubicBezTo>
                    <a:pt x="208" y="79"/>
                    <a:pt x="208" y="79"/>
                    <a:pt x="208" y="79"/>
                  </a:cubicBezTo>
                  <a:cubicBezTo>
                    <a:pt x="208" y="79"/>
                    <a:pt x="208" y="79"/>
                    <a:pt x="208" y="79"/>
                  </a:cubicBezTo>
                  <a:cubicBezTo>
                    <a:pt x="205" y="80"/>
                    <a:pt x="205" y="80"/>
                    <a:pt x="205" y="80"/>
                  </a:cubicBezTo>
                  <a:cubicBezTo>
                    <a:pt x="205" y="80"/>
                    <a:pt x="205" y="80"/>
                    <a:pt x="205" y="80"/>
                  </a:cubicBezTo>
                  <a:cubicBezTo>
                    <a:pt x="205" y="79"/>
                    <a:pt x="205" y="79"/>
                    <a:pt x="205" y="79"/>
                  </a:cubicBezTo>
                  <a:cubicBezTo>
                    <a:pt x="205" y="78"/>
                    <a:pt x="206" y="78"/>
                    <a:pt x="206" y="78"/>
                  </a:cubicBezTo>
                  <a:cubicBezTo>
                    <a:pt x="206" y="78"/>
                    <a:pt x="206" y="78"/>
                    <a:pt x="206" y="78"/>
                  </a:cubicBezTo>
                  <a:cubicBezTo>
                    <a:pt x="206" y="78"/>
                    <a:pt x="206" y="78"/>
                    <a:pt x="206" y="78"/>
                  </a:cubicBezTo>
                  <a:cubicBezTo>
                    <a:pt x="207" y="75"/>
                    <a:pt x="207" y="75"/>
                    <a:pt x="207" y="75"/>
                  </a:cubicBezTo>
                  <a:cubicBezTo>
                    <a:pt x="209" y="69"/>
                    <a:pt x="209" y="69"/>
                    <a:pt x="209" y="69"/>
                  </a:cubicBezTo>
                  <a:cubicBezTo>
                    <a:pt x="215" y="60"/>
                    <a:pt x="215" y="60"/>
                    <a:pt x="215" y="60"/>
                  </a:cubicBezTo>
                  <a:cubicBezTo>
                    <a:pt x="215" y="49"/>
                    <a:pt x="215" y="49"/>
                    <a:pt x="215" y="49"/>
                  </a:cubicBezTo>
                  <a:cubicBezTo>
                    <a:pt x="224" y="46"/>
                    <a:pt x="224" y="46"/>
                    <a:pt x="224" y="46"/>
                  </a:cubicBezTo>
                  <a:cubicBezTo>
                    <a:pt x="223" y="46"/>
                    <a:pt x="223" y="46"/>
                    <a:pt x="223" y="46"/>
                  </a:cubicBezTo>
                  <a:cubicBezTo>
                    <a:pt x="222" y="45"/>
                    <a:pt x="222" y="45"/>
                    <a:pt x="222" y="45"/>
                  </a:cubicBezTo>
                  <a:cubicBezTo>
                    <a:pt x="215" y="37"/>
                    <a:pt x="215" y="37"/>
                    <a:pt x="215" y="37"/>
                  </a:cubicBezTo>
                  <a:cubicBezTo>
                    <a:pt x="213" y="30"/>
                    <a:pt x="213" y="30"/>
                    <a:pt x="213" y="30"/>
                  </a:cubicBezTo>
                  <a:cubicBezTo>
                    <a:pt x="209" y="21"/>
                    <a:pt x="209" y="21"/>
                    <a:pt x="209" y="21"/>
                  </a:cubicBezTo>
                  <a:cubicBezTo>
                    <a:pt x="209" y="21"/>
                    <a:pt x="209" y="21"/>
                    <a:pt x="209" y="21"/>
                  </a:cubicBezTo>
                  <a:cubicBezTo>
                    <a:pt x="208" y="21"/>
                    <a:pt x="208" y="21"/>
                    <a:pt x="208" y="21"/>
                  </a:cubicBezTo>
                  <a:cubicBezTo>
                    <a:pt x="204" y="24"/>
                    <a:pt x="204" y="24"/>
                    <a:pt x="204" y="24"/>
                  </a:cubicBezTo>
                  <a:cubicBezTo>
                    <a:pt x="206" y="21"/>
                    <a:pt x="206" y="21"/>
                    <a:pt x="206" y="21"/>
                  </a:cubicBezTo>
                  <a:cubicBezTo>
                    <a:pt x="205" y="20"/>
                    <a:pt x="205" y="18"/>
                    <a:pt x="205" y="16"/>
                  </a:cubicBezTo>
                  <a:cubicBezTo>
                    <a:pt x="205" y="8"/>
                    <a:pt x="204" y="3"/>
                    <a:pt x="204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lnTo>
                    <a:pt x="0" y="71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28" name="Oregon">
              <a:extLst>
                <a:ext uri="{FF2B5EF4-FFF2-40B4-BE49-F238E27FC236}">
                  <a16:creationId xmlns:a16="http://schemas.microsoft.com/office/drawing/2014/main" id="{5CB251A7-55D4-4FC2-B1A0-222A1A111B8A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2130361" y="1412557"/>
              <a:ext cx="1203717" cy="810837"/>
            </a:xfrm>
            <a:custGeom>
              <a:avLst/>
              <a:gdLst>
                <a:gd name="T0" fmla="*/ 287 w 304"/>
                <a:gd name="T1" fmla="*/ 205 h 205"/>
                <a:gd name="T2" fmla="*/ 287 w 304"/>
                <a:gd name="T3" fmla="*/ 179 h 205"/>
                <a:gd name="T4" fmla="*/ 285 w 304"/>
                <a:gd name="T5" fmla="*/ 160 h 205"/>
                <a:gd name="T6" fmla="*/ 287 w 304"/>
                <a:gd name="T7" fmla="*/ 130 h 205"/>
                <a:gd name="T8" fmla="*/ 292 w 304"/>
                <a:gd name="T9" fmla="*/ 115 h 205"/>
                <a:gd name="T10" fmla="*/ 292 w 304"/>
                <a:gd name="T11" fmla="*/ 103 h 205"/>
                <a:gd name="T12" fmla="*/ 289 w 304"/>
                <a:gd name="T13" fmla="*/ 82 h 205"/>
                <a:gd name="T14" fmla="*/ 287 w 304"/>
                <a:gd name="T15" fmla="*/ 78 h 205"/>
                <a:gd name="T16" fmla="*/ 289 w 304"/>
                <a:gd name="T17" fmla="*/ 68 h 205"/>
                <a:gd name="T18" fmla="*/ 304 w 304"/>
                <a:gd name="T19" fmla="*/ 56 h 205"/>
                <a:gd name="T20" fmla="*/ 304 w 304"/>
                <a:gd name="T21" fmla="*/ 30 h 205"/>
                <a:gd name="T22" fmla="*/ 300 w 304"/>
                <a:gd name="T23" fmla="*/ 21 h 205"/>
                <a:gd name="T24" fmla="*/ 294 w 304"/>
                <a:gd name="T25" fmla="*/ 15 h 205"/>
                <a:gd name="T26" fmla="*/ 288 w 304"/>
                <a:gd name="T27" fmla="*/ 15 h 205"/>
                <a:gd name="T28" fmla="*/ 287 w 304"/>
                <a:gd name="T29" fmla="*/ 16 h 205"/>
                <a:gd name="T30" fmla="*/ 287 w 304"/>
                <a:gd name="T31" fmla="*/ 16 h 205"/>
                <a:gd name="T32" fmla="*/ 287 w 304"/>
                <a:gd name="T33" fmla="*/ 16 h 205"/>
                <a:gd name="T34" fmla="*/ 287 w 304"/>
                <a:gd name="T35" fmla="*/ 16 h 205"/>
                <a:gd name="T36" fmla="*/ 286 w 304"/>
                <a:gd name="T37" fmla="*/ 16 h 205"/>
                <a:gd name="T38" fmla="*/ 281 w 304"/>
                <a:gd name="T39" fmla="*/ 16 h 205"/>
                <a:gd name="T40" fmla="*/ 270 w 304"/>
                <a:gd name="T41" fmla="*/ 15 h 205"/>
                <a:gd name="T42" fmla="*/ 260 w 304"/>
                <a:gd name="T43" fmla="*/ 15 h 205"/>
                <a:gd name="T44" fmla="*/ 249 w 304"/>
                <a:gd name="T45" fmla="*/ 15 h 205"/>
                <a:gd name="T46" fmla="*/ 210 w 304"/>
                <a:gd name="T47" fmla="*/ 15 h 205"/>
                <a:gd name="T48" fmla="*/ 193 w 304"/>
                <a:gd name="T49" fmla="*/ 30 h 205"/>
                <a:gd name="T50" fmla="*/ 67 w 304"/>
                <a:gd name="T51" fmla="*/ 30 h 205"/>
                <a:gd name="T52" fmla="*/ 67 w 304"/>
                <a:gd name="T53" fmla="*/ 19 h 205"/>
                <a:gd name="T54" fmla="*/ 56 w 304"/>
                <a:gd name="T55" fmla="*/ 0 h 205"/>
                <a:gd name="T56" fmla="*/ 23 w 304"/>
                <a:gd name="T57" fmla="*/ 0 h 205"/>
                <a:gd name="T58" fmla="*/ 23 w 304"/>
                <a:gd name="T59" fmla="*/ 8 h 205"/>
                <a:gd name="T60" fmla="*/ 19 w 304"/>
                <a:gd name="T61" fmla="*/ 12 h 205"/>
                <a:gd name="T62" fmla="*/ 19 w 304"/>
                <a:gd name="T63" fmla="*/ 4 h 205"/>
                <a:gd name="T64" fmla="*/ 15 w 304"/>
                <a:gd name="T65" fmla="*/ 0 h 205"/>
                <a:gd name="T66" fmla="*/ 15 w 304"/>
                <a:gd name="T67" fmla="*/ 16 h 205"/>
                <a:gd name="T68" fmla="*/ 23 w 304"/>
                <a:gd name="T69" fmla="*/ 20 h 205"/>
                <a:gd name="T70" fmla="*/ 35 w 304"/>
                <a:gd name="T71" fmla="*/ 20 h 205"/>
                <a:gd name="T72" fmla="*/ 46 w 304"/>
                <a:gd name="T73" fmla="*/ 27 h 205"/>
                <a:gd name="T74" fmla="*/ 43 w 304"/>
                <a:gd name="T75" fmla="*/ 27 h 205"/>
                <a:gd name="T76" fmla="*/ 35 w 304"/>
                <a:gd name="T77" fmla="*/ 27 h 205"/>
                <a:gd name="T78" fmla="*/ 23 w 304"/>
                <a:gd name="T79" fmla="*/ 27 h 205"/>
                <a:gd name="T80" fmla="*/ 19 w 304"/>
                <a:gd name="T81" fmla="*/ 27 h 205"/>
                <a:gd name="T82" fmla="*/ 19 w 304"/>
                <a:gd name="T83" fmla="*/ 47 h 205"/>
                <a:gd name="T84" fmla="*/ 23 w 304"/>
                <a:gd name="T85" fmla="*/ 51 h 205"/>
                <a:gd name="T86" fmla="*/ 19 w 304"/>
                <a:gd name="T87" fmla="*/ 55 h 205"/>
                <a:gd name="T88" fmla="*/ 19 w 304"/>
                <a:gd name="T89" fmla="*/ 63 h 205"/>
                <a:gd name="T90" fmla="*/ 19 w 304"/>
                <a:gd name="T91" fmla="*/ 70 h 205"/>
                <a:gd name="T92" fmla="*/ 7 w 304"/>
                <a:gd name="T93" fmla="*/ 168 h 205"/>
                <a:gd name="T94" fmla="*/ 11 w 304"/>
                <a:gd name="T95" fmla="*/ 172 h 205"/>
                <a:gd name="T96" fmla="*/ 11 w 304"/>
                <a:gd name="T97" fmla="*/ 180 h 205"/>
                <a:gd name="T98" fmla="*/ 7 w 304"/>
                <a:gd name="T99" fmla="*/ 180 h 205"/>
                <a:gd name="T100" fmla="*/ 4 w 304"/>
                <a:gd name="T101" fmla="*/ 187 h 205"/>
                <a:gd name="T102" fmla="*/ 0 w 304"/>
                <a:gd name="T103" fmla="*/ 205 h 205"/>
                <a:gd name="T104" fmla="*/ 169 w 304"/>
                <a:gd name="T105" fmla="*/ 205 h 205"/>
                <a:gd name="T106" fmla="*/ 287 w 304"/>
                <a:gd name="T107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04" h="205">
                  <a:moveTo>
                    <a:pt x="287" y="205"/>
                  </a:moveTo>
                  <a:cubicBezTo>
                    <a:pt x="287" y="179"/>
                    <a:pt x="287" y="179"/>
                    <a:pt x="287" y="179"/>
                  </a:cubicBezTo>
                  <a:cubicBezTo>
                    <a:pt x="285" y="160"/>
                    <a:pt x="285" y="160"/>
                    <a:pt x="285" y="160"/>
                  </a:cubicBezTo>
                  <a:cubicBezTo>
                    <a:pt x="287" y="130"/>
                    <a:pt x="287" y="130"/>
                    <a:pt x="287" y="130"/>
                  </a:cubicBezTo>
                  <a:cubicBezTo>
                    <a:pt x="292" y="115"/>
                    <a:pt x="292" y="115"/>
                    <a:pt x="292" y="115"/>
                  </a:cubicBezTo>
                  <a:cubicBezTo>
                    <a:pt x="292" y="103"/>
                    <a:pt x="292" y="103"/>
                    <a:pt x="292" y="103"/>
                  </a:cubicBezTo>
                  <a:cubicBezTo>
                    <a:pt x="289" y="82"/>
                    <a:pt x="289" y="82"/>
                    <a:pt x="289" y="82"/>
                  </a:cubicBezTo>
                  <a:cubicBezTo>
                    <a:pt x="287" y="78"/>
                    <a:pt x="287" y="78"/>
                    <a:pt x="287" y="78"/>
                  </a:cubicBezTo>
                  <a:cubicBezTo>
                    <a:pt x="289" y="68"/>
                    <a:pt x="289" y="68"/>
                    <a:pt x="289" y="68"/>
                  </a:cubicBezTo>
                  <a:cubicBezTo>
                    <a:pt x="304" y="56"/>
                    <a:pt x="304" y="56"/>
                    <a:pt x="304" y="56"/>
                  </a:cubicBezTo>
                  <a:cubicBezTo>
                    <a:pt x="304" y="30"/>
                    <a:pt x="304" y="30"/>
                    <a:pt x="304" y="30"/>
                  </a:cubicBezTo>
                  <a:cubicBezTo>
                    <a:pt x="300" y="21"/>
                    <a:pt x="300" y="21"/>
                    <a:pt x="300" y="21"/>
                  </a:cubicBezTo>
                  <a:cubicBezTo>
                    <a:pt x="294" y="15"/>
                    <a:pt x="294" y="15"/>
                    <a:pt x="294" y="15"/>
                  </a:cubicBezTo>
                  <a:cubicBezTo>
                    <a:pt x="294" y="15"/>
                    <a:pt x="291" y="15"/>
                    <a:pt x="288" y="15"/>
                  </a:cubicBezTo>
                  <a:cubicBezTo>
                    <a:pt x="287" y="16"/>
                    <a:pt x="287" y="16"/>
                    <a:pt x="287" y="16"/>
                  </a:cubicBezTo>
                  <a:cubicBezTo>
                    <a:pt x="287" y="16"/>
                    <a:pt x="287" y="16"/>
                    <a:pt x="287" y="16"/>
                  </a:cubicBezTo>
                  <a:cubicBezTo>
                    <a:pt x="287" y="16"/>
                    <a:pt x="287" y="16"/>
                    <a:pt x="287" y="16"/>
                  </a:cubicBezTo>
                  <a:cubicBezTo>
                    <a:pt x="287" y="16"/>
                    <a:pt x="287" y="16"/>
                    <a:pt x="287" y="16"/>
                  </a:cubicBezTo>
                  <a:cubicBezTo>
                    <a:pt x="286" y="16"/>
                    <a:pt x="286" y="16"/>
                    <a:pt x="286" y="16"/>
                  </a:cubicBezTo>
                  <a:cubicBezTo>
                    <a:pt x="285" y="16"/>
                    <a:pt x="283" y="16"/>
                    <a:pt x="281" y="16"/>
                  </a:cubicBezTo>
                  <a:cubicBezTo>
                    <a:pt x="277" y="16"/>
                    <a:pt x="273" y="15"/>
                    <a:pt x="270" y="15"/>
                  </a:cubicBezTo>
                  <a:cubicBezTo>
                    <a:pt x="267" y="15"/>
                    <a:pt x="264" y="15"/>
                    <a:pt x="260" y="15"/>
                  </a:cubicBezTo>
                  <a:cubicBezTo>
                    <a:pt x="254" y="15"/>
                    <a:pt x="249" y="15"/>
                    <a:pt x="249" y="15"/>
                  </a:cubicBezTo>
                  <a:cubicBezTo>
                    <a:pt x="210" y="15"/>
                    <a:pt x="210" y="15"/>
                    <a:pt x="210" y="15"/>
                  </a:cubicBezTo>
                  <a:cubicBezTo>
                    <a:pt x="193" y="30"/>
                    <a:pt x="193" y="30"/>
                    <a:pt x="193" y="30"/>
                  </a:cubicBezTo>
                  <a:cubicBezTo>
                    <a:pt x="67" y="30"/>
                    <a:pt x="67" y="30"/>
                    <a:pt x="67" y="30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47"/>
                    <a:pt x="19" y="47"/>
                    <a:pt x="19" y="47"/>
                  </a:cubicBezTo>
                  <a:cubicBezTo>
                    <a:pt x="23" y="51"/>
                    <a:pt x="23" y="51"/>
                    <a:pt x="23" y="51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63"/>
                    <a:pt x="19" y="63"/>
                    <a:pt x="19" y="63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7" y="168"/>
                    <a:pt x="7" y="168"/>
                    <a:pt x="7" y="168"/>
                  </a:cubicBezTo>
                  <a:cubicBezTo>
                    <a:pt x="11" y="172"/>
                    <a:pt x="11" y="172"/>
                    <a:pt x="11" y="172"/>
                  </a:cubicBezTo>
                  <a:cubicBezTo>
                    <a:pt x="11" y="180"/>
                    <a:pt x="11" y="180"/>
                    <a:pt x="11" y="180"/>
                  </a:cubicBezTo>
                  <a:cubicBezTo>
                    <a:pt x="7" y="180"/>
                    <a:pt x="7" y="180"/>
                    <a:pt x="7" y="180"/>
                  </a:cubicBezTo>
                  <a:cubicBezTo>
                    <a:pt x="4" y="187"/>
                    <a:pt x="4" y="187"/>
                    <a:pt x="4" y="187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69" y="205"/>
                    <a:pt x="169" y="205"/>
                    <a:pt x="169" y="205"/>
                  </a:cubicBezTo>
                  <a:lnTo>
                    <a:pt x="287" y="205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29" name="Oklahoma">
              <a:extLst>
                <a:ext uri="{FF2B5EF4-FFF2-40B4-BE49-F238E27FC236}">
                  <a16:creationId xmlns:a16="http://schemas.microsoft.com/office/drawing/2014/main" id="{3259A6BA-E427-4B94-8BD2-D4645C3C9B46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5405474" y="3189710"/>
              <a:ext cx="1332448" cy="708855"/>
            </a:xfrm>
            <a:custGeom>
              <a:avLst/>
              <a:gdLst>
                <a:gd name="T0" fmla="*/ 337 w 337"/>
                <a:gd name="T1" fmla="*/ 84 h 179"/>
                <a:gd name="T2" fmla="*/ 331 w 337"/>
                <a:gd name="T3" fmla="*/ 78 h 179"/>
                <a:gd name="T4" fmla="*/ 325 w 337"/>
                <a:gd name="T5" fmla="*/ 74 h 179"/>
                <a:gd name="T6" fmla="*/ 325 w 337"/>
                <a:gd name="T7" fmla="*/ 40 h 179"/>
                <a:gd name="T8" fmla="*/ 325 w 337"/>
                <a:gd name="T9" fmla="*/ 40 h 179"/>
                <a:gd name="T10" fmla="*/ 325 w 337"/>
                <a:gd name="T11" fmla="*/ 39 h 179"/>
                <a:gd name="T12" fmla="*/ 325 w 337"/>
                <a:gd name="T13" fmla="*/ 0 h 179"/>
                <a:gd name="T14" fmla="*/ 41 w 337"/>
                <a:gd name="T15" fmla="*/ 0 h 179"/>
                <a:gd name="T16" fmla="*/ 40 w 337"/>
                <a:gd name="T17" fmla="*/ 0 h 179"/>
                <a:gd name="T18" fmla="*/ 0 w 337"/>
                <a:gd name="T19" fmla="*/ 0 h 179"/>
                <a:gd name="T20" fmla="*/ 0 w 337"/>
                <a:gd name="T21" fmla="*/ 40 h 179"/>
                <a:gd name="T22" fmla="*/ 0 w 337"/>
                <a:gd name="T23" fmla="*/ 40 h 179"/>
                <a:gd name="T24" fmla="*/ 117 w 337"/>
                <a:gd name="T25" fmla="*/ 40 h 179"/>
                <a:gd name="T26" fmla="*/ 117 w 337"/>
                <a:gd name="T27" fmla="*/ 129 h 179"/>
                <a:gd name="T28" fmla="*/ 121 w 337"/>
                <a:gd name="T29" fmla="*/ 137 h 179"/>
                <a:gd name="T30" fmla="*/ 140 w 337"/>
                <a:gd name="T31" fmla="*/ 137 h 179"/>
                <a:gd name="T32" fmla="*/ 140 w 337"/>
                <a:gd name="T33" fmla="*/ 144 h 179"/>
                <a:gd name="T34" fmla="*/ 140 w 337"/>
                <a:gd name="T35" fmla="*/ 144 h 179"/>
                <a:gd name="T36" fmla="*/ 147 w 337"/>
                <a:gd name="T37" fmla="*/ 149 h 179"/>
                <a:gd name="T38" fmla="*/ 155 w 337"/>
                <a:gd name="T39" fmla="*/ 149 h 179"/>
                <a:gd name="T40" fmla="*/ 156 w 337"/>
                <a:gd name="T41" fmla="*/ 149 h 179"/>
                <a:gd name="T42" fmla="*/ 156 w 337"/>
                <a:gd name="T43" fmla="*/ 149 h 179"/>
                <a:gd name="T44" fmla="*/ 157 w 337"/>
                <a:gd name="T45" fmla="*/ 148 h 179"/>
                <a:gd name="T46" fmla="*/ 159 w 337"/>
                <a:gd name="T47" fmla="*/ 149 h 179"/>
                <a:gd name="T48" fmla="*/ 163 w 337"/>
                <a:gd name="T49" fmla="*/ 150 h 179"/>
                <a:gd name="T50" fmla="*/ 168 w 337"/>
                <a:gd name="T51" fmla="*/ 149 h 179"/>
                <a:gd name="T52" fmla="*/ 178 w 337"/>
                <a:gd name="T53" fmla="*/ 150 h 179"/>
                <a:gd name="T54" fmla="*/ 185 w 337"/>
                <a:gd name="T55" fmla="*/ 155 h 179"/>
                <a:gd name="T56" fmla="*/ 189 w 337"/>
                <a:gd name="T57" fmla="*/ 160 h 179"/>
                <a:gd name="T58" fmla="*/ 189 w 337"/>
                <a:gd name="T59" fmla="*/ 163 h 179"/>
                <a:gd name="T60" fmla="*/ 193 w 337"/>
                <a:gd name="T61" fmla="*/ 167 h 179"/>
                <a:gd name="T62" fmla="*/ 197 w 337"/>
                <a:gd name="T63" fmla="*/ 167 h 179"/>
                <a:gd name="T64" fmla="*/ 202 w 337"/>
                <a:gd name="T65" fmla="*/ 161 h 179"/>
                <a:gd name="T66" fmla="*/ 207 w 337"/>
                <a:gd name="T67" fmla="*/ 163 h 179"/>
                <a:gd name="T68" fmla="*/ 207 w 337"/>
                <a:gd name="T69" fmla="*/ 167 h 179"/>
                <a:gd name="T70" fmla="*/ 246 w 337"/>
                <a:gd name="T71" fmla="*/ 167 h 179"/>
                <a:gd name="T72" fmla="*/ 246 w 337"/>
                <a:gd name="T73" fmla="*/ 177 h 179"/>
                <a:gd name="T74" fmla="*/ 262 w 337"/>
                <a:gd name="T75" fmla="*/ 177 h 179"/>
                <a:gd name="T76" fmla="*/ 264 w 337"/>
                <a:gd name="T77" fmla="*/ 179 h 179"/>
                <a:gd name="T78" fmla="*/ 266 w 337"/>
                <a:gd name="T79" fmla="*/ 177 h 179"/>
                <a:gd name="T80" fmla="*/ 271 w 337"/>
                <a:gd name="T81" fmla="*/ 174 h 179"/>
                <a:gd name="T82" fmla="*/ 272 w 337"/>
                <a:gd name="T83" fmla="*/ 173 h 179"/>
                <a:gd name="T84" fmla="*/ 272 w 337"/>
                <a:gd name="T85" fmla="*/ 173 h 179"/>
                <a:gd name="T86" fmla="*/ 276 w 337"/>
                <a:gd name="T87" fmla="*/ 171 h 179"/>
                <a:gd name="T88" fmla="*/ 279 w 337"/>
                <a:gd name="T89" fmla="*/ 171 h 179"/>
                <a:gd name="T90" fmla="*/ 291 w 337"/>
                <a:gd name="T91" fmla="*/ 170 h 179"/>
                <a:gd name="T92" fmla="*/ 292 w 337"/>
                <a:gd name="T93" fmla="*/ 169 h 179"/>
                <a:gd name="T94" fmla="*/ 298 w 337"/>
                <a:gd name="T95" fmla="*/ 166 h 179"/>
                <a:gd name="T96" fmla="*/ 300 w 337"/>
                <a:gd name="T97" fmla="*/ 166 h 179"/>
                <a:gd name="T98" fmla="*/ 308 w 337"/>
                <a:gd name="T99" fmla="*/ 173 h 179"/>
                <a:gd name="T100" fmla="*/ 308 w 337"/>
                <a:gd name="T101" fmla="*/ 174 h 179"/>
                <a:gd name="T102" fmla="*/ 316 w 337"/>
                <a:gd name="T103" fmla="*/ 175 h 179"/>
                <a:gd name="T104" fmla="*/ 318 w 337"/>
                <a:gd name="T105" fmla="*/ 179 h 179"/>
                <a:gd name="T106" fmla="*/ 318 w 337"/>
                <a:gd name="T107" fmla="*/ 179 h 179"/>
                <a:gd name="T108" fmla="*/ 319 w 337"/>
                <a:gd name="T109" fmla="*/ 179 h 179"/>
                <a:gd name="T110" fmla="*/ 320 w 337"/>
                <a:gd name="T111" fmla="*/ 179 h 179"/>
                <a:gd name="T112" fmla="*/ 323 w 337"/>
                <a:gd name="T113" fmla="*/ 177 h 179"/>
                <a:gd name="T114" fmla="*/ 325 w 337"/>
                <a:gd name="T115" fmla="*/ 179 h 179"/>
                <a:gd name="T116" fmla="*/ 337 w 337"/>
                <a:gd name="T117" fmla="*/ 179 h 179"/>
                <a:gd name="T118" fmla="*/ 337 w 337"/>
                <a:gd name="T119" fmla="*/ 179 h 179"/>
                <a:gd name="T120" fmla="*/ 337 w 337"/>
                <a:gd name="T121" fmla="*/ 84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37" h="179">
                  <a:moveTo>
                    <a:pt x="337" y="84"/>
                  </a:moveTo>
                  <a:cubicBezTo>
                    <a:pt x="331" y="78"/>
                    <a:pt x="331" y="78"/>
                    <a:pt x="331" y="78"/>
                  </a:cubicBezTo>
                  <a:cubicBezTo>
                    <a:pt x="325" y="74"/>
                    <a:pt x="325" y="74"/>
                    <a:pt x="325" y="74"/>
                  </a:cubicBezTo>
                  <a:cubicBezTo>
                    <a:pt x="325" y="40"/>
                    <a:pt x="325" y="40"/>
                    <a:pt x="325" y="40"/>
                  </a:cubicBezTo>
                  <a:cubicBezTo>
                    <a:pt x="325" y="40"/>
                    <a:pt x="325" y="40"/>
                    <a:pt x="325" y="40"/>
                  </a:cubicBezTo>
                  <a:cubicBezTo>
                    <a:pt x="325" y="39"/>
                    <a:pt x="325" y="39"/>
                    <a:pt x="325" y="39"/>
                  </a:cubicBezTo>
                  <a:cubicBezTo>
                    <a:pt x="325" y="0"/>
                    <a:pt x="325" y="0"/>
                    <a:pt x="325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7" y="129"/>
                    <a:pt x="117" y="129"/>
                    <a:pt x="117" y="129"/>
                  </a:cubicBezTo>
                  <a:cubicBezTo>
                    <a:pt x="121" y="137"/>
                    <a:pt x="121" y="137"/>
                    <a:pt x="121" y="137"/>
                  </a:cubicBezTo>
                  <a:cubicBezTo>
                    <a:pt x="140" y="137"/>
                    <a:pt x="140" y="137"/>
                    <a:pt x="140" y="137"/>
                  </a:cubicBezTo>
                  <a:cubicBezTo>
                    <a:pt x="140" y="144"/>
                    <a:pt x="140" y="144"/>
                    <a:pt x="140" y="144"/>
                  </a:cubicBezTo>
                  <a:cubicBezTo>
                    <a:pt x="140" y="144"/>
                    <a:pt x="140" y="144"/>
                    <a:pt x="140" y="144"/>
                  </a:cubicBezTo>
                  <a:cubicBezTo>
                    <a:pt x="141" y="145"/>
                    <a:pt x="144" y="149"/>
                    <a:pt x="147" y="149"/>
                  </a:cubicBezTo>
                  <a:cubicBezTo>
                    <a:pt x="155" y="149"/>
                    <a:pt x="155" y="149"/>
                    <a:pt x="155" y="149"/>
                  </a:cubicBezTo>
                  <a:cubicBezTo>
                    <a:pt x="156" y="149"/>
                    <a:pt x="156" y="149"/>
                    <a:pt x="156" y="149"/>
                  </a:cubicBezTo>
                  <a:cubicBezTo>
                    <a:pt x="156" y="149"/>
                    <a:pt x="156" y="149"/>
                    <a:pt x="156" y="149"/>
                  </a:cubicBezTo>
                  <a:cubicBezTo>
                    <a:pt x="156" y="148"/>
                    <a:pt x="156" y="148"/>
                    <a:pt x="157" y="148"/>
                  </a:cubicBezTo>
                  <a:cubicBezTo>
                    <a:pt x="157" y="148"/>
                    <a:pt x="158" y="149"/>
                    <a:pt x="159" y="149"/>
                  </a:cubicBezTo>
                  <a:cubicBezTo>
                    <a:pt x="161" y="150"/>
                    <a:pt x="162" y="150"/>
                    <a:pt x="163" y="150"/>
                  </a:cubicBezTo>
                  <a:cubicBezTo>
                    <a:pt x="165" y="150"/>
                    <a:pt x="167" y="149"/>
                    <a:pt x="168" y="149"/>
                  </a:cubicBezTo>
                  <a:cubicBezTo>
                    <a:pt x="178" y="150"/>
                    <a:pt x="178" y="150"/>
                    <a:pt x="178" y="150"/>
                  </a:cubicBezTo>
                  <a:cubicBezTo>
                    <a:pt x="185" y="155"/>
                    <a:pt x="185" y="155"/>
                    <a:pt x="185" y="155"/>
                  </a:cubicBezTo>
                  <a:cubicBezTo>
                    <a:pt x="189" y="160"/>
                    <a:pt x="189" y="160"/>
                    <a:pt x="189" y="160"/>
                  </a:cubicBezTo>
                  <a:cubicBezTo>
                    <a:pt x="189" y="163"/>
                    <a:pt x="189" y="163"/>
                    <a:pt x="189" y="163"/>
                  </a:cubicBezTo>
                  <a:cubicBezTo>
                    <a:pt x="193" y="167"/>
                    <a:pt x="193" y="167"/>
                    <a:pt x="193" y="167"/>
                  </a:cubicBezTo>
                  <a:cubicBezTo>
                    <a:pt x="197" y="167"/>
                    <a:pt x="197" y="167"/>
                    <a:pt x="197" y="167"/>
                  </a:cubicBezTo>
                  <a:cubicBezTo>
                    <a:pt x="202" y="161"/>
                    <a:pt x="202" y="161"/>
                    <a:pt x="202" y="161"/>
                  </a:cubicBezTo>
                  <a:cubicBezTo>
                    <a:pt x="207" y="163"/>
                    <a:pt x="207" y="163"/>
                    <a:pt x="207" y="163"/>
                  </a:cubicBezTo>
                  <a:cubicBezTo>
                    <a:pt x="207" y="167"/>
                    <a:pt x="207" y="167"/>
                    <a:pt x="207" y="167"/>
                  </a:cubicBezTo>
                  <a:cubicBezTo>
                    <a:pt x="246" y="167"/>
                    <a:pt x="246" y="167"/>
                    <a:pt x="246" y="167"/>
                  </a:cubicBezTo>
                  <a:cubicBezTo>
                    <a:pt x="246" y="177"/>
                    <a:pt x="246" y="177"/>
                    <a:pt x="246" y="177"/>
                  </a:cubicBezTo>
                  <a:cubicBezTo>
                    <a:pt x="262" y="177"/>
                    <a:pt x="262" y="177"/>
                    <a:pt x="262" y="177"/>
                  </a:cubicBezTo>
                  <a:cubicBezTo>
                    <a:pt x="262" y="178"/>
                    <a:pt x="263" y="178"/>
                    <a:pt x="264" y="179"/>
                  </a:cubicBezTo>
                  <a:cubicBezTo>
                    <a:pt x="265" y="179"/>
                    <a:pt x="266" y="178"/>
                    <a:pt x="266" y="177"/>
                  </a:cubicBezTo>
                  <a:cubicBezTo>
                    <a:pt x="268" y="175"/>
                    <a:pt x="271" y="174"/>
                    <a:pt x="271" y="174"/>
                  </a:cubicBezTo>
                  <a:cubicBezTo>
                    <a:pt x="272" y="173"/>
                    <a:pt x="272" y="173"/>
                    <a:pt x="272" y="173"/>
                  </a:cubicBezTo>
                  <a:cubicBezTo>
                    <a:pt x="272" y="173"/>
                    <a:pt x="272" y="173"/>
                    <a:pt x="272" y="173"/>
                  </a:cubicBezTo>
                  <a:cubicBezTo>
                    <a:pt x="273" y="172"/>
                    <a:pt x="275" y="171"/>
                    <a:pt x="276" y="171"/>
                  </a:cubicBezTo>
                  <a:cubicBezTo>
                    <a:pt x="279" y="171"/>
                    <a:pt x="279" y="171"/>
                    <a:pt x="279" y="171"/>
                  </a:cubicBezTo>
                  <a:cubicBezTo>
                    <a:pt x="291" y="170"/>
                    <a:pt x="291" y="170"/>
                    <a:pt x="291" y="170"/>
                  </a:cubicBezTo>
                  <a:cubicBezTo>
                    <a:pt x="292" y="169"/>
                    <a:pt x="292" y="169"/>
                    <a:pt x="292" y="169"/>
                  </a:cubicBezTo>
                  <a:cubicBezTo>
                    <a:pt x="292" y="168"/>
                    <a:pt x="295" y="166"/>
                    <a:pt x="298" y="166"/>
                  </a:cubicBezTo>
                  <a:cubicBezTo>
                    <a:pt x="298" y="166"/>
                    <a:pt x="299" y="166"/>
                    <a:pt x="300" y="166"/>
                  </a:cubicBezTo>
                  <a:cubicBezTo>
                    <a:pt x="304" y="168"/>
                    <a:pt x="307" y="172"/>
                    <a:pt x="308" y="173"/>
                  </a:cubicBezTo>
                  <a:cubicBezTo>
                    <a:pt x="308" y="174"/>
                    <a:pt x="308" y="174"/>
                    <a:pt x="308" y="174"/>
                  </a:cubicBezTo>
                  <a:cubicBezTo>
                    <a:pt x="316" y="175"/>
                    <a:pt x="316" y="175"/>
                    <a:pt x="316" y="175"/>
                  </a:cubicBezTo>
                  <a:cubicBezTo>
                    <a:pt x="316" y="176"/>
                    <a:pt x="316" y="178"/>
                    <a:pt x="318" y="179"/>
                  </a:cubicBezTo>
                  <a:cubicBezTo>
                    <a:pt x="318" y="179"/>
                    <a:pt x="318" y="179"/>
                    <a:pt x="318" y="179"/>
                  </a:cubicBezTo>
                  <a:cubicBezTo>
                    <a:pt x="319" y="179"/>
                    <a:pt x="319" y="179"/>
                    <a:pt x="319" y="179"/>
                  </a:cubicBezTo>
                  <a:cubicBezTo>
                    <a:pt x="319" y="179"/>
                    <a:pt x="319" y="179"/>
                    <a:pt x="320" y="179"/>
                  </a:cubicBezTo>
                  <a:cubicBezTo>
                    <a:pt x="323" y="177"/>
                    <a:pt x="323" y="177"/>
                    <a:pt x="323" y="177"/>
                  </a:cubicBezTo>
                  <a:cubicBezTo>
                    <a:pt x="325" y="179"/>
                    <a:pt x="325" y="179"/>
                    <a:pt x="325" y="179"/>
                  </a:cubicBezTo>
                  <a:cubicBezTo>
                    <a:pt x="337" y="179"/>
                    <a:pt x="337" y="179"/>
                    <a:pt x="337" y="179"/>
                  </a:cubicBezTo>
                  <a:cubicBezTo>
                    <a:pt x="337" y="179"/>
                    <a:pt x="337" y="179"/>
                    <a:pt x="337" y="179"/>
                  </a:cubicBezTo>
                  <a:lnTo>
                    <a:pt x="337" y="84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30" name="Ohio">
              <a:extLst>
                <a:ext uri="{FF2B5EF4-FFF2-40B4-BE49-F238E27FC236}">
                  <a16:creationId xmlns:a16="http://schemas.microsoft.com/office/drawing/2014/main" id="{C29F9098-4737-4276-926C-22580B4EB224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8185725" y="2408967"/>
              <a:ext cx="663716" cy="665388"/>
            </a:xfrm>
            <a:custGeom>
              <a:avLst/>
              <a:gdLst>
                <a:gd name="T0" fmla="*/ 0 w 168"/>
                <a:gd name="T1" fmla="*/ 13 h 168"/>
                <a:gd name="T2" fmla="*/ 0 w 168"/>
                <a:gd name="T3" fmla="*/ 138 h 168"/>
                <a:gd name="T4" fmla="*/ 0 w 168"/>
                <a:gd name="T5" fmla="*/ 138 h 168"/>
                <a:gd name="T6" fmla="*/ 10 w 168"/>
                <a:gd name="T7" fmla="*/ 138 h 168"/>
                <a:gd name="T8" fmla="*/ 15 w 168"/>
                <a:gd name="T9" fmla="*/ 144 h 168"/>
                <a:gd name="T10" fmla="*/ 20 w 168"/>
                <a:gd name="T11" fmla="*/ 150 h 168"/>
                <a:gd name="T12" fmla="*/ 44 w 168"/>
                <a:gd name="T13" fmla="*/ 150 h 168"/>
                <a:gd name="T14" fmla="*/ 49 w 168"/>
                <a:gd name="T15" fmla="*/ 156 h 168"/>
                <a:gd name="T16" fmla="*/ 52 w 168"/>
                <a:gd name="T17" fmla="*/ 156 h 168"/>
                <a:gd name="T18" fmla="*/ 57 w 168"/>
                <a:gd name="T19" fmla="*/ 155 h 168"/>
                <a:gd name="T20" fmla="*/ 60 w 168"/>
                <a:gd name="T21" fmla="*/ 156 h 168"/>
                <a:gd name="T22" fmla="*/ 69 w 168"/>
                <a:gd name="T23" fmla="*/ 159 h 168"/>
                <a:gd name="T24" fmla="*/ 82 w 168"/>
                <a:gd name="T25" fmla="*/ 159 h 168"/>
                <a:gd name="T26" fmla="*/ 89 w 168"/>
                <a:gd name="T27" fmla="*/ 166 h 168"/>
                <a:gd name="T28" fmla="*/ 91 w 168"/>
                <a:gd name="T29" fmla="*/ 168 h 168"/>
                <a:gd name="T30" fmla="*/ 91 w 168"/>
                <a:gd name="T31" fmla="*/ 167 h 168"/>
                <a:gd name="T32" fmla="*/ 91 w 168"/>
                <a:gd name="T33" fmla="*/ 165 h 168"/>
                <a:gd name="T34" fmla="*/ 105 w 168"/>
                <a:gd name="T35" fmla="*/ 157 h 168"/>
                <a:gd name="T36" fmla="*/ 107 w 168"/>
                <a:gd name="T37" fmla="*/ 152 h 168"/>
                <a:gd name="T38" fmla="*/ 110 w 168"/>
                <a:gd name="T39" fmla="*/ 150 h 168"/>
                <a:gd name="T40" fmla="*/ 123 w 168"/>
                <a:gd name="T41" fmla="*/ 145 h 168"/>
                <a:gd name="T42" fmla="*/ 130 w 168"/>
                <a:gd name="T43" fmla="*/ 139 h 168"/>
                <a:gd name="T44" fmla="*/ 131 w 168"/>
                <a:gd name="T45" fmla="*/ 140 h 168"/>
                <a:gd name="T46" fmla="*/ 134 w 168"/>
                <a:gd name="T47" fmla="*/ 139 h 168"/>
                <a:gd name="T48" fmla="*/ 136 w 168"/>
                <a:gd name="T49" fmla="*/ 136 h 168"/>
                <a:gd name="T50" fmla="*/ 141 w 168"/>
                <a:gd name="T51" fmla="*/ 129 h 168"/>
                <a:gd name="T52" fmla="*/ 146 w 168"/>
                <a:gd name="T53" fmla="*/ 129 h 168"/>
                <a:gd name="T54" fmla="*/ 152 w 168"/>
                <a:gd name="T55" fmla="*/ 122 h 168"/>
                <a:gd name="T56" fmla="*/ 156 w 168"/>
                <a:gd name="T57" fmla="*/ 118 h 168"/>
                <a:gd name="T58" fmla="*/ 156 w 168"/>
                <a:gd name="T59" fmla="*/ 106 h 168"/>
                <a:gd name="T60" fmla="*/ 161 w 168"/>
                <a:gd name="T61" fmla="*/ 106 h 168"/>
                <a:gd name="T62" fmla="*/ 161 w 168"/>
                <a:gd name="T63" fmla="*/ 98 h 168"/>
                <a:gd name="T64" fmla="*/ 161 w 168"/>
                <a:gd name="T65" fmla="*/ 94 h 168"/>
                <a:gd name="T66" fmla="*/ 161 w 168"/>
                <a:gd name="T67" fmla="*/ 89 h 168"/>
                <a:gd name="T68" fmla="*/ 161 w 168"/>
                <a:gd name="T69" fmla="*/ 82 h 168"/>
                <a:gd name="T70" fmla="*/ 161 w 168"/>
                <a:gd name="T71" fmla="*/ 78 h 168"/>
                <a:gd name="T72" fmla="*/ 166 w 168"/>
                <a:gd name="T73" fmla="*/ 65 h 168"/>
                <a:gd name="T74" fmla="*/ 168 w 168"/>
                <a:gd name="T75" fmla="*/ 61 h 168"/>
                <a:gd name="T76" fmla="*/ 168 w 168"/>
                <a:gd name="T77" fmla="*/ 2 h 168"/>
                <a:gd name="T78" fmla="*/ 168 w 168"/>
                <a:gd name="T79" fmla="*/ 0 h 168"/>
                <a:gd name="T80" fmla="*/ 124 w 168"/>
                <a:gd name="T81" fmla="*/ 25 h 168"/>
                <a:gd name="T82" fmla="*/ 112 w 168"/>
                <a:gd name="T83" fmla="*/ 25 h 168"/>
                <a:gd name="T84" fmla="*/ 100 w 168"/>
                <a:gd name="T85" fmla="*/ 29 h 168"/>
                <a:gd name="T86" fmla="*/ 84 w 168"/>
                <a:gd name="T87" fmla="*/ 25 h 168"/>
                <a:gd name="T88" fmla="*/ 77 w 168"/>
                <a:gd name="T89" fmla="*/ 25 h 168"/>
                <a:gd name="T90" fmla="*/ 69 w 168"/>
                <a:gd name="T91" fmla="*/ 17 h 168"/>
                <a:gd name="T92" fmla="*/ 61 w 168"/>
                <a:gd name="T93" fmla="*/ 13 h 168"/>
                <a:gd name="T94" fmla="*/ 62 w 168"/>
                <a:gd name="T95" fmla="*/ 13 h 168"/>
                <a:gd name="T96" fmla="*/ 1 w 168"/>
                <a:gd name="T97" fmla="*/ 13 h 168"/>
                <a:gd name="T98" fmla="*/ 0 w 168"/>
                <a:gd name="T99" fmla="*/ 13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8" h="168">
                  <a:moveTo>
                    <a:pt x="0" y="13"/>
                  </a:move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10" y="138"/>
                    <a:pt x="10" y="138"/>
                    <a:pt x="10" y="138"/>
                  </a:cubicBezTo>
                  <a:cubicBezTo>
                    <a:pt x="15" y="144"/>
                    <a:pt x="15" y="144"/>
                    <a:pt x="15" y="144"/>
                  </a:cubicBezTo>
                  <a:cubicBezTo>
                    <a:pt x="20" y="150"/>
                    <a:pt x="20" y="150"/>
                    <a:pt x="20" y="150"/>
                  </a:cubicBezTo>
                  <a:cubicBezTo>
                    <a:pt x="44" y="150"/>
                    <a:pt x="44" y="150"/>
                    <a:pt x="44" y="150"/>
                  </a:cubicBezTo>
                  <a:cubicBezTo>
                    <a:pt x="45" y="151"/>
                    <a:pt x="46" y="156"/>
                    <a:pt x="49" y="156"/>
                  </a:cubicBezTo>
                  <a:cubicBezTo>
                    <a:pt x="52" y="156"/>
                    <a:pt x="52" y="156"/>
                    <a:pt x="52" y="156"/>
                  </a:cubicBezTo>
                  <a:cubicBezTo>
                    <a:pt x="52" y="156"/>
                    <a:pt x="54" y="155"/>
                    <a:pt x="57" y="155"/>
                  </a:cubicBezTo>
                  <a:cubicBezTo>
                    <a:pt x="58" y="155"/>
                    <a:pt x="59" y="156"/>
                    <a:pt x="60" y="156"/>
                  </a:cubicBezTo>
                  <a:cubicBezTo>
                    <a:pt x="63" y="159"/>
                    <a:pt x="69" y="159"/>
                    <a:pt x="69" y="159"/>
                  </a:cubicBezTo>
                  <a:cubicBezTo>
                    <a:pt x="82" y="159"/>
                    <a:pt x="82" y="159"/>
                    <a:pt x="82" y="159"/>
                  </a:cubicBezTo>
                  <a:cubicBezTo>
                    <a:pt x="89" y="166"/>
                    <a:pt x="89" y="166"/>
                    <a:pt x="89" y="166"/>
                  </a:cubicBezTo>
                  <a:cubicBezTo>
                    <a:pt x="91" y="168"/>
                    <a:pt x="91" y="168"/>
                    <a:pt x="91" y="168"/>
                  </a:cubicBezTo>
                  <a:cubicBezTo>
                    <a:pt x="91" y="167"/>
                    <a:pt x="91" y="167"/>
                    <a:pt x="91" y="167"/>
                  </a:cubicBezTo>
                  <a:cubicBezTo>
                    <a:pt x="91" y="165"/>
                    <a:pt x="91" y="165"/>
                    <a:pt x="91" y="165"/>
                  </a:cubicBezTo>
                  <a:cubicBezTo>
                    <a:pt x="92" y="165"/>
                    <a:pt x="100" y="160"/>
                    <a:pt x="105" y="157"/>
                  </a:cubicBezTo>
                  <a:cubicBezTo>
                    <a:pt x="107" y="156"/>
                    <a:pt x="108" y="154"/>
                    <a:pt x="107" y="152"/>
                  </a:cubicBezTo>
                  <a:cubicBezTo>
                    <a:pt x="107" y="151"/>
                    <a:pt x="107" y="150"/>
                    <a:pt x="110" y="150"/>
                  </a:cubicBezTo>
                  <a:cubicBezTo>
                    <a:pt x="116" y="148"/>
                    <a:pt x="123" y="145"/>
                    <a:pt x="123" y="145"/>
                  </a:cubicBezTo>
                  <a:cubicBezTo>
                    <a:pt x="130" y="139"/>
                    <a:pt x="130" y="139"/>
                    <a:pt x="130" y="139"/>
                  </a:cubicBezTo>
                  <a:cubicBezTo>
                    <a:pt x="131" y="140"/>
                    <a:pt x="131" y="140"/>
                    <a:pt x="131" y="140"/>
                  </a:cubicBezTo>
                  <a:cubicBezTo>
                    <a:pt x="132" y="140"/>
                    <a:pt x="133" y="140"/>
                    <a:pt x="134" y="139"/>
                  </a:cubicBezTo>
                  <a:cubicBezTo>
                    <a:pt x="136" y="136"/>
                    <a:pt x="136" y="136"/>
                    <a:pt x="136" y="136"/>
                  </a:cubicBezTo>
                  <a:cubicBezTo>
                    <a:pt x="141" y="129"/>
                    <a:pt x="141" y="129"/>
                    <a:pt x="141" y="129"/>
                  </a:cubicBezTo>
                  <a:cubicBezTo>
                    <a:pt x="146" y="129"/>
                    <a:pt x="146" y="129"/>
                    <a:pt x="146" y="129"/>
                  </a:cubicBezTo>
                  <a:cubicBezTo>
                    <a:pt x="152" y="122"/>
                    <a:pt x="152" y="122"/>
                    <a:pt x="152" y="122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6" y="106"/>
                    <a:pt x="156" y="106"/>
                    <a:pt x="156" y="106"/>
                  </a:cubicBezTo>
                  <a:cubicBezTo>
                    <a:pt x="161" y="106"/>
                    <a:pt x="161" y="106"/>
                    <a:pt x="161" y="106"/>
                  </a:cubicBezTo>
                  <a:cubicBezTo>
                    <a:pt x="161" y="98"/>
                    <a:pt x="161" y="98"/>
                    <a:pt x="161" y="98"/>
                  </a:cubicBezTo>
                  <a:cubicBezTo>
                    <a:pt x="161" y="96"/>
                    <a:pt x="161" y="95"/>
                    <a:pt x="161" y="94"/>
                  </a:cubicBezTo>
                  <a:cubicBezTo>
                    <a:pt x="161" y="92"/>
                    <a:pt x="161" y="91"/>
                    <a:pt x="161" y="89"/>
                  </a:cubicBezTo>
                  <a:cubicBezTo>
                    <a:pt x="162" y="87"/>
                    <a:pt x="161" y="84"/>
                    <a:pt x="161" y="82"/>
                  </a:cubicBezTo>
                  <a:cubicBezTo>
                    <a:pt x="161" y="78"/>
                    <a:pt x="161" y="78"/>
                    <a:pt x="161" y="78"/>
                  </a:cubicBezTo>
                  <a:cubicBezTo>
                    <a:pt x="166" y="65"/>
                    <a:pt x="166" y="65"/>
                    <a:pt x="166" y="65"/>
                  </a:cubicBezTo>
                  <a:cubicBezTo>
                    <a:pt x="168" y="61"/>
                    <a:pt x="168" y="61"/>
                    <a:pt x="168" y="61"/>
                  </a:cubicBezTo>
                  <a:cubicBezTo>
                    <a:pt x="168" y="2"/>
                    <a:pt x="168" y="2"/>
                    <a:pt x="168" y="2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24" y="25"/>
                    <a:pt x="124" y="25"/>
                    <a:pt x="124" y="25"/>
                  </a:cubicBezTo>
                  <a:cubicBezTo>
                    <a:pt x="112" y="25"/>
                    <a:pt x="112" y="25"/>
                    <a:pt x="112" y="25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1" y="13"/>
                    <a:pt x="1" y="13"/>
                    <a:pt x="1" y="13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31" name="North Dakota">
              <a:extLst>
                <a:ext uri="{FF2B5EF4-FFF2-40B4-BE49-F238E27FC236}">
                  <a16:creationId xmlns:a16="http://schemas.microsoft.com/office/drawing/2014/main" id="{2ADA4986-C02C-4F8D-ABB4-4A7139DDC5A4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5239963" y="885931"/>
              <a:ext cx="1135172" cy="608546"/>
            </a:xfrm>
            <a:custGeom>
              <a:avLst/>
              <a:gdLst>
                <a:gd name="T0" fmla="*/ 0 w 679"/>
                <a:gd name="T1" fmla="*/ 364 h 364"/>
                <a:gd name="T2" fmla="*/ 2 w 679"/>
                <a:gd name="T3" fmla="*/ 364 h 364"/>
                <a:gd name="T4" fmla="*/ 679 w 679"/>
                <a:gd name="T5" fmla="*/ 364 h 364"/>
                <a:gd name="T6" fmla="*/ 679 w 679"/>
                <a:gd name="T7" fmla="*/ 362 h 364"/>
                <a:gd name="T8" fmla="*/ 679 w 679"/>
                <a:gd name="T9" fmla="*/ 362 h 364"/>
                <a:gd name="T10" fmla="*/ 674 w 679"/>
                <a:gd name="T11" fmla="*/ 319 h 364"/>
                <a:gd name="T12" fmla="*/ 674 w 679"/>
                <a:gd name="T13" fmla="*/ 291 h 364"/>
                <a:gd name="T14" fmla="*/ 645 w 679"/>
                <a:gd name="T15" fmla="*/ 241 h 364"/>
                <a:gd name="T16" fmla="*/ 645 w 679"/>
                <a:gd name="T17" fmla="*/ 163 h 364"/>
                <a:gd name="T18" fmla="*/ 622 w 679"/>
                <a:gd name="T19" fmla="*/ 118 h 364"/>
                <a:gd name="T20" fmla="*/ 622 w 679"/>
                <a:gd name="T21" fmla="*/ 0 h 364"/>
                <a:gd name="T22" fmla="*/ 0 w 679"/>
                <a:gd name="T23" fmla="*/ 0 h 364"/>
                <a:gd name="T24" fmla="*/ 0 w 679"/>
                <a:gd name="T25" fmla="*/ 364 h 364"/>
                <a:gd name="T26" fmla="*/ 0 w 679"/>
                <a:gd name="T27" fmla="*/ 364 h 364"/>
                <a:gd name="T28" fmla="*/ 0 w 679"/>
                <a:gd name="T29" fmla="*/ 364 h 364"/>
                <a:gd name="T30" fmla="*/ 0 w 679"/>
                <a:gd name="T31" fmla="*/ 364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79" h="364">
                  <a:moveTo>
                    <a:pt x="0" y="364"/>
                  </a:moveTo>
                  <a:lnTo>
                    <a:pt x="2" y="364"/>
                  </a:lnTo>
                  <a:lnTo>
                    <a:pt x="679" y="364"/>
                  </a:lnTo>
                  <a:lnTo>
                    <a:pt x="679" y="362"/>
                  </a:lnTo>
                  <a:lnTo>
                    <a:pt x="679" y="362"/>
                  </a:lnTo>
                  <a:lnTo>
                    <a:pt x="674" y="319"/>
                  </a:lnTo>
                  <a:lnTo>
                    <a:pt x="674" y="291"/>
                  </a:lnTo>
                  <a:lnTo>
                    <a:pt x="645" y="241"/>
                  </a:lnTo>
                  <a:lnTo>
                    <a:pt x="645" y="163"/>
                  </a:lnTo>
                  <a:lnTo>
                    <a:pt x="622" y="118"/>
                  </a:lnTo>
                  <a:lnTo>
                    <a:pt x="622" y="0"/>
                  </a:lnTo>
                  <a:lnTo>
                    <a:pt x="0" y="0"/>
                  </a:lnTo>
                  <a:lnTo>
                    <a:pt x="0" y="364"/>
                  </a:lnTo>
                  <a:lnTo>
                    <a:pt x="0" y="364"/>
                  </a:lnTo>
                  <a:lnTo>
                    <a:pt x="0" y="364"/>
                  </a:lnTo>
                  <a:lnTo>
                    <a:pt x="0" y="364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32" name="North Carolina">
              <a:extLst>
                <a:ext uri="{FF2B5EF4-FFF2-40B4-BE49-F238E27FC236}">
                  <a16:creationId xmlns:a16="http://schemas.microsoft.com/office/drawing/2014/main" id="{1EFBC9B2-8114-4279-AC3C-46E33FA0DB09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8220833" y="3328472"/>
              <a:ext cx="1395977" cy="648669"/>
            </a:xfrm>
            <a:custGeom>
              <a:avLst/>
              <a:gdLst>
                <a:gd name="T0" fmla="*/ 103 w 353"/>
                <a:gd name="T1" fmla="*/ 22 h 164"/>
                <a:gd name="T2" fmla="*/ 95 w 353"/>
                <a:gd name="T3" fmla="*/ 25 h 164"/>
                <a:gd name="T4" fmla="*/ 94 w 353"/>
                <a:gd name="T5" fmla="*/ 29 h 164"/>
                <a:gd name="T6" fmla="*/ 66 w 353"/>
                <a:gd name="T7" fmla="*/ 34 h 164"/>
                <a:gd name="T8" fmla="*/ 50 w 353"/>
                <a:gd name="T9" fmla="*/ 45 h 164"/>
                <a:gd name="T10" fmla="*/ 42 w 353"/>
                <a:gd name="T11" fmla="*/ 48 h 164"/>
                <a:gd name="T12" fmla="*/ 31 w 353"/>
                <a:gd name="T13" fmla="*/ 52 h 164"/>
                <a:gd name="T14" fmla="*/ 19 w 353"/>
                <a:gd name="T15" fmla="*/ 58 h 164"/>
                <a:gd name="T16" fmla="*/ 7 w 353"/>
                <a:gd name="T17" fmla="*/ 65 h 164"/>
                <a:gd name="T18" fmla="*/ 3 w 353"/>
                <a:gd name="T19" fmla="*/ 70 h 164"/>
                <a:gd name="T20" fmla="*/ 0 w 353"/>
                <a:gd name="T21" fmla="*/ 73 h 164"/>
                <a:gd name="T22" fmla="*/ 0 w 353"/>
                <a:gd name="T23" fmla="*/ 78 h 164"/>
                <a:gd name="T24" fmla="*/ 73 w 353"/>
                <a:gd name="T25" fmla="*/ 74 h 164"/>
                <a:gd name="T26" fmla="*/ 70 w 353"/>
                <a:gd name="T27" fmla="*/ 74 h 164"/>
                <a:gd name="T28" fmla="*/ 75 w 353"/>
                <a:gd name="T29" fmla="*/ 71 h 164"/>
                <a:gd name="T30" fmla="*/ 140 w 353"/>
                <a:gd name="T31" fmla="*/ 71 h 164"/>
                <a:gd name="T32" fmla="*/ 154 w 353"/>
                <a:gd name="T33" fmla="*/ 78 h 164"/>
                <a:gd name="T34" fmla="*/ 193 w 353"/>
                <a:gd name="T35" fmla="*/ 88 h 164"/>
                <a:gd name="T36" fmla="*/ 206 w 353"/>
                <a:gd name="T37" fmla="*/ 95 h 164"/>
                <a:gd name="T38" fmla="*/ 211 w 353"/>
                <a:gd name="T39" fmla="*/ 107 h 164"/>
                <a:gd name="T40" fmla="*/ 226 w 353"/>
                <a:gd name="T41" fmla="*/ 122 h 164"/>
                <a:gd name="T42" fmla="*/ 230 w 353"/>
                <a:gd name="T43" fmla="*/ 125 h 164"/>
                <a:gd name="T44" fmla="*/ 239 w 353"/>
                <a:gd name="T45" fmla="*/ 144 h 164"/>
                <a:gd name="T46" fmla="*/ 255 w 353"/>
                <a:gd name="T47" fmla="*/ 163 h 164"/>
                <a:gd name="T48" fmla="*/ 255 w 353"/>
                <a:gd name="T49" fmla="*/ 163 h 164"/>
                <a:gd name="T50" fmla="*/ 255 w 353"/>
                <a:gd name="T51" fmla="*/ 164 h 164"/>
                <a:gd name="T52" fmla="*/ 271 w 353"/>
                <a:gd name="T53" fmla="*/ 152 h 164"/>
                <a:gd name="T54" fmla="*/ 298 w 353"/>
                <a:gd name="T55" fmla="*/ 133 h 164"/>
                <a:gd name="T56" fmla="*/ 325 w 353"/>
                <a:gd name="T57" fmla="*/ 125 h 164"/>
                <a:gd name="T58" fmla="*/ 325 w 353"/>
                <a:gd name="T59" fmla="*/ 113 h 164"/>
                <a:gd name="T60" fmla="*/ 317 w 353"/>
                <a:gd name="T61" fmla="*/ 117 h 164"/>
                <a:gd name="T62" fmla="*/ 314 w 353"/>
                <a:gd name="T63" fmla="*/ 113 h 164"/>
                <a:gd name="T64" fmla="*/ 317 w 353"/>
                <a:gd name="T65" fmla="*/ 105 h 164"/>
                <a:gd name="T66" fmla="*/ 321 w 353"/>
                <a:gd name="T67" fmla="*/ 98 h 164"/>
                <a:gd name="T68" fmla="*/ 317 w 353"/>
                <a:gd name="T69" fmla="*/ 94 h 164"/>
                <a:gd name="T70" fmla="*/ 325 w 353"/>
                <a:gd name="T71" fmla="*/ 94 h 164"/>
                <a:gd name="T72" fmla="*/ 337 w 353"/>
                <a:gd name="T73" fmla="*/ 98 h 164"/>
                <a:gd name="T74" fmla="*/ 349 w 353"/>
                <a:gd name="T75" fmla="*/ 86 h 164"/>
                <a:gd name="T76" fmla="*/ 349 w 353"/>
                <a:gd name="T77" fmla="*/ 74 h 164"/>
                <a:gd name="T78" fmla="*/ 341 w 353"/>
                <a:gd name="T79" fmla="*/ 82 h 164"/>
                <a:gd name="T80" fmla="*/ 337 w 353"/>
                <a:gd name="T81" fmla="*/ 70 h 164"/>
                <a:gd name="T82" fmla="*/ 314 w 353"/>
                <a:gd name="T83" fmla="*/ 55 h 164"/>
                <a:gd name="T84" fmla="*/ 317 w 353"/>
                <a:gd name="T85" fmla="*/ 62 h 164"/>
                <a:gd name="T86" fmla="*/ 325 w 353"/>
                <a:gd name="T87" fmla="*/ 66 h 164"/>
                <a:gd name="T88" fmla="*/ 337 w 353"/>
                <a:gd name="T89" fmla="*/ 59 h 164"/>
                <a:gd name="T90" fmla="*/ 346 w 353"/>
                <a:gd name="T91" fmla="*/ 59 h 164"/>
                <a:gd name="T92" fmla="*/ 347 w 353"/>
                <a:gd name="T93" fmla="*/ 57 h 164"/>
                <a:gd name="T94" fmla="*/ 341 w 353"/>
                <a:gd name="T95" fmla="*/ 47 h 164"/>
                <a:gd name="T96" fmla="*/ 345 w 353"/>
                <a:gd name="T97" fmla="*/ 23 h 164"/>
                <a:gd name="T98" fmla="*/ 329 w 353"/>
                <a:gd name="T99" fmla="*/ 23 h 164"/>
                <a:gd name="T100" fmla="*/ 321 w 353"/>
                <a:gd name="T101" fmla="*/ 16 h 164"/>
                <a:gd name="T102" fmla="*/ 333 w 353"/>
                <a:gd name="T103" fmla="*/ 16 h 164"/>
                <a:gd name="T104" fmla="*/ 325 w 353"/>
                <a:gd name="T105" fmla="*/ 12 h 164"/>
                <a:gd name="T106" fmla="*/ 325 w 353"/>
                <a:gd name="T107" fmla="*/ 4 h 164"/>
                <a:gd name="T108" fmla="*/ 106 w 353"/>
                <a:gd name="T109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53" h="164">
                  <a:moveTo>
                    <a:pt x="106" y="15"/>
                  </a:moveTo>
                  <a:cubicBezTo>
                    <a:pt x="103" y="22"/>
                    <a:pt x="103" y="22"/>
                    <a:pt x="103" y="22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95" y="25"/>
                    <a:pt x="95" y="25"/>
                    <a:pt x="95" y="25"/>
                  </a:cubicBezTo>
                  <a:cubicBezTo>
                    <a:pt x="94" y="26"/>
                    <a:pt x="94" y="27"/>
                    <a:pt x="94" y="28"/>
                  </a:cubicBezTo>
                  <a:cubicBezTo>
                    <a:pt x="94" y="29"/>
                    <a:pt x="94" y="29"/>
                    <a:pt x="94" y="29"/>
                  </a:cubicBezTo>
                  <a:cubicBezTo>
                    <a:pt x="84" y="34"/>
                    <a:pt x="84" y="34"/>
                    <a:pt x="84" y="34"/>
                  </a:cubicBezTo>
                  <a:cubicBezTo>
                    <a:pt x="66" y="34"/>
                    <a:pt x="66" y="34"/>
                    <a:pt x="66" y="34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5" y="61"/>
                    <a:pt x="9" y="65"/>
                    <a:pt x="7" y="65"/>
                  </a:cubicBezTo>
                  <a:cubicBezTo>
                    <a:pt x="5" y="65"/>
                    <a:pt x="4" y="68"/>
                    <a:pt x="3" y="70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73"/>
                    <a:pt x="0" y="74"/>
                    <a:pt x="0" y="75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0" y="74"/>
                    <a:pt x="70" y="74"/>
                    <a:pt x="70" y="74"/>
                  </a:cubicBezTo>
                  <a:cubicBezTo>
                    <a:pt x="73" y="72"/>
                    <a:pt x="73" y="72"/>
                    <a:pt x="73" y="72"/>
                  </a:cubicBezTo>
                  <a:cubicBezTo>
                    <a:pt x="73" y="72"/>
                    <a:pt x="74" y="71"/>
                    <a:pt x="75" y="71"/>
                  </a:cubicBezTo>
                  <a:cubicBezTo>
                    <a:pt x="76" y="71"/>
                    <a:pt x="78" y="70"/>
                    <a:pt x="95" y="70"/>
                  </a:cubicBezTo>
                  <a:cubicBezTo>
                    <a:pt x="109" y="70"/>
                    <a:pt x="127" y="70"/>
                    <a:pt x="140" y="71"/>
                  </a:cubicBezTo>
                  <a:cubicBezTo>
                    <a:pt x="140" y="71"/>
                    <a:pt x="140" y="71"/>
                    <a:pt x="140" y="71"/>
                  </a:cubicBezTo>
                  <a:cubicBezTo>
                    <a:pt x="154" y="78"/>
                    <a:pt x="154" y="78"/>
                    <a:pt x="154" y="78"/>
                  </a:cubicBezTo>
                  <a:cubicBezTo>
                    <a:pt x="165" y="88"/>
                    <a:pt x="165" y="88"/>
                    <a:pt x="165" y="88"/>
                  </a:cubicBezTo>
                  <a:cubicBezTo>
                    <a:pt x="193" y="88"/>
                    <a:pt x="193" y="88"/>
                    <a:pt x="193" y="88"/>
                  </a:cubicBezTo>
                  <a:cubicBezTo>
                    <a:pt x="198" y="90"/>
                    <a:pt x="198" y="90"/>
                    <a:pt x="198" y="90"/>
                  </a:cubicBezTo>
                  <a:cubicBezTo>
                    <a:pt x="206" y="95"/>
                    <a:pt x="206" y="95"/>
                    <a:pt x="206" y="95"/>
                  </a:cubicBezTo>
                  <a:cubicBezTo>
                    <a:pt x="211" y="99"/>
                    <a:pt x="211" y="99"/>
                    <a:pt x="211" y="99"/>
                  </a:cubicBezTo>
                  <a:cubicBezTo>
                    <a:pt x="211" y="107"/>
                    <a:pt x="211" y="107"/>
                    <a:pt x="211" y="107"/>
                  </a:cubicBezTo>
                  <a:cubicBezTo>
                    <a:pt x="220" y="114"/>
                    <a:pt x="220" y="114"/>
                    <a:pt x="220" y="114"/>
                  </a:cubicBezTo>
                  <a:cubicBezTo>
                    <a:pt x="226" y="122"/>
                    <a:pt x="226" y="122"/>
                    <a:pt x="226" y="122"/>
                  </a:cubicBezTo>
                  <a:cubicBezTo>
                    <a:pt x="230" y="125"/>
                    <a:pt x="230" y="125"/>
                    <a:pt x="230" y="125"/>
                  </a:cubicBezTo>
                  <a:cubicBezTo>
                    <a:pt x="230" y="125"/>
                    <a:pt x="230" y="125"/>
                    <a:pt x="230" y="125"/>
                  </a:cubicBezTo>
                  <a:cubicBezTo>
                    <a:pt x="239" y="132"/>
                    <a:pt x="239" y="132"/>
                    <a:pt x="239" y="132"/>
                  </a:cubicBezTo>
                  <a:cubicBezTo>
                    <a:pt x="239" y="144"/>
                    <a:pt x="239" y="144"/>
                    <a:pt x="239" y="144"/>
                  </a:cubicBezTo>
                  <a:cubicBezTo>
                    <a:pt x="254" y="163"/>
                    <a:pt x="254" y="163"/>
                    <a:pt x="254" y="163"/>
                  </a:cubicBezTo>
                  <a:cubicBezTo>
                    <a:pt x="255" y="163"/>
                    <a:pt x="255" y="163"/>
                    <a:pt x="255" y="163"/>
                  </a:cubicBezTo>
                  <a:cubicBezTo>
                    <a:pt x="255" y="163"/>
                    <a:pt x="255" y="163"/>
                    <a:pt x="255" y="163"/>
                  </a:cubicBezTo>
                  <a:cubicBezTo>
                    <a:pt x="255" y="163"/>
                    <a:pt x="255" y="163"/>
                    <a:pt x="255" y="163"/>
                  </a:cubicBezTo>
                  <a:cubicBezTo>
                    <a:pt x="255" y="163"/>
                    <a:pt x="255" y="163"/>
                    <a:pt x="255" y="163"/>
                  </a:cubicBezTo>
                  <a:cubicBezTo>
                    <a:pt x="255" y="164"/>
                    <a:pt x="255" y="164"/>
                    <a:pt x="255" y="164"/>
                  </a:cubicBezTo>
                  <a:cubicBezTo>
                    <a:pt x="271" y="160"/>
                    <a:pt x="271" y="160"/>
                    <a:pt x="271" y="160"/>
                  </a:cubicBezTo>
                  <a:cubicBezTo>
                    <a:pt x="271" y="152"/>
                    <a:pt x="271" y="152"/>
                    <a:pt x="271" y="152"/>
                  </a:cubicBezTo>
                  <a:cubicBezTo>
                    <a:pt x="278" y="141"/>
                    <a:pt x="278" y="141"/>
                    <a:pt x="278" y="141"/>
                  </a:cubicBezTo>
                  <a:cubicBezTo>
                    <a:pt x="298" y="133"/>
                    <a:pt x="298" y="133"/>
                    <a:pt x="298" y="133"/>
                  </a:cubicBezTo>
                  <a:cubicBezTo>
                    <a:pt x="314" y="133"/>
                    <a:pt x="314" y="133"/>
                    <a:pt x="314" y="133"/>
                  </a:cubicBezTo>
                  <a:cubicBezTo>
                    <a:pt x="325" y="125"/>
                    <a:pt x="325" y="125"/>
                    <a:pt x="325" y="125"/>
                  </a:cubicBezTo>
                  <a:cubicBezTo>
                    <a:pt x="325" y="121"/>
                    <a:pt x="325" y="121"/>
                    <a:pt x="325" y="121"/>
                  </a:cubicBezTo>
                  <a:cubicBezTo>
                    <a:pt x="325" y="113"/>
                    <a:pt x="325" y="113"/>
                    <a:pt x="325" y="113"/>
                  </a:cubicBezTo>
                  <a:cubicBezTo>
                    <a:pt x="317" y="113"/>
                    <a:pt x="317" y="113"/>
                    <a:pt x="317" y="113"/>
                  </a:cubicBezTo>
                  <a:cubicBezTo>
                    <a:pt x="317" y="117"/>
                    <a:pt x="317" y="117"/>
                    <a:pt x="317" y="117"/>
                  </a:cubicBezTo>
                  <a:cubicBezTo>
                    <a:pt x="314" y="117"/>
                    <a:pt x="314" y="117"/>
                    <a:pt x="314" y="117"/>
                  </a:cubicBezTo>
                  <a:cubicBezTo>
                    <a:pt x="314" y="113"/>
                    <a:pt x="314" y="113"/>
                    <a:pt x="314" y="113"/>
                  </a:cubicBezTo>
                  <a:cubicBezTo>
                    <a:pt x="317" y="109"/>
                    <a:pt x="317" y="109"/>
                    <a:pt x="317" y="109"/>
                  </a:cubicBezTo>
                  <a:cubicBezTo>
                    <a:pt x="317" y="105"/>
                    <a:pt x="317" y="105"/>
                    <a:pt x="317" y="105"/>
                  </a:cubicBezTo>
                  <a:cubicBezTo>
                    <a:pt x="321" y="102"/>
                    <a:pt x="321" y="102"/>
                    <a:pt x="321" y="102"/>
                  </a:cubicBezTo>
                  <a:cubicBezTo>
                    <a:pt x="321" y="98"/>
                    <a:pt x="321" y="98"/>
                    <a:pt x="321" y="98"/>
                  </a:cubicBezTo>
                  <a:cubicBezTo>
                    <a:pt x="310" y="94"/>
                    <a:pt x="310" y="94"/>
                    <a:pt x="310" y="94"/>
                  </a:cubicBezTo>
                  <a:cubicBezTo>
                    <a:pt x="317" y="94"/>
                    <a:pt x="317" y="94"/>
                    <a:pt x="317" y="94"/>
                  </a:cubicBezTo>
                  <a:cubicBezTo>
                    <a:pt x="321" y="90"/>
                    <a:pt x="321" y="90"/>
                    <a:pt x="321" y="90"/>
                  </a:cubicBezTo>
                  <a:cubicBezTo>
                    <a:pt x="325" y="94"/>
                    <a:pt x="325" y="94"/>
                    <a:pt x="325" y="94"/>
                  </a:cubicBezTo>
                  <a:cubicBezTo>
                    <a:pt x="329" y="98"/>
                    <a:pt x="329" y="98"/>
                    <a:pt x="329" y="98"/>
                  </a:cubicBezTo>
                  <a:cubicBezTo>
                    <a:pt x="337" y="98"/>
                    <a:pt x="337" y="98"/>
                    <a:pt x="337" y="98"/>
                  </a:cubicBezTo>
                  <a:cubicBezTo>
                    <a:pt x="341" y="98"/>
                    <a:pt x="341" y="98"/>
                    <a:pt x="341" y="98"/>
                  </a:cubicBezTo>
                  <a:cubicBezTo>
                    <a:pt x="349" y="86"/>
                    <a:pt x="349" y="86"/>
                    <a:pt x="349" y="86"/>
                  </a:cubicBezTo>
                  <a:cubicBezTo>
                    <a:pt x="353" y="86"/>
                    <a:pt x="353" y="86"/>
                    <a:pt x="353" y="86"/>
                  </a:cubicBezTo>
                  <a:cubicBezTo>
                    <a:pt x="349" y="74"/>
                    <a:pt x="349" y="74"/>
                    <a:pt x="349" y="74"/>
                  </a:cubicBezTo>
                  <a:cubicBezTo>
                    <a:pt x="349" y="70"/>
                    <a:pt x="349" y="70"/>
                    <a:pt x="349" y="70"/>
                  </a:cubicBezTo>
                  <a:cubicBezTo>
                    <a:pt x="341" y="82"/>
                    <a:pt x="341" y="82"/>
                    <a:pt x="341" y="82"/>
                  </a:cubicBezTo>
                  <a:cubicBezTo>
                    <a:pt x="337" y="78"/>
                    <a:pt x="337" y="78"/>
                    <a:pt x="337" y="78"/>
                  </a:cubicBezTo>
                  <a:cubicBezTo>
                    <a:pt x="337" y="70"/>
                    <a:pt x="337" y="70"/>
                    <a:pt x="337" y="70"/>
                  </a:cubicBezTo>
                  <a:cubicBezTo>
                    <a:pt x="317" y="70"/>
                    <a:pt x="317" y="70"/>
                    <a:pt x="317" y="70"/>
                  </a:cubicBezTo>
                  <a:cubicBezTo>
                    <a:pt x="314" y="55"/>
                    <a:pt x="314" y="55"/>
                    <a:pt x="314" y="55"/>
                  </a:cubicBezTo>
                  <a:cubicBezTo>
                    <a:pt x="317" y="55"/>
                    <a:pt x="317" y="55"/>
                    <a:pt x="317" y="55"/>
                  </a:cubicBezTo>
                  <a:cubicBezTo>
                    <a:pt x="317" y="62"/>
                    <a:pt x="317" y="62"/>
                    <a:pt x="317" y="62"/>
                  </a:cubicBezTo>
                  <a:cubicBezTo>
                    <a:pt x="321" y="66"/>
                    <a:pt x="321" y="66"/>
                    <a:pt x="321" y="66"/>
                  </a:cubicBezTo>
                  <a:cubicBezTo>
                    <a:pt x="325" y="66"/>
                    <a:pt x="325" y="66"/>
                    <a:pt x="325" y="66"/>
                  </a:cubicBezTo>
                  <a:cubicBezTo>
                    <a:pt x="333" y="59"/>
                    <a:pt x="333" y="59"/>
                    <a:pt x="333" y="59"/>
                  </a:cubicBezTo>
                  <a:cubicBezTo>
                    <a:pt x="337" y="59"/>
                    <a:pt x="337" y="59"/>
                    <a:pt x="337" y="59"/>
                  </a:cubicBezTo>
                  <a:cubicBezTo>
                    <a:pt x="341" y="59"/>
                    <a:pt x="341" y="59"/>
                    <a:pt x="341" y="59"/>
                  </a:cubicBezTo>
                  <a:cubicBezTo>
                    <a:pt x="346" y="59"/>
                    <a:pt x="346" y="59"/>
                    <a:pt x="346" y="59"/>
                  </a:cubicBezTo>
                  <a:cubicBezTo>
                    <a:pt x="346" y="57"/>
                    <a:pt x="346" y="57"/>
                    <a:pt x="346" y="57"/>
                  </a:cubicBezTo>
                  <a:cubicBezTo>
                    <a:pt x="347" y="57"/>
                    <a:pt x="347" y="57"/>
                    <a:pt x="347" y="57"/>
                  </a:cubicBezTo>
                  <a:cubicBezTo>
                    <a:pt x="345" y="47"/>
                    <a:pt x="345" y="47"/>
                    <a:pt x="345" y="47"/>
                  </a:cubicBezTo>
                  <a:cubicBezTo>
                    <a:pt x="341" y="47"/>
                    <a:pt x="341" y="47"/>
                    <a:pt x="341" y="47"/>
                  </a:cubicBezTo>
                  <a:cubicBezTo>
                    <a:pt x="345" y="35"/>
                    <a:pt x="345" y="35"/>
                    <a:pt x="345" y="35"/>
                  </a:cubicBezTo>
                  <a:cubicBezTo>
                    <a:pt x="345" y="23"/>
                    <a:pt x="345" y="23"/>
                    <a:pt x="345" y="23"/>
                  </a:cubicBezTo>
                  <a:cubicBezTo>
                    <a:pt x="333" y="23"/>
                    <a:pt x="333" y="23"/>
                    <a:pt x="333" y="23"/>
                  </a:cubicBezTo>
                  <a:cubicBezTo>
                    <a:pt x="329" y="23"/>
                    <a:pt x="329" y="23"/>
                    <a:pt x="329" y="23"/>
                  </a:cubicBezTo>
                  <a:cubicBezTo>
                    <a:pt x="321" y="20"/>
                    <a:pt x="321" y="20"/>
                    <a:pt x="321" y="20"/>
                  </a:cubicBezTo>
                  <a:cubicBezTo>
                    <a:pt x="321" y="16"/>
                    <a:pt x="321" y="16"/>
                    <a:pt x="321" y="16"/>
                  </a:cubicBezTo>
                  <a:cubicBezTo>
                    <a:pt x="329" y="16"/>
                    <a:pt x="329" y="16"/>
                    <a:pt x="329" y="16"/>
                  </a:cubicBezTo>
                  <a:cubicBezTo>
                    <a:pt x="333" y="16"/>
                    <a:pt x="333" y="16"/>
                    <a:pt x="333" y="16"/>
                  </a:cubicBezTo>
                  <a:cubicBezTo>
                    <a:pt x="329" y="12"/>
                    <a:pt x="329" y="12"/>
                    <a:pt x="329" y="12"/>
                  </a:cubicBezTo>
                  <a:cubicBezTo>
                    <a:pt x="325" y="12"/>
                    <a:pt x="325" y="12"/>
                    <a:pt x="325" y="12"/>
                  </a:cubicBezTo>
                  <a:cubicBezTo>
                    <a:pt x="325" y="8"/>
                    <a:pt x="325" y="8"/>
                    <a:pt x="325" y="8"/>
                  </a:cubicBezTo>
                  <a:cubicBezTo>
                    <a:pt x="325" y="4"/>
                    <a:pt x="325" y="4"/>
                    <a:pt x="325" y="4"/>
                  </a:cubicBezTo>
                  <a:cubicBezTo>
                    <a:pt x="329" y="0"/>
                    <a:pt x="329" y="0"/>
                    <a:pt x="329" y="0"/>
                  </a:cubicBezTo>
                  <a:cubicBezTo>
                    <a:pt x="106" y="0"/>
                    <a:pt x="106" y="0"/>
                    <a:pt x="106" y="0"/>
                  </a:cubicBezTo>
                  <a:lnTo>
                    <a:pt x="106" y="15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33" name="New York">
              <a:extLst>
                <a:ext uri="{FF2B5EF4-FFF2-40B4-BE49-F238E27FC236}">
                  <a16:creationId xmlns:a16="http://schemas.microsoft.com/office/drawing/2014/main" id="{E262CE5B-BF20-49B2-A3F6-EBD521F3B286}"/>
                </a:ext>
              </a:extLst>
            </p:cNvPr>
            <p:cNvSpPr>
              <a:spLocks noEditPoints="1"/>
            </p:cNvSpPr>
            <p:nvPr>
              <p:custDataLst>
                <p:tags r:id="rId21"/>
              </p:custDataLst>
            </p:nvPr>
          </p:nvSpPr>
          <p:spPr bwMode="auto">
            <a:xfrm>
              <a:off x="8948079" y="1783703"/>
              <a:ext cx="1203717" cy="896100"/>
            </a:xfrm>
            <a:custGeom>
              <a:avLst/>
              <a:gdLst>
                <a:gd name="T0" fmla="*/ 269 w 304"/>
                <a:gd name="T1" fmla="*/ 190 h 226"/>
                <a:gd name="T2" fmla="*/ 269 w 304"/>
                <a:gd name="T3" fmla="*/ 135 h 226"/>
                <a:gd name="T4" fmla="*/ 273 w 304"/>
                <a:gd name="T5" fmla="*/ 106 h 226"/>
                <a:gd name="T6" fmla="*/ 269 w 304"/>
                <a:gd name="T7" fmla="*/ 0 h 226"/>
                <a:gd name="T8" fmla="*/ 169 w 304"/>
                <a:gd name="T9" fmla="*/ 19 h 226"/>
                <a:gd name="T10" fmla="*/ 141 w 304"/>
                <a:gd name="T11" fmla="*/ 47 h 226"/>
                <a:gd name="T12" fmla="*/ 149 w 304"/>
                <a:gd name="T13" fmla="*/ 54 h 226"/>
                <a:gd name="T14" fmla="*/ 145 w 304"/>
                <a:gd name="T15" fmla="*/ 62 h 226"/>
                <a:gd name="T16" fmla="*/ 149 w 304"/>
                <a:gd name="T17" fmla="*/ 78 h 226"/>
                <a:gd name="T18" fmla="*/ 118 w 304"/>
                <a:gd name="T19" fmla="*/ 90 h 226"/>
                <a:gd name="T20" fmla="*/ 94 w 304"/>
                <a:gd name="T21" fmla="*/ 93 h 226"/>
                <a:gd name="T22" fmla="*/ 36 w 304"/>
                <a:gd name="T23" fmla="*/ 93 h 226"/>
                <a:gd name="T24" fmla="*/ 32 w 304"/>
                <a:gd name="T25" fmla="*/ 129 h 226"/>
                <a:gd name="T26" fmla="*/ 0 w 304"/>
                <a:gd name="T27" fmla="*/ 148 h 226"/>
                <a:gd name="T28" fmla="*/ 179 w 304"/>
                <a:gd name="T29" fmla="*/ 150 h 226"/>
                <a:gd name="T30" fmla="*/ 179 w 304"/>
                <a:gd name="T31" fmla="*/ 172 h 226"/>
                <a:gd name="T32" fmla="*/ 188 w 304"/>
                <a:gd name="T33" fmla="*/ 178 h 226"/>
                <a:gd name="T34" fmla="*/ 198 w 304"/>
                <a:gd name="T35" fmla="*/ 193 h 226"/>
                <a:gd name="T36" fmla="*/ 214 w 304"/>
                <a:gd name="T37" fmla="*/ 202 h 226"/>
                <a:gd name="T38" fmla="*/ 236 w 304"/>
                <a:gd name="T39" fmla="*/ 219 h 226"/>
                <a:gd name="T40" fmla="*/ 247 w 304"/>
                <a:gd name="T41" fmla="*/ 210 h 226"/>
                <a:gd name="T42" fmla="*/ 239 w 304"/>
                <a:gd name="T43" fmla="*/ 220 h 226"/>
                <a:gd name="T44" fmla="*/ 238 w 304"/>
                <a:gd name="T45" fmla="*/ 222 h 226"/>
                <a:gd name="T46" fmla="*/ 236 w 304"/>
                <a:gd name="T47" fmla="*/ 225 h 226"/>
                <a:gd name="T48" fmla="*/ 239 w 304"/>
                <a:gd name="T49" fmla="*/ 225 h 226"/>
                <a:gd name="T50" fmla="*/ 241 w 304"/>
                <a:gd name="T51" fmla="*/ 223 h 226"/>
                <a:gd name="T52" fmla="*/ 242 w 304"/>
                <a:gd name="T53" fmla="*/ 221 h 226"/>
                <a:gd name="T54" fmla="*/ 299 w 304"/>
                <a:gd name="T55" fmla="*/ 200 h 226"/>
                <a:gd name="T56" fmla="*/ 298 w 304"/>
                <a:gd name="T57" fmla="*/ 200 h 226"/>
                <a:gd name="T58" fmla="*/ 299 w 304"/>
                <a:gd name="T59" fmla="*/ 200 h 226"/>
                <a:gd name="T60" fmla="*/ 302 w 304"/>
                <a:gd name="T61" fmla="*/ 207 h 226"/>
                <a:gd name="T62" fmla="*/ 298 w 304"/>
                <a:gd name="T63" fmla="*/ 209 h 226"/>
                <a:gd name="T64" fmla="*/ 296 w 304"/>
                <a:gd name="T65" fmla="*/ 208 h 226"/>
                <a:gd name="T66" fmla="*/ 294 w 304"/>
                <a:gd name="T67" fmla="*/ 209 h 226"/>
                <a:gd name="T68" fmla="*/ 291 w 304"/>
                <a:gd name="T69" fmla="*/ 209 h 226"/>
                <a:gd name="T70" fmla="*/ 288 w 304"/>
                <a:gd name="T71" fmla="*/ 212 h 226"/>
                <a:gd name="T72" fmla="*/ 284 w 304"/>
                <a:gd name="T73" fmla="*/ 212 h 226"/>
                <a:gd name="T74" fmla="*/ 290 w 304"/>
                <a:gd name="T75" fmla="*/ 207 h 226"/>
                <a:gd name="T76" fmla="*/ 290 w 304"/>
                <a:gd name="T77" fmla="*/ 205 h 226"/>
                <a:gd name="T78" fmla="*/ 284 w 304"/>
                <a:gd name="T79" fmla="*/ 209 h 226"/>
                <a:gd name="T80" fmla="*/ 270 w 304"/>
                <a:gd name="T81" fmla="*/ 211 h 226"/>
                <a:gd name="T82" fmla="*/ 264 w 304"/>
                <a:gd name="T83" fmla="*/ 212 h 226"/>
                <a:gd name="T84" fmla="*/ 259 w 304"/>
                <a:gd name="T85" fmla="*/ 212 h 226"/>
                <a:gd name="T86" fmla="*/ 251 w 304"/>
                <a:gd name="T87" fmla="*/ 216 h 226"/>
                <a:gd name="T88" fmla="*/ 247 w 304"/>
                <a:gd name="T89" fmla="*/ 216 h 226"/>
                <a:gd name="T90" fmla="*/ 244 w 304"/>
                <a:gd name="T91" fmla="*/ 219 h 226"/>
                <a:gd name="T92" fmla="*/ 244 w 304"/>
                <a:gd name="T93" fmla="*/ 221 h 226"/>
                <a:gd name="T94" fmla="*/ 245 w 304"/>
                <a:gd name="T95" fmla="*/ 223 h 226"/>
                <a:gd name="T96" fmla="*/ 250 w 304"/>
                <a:gd name="T97" fmla="*/ 223 h 226"/>
                <a:gd name="T98" fmla="*/ 253 w 304"/>
                <a:gd name="T99" fmla="*/ 222 h 226"/>
                <a:gd name="T100" fmla="*/ 256 w 304"/>
                <a:gd name="T101" fmla="*/ 222 h 226"/>
                <a:gd name="T102" fmla="*/ 259 w 304"/>
                <a:gd name="T103" fmla="*/ 222 h 226"/>
                <a:gd name="T104" fmla="*/ 264 w 304"/>
                <a:gd name="T105" fmla="*/ 221 h 226"/>
                <a:gd name="T106" fmla="*/ 269 w 304"/>
                <a:gd name="T107" fmla="*/ 221 h 226"/>
                <a:gd name="T108" fmla="*/ 273 w 304"/>
                <a:gd name="T109" fmla="*/ 219 h 226"/>
                <a:gd name="T110" fmla="*/ 279 w 304"/>
                <a:gd name="T111" fmla="*/ 218 h 226"/>
                <a:gd name="T112" fmla="*/ 285 w 304"/>
                <a:gd name="T113" fmla="*/ 216 h 226"/>
                <a:gd name="T114" fmla="*/ 288 w 304"/>
                <a:gd name="T115" fmla="*/ 216 h 226"/>
                <a:gd name="T116" fmla="*/ 292 w 304"/>
                <a:gd name="T117" fmla="*/ 214 h 226"/>
                <a:gd name="T118" fmla="*/ 295 w 304"/>
                <a:gd name="T119" fmla="*/ 212 h 226"/>
                <a:gd name="T120" fmla="*/ 298 w 304"/>
                <a:gd name="T121" fmla="*/ 210 h 226"/>
                <a:gd name="T122" fmla="*/ 302 w 304"/>
                <a:gd name="T123" fmla="*/ 209 h 226"/>
                <a:gd name="T124" fmla="*/ 304 w 304"/>
                <a:gd name="T125" fmla="*/ 207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4" h="226">
                  <a:moveTo>
                    <a:pt x="262" y="205"/>
                  </a:moveTo>
                  <a:cubicBezTo>
                    <a:pt x="262" y="195"/>
                    <a:pt x="262" y="195"/>
                    <a:pt x="262" y="195"/>
                  </a:cubicBezTo>
                  <a:cubicBezTo>
                    <a:pt x="269" y="190"/>
                    <a:pt x="269" y="190"/>
                    <a:pt x="269" y="190"/>
                  </a:cubicBezTo>
                  <a:cubicBezTo>
                    <a:pt x="269" y="189"/>
                    <a:pt x="269" y="189"/>
                    <a:pt x="269" y="189"/>
                  </a:cubicBezTo>
                  <a:cubicBezTo>
                    <a:pt x="269" y="186"/>
                    <a:pt x="270" y="172"/>
                    <a:pt x="270" y="158"/>
                  </a:cubicBezTo>
                  <a:cubicBezTo>
                    <a:pt x="270" y="147"/>
                    <a:pt x="270" y="137"/>
                    <a:pt x="269" y="135"/>
                  </a:cubicBezTo>
                  <a:cubicBezTo>
                    <a:pt x="268" y="135"/>
                    <a:pt x="267" y="132"/>
                    <a:pt x="272" y="112"/>
                  </a:cubicBezTo>
                  <a:cubicBezTo>
                    <a:pt x="273" y="108"/>
                    <a:pt x="273" y="108"/>
                    <a:pt x="273" y="108"/>
                  </a:cubicBezTo>
                  <a:cubicBezTo>
                    <a:pt x="273" y="106"/>
                    <a:pt x="273" y="106"/>
                    <a:pt x="273" y="106"/>
                  </a:cubicBezTo>
                  <a:cubicBezTo>
                    <a:pt x="274" y="102"/>
                    <a:pt x="275" y="98"/>
                    <a:pt x="276" y="96"/>
                  </a:cubicBezTo>
                  <a:cubicBezTo>
                    <a:pt x="269" y="85"/>
                    <a:pt x="269" y="85"/>
                    <a:pt x="269" y="85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69" y="19"/>
                    <a:pt x="169" y="19"/>
                    <a:pt x="169" y="19"/>
                  </a:cubicBezTo>
                  <a:cubicBezTo>
                    <a:pt x="161" y="35"/>
                    <a:pt x="161" y="35"/>
                    <a:pt x="161" y="35"/>
                  </a:cubicBezTo>
                  <a:cubicBezTo>
                    <a:pt x="145" y="43"/>
                    <a:pt x="145" y="43"/>
                    <a:pt x="145" y="43"/>
                  </a:cubicBezTo>
                  <a:cubicBezTo>
                    <a:pt x="141" y="47"/>
                    <a:pt x="141" y="47"/>
                    <a:pt x="141" y="47"/>
                  </a:cubicBezTo>
                  <a:cubicBezTo>
                    <a:pt x="145" y="50"/>
                    <a:pt x="145" y="50"/>
                    <a:pt x="145" y="50"/>
                  </a:cubicBezTo>
                  <a:cubicBezTo>
                    <a:pt x="149" y="50"/>
                    <a:pt x="149" y="50"/>
                    <a:pt x="149" y="50"/>
                  </a:cubicBezTo>
                  <a:cubicBezTo>
                    <a:pt x="149" y="54"/>
                    <a:pt x="149" y="54"/>
                    <a:pt x="149" y="54"/>
                  </a:cubicBezTo>
                  <a:cubicBezTo>
                    <a:pt x="149" y="58"/>
                    <a:pt x="149" y="58"/>
                    <a:pt x="149" y="58"/>
                  </a:cubicBezTo>
                  <a:cubicBezTo>
                    <a:pt x="145" y="58"/>
                    <a:pt x="145" y="58"/>
                    <a:pt x="145" y="58"/>
                  </a:cubicBezTo>
                  <a:cubicBezTo>
                    <a:pt x="145" y="62"/>
                    <a:pt x="145" y="62"/>
                    <a:pt x="145" y="62"/>
                  </a:cubicBezTo>
                  <a:cubicBezTo>
                    <a:pt x="149" y="66"/>
                    <a:pt x="149" y="66"/>
                    <a:pt x="149" y="66"/>
                  </a:cubicBezTo>
                  <a:cubicBezTo>
                    <a:pt x="149" y="70"/>
                    <a:pt x="149" y="70"/>
                    <a:pt x="149" y="70"/>
                  </a:cubicBezTo>
                  <a:cubicBezTo>
                    <a:pt x="149" y="78"/>
                    <a:pt x="149" y="78"/>
                    <a:pt x="149" y="78"/>
                  </a:cubicBezTo>
                  <a:cubicBezTo>
                    <a:pt x="137" y="78"/>
                    <a:pt x="137" y="78"/>
                    <a:pt x="137" y="78"/>
                  </a:cubicBezTo>
                  <a:cubicBezTo>
                    <a:pt x="126" y="90"/>
                    <a:pt x="126" y="90"/>
                    <a:pt x="126" y="90"/>
                  </a:cubicBezTo>
                  <a:cubicBezTo>
                    <a:pt x="118" y="90"/>
                    <a:pt x="118" y="90"/>
                    <a:pt x="118" y="90"/>
                  </a:cubicBezTo>
                  <a:cubicBezTo>
                    <a:pt x="106" y="90"/>
                    <a:pt x="106" y="90"/>
                    <a:pt x="106" y="90"/>
                  </a:cubicBezTo>
                  <a:cubicBezTo>
                    <a:pt x="102" y="90"/>
                    <a:pt x="102" y="90"/>
                    <a:pt x="102" y="90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44" y="117"/>
                    <a:pt x="44" y="117"/>
                    <a:pt x="44" y="117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2" y="129"/>
                    <a:pt x="32" y="129"/>
                    <a:pt x="32" y="129"/>
                  </a:cubicBezTo>
                  <a:cubicBezTo>
                    <a:pt x="28" y="129"/>
                    <a:pt x="28" y="129"/>
                    <a:pt x="28" y="129"/>
                  </a:cubicBezTo>
                  <a:cubicBezTo>
                    <a:pt x="1" y="148"/>
                    <a:pt x="1" y="148"/>
                    <a:pt x="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" y="150"/>
                    <a:pt x="1" y="150"/>
                    <a:pt x="1" y="150"/>
                  </a:cubicBezTo>
                  <a:cubicBezTo>
                    <a:pt x="179" y="150"/>
                    <a:pt x="179" y="150"/>
                    <a:pt x="179" y="150"/>
                  </a:cubicBezTo>
                  <a:cubicBezTo>
                    <a:pt x="179" y="151"/>
                    <a:pt x="180" y="156"/>
                    <a:pt x="180" y="164"/>
                  </a:cubicBezTo>
                  <a:cubicBezTo>
                    <a:pt x="180" y="166"/>
                    <a:pt x="180" y="168"/>
                    <a:pt x="181" y="169"/>
                  </a:cubicBezTo>
                  <a:cubicBezTo>
                    <a:pt x="179" y="172"/>
                    <a:pt x="179" y="172"/>
                    <a:pt x="179" y="172"/>
                  </a:cubicBezTo>
                  <a:cubicBezTo>
                    <a:pt x="183" y="169"/>
                    <a:pt x="183" y="169"/>
                    <a:pt x="183" y="169"/>
                  </a:cubicBezTo>
                  <a:cubicBezTo>
                    <a:pt x="183" y="169"/>
                    <a:pt x="183" y="169"/>
                    <a:pt x="184" y="169"/>
                  </a:cubicBezTo>
                  <a:cubicBezTo>
                    <a:pt x="188" y="178"/>
                    <a:pt x="188" y="178"/>
                    <a:pt x="188" y="178"/>
                  </a:cubicBezTo>
                  <a:cubicBezTo>
                    <a:pt x="190" y="185"/>
                    <a:pt x="190" y="185"/>
                    <a:pt x="190" y="185"/>
                  </a:cubicBezTo>
                  <a:cubicBezTo>
                    <a:pt x="197" y="193"/>
                    <a:pt x="197" y="193"/>
                    <a:pt x="197" y="193"/>
                  </a:cubicBezTo>
                  <a:cubicBezTo>
                    <a:pt x="198" y="193"/>
                    <a:pt x="198" y="193"/>
                    <a:pt x="198" y="193"/>
                  </a:cubicBezTo>
                  <a:cubicBezTo>
                    <a:pt x="199" y="193"/>
                    <a:pt x="199" y="193"/>
                    <a:pt x="199" y="193"/>
                  </a:cubicBezTo>
                  <a:cubicBezTo>
                    <a:pt x="203" y="193"/>
                    <a:pt x="203" y="193"/>
                    <a:pt x="203" y="193"/>
                  </a:cubicBezTo>
                  <a:cubicBezTo>
                    <a:pt x="214" y="202"/>
                    <a:pt x="214" y="202"/>
                    <a:pt x="214" y="202"/>
                  </a:cubicBezTo>
                  <a:cubicBezTo>
                    <a:pt x="224" y="211"/>
                    <a:pt x="224" y="211"/>
                    <a:pt x="224" y="211"/>
                  </a:cubicBezTo>
                  <a:cubicBezTo>
                    <a:pt x="230" y="211"/>
                    <a:pt x="230" y="211"/>
                    <a:pt x="230" y="211"/>
                  </a:cubicBezTo>
                  <a:cubicBezTo>
                    <a:pt x="236" y="219"/>
                    <a:pt x="236" y="219"/>
                    <a:pt x="236" y="219"/>
                  </a:cubicBezTo>
                  <a:cubicBezTo>
                    <a:pt x="239" y="214"/>
                    <a:pt x="239" y="214"/>
                    <a:pt x="239" y="214"/>
                  </a:cubicBezTo>
                  <a:cubicBezTo>
                    <a:pt x="243" y="214"/>
                    <a:pt x="243" y="214"/>
                    <a:pt x="243" y="214"/>
                  </a:cubicBezTo>
                  <a:cubicBezTo>
                    <a:pt x="247" y="210"/>
                    <a:pt x="247" y="210"/>
                    <a:pt x="247" y="210"/>
                  </a:cubicBezTo>
                  <a:cubicBezTo>
                    <a:pt x="262" y="205"/>
                    <a:pt x="262" y="205"/>
                    <a:pt x="262" y="205"/>
                  </a:cubicBezTo>
                  <a:close/>
                  <a:moveTo>
                    <a:pt x="240" y="221"/>
                  </a:moveTo>
                  <a:cubicBezTo>
                    <a:pt x="239" y="220"/>
                    <a:pt x="239" y="220"/>
                    <a:pt x="239" y="220"/>
                  </a:cubicBezTo>
                  <a:cubicBezTo>
                    <a:pt x="238" y="221"/>
                    <a:pt x="238" y="221"/>
                    <a:pt x="238" y="221"/>
                  </a:cubicBezTo>
                  <a:cubicBezTo>
                    <a:pt x="238" y="222"/>
                    <a:pt x="238" y="222"/>
                    <a:pt x="238" y="222"/>
                  </a:cubicBezTo>
                  <a:cubicBezTo>
                    <a:pt x="238" y="222"/>
                    <a:pt x="238" y="222"/>
                    <a:pt x="238" y="222"/>
                  </a:cubicBezTo>
                  <a:cubicBezTo>
                    <a:pt x="237" y="223"/>
                    <a:pt x="237" y="223"/>
                    <a:pt x="237" y="223"/>
                  </a:cubicBezTo>
                  <a:cubicBezTo>
                    <a:pt x="237" y="224"/>
                    <a:pt x="237" y="224"/>
                    <a:pt x="237" y="224"/>
                  </a:cubicBezTo>
                  <a:cubicBezTo>
                    <a:pt x="236" y="225"/>
                    <a:pt x="236" y="225"/>
                    <a:pt x="236" y="225"/>
                  </a:cubicBezTo>
                  <a:cubicBezTo>
                    <a:pt x="236" y="226"/>
                    <a:pt x="236" y="226"/>
                    <a:pt x="236" y="226"/>
                  </a:cubicBezTo>
                  <a:cubicBezTo>
                    <a:pt x="238" y="226"/>
                    <a:pt x="238" y="226"/>
                    <a:pt x="238" y="226"/>
                  </a:cubicBezTo>
                  <a:cubicBezTo>
                    <a:pt x="239" y="225"/>
                    <a:pt x="239" y="225"/>
                    <a:pt x="239" y="225"/>
                  </a:cubicBezTo>
                  <a:cubicBezTo>
                    <a:pt x="240" y="225"/>
                    <a:pt x="240" y="225"/>
                    <a:pt x="240" y="225"/>
                  </a:cubicBezTo>
                  <a:cubicBezTo>
                    <a:pt x="240" y="224"/>
                    <a:pt x="240" y="224"/>
                    <a:pt x="240" y="224"/>
                  </a:cubicBezTo>
                  <a:cubicBezTo>
                    <a:pt x="241" y="223"/>
                    <a:pt x="241" y="223"/>
                    <a:pt x="241" y="223"/>
                  </a:cubicBezTo>
                  <a:cubicBezTo>
                    <a:pt x="242" y="223"/>
                    <a:pt x="242" y="223"/>
                    <a:pt x="242" y="223"/>
                  </a:cubicBezTo>
                  <a:cubicBezTo>
                    <a:pt x="242" y="222"/>
                    <a:pt x="242" y="222"/>
                    <a:pt x="242" y="222"/>
                  </a:cubicBezTo>
                  <a:cubicBezTo>
                    <a:pt x="242" y="221"/>
                    <a:pt x="242" y="221"/>
                    <a:pt x="242" y="221"/>
                  </a:cubicBezTo>
                  <a:cubicBezTo>
                    <a:pt x="241" y="221"/>
                    <a:pt x="241" y="221"/>
                    <a:pt x="241" y="221"/>
                  </a:cubicBezTo>
                  <a:lnTo>
                    <a:pt x="240" y="221"/>
                  </a:lnTo>
                  <a:close/>
                  <a:moveTo>
                    <a:pt x="299" y="200"/>
                  </a:moveTo>
                  <a:cubicBezTo>
                    <a:pt x="300" y="199"/>
                    <a:pt x="300" y="199"/>
                    <a:pt x="300" y="199"/>
                  </a:cubicBezTo>
                  <a:cubicBezTo>
                    <a:pt x="298" y="199"/>
                    <a:pt x="298" y="199"/>
                    <a:pt x="298" y="199"/>
                  </a:cubicBezTo>
                  <a:cubicBezTo>
                    <a:pt x="298" y="200"/>
                    <a:pt x="298" y="200"/>
                    <a:pt x="298" y="200"/>
                  </a:cubicBezTo>
                  <a:cubicBezTo>
                    <a:pt x="298" y="201"/>
                    <a:pt x="298" y="201"/>
                    <a:pt x="298" y="201"/>
                  </a:cubicBezTo>
                  <a:cubicBezTo>
                    <a:pt x="299" y="201"/>
                    <a:pt x="299" y="201"/>
                    <a:pt x="299" y="201"/>
                  </a:cubicBezTo>
                  <a:lnTo>
                    <a:pt x="299" y="200"/>
                  </a:lnTo>
                  <a:close/>
                  <a:moveTo>
                    <a:pt x="303" y="207"/>
                  </a:moveTo>
                  <a:cubicBezTo>
                    <a:pt x="302" y="207"/>
                    <a:pt x="302" y="207"/>
                    <a:pt x="302" y="207"/>
                  </a:cubicBezTo>
                  <a:cubicBezTo>
                    <a:pt x="302" y="207"/>
                    <a:pt x="302" y="207"/>
                    <a:pt x="302" y="207"/>
                  </a:cubicBezTo>
                  <a:cubicBezTo>
                    <a:pt x="301" y="208"/>
                    <a:pt x="301" y="208"/>
                    <a:pt x="301" y="208"/>
                  </a:cubicBezTo>
                  <a:cubicBezTo>
                    <a:pt x="300" y="208"/>
                    <a:pt x="300" y="208"/>
                    <a:pt x="300" y="208"/>
                  </a:cubicBezTo>
                  <a:cubicBezTo>
                    <a:pt x="298" y="209"/>
                    <a:pt x="298" y="209"/>
                    <a:pt x="298" y="209"/>
                  </a:cubicBezTo>
                  <a:cubicBezTo>
                    <a:pt x="297" y="209"/>
                    <a:pt x="297" y="209"/>
                    <a:pt x="297" y="209"/>
                  </a:cubicBezTo>
                  <a:cubicBezTo>
                    <a:pt x="297" y="208"/>
                    <a:pt x="297" y="208"/>
                    <a:pt x="297" y="208"/>
                  </a:cubicBezTo>
                  <a:cubicBezTo>
                    <a:pt x="296" y="208"/>
                    <a:pt x="296" y="208"/>
                    <a:pt x="296" y="208"/>
                  </a:cubicBezTo>
                  <a:cubicBezTo>
                    <a:pt x="296" y="208"/>
                    <a:pt x="296" y="208"/>
                    <a:pt x="296" y="208"/>
                  </a:cubicBezTo>
                  <a:cubicBezTo>
                    <a:pt x="296" y="209"/>
                    <a:pt x="295" y="208"/>
                    <a:pt x="295" y="208"/>
                  </a:cubicBezTo>
                  <a:cubicBezTo>
                    <a:pt x="294" y="209"/>
                    <a:pt x="294" y="209"/>
                    <a:pt x="294" y="209"/>
                  </a:cubicBezTo>
                  <a:cubicBezTo>
                    <a:pt x="293" y="209"/>
                    <a:pt x="293" y="209"/>
                    <a:pt x="293" y="209"/>
                  </a:cubicBezTo>
                  <a:cubicBezTo>
                    <a:pt x="292" y="209"/>
                    <a:pt x="292" y="209"/>
                    <a:pt x="292" y="209"/>
                  </a:cubicBezTo>
                  <a:cubicBezTo>
                    <a:pt x="291" y="209"/>
                    <a:pt x="291" y="209"/>
                    <a:pt x="291" y="209"/>
                  </a:cubicBezTo>
                  <a:cubicBezTo>
                    <a:pt x="291" y="209"/>
                    <a:pt x="291" y="209"/>
                    <a:pt x="291" y="209"/>
                  </a:cubicBezTo>
                  <a:cubicBezTo>
                    <a:pt x="291" y="209"/>
                    <a:pt x="291" y="209"/>
                    <a:pt x="290" y="210"/>
                  </a:cubicBezTo>
                  <a:cubicBezTo>
                    <a:pt x="289" y="211"/>
                    <a:pt x="288" y="212"/>
                    <a:pt x="288" y="212"/>
                  </a:cubicBezTo>
                  <a:cubicBezTo>
                    <a:pt x="286" y="213"/>
                    <a:pt x="288" y="214"/>
                    <a:pt x="288" y="214"/>
                  </a:cubicBezTo>
                  <a:cubicBezTo>
                    <a:pt x="287" y="215"/>
                    <a:pt x="286" y="213"/>
                    <a:pt x="286" y="213"/>
                  </a:cubicBezTo>
                  <a:cubicBezTo>
                    <a:pt x="284" y="212"/>
                    <a:pt x="284" y="212"/>
                    <a:pt x="284" y="212"/>
                  </a:cubicBezTo>
                  <a:cubicBezTo>
                    <a:pt x="283" y="212"/>
                    <a:pt x="284" y="212"/>
                    <a:pt x="284" y="212"/>
                  </a:cubicBezTo>
                  <a:cubicBezTo>
                    <a:pt x="287" y="209"/>
                    <a:pt x="287" y="209"/>
                    <a:pt x="287" y="209"/>
                  </a:cubicBezTo>
                  <a:cubicBezTo>
                    <a:pt x="288" y="209"/>
                    <a:pt x="290" y="207"/>
                    <a:pt x="290" y="207"/>
                  </a:cubicBezTo>
                  <a:cubicBezTo>
                    <a:pt x="290" y="206"/>
                    <a:pt x="293" y="205"/>
                    <a:pt x="293" y="205"/>
                  </a:cubicBezTo>
                  <a:cubicBezTo>
                    <a:pt x="294" y="205"/>
                    <a:pt x="292" y="204"/>
                    <a:pt x="292" y="204"/>
                  </a:cubicBezTo>
                  <a:cubicBezTo>
                    <a:pt x="292" y="205"/>
                    <a:pt x="290" y="205"/>
                    <a:pt x="290" y="205"/>
                  </a:cubicBezTo>
                  <a:cubicBezTo>
                    <a:pt x="288" y="207"/>
                    <a:pt x="288" y="207"/>
                    <a:pt x="288" y="207"/>
                  </a:cubicBezTo>
                  <a:cubicBezTo>
                    <a:pt x="287" y="207"/>
                    <a:pt x="286" y="208"/>
                    <a:pt x="286" y="208"/>
                  </a:cubicBezTo>
                  <a:cubicBezTo>
                    <a:pt x="284" y="209"/>
                    <a:pt x="284" y="209"/>
                    <a:pt x="284" y="209"/>
                  </a:cubicBezTo>
                  <a:cubicBezTo>
                    <a:pt x="283" y="210"/>
                    <a:pt x="282" y="210"/>
                    <a:pt x="282" y="210"/>
                  </a:cubicBezTo>
                  <a:cubicBezTo>
                    <a:pt x="281" y="210"/>
                    <a:pt x="277" y="210"/>
                    <a:pt x="277" y="210"/>
                  </a:cubicBezTo>
                  <a:cubicBezTo>
                    <a:pt x="275" y="211"/>
                    <a:pt x="270" y="211"/>
                    <a:pt x="270" y="211"/>
                  </a:cubicBezTo>
                  <a:cubicBezTo>
                    <a:pt x="269" y="210"/>
                    <a:pt x="268" y="211"/>
                    <a:pt x="268" y="211"/>
                  </a:cubicBezTo>
                  <a:cubicBezTo>
                    <a:pt x="268" y="212"/>
                    <a:pt x="265" y="213"/>
                    <a:pt x="265" y="213"/>
                  </a:cubicBezTo>
                  <a:cubicBezTo>
                    <a:pt x="265" y="212"/>
                    <a:pt x="264" y="212"/>
                    <a:pt x="264" y="212"/>
                  </a:cubicBezTo>
                  <a:cubicBezTo>
                    <a:pt x="261" y="212"/>
                    <a:pt x="261" y="212"/>
                    <a:pt x="261" y="212"/>
                  </a:cubicBezTo>
                  <a:cubicBezTo>
                    <a:pt x="260" y="212"/>
                    <a:pt x="260" y="212"/>
                    <a:pt x="260" y="212"/>
                  </a:cubicBezTo>
                  <a:cubicBezTo>
                    <a:pt x="259" y="212"/>
                    <a:pt x="259" y="212"/>
                    <a:pt x="259" y="212"/>
                  </a:cubicBezTo>
                  <a:cubicBezTo>
                    <a:pt x="259" y="213"/>
                    <a:pt x="258" y="213"/>
                    <a:pt x="258" y="213"/>
                  </a:cubicBezTo>
                  <a:cubicBezTo>
                    <a:pt x="256" y="212"/>
                    <a:pt x="256" y="213"/>
                    <a:pt x="255" y="213"/>
                  </a:cubicBezTo>
                  <a:cubicBezTo>
                    <a:pt x="254" y="213"/>
                    <a:pt x="252" y="216"/>
                    <a:pt x="251" y="216"/>
                  </a:cubicBezTo>
                  <a:cubicBezTo>
                    <a:pt x="251" y="215"/>
                    <a:pt x="246" y="217"/>
                    <a:pt x="246" y="217"/>
                  </a:cubicBezTo>
                  <a:cubicBezTo>
                    <a:pt x="246" y="217"/>
                    <a:pt x="246" y="217"/>
                    <a:pt x="246" y="217"/>
                  </a:cubicBezTo>
                  <a:cubicBezTo>
                    <a:pt x="247" y="216"/>
                    <a:pt x="247" y="216"/>
                    <a:pt x="247" y="216"/>
                  </a:cubicBezTo>
                  <a:cubicBezTo>
                    <a:pt x="246" y="216"/>
                    <a:pt x="246" y="216"/>
                    <a:pt x="246" y="216"/>
                  </a:cubicBezTo>
                  <a:cubicBezTo>
                    <a:pt x="244" y="218"/>
                    <a:pt x="244" y="218"/>
                    <a:pt x="244" y="218"/>
                  </a:cubicBezTo>
                  <a:cubicBezTo>
                    <a:pt x="244" y="219"/>
                    <a:pt x="244" y="219"/>
                    <a:pt x="244" y="219"/>
                  </a:cubicBezTo>
                  <a:cubicBezTo>
                    <a:pt x="244" y="220"/>
                    <a:pt x="244" y="220"/>
                    <a:pt x="244" y="220"/>
                  </a:cubicBezTo>
                  <a:cubicBezTo>
                    <a:pt x="244" y="220"/>
                    <a:pt x="244" y="220"/>
                    <a:pt x="244" y="220"/>
                  </a:cubicBezTo>
                  <a:cubicBezTo>
                    <a:pt x="244" y="221"/>
                    <a:pt x="244" y="221"/>
                    <a:pt x="244" y="221"/>
                  </a:cubicBezTo>
                  <a:cubicBezTo>
                    <a:pt x="244" y="222"/>
                    <a:pt x="244" y="222"/>
                    <a:pt x="244" y="222"/>
                  </a:cubicBezTo>
                  <a:cubicBezTo>
                    <a:pt x="244" y="223"/>
                    <a:pt x="244" y="223"/>
                    <a:pt x="244" y="223"/>
                  </a:cubicBezTo>
                  <a:cubicBezTo>
                    <a:pt x="245" y="223"/>
                    <a:pt x="245" y="223"/>
                    <a:pt x="245" y="223"/>
                  </a:cubicBezTo>
                  <a:cubicBezTo>
                    <a:pt x="247" y="223"/>
                    <a:pt x="247" y="223"/>
                    <a:pt x="247" y="223"/>
                  </a:cubicBezTo>
                  <a:cubicBezTo>
                    <a:pt x="248" y="223"/>
                    <a:pt x="248" y="223"/>
                    <a:pt x="248" y="223"/>
                  </a:cubicBezTo>
                  <a:cubicBezTo>
                    <a:pt x="250" y="223"/>
                    <a:pt x="250" y="223"/>
                    <a:pt x="250" y="223"/>
                  </a:cubicBezTo>
                  <a:cubicBezTo>
                    <a:pt x="251" y="223"/>
                    <a:pt x="251" y="223"/>
                    <a:pt x="251" y="223"/>
                  </a:cubicBezTo>
                  <a:cubicBezTo>
                    <a:pt x="252" y="222"/>
                    <a:pt x="252" y="222"/>
                    <a:pt x="252" y="222"/>
                  </a:cubicBezTo>
                  <a:cubicBezTo>
                    <a:pt x="253" y="222"/>
                    <a:pt x="253" y="222"/>
                    <a:pt x="253" y="222"/>
                  </a:cubicBezTo>
                  <a:cubicBezTo>
                    <a:pt x="254" y="222"/>
                    <a:pt x="254" y="222"/>
                    <a:pt x="254" y="222"/>
                  </a:cubicBezTo>
                  <a:cubicBezTo>
                    <a:pt x="255" y="222"/>
                    <a:pt x="255" y="222"/>
                    <a:pt x="255" y="222"/>
                  </a:cubicBezTo>
                  <a:cubicBezTo>
                    <a:pt x="256" y="222"/>
                    <a:pt x="256" y="222"/>
                    <a:pt x="256" y="222"/>
                  </a:cubicBezTo>
                  <a:cubicBezTo>
                    <a:pt x="258" y="222"/>
                    <a:pt x="258" y="222"/>
                    <a:pt x="258" y="222"/>
                  </a:cubicBezTo>
                  <a:cubicBezTo>
                    <a:pt x="258" y="222"/>
                    <a:pt x="258" y="222"/>
                    <a:pt x="258" y="222"/>
                  </a:cubicBezTo>
                  <a:cubicBezTo>
                    <a:pt x="259" y="222"/>
                    <a:pt x="259" y="222"/>
                    <a:pt x="259" y="222"/>
                  </a:cubicBezTo>
                  <a:cubicBezTo>
                    <a:pt x="260" y="221"/>
                    <a:pt x="260" y="221"/>
                    <a:pt x="260" y="221"/>
                  </a:cubicBezTo>
                  <a:cubicBezTo>
                    <a:pt x="262" y="221"/>
                    <a:pt x="262" y="221"/>
                    <a:pt x="262" y="221"/>
                  </a:cubicBezTo>
                  <a:cubicBezTo>
                    <a:pt x="264" y="221"/>
                    <a:pt x="264" y="221"/>
                    <a:pt x="264" y="221"/>
                  </a:cubicBezTo>
                  <a:cubicBezTo>
                    <a:pt x="265" y="221"/>
                    <a:pt x="265" y="221"/>
                    <a:pt x="265" y="221"/>
                  </a:cubicBezTo>
                  <a:cubicBezTo>
                    <a:pt x="267" y="221"/>
                    <a:pt x="267" y="221"/>
                    <a:pt x="267" y="221"/>
                  </a:cubicBezTo>
                  <a:cubicBezTo>
                    <a:pt x="269" y="221"/>
                    <a:pt x="269" y="221"/>
                    <a:pt x="269" y="221"/>
                  </a:cubicBezTo>
                  <a:cubicBezTo>
                    <a:pt x="271" y="220"/>
                    <a:pt x="271" y="220"/>
                    <a:pt x="271" y="220"/>
                  </a:cubicBezTo>
                  <a:cubicBezTo>
                    <a:pt x="272" y="220"/>
                    <a:pt x="272" y="220"/>
                    <a:pt x="272" y="220"/>
                  </a:cubicBezTo>
                  <a:cubicBezTo>
                    <a:pt x="273" y="219"/>
                    <a:pt x="273" y="219"/>
                    <a:pt x="273" y="219"/>
                  </a:cubicBezTo>
                  <a:cubicBezTo>
                    <a:pt x="276" y="219"/>
                    <a:pt x="276" y="219"/>
                    <a:pt x="276" y="219"/>
                  </a:cubicBezTo>
                  <a:cubicBezTo>
                    <a:pt x="277" y="219"/>
                    <a:pt x="277" y="219"/>
                    <a:pt x="277" y="219"/>
                  </a:cubicBezTo>
                  <a:cubicBezTo>
                    <a:pt x="279" y="218"/>
                    <a:pt x="279" y="218"/>
                    <a:pt x="279" y="218"/>
                  </a:cubicBezTo>
                  <a:cubicBezTo>
                    <a:pt x="281" y="218"/>
                    <a:pt x="281" y="218"/>
                    <a:pt x="281" y="218"/>
                  </a:cubicBezTo>
                  <a:cubicBezTo>
                    <a:pt x="282" y="217"/>
                    <a:pt x="282" y="217"/>
                    <a:pt x="282" y="217"/>
                  </a:cubicBezTo>
                  <a:cubicBezTo>
                    <a:pt x="285" y="216"/>
                    <a:pt x="285" y="216"/>
                    <a:pt x="285" y="216"/>
                  </a:cubicBezTo>
                  <a:cubicBezTo>
                    <a:pt x="285" y="216"/>
                    <a:pt x="285" y="216"/>
                    <a:pt x="285" y="216"/>
                  </a:cubicBezTo>
                  <a:cubicBezTo>
                    <a:pt x="286" y="216"/>
                    <a:pt x="286" y="216"/>
                    <a:pt x="286" y="216"/>
                  </a:cubicBezTo>
                  <a:cubicBezTo>
                    <a:pt x="288" y="216"/>
                    <a:pt x="288" y="216"/>
                    <a:pt x="288" y="216"/>
                  </a:cubicBezTo>
                  <a:cubicBezTo>
                    <a:pt x="290" y="215"/>
                    <a:pt x="290" y="215"/>
                    <a:pt x="290" y="215"/>
                  </a:cubicBezTo>
                  <a:cubicBezTo>
                    <a:pt x="291" y="214"/>
                    <a:pt x="291" y="214"/>
                    <a:pt x="291" y="214"/>
                  </a:cubicBezTo>
                  <a:cubicBezTo>
                    <a:pt x="292" y="214"/>
                    <a:pt x="292" y="214"/>
                    <a:pt x="292" y="214"/>
                  </a:cubicBezTo>
                  <a:cubicBezTo>
                    <a:pt x="293" y="213"/>
                    <a:pt x="293" y="213"/>
                    <a:pt x="293" y="213"/>
                  </a:cubicBezTo>
                  <a:cubicBezTo>
                    <a:pt x="294" y="213"/>
                    <a:pt x="294" y="213"/>
                    <a:pt x="294" y="213"/>
                  </a:cubicBezTo>
                  <a:cubicBezTo>
                    <a:pt x="295" y="212"/>
                    <a:pt x="295" y="212"/>
                    <a:pt x="295" y="212"/>
                  </a:cubicBezTo>
                  <a:cubicBezTo>
                    <a:pt x="296" y="211"/>
                    <a:pt x="296" y="211"/>
                    <a:pt x="296" y="211"/>
                  </a:cubicBezTo>
                  <a:cubicBezTo>
                    <a:pt x="297" y="211"/>
                    <a:pt x="297" y="211"/>
                    <a:pt x="297" y="211"/>
                  </a:cubicBezTo>
                  <a:cubicBezTo>
                    <a:pt x="298" y="210"/>
                    <a:pt x="298" y="210"/>
                    <a:pt x="298" y="210"/>
                  </a:cubicBezTo>
                  <a:cubicBezTo>
                    <a:pt x="300" y="209"/>
                    <a:pt x="300" y="209"/>
                    <a:pt x="300" y="209"/>
                  </a:cubicBezTo>
                  <a:cubicBezTo>
                    <a:pt x="301" y="209"/>
                    <a:pt x="301" y="209"/>
                    <a:pt x="301" y="209"/>
                  </a:cubicBezTo>
                  <a:cubicBezTo>
                    <a:pt x="302" y="209"/>
                    <a:pt x="302" y="209"/>
                    <a:pt x="302" y="209"/>
                  </a:cubicBezTo>
                  <a:cubicBezTo>
                    <a:pt x="303" y="208"/>
                    <a:pt x="303" y="208"/>
                    <a:pt x="303" y="208"/>
                  </a:cubicBezTo>
                  <a:cubicBezTo>
                    <a:pt x="304" y="208"/>
                    <a:pt x="304" y="208"/>
                    <a:pt x="304" y="208"/>
                  </a:cubicBezTo>
                  <a:cubicBezTo>
                    <a:pt x="304" y="207"/>
                    <a:pt x="304" y="207"/>
                    <a:pt x="304" y="207"/>
                  </a:cubicBezTo>
                  <a:lnTo>
                    <a:pt x="303" y="207"/>
                  </a:lnTo>
                  <a:close/>
                </a:path>
              </a:pathLst>
            </a:cu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34" name="New Mexico">
              <a:extLst>
                <a:ext uri="{FF2B5EF4-FFF2-40B4-BE49-F238E27FC236}">
                  <a16:creationId xmlns:a16="http://schemas.microsoft.com/office/drawing/2014/main" id="{785281C0-39EA-4D03-BB12-E717BE7CD58E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4504358" y="3189710"/>
              <a:ext cx="901116" cy="1252199"/>
            </a:xfrm>
            <a:custGeom>
              <a:avLst/>
              <a:gdLst>
                <a:gd name="T0" fmla="*/ 217 w 539"/>
                <a:gd name="T1" fmla="*/ 701 h 749"/>
                <a:gd name="T2" fmla="*/ 220 w 539"/>
                <a:gd name="T3" fmla="*/ 701 h 749"/>
                <a:gd name="T4" fmla="*/ 539 w 539"/>
                <a:gd name="T5" fmla="*/ 701 h 749"/>
                <a:gd name="T6" fmla="*/ 539 w 539"/>
                <a:gd name="T7" fmla="*/ 95 h 749"/>
                <a:gd name="T8" fmla="*/ 539 w 539"/>
                <a:gd name="T9" fmla="*/ 95 h 749"/>
                <a:gd name="T10" fmla="*/ 539 w 539"/>
                <a:gd name="T11" fmla="*/ 0 h 749"/>
                <a:gd name="T12" fmla="*/ 2 w 539"/>
                <a:gd name="T13" fmla="*/ 0 h 749"/>
                <a:gd name="T14" fmla="*/ 0 w 539"/>
                <a:gd name="T15" fmla="*/ 0 h 749"/>
                <a:gd name="T16" fmla="*/ 0 w 539"/>
                <a:gd name="T17" fmla="*/ 749 h 749"/>
                <a:gd name="T18" fmla="*/ 56 w 539"/>
                <a:gd name="T19" fmla="*/ 749 h 749"/>
                <a:gd name="T20" fmla="*/ 56 w 539"/>
                <a:gd name="T21" fmla="*/ 704 h 749"/>
                <a:gd name="T22" fmla="*/ 208 w 539"/>
                <a:gd name="T23" fmla="*/ 704 h 749"/>
                <a:gd name="T24" fmla="*/ 208 w 539"/>
                <a:gd name="T25" fmla="*/ 701 h 749"/>
                <a:gd name="T26" fmla="*/ 217 w 539"/>
                <a:gd name="T27" fmla="*/ 701 h 749"/>
                <a:gd name="T28" fmla="*/ 217 w 539"/>
                <a:gd name="T29" fmla="*/ 701 h 749"/>
                <a:gd name="T30" fmla="*/ 217 w 539"/>
                <a:gd name="T31" fmla="*/ 701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9" h="749">
                  <a:moveTo>
                    <a:pt x="217" y="701"/>
                  </a:moveTo>
                  <a:lnTo>
                    <a:pt x="220" y="701"/>
                  </a:lnTo>
                  <a:lnTo>
                    <a:pt x="539" y="701"/>
                  </a:lnTo>
                  <a:lnTo>
                    <a:pt x="539" y="95"/>
                  </a:lnTo>
                  <a:lnTo>
                    <a:pt x="539" y="95"/>
                  </a:lnTo>
                  <a:lnTo>
                    <a:pt x="539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749"/>
                  </a:lnTo>
                  <a:lnTo>
                    <a:pt x="56" y="749"/>
                  </a:lnTo>
                  <a:lnTo>
                    <a:pt x="56" y="704"/>
                  </a:lnTo>
                  <a:lnTo>
                    <a:pt x="208" y="704"/>
                  </a:lnTo>
                  <a:lnTo>
                    <a:pt x="208" y="701"/>
                  </a:lnTo>
                  <a:lnTo>
                    <a:pt x="217" y="701"/>
                  </a:lnTo>
                  <a:lnTo>
                    <a:pt x="217" y="701"/>
                  </a:lnTo>
                  <a:lnTo>
                    <a:pt x="217" y="701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35" name="New Jersey">
              <a:extLst>
                <a:ext uri="{FF2B5EF4-FFF2-40B4-BE49-F238E27FC236}">
                  <a16:creationId xmlns:a16="http://schemas.microsoft.com/office/drawing/2014/main" id="{4CFA4A33-6564-43A0-A219-E4CA1EB5E9FD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9623941" y="2547728"/>
              <a:ext cx="258691" cy="471790"/>
            </a:xfrm>
            <a:custGeom>
              <a:avLst/>
              <a:gdLst>
                <a:gd name="connsiteX0" fmla="*/ 111667 w 258691"/>
                <a:gd name="connsiteY0" fmla="*/ 0 h 471790"/>
                <a:gd name="connsiteX1" fmla="*/ 127561 w 258691"/>
                <a:gd name="connsiteY1" fmla="*/ 0 h 471790"/>
                <a:gd name="connsiteX2" fmla="*/ 171271 w 258691"/>
                <a:gd name="connsiteY2" fmla="*/ 35682 h 471790"/>
                <a:gd name="connsiteX3" fmla="*/ 211008 w 258691"/>
                <a:gd name="connsiteY3" fmla="*/ 71363 h 471790"/>
                <a:gd name="connsiteX4" fmla="*/ 234849 w 258691"/>
                <a:gd name="connsiteY4" fmla="*/ 71363 h 471790"/>
                <a:gd name="connsiteX5" fmla="*/ 258691 w 258691"/>
                <a:gd name="connsiteY5" fmla="*/ 103080 h 471790"/>
                <a:gd name="connsiteX6" fmla="*/ 222928 w 258691"/>
                <a:gd name="connsiteY6" fmla="*/ 162550 h 471790"/>
                <a:gd name="connsiteX7" fmla="*/ 222928 w 258691"/>
                <a:gd name="connsiteY7" fmla="*/ 178408 h 471790"/>
                <a:gd name="connsiteX8" fmla="*/ 238823 w 258691"/>
                <a:gd name="connsiteY8" fmla="*/ 194267 h 471790"/>
                <a:gd name="connsiteX9" fmla="*/ 254717 w 258691"/>
                <a:gd name="connsiteY9" fmla="*/ 210125 h 471790"/>
                <a:gd name="connsiteX10" fmla="*/ 254717 w 258691"/>
                <a:gd name="connsiteY10" fmla="*/ 225984 h 471790"/>
                <a:gd name="connsiteX11" fmla="*/ 254717 w 258691"/>
                <a:gd name="connsiteY11" fmla="*/ 269594 h 471790"/>
                <a:gd name="connsiteX12" fmla="*/ 238823 w 258691"/>
                <a:gd name="connsiteY12" fmla="*/ 269594 h 471790"/>
                <a:gd name="connsiteX13" fmla="*/ 222928 w 258691"/>
                <a:gd name="connsiteY13" fmla="*/ 285453 h 471790"/>
                <a:gd name="connsiteX14" fmla="*/ 222928 w 258691"/>
                <a:gd name="connsiteY14" fmla="*/ 333028 h 471790"/>
                <a:gd name="connsiteX15" fmla="*/ 207034 w 258691"/>
                <a:gd name="connsiteY15" fmla="*/ 348887 h 471790"/>
                <a:gd name="connsiteX16" fmla="*/ 191139 w 258691"/>
                <a:gd name="connsiteY16" fmla="*/ 348887 h 471790"/>
                <a:gd name="connsiteX17" fmla="*/ 191139 w 258691"/>
                <a:gd name="connsiteY17" fmla="*/ 364745 h 471790"/>
                <a:gd name="connsiteX18" fmla="*/ 115641 w 258691"/>
                <a:gd name="connsiteY18" fmla="*/ 471790 h 471790"/>
                <a:gd name="connsiteX19" fmla="*/ 115641 w 258691"/>
                <a:gd name="connsiteY19" fmla="*/ 455932 h 471790"/>
                <a:gd name="connsiteX20" fmla="*/ 115641 w 258691"/>
                <a:gd name="connsiteY20" fmla="*/ 424215 h 471790"/>
                <a:gd name="connsiteX21" fmla="*/ 83852 w 258691"/>
                <a:gd name="connsiteY21" fmla="*/ 424215 h 471790"/>
                <a:gd name="connsiteX22" fmla="*/ 67957 w 258691"/>
                <a:gd name="connsiteY22" fmla="*/ 408356 h 471790"/>
                <a:gd name="connsiteX23" fmla="*/ 52063 w 258691"/>
                <a:gd name="connsiteY23" fmla="*/ 392498 h 471790"/>
                <a:gd name="connsiteX24" fmla="*/ 31946 w 258691"/>
                <a:gd name="connsiteY24" fmla="*/ 374099 h 471790"/>
                <a:gd name="connsiteX25" fmla="*/ 7543 w 258691"/>
                <a:gd name="connsiteY25" fmla="*/ 351780 h 471790"/>
                <a:gd name="connsiteX26" fmla="*/ 0 w 258691"/>
                <a:gd name="connsiteY26" fmla="*/ 341160 h 471790"/>
                <a:gd name="connsiteX27" fmla="*/ 8353 w 258691"/>
                <a:gd name="connsiteY27" fmla="*/ 336993 h 471790"/>
                <a:gd name="connsiteX28" fmla="*/ 60010 w 258691"/>
                <a:gd name="connsiteY28" fmla="*/ 289418 h 471790"/>
                <a:gd name="connsiteX29" fmla="*/ 60010 w 258691"/>
                <a:gd name="connsiteY29" fmla="*/ 269594 h 471790"/>
                <a:gd name="connsiteX30" fmla="*/ 75904 w 258691"/>
                <a:gd name="connsiteY30" fmla="*/ 245807 h 471790"/>
                <a:gd name="connsiteX31" fmla="*/ 75904 w 258691"/>
                <a:gd name="connsiteY31" fmla="*/ 186337 h 471790"/>
                <a:gd name="connsiteX32" fmla="*/ 48089 w 258691"/>
                <a:gd name="connsiteY32" fmla="*/ 134797 h 471790"/>
                <a:gd name="connsiteX33" fmla="*/ 36168 w 258691"/>
                <a:gd name="connsiteY33" fmla="*/ 138762 h 471790"/>
                <a:gd name="connsiteX34" fmla="*/ 40142 w 258691"/>
                <a:gd name="connsiteY34" fmla="*/ 130833 h 471790"/>
                <a:gd name="connsiteX35" fmla="*/ 44115 w 258691"/>
                <a:gd name="connsiteY35" fmla="*/ 118939 h 471790"/>
                <a:gd name="connsiteX36" fmla="*/ 52063 w 258691"/>
                <a:gd name="connsiteY36" fmla="*/ 95151 h 471790"/>
                <a:gd name="connsiteX37" fmla="*/ 75904 w 258691"/>
                <a:gd name="connsiteY37" fmla="*/ 59469 h 471790"/>
                <a:gd name="connsiteX38" fmla="*/ 75904 w 258691"/>
                <a:gd name="connsiteY38" fmla="*/ 15859 h 471790"/>
                <a:gd name="connsiteX39" fmla="*/ 111667 w 258691"/>
                <a:gd name="connsiteY39" fmla="*/ 3965 h 471790"/>
                <a:gd name="connsiteX40" fmla="*/ 107693 w 258691"/>
                <a:gd name="connsiteY40" fmla="*/ 3965 h 471790"/>
                <a:gd name="connsiteX41" fmla="*/ 111667 w 258691"/>
                <a:gd name="connsiteY41" fmla="*/ 0 h 471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58691" h="471790">
                  <a:moveTo>
                    <a:pt x="111667" y="0"/>
                  </a:moveTo>
                  <a:cubicBezTo>
                    <a:pt x="111667" y="0"/>
                    <a:pt x="111667" y="0"/>
                    <a:pt x="127561" y="0"/>
                  </a:cubicBezTo>
                  <a:cubicBezTo>
                    <a:pt x="127561" y="0"/>
                    <a:pt x="127561" y="0"/>
                    <a:pt x="171271" y="35682"/>
                  </a:cubicBezTo>
                  <a:cubicBezTo>
                    <a:pt x="171271" y="35682"/>
                    <a:pt x="171271" y="35682"/>
                    <a:pt x="211008" y="71363"/>
                  </a:cubicBezTo>
                  <a:lnTo>
                    <a:pt x="234849" y="71363"/>
                  </a:lnTo>
                  <a:cubicBezTo>
                    <a:pt x="234849" y="71363"/>
                    <a:pt x="234849" y="71363"/>
                    <a:pt x="258691" y="103080"/>
                  </a:cubicBezTo>
                  <a:cubicBezTo>
                    <a:pt x="258691" y="103080"/>
                    <a:pt x="258691" y="103080"/>
                    <a:pt x="222928" y="162550"/>
                  </a:cubicBezTo>
                  <a:cubicBezTo>
                    <a:pt x="222928" y="162550"/>
                    <a:pt x="222928" y="162550"/>
                    <a:pt x="222928" y="178408"/>
                  </a:cubicBezTo>
                  <a:cubicBezTo>
                    <a:pt x="222928" y="178408"/>
                    <a:pt x="222928" y="178408"/>
                    <a:pt x="238823" y="194267"/>
                  </a:cubicBezTo>
                  <a:cubicBezTo>
                    <a:pt x="238823" y="194267"/>
                    <a:pt x="238823" y="194267"/>
                    <a:pt x="254717" y="210125"/>
                  </a:cubicBezTo>
                  <a:cubicBezTo>
                    <a:pt x="254717" y="210125"/>
                    <a:pt x="254717" y="210125"/>
                    <a:pt x="254717" y="225984"/>
                  </a:cubicBezTo>
                  <a:cubicBezTo>
                    <a:pt x="254717" y="225984"/>
                    <a:pt x="254717" y="225984"/>
                    <a:pt x="254717" y="269594"/>
                  </a:cubicBezTo>
                  <a:cubicBezTo>
                    <a:pt x="254717" y="269594"/>
                    <a:pt x="254717" y="269594"/>
                    <a:pt x="238823" y="269594"/>
                  </a:cubicBezTo>
                  <a:cubicBezTo>
                    <a:pt x="238823" y="269594"/>
                    <a:pt x="238823" y="269594"/>
                    <a:pt x="222928" y="285453"/>
                  </a:cubicBezTo>
                  <a:cubicBezTo>
                    <a:pt x="222928" y="285453"/>
                    <a:pt x="222928" y="285453"/>
                    <a:pt x="222928" y="333028"/>
                  </a:cubicBezTo>
                  <a:cubicBezTo>
                    <a:pt x="222928" y="333028"/>
                    <a:pt x="222928" y="333028"/>
                    <a:pt x="207034" y="348887"/>
                  </a:cubicBezTo>
                  <a:cubicBezTo>
                    <a:pt x="207034" y="348887"/>
                    <a:pt x="207034" y="348887"/>
                    <a:pt x="191139" y="348887"/>
                  </a:cubicBezTo>
                  <a:cubicBezTo>
                    <a:pt x="191139" y="348887"/>
                    <a:pt x="191139" y="348887"/>
                    <a:pt x="191139" y="364745"/>
                  </a:cubicBezTo>
                  <a:cubicBezTo>
                    <a:pt x="191139" y="364745"/>
                    <a:pt x="191139" y="364745"/>
                    <a:pt x="115641" y="471790"/>
                  </a:cubicBezTo>
                  <a:cubicBezTo>
                    <a:pt x="115641" y="471790"/>
                    <a:pt x="115641" y="471790"/>
                    <a:pt x="115641" y="455932"/>
                  </a:cubicBezTo>
                  <a:cubicBezTo>
                    <a:pt x="115641" y="455932"/>
                    <a:pt x="115641" y="455932"/>
                    <a:pt x="115641" y="424215"/>
                  </a:cubicBezTo>
                  <a:cubicBezTo>
                    <a:pt x="115641" y="424215"/>
                    <a:pt x="115641" y="424215"/>
                    <a:pt x="83852" y="424215"/>
                  </a:cubicBezTo>
                  <a:cubicBezTo>
                    <a:pt x="83852" y="424215"/>
                    <a:pt x="83852" y="424215"/>
                    <a:pt x="67957" y="408356"/>
                  </a:cubicBezTo>
                  <a:cubicBezTo>
                    <a:pt x="67957" y="408356"/>
                    <a:pt x="67957" y="408356"/>
                    <a:pt x="52063" y="392498"/>
                  </a:cubicBezTo>
                  <a:cubicBezTo>
                    <a:pt x="52063" y="392498"/>
                    <a:pt x="52063" y="392498"/>
                    <a:pt x="31946" y="374099"/>
                  </a:cubicBezTo>
                  <a:lnTo>
                    <a:pt x="7543" y="351780"/>
                  </a:lnTo>
                  <a:lnTo>
                    <a:pt x="0" y="341160"/>
                  </a:lnTo>
                  <a:lnTo>
                    <a:pt x="8353" y="336993"/>
                  </a:lnTo>
                  <a:cubicBezTo>
                    <a:pt x="32194" y="313205"/>
                    <a:pt x="52063" y="293382"/>
                    <a:pt x="60010" y="289418"/>
                  </a:cubicBezTo>
                  <a:cubicBezTo>
                    <a:pt x="60010" y="289418"/>
                    <a:pt x="60010" y="289418"/>
                    <a:pt x="60010" y="269594"/>
                  </a:cubicBezTo>
                  <a:cubicBezTo>
                    <a:pt x="60010" y="269594"/>
                    <a:pt x="60010" y="269594"/>
                    <a:pt x="75904" y="245807"/>
                  </a:cubicBezTo>
                  <a:cubicBezTo>
                    <a:pt x="75904" y="245807"/>
                    <a:pt x="75904" y="245807"/>
                    <a:pt x="75904" y="186337"/>
                  </a:cubicBezTo>
                  <a:cubicBezTo>
                    <a:pt x="75904" y="186337"/>
                    <a:pt x="75904" y="186337"/>
                    <a:pt x="48089" y="134797"/>
                  </a:cubicBezTo>
                  <a:cubicBezTo>
                    <a:pt x="48089" y="134797"/>
                    <a:pt x="48089" y="134797"/>
                    <a:pt x="36168" y="138762"/>
                  </a:cubicBezTo>
                  <a:cubicBezTo>
                    <a:pt x="36168" y="138762"/>
                    <a:pt x="36168" y="138762"/>
                    <a:pt x="40142" y="130833"/>
                  </a:cubicBezTo>
                  <a:cubicBezTo>
                    <a:pt x="40142" y="130833"/>
                    <a:pt x="40142" y="130833"/>
                    <a:pt x="44115" y="118939"/>
                  </a:cubicBezTo>
                  <a:cubicBezTo>
                    <a:pt x="44115" y="118939"/>
                    <a:pt x="44115" y="118939"/>
                    <a:pt x="52063" y="95151"/>
                  </a:cubicBezTo>
                  <a:cubicBezTo>
                    <a:pt x="52063" y="95151"/>
                    <a:pt x="52063" y="95151"/>
                    <a:pt x="75904" y="59469"/>
                  </a:cubicBezTo>
                  <a:cubicBezTo>
                    <a:pt x="75904" y="59469"/>
                    <a:pt x="75904" y="59469"/>
                    <a:pt x="75904" y="15859"/>
                  </a:cubicBezTo>
                  <a:cubicBezTo>
                    <a:pt x="75904" y="15859"/>
                    <a:pt x="75904" y="15859"/>
                    <a:pt x="111667" y="3965"/>
                  </a:cubicBezTo>
                  <a:cubicBezTo>
                    <a:pt x="111667" y="3965"/>
                    <a:pt x="111667" y="3965"/>
                    <a:pt x="107693" y="3965"/>
                  </a:cubicBezTo>
                  <a:cubicBezTo>
                    <a:pt x="107693" y="0"/>
                    <a:pt x="111667" y="0"/>
                    <a:pt x="111667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/>
            </a:p>
          </p:txBody>
        </p:sp>
        <p:sp>
          <p:nvSpPr>
            <p:cNvPr id="136" name="New Hampshire">
              <a:extLst>
                <a:ext uri="{FF2B5EF4-FFF2-40B4-BE49-F238E27FC236}">
                  <a16:creationId xmlns:a16="http://schemas.microsoft.com/office/drawing/2014/main" id="{F3A15209-B306-4353-B1C7-BA6151056560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10103313" y="1705127"/>
              <a:ext cx="312632" cy="538329"/>
            </a:xfrm>
            <a:custGeom>
              <a:avLst/>
              <a:gdLst>
                <a:gd name="T0" fmla="*/ 74 w 79"/>
                <a:gd name="T1" fmla="*/ 101 h 136"/>
                <a:gd name="T2" fmla="*/ 74 w 79"/>
                <a:gd name="T3" fmla="*/ 75 h 136"/>
                <a:gd name="T4" fmla="*/ 67 w 79"/>
                <a:gd name="T5" fmla="*/ 48 h 136"/>
                <a:gd name="T6" fmla="*/ 67 w 79"/>
                <a:gd name="T7" fmla="*/ 42 h 136"/>
                <a:gd name="T8" fmla="*/ 66 w 79"/>
                <a:gd name="T9" fmla="*/ 36 h 136"/>
                <a:gd name="T10" fmla="*/ 66 w 79"/>
                <a:gd name="T11" fmla="*/ 17 h 136"/>
                <a:gd name="T12" fmla="*/ 66 w 79"/>
                <a:gd name="T13" fmla="*/ 6 h 136"/>
                <a:gd name="T14" fmla="*/ 66 w 79"/>
                <a:gd name="T15" fmla="*/ 3 h 136"/>
                <a:gd name="T16" fmla="*/ 60 w 79"/>
                <a:gd name="T17" fmla="*/ 0 h 136"/>
                <a:gd name="T18" fmla="*/ 52 w 79"/>
                <a:gd name="T19" fmla="*/ 4 h 136"/>
                <a:gd name="T20" fmla="*/ 44 w 79"/>
                <a:gd name="T21" fmla="*/ 4 h 136"/>
                <a:gd name="T22" fmla="*/ 41 w 79"/>
                <a:gd name="T23" fmla="*/ 8 h 136"/>
                <a:gd name="T24" fmla="*/ 39 w 79"/>
                <a:gd name="T25" fmla="*/ 12 h 136"/>
                <a:gd name="T26" fmla="*/ 38 w 79"/>
                <a:gd name="T27" fmla="*/ 16 h 136"/>
                <a:gd name="T28" fmla="*/ 38 w 79"/>
                <a:gd name="T29" fmla="*/ 18 h 136"/>
                <a:gd name="T30" fmla="*/ 38 w 79"/>
                <a:gd name="T31" fmla="*/ 30 h 136"/>
                <a:gd name="T32" fmla="*/ 32 w 79"/>
                <a:gd name="T33" fmla="*/ 36 h 136"/>
                <a:gd name="T34" fmla="*/ 31 w 79"/>
                <a:gd name="T35" fmla="*/ 36 h 136"/>
                <a:gd name="T36" fmla="*/ 31 w 79"/>
                <a:gd name="T37" fmla="*/ 42 h 136"/>
                <a:gd name="T38" fmla="*/ 26 w 79"/>
                <a:gd name="T39" fmla="*/ 48 h 136"/>
                <a:gd name="T40" fmla="*/ 26 w 79"/>
                <a:gd name="T41" fmla="*/ 49 h 136"/>
                <a:gd name="T42" fmla="*/ 21 w 79"/>
                <a:gd name="T43" fmla="*/ 56 h 136"/>
                <a:gd name="T44" fmla="*/ 19 w 79"/>
                <a:gd name="T45" fmla="*/ 60 h 136"/>
                <a:gd name="T46" fmla="*/ 21 w 79"/>
                <a:gd name="T47" fmla="*/ 61 h 136"/>
                <a:gd name="T48" fmla="*/ 15 w 79"/>
                <a:gd name="T49" fmla="*/ 72 h 136"/>
                <a:gd name="T50" fmla="*/ 15 w 79"/>
                <a:gd name="T51" fmla="*/ 73 h 136"/>
                <a:gd name="T52" fmla="*/ 10 w 79"/>
                <a:gd name="T53" fmla="*/ 81 h 136"/>
                <a:gd name="T54" fmla="*/ 7 w 79"/>
                <a:gd name="T55" fmla="*/ 85 h 136"/>
                <a:gd name="T56" fmla="*/ 7 w 79"/>
                <a:gd name="T57" fmla="*/ 85 h 136"/>
                <a:gd name="T58" fmla="*/ 8 w 79"/>
                <a:gd name="T59" fmla="*/ 85 h 136"/>
                <a:gd name="T60" fmla="*/ 10 w 79"/>
                <a:gd name="T61" fmla="*/ 86 h 136"/>
                <a:gd name="T62" fmla="*/ 10 w 79"/>
                <a:gd name="T63" fmla="*/ 99 h 136"/>
                <a:gd name="T64" fmla="*/ 10 w 79"/>
                <a:gd name="T65" fmla="*/ 102 h 136"/>
                <a:gd name="T66" fmla="*/ 10 w 79"/>
                <a:gd name="T67" fmla="*/ 102 h 136"/>
                <a:gd name="T68" fmla="*/ 10 w 79"/>
                <a:gd name="T69" fmla="*/ 102 h 136"/>
                <a:gd name="T70" fmla="*/ 10 w 79"/>
                <a:gd name="T71" fmla="*/ 103 h 136"/>
                <a:gd name="T72" fmla="*/ 10 w 79"/>
                <a:gd name="T73" fmla="*/ 103 h 136"/>
                <a:gd name="T74" fmla="*/ 9 w 79"/>
                <a:gd name="T75" fmla="*/ 108 h 136"/>
                <a:gd name="T76" fmla="*/ 8 w 79"/>
                <a:gd name="T77" fmla="*/ 111 h 136"/>
                <a:gd name="T78" fmla="*/ 8 w 79"/>
                <a:gd name="T79" fmla="*/ 112 h 136"/>
                <a:gd name="T80" fmla="*/ 8 w 79"/>
                <a:gd name="T81" fmla="*/ 112 h 136"/>
                <a:gd name="T82" fmla="*/ 7 w 79"/>
                <a:gd name="T83" fmla="*/ 112 h 136"/>
                <a:gd name="T84" fmla="*/ 7 w 79"/>
                <a:gd name="T85" fmla="*/ 112 h 136"/>
                <a:gd name="T86" fmla="*/ 7 w 79"/>
                <a:gd name="T87" fmla="*/ 113 h 136"/>
                <a:gd name="T88" fmla="*/ 1 w 79"/>
                <a:gd name="T89" fmla="*/ 120 h 136"/>
                <a:gd name="T90" fmla="*/ 0 w 79"/>
                <a:gd name="T91" fmla="*/ 120 h 136"/>
                <a:gd name="T92" fmla="*/ 0 w 79"/>
                <a:gd name="T93" fmla="*/ 128 h 136"/>
                <a:gd name="T94" fmla="*/ 0 w 79"/>
                <a:gd name="T95" fmla="*/ 128 h 136"/>
                <a:gd name="T96" fmla="*/ 1 w 79"/>
                <a:gd name="T97" fmla="*/ 128 h 136"/>
                <a:gd name="T98" fmla="*/ 39 w 79"/>
                <a:gd name="T99" fmla="*/ 128 h 136"/>
                <a:gd name="T100" fmla="*/ 39 w 79"/>
                <a:gd name="T101" fmla="*/ 136 h 136"/>
                <a:gd name="T102" fmla="*/ 55 w 79"/>
                <a:gd name="T103" fmla="*/ 136 h 136"/>
                <a:gd name="T104" fmla="*/ 66 w 79"/>
                <a:gd name="T105" fmla="*/ 127 h 136"/>
                <a:gd name="T106" fmla="*/ 67 w 79"/>
                <a:gd name="T107" fmla="*/ 125 h 136"/>
                <a:gd name="T108" fmla="*/ 68 w 79"/>
                <a:gd name="T109" fmla="*/ 121 h 136"/>
                <a:gd name="T110" fmla="*/ 76 w 79"/>
                <a:gd name="T111" fmla="*/ 113 h 136"/>
                <a:gd name="T112" fmla="*/ 79 w 79"/>
                <a:gd name="T113" fmla="*/ 109 h 136"/>
                <a:gd name="T114" fmla="*/ 78 w 79"/>
                <a:gd name="T115" fmla="*/ 108 h 136"/>
                <a:gd name="T116" fmla="*/ 74 w 79"/>
                <a:gd name="T117" fmla="*/ 10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9" h="136">
                  <a:moveTo>
                    <a:pt x="74" y="101"/>
                  </a:moveTo>
                  <a:cubicBezTo>
                    <a:pt x="74" y="75"/>
                    <a:pt x="74" y="75"/>
                    <a:pt x="74" y="75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4"/>
                    <a:pt x="67" y="20"/>
                    <a:pt x="66" y="17"/>
                  </a:cubicBezTo>
                  <a:cubicBezTo>
                    <a:pt x="65" y="14"/>
                    <a:pt x="66" y="7"/>
                    <a:pt x="66" y="6"/>
                  </a:cubicBezTo>
                  <a:cubicBezTo>
                    <a:pt x="66" y="3"/>
                    <a:pt x="66" y="3"/>
                    <a:pt x="66" y="3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38" y="32"/>
                    <a:pt x="35" y="34"/>
                    <a:pt x="32" y="36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50"/>
                    <a:pt x="24" y="53"/>
                    <a:pt x="21" y="56"/>
                  </a:cubicBezTo>
                  <a:cubicBezTo>
                    <a:pt x="19" y="58"/>
                    <a:pt x="19" y="59"/>
                    <a:pt x="19" y="60"/>
                  </a:cubicBezTo>
                  <a:cubicBezTo>
                    <a:pt x="19" y="61"/>
                    <a:pt x="20" y="61"/>
                    <a:pt x="21" y="61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73"/>
                    <a:pt x="15" y="73"/>
                    <a:pt x="15" y="73"/>
                  </a:cubicBezTo>
                  <a:cubicBezTo>
                    <a:pt x="15" y="73"/>
                    <a:pt x="15" y="77"/>
                    <a:pt x="10" y="81"/>
                  </a:cubicBezTo>
                  <a:cubicBezTo>
                    <a:pt x="8" y="83"/>
                    <a:pt x="7" y="84"/>
                    <a:pt x="7" y="85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8" y="85"/>
                    <a:pt x="8" y="85"/>
                    <a:pt x="8" y="85"/>
                  </a:cubicBezTo>
                  <a:cubicBezTo>
                    <a:pt x="8" y="86"/>
                    <a:pt x="9" y="86"/>
                    <a:pt x="10" y="86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100"/>
                    <a:pt x="10" y="101"/>
                    <a:pt x="10" y="102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9" y="104"/>
                    <a:pt x="9" y="105"/>
                    <a:pt x="9" y="108"/>
                  </a:cubicBezTo>
                  <a:cubicBezTo>
                    <a:pt x="9" y="109"/>
                    <a:pt x="8" y="111"/>
                    <a:pt x="8" y="111"/>
                  </a:cubicBezTo>
                  <a:cubicBezTo>
                    <a:pt x="8" y="112"/>
                    <a:pt x="8" y="112"/>
                    <a:pt x="8" y="112"/>
                  </a:cubicBezTo>
                  <a:cubicBezTo>
                    <a:pt x="8" y="112"/>
                    <a:pt x="8" y="112"/>
                    <a:pt x="8" y="112"/>
                  </a:cubicBezTo>
                  <a:cubicBezTo>
                    <a:pt x="7" y="112"/>
                    <a:pt x="7" y="112"/>
                    <a:pt x="7" y="112"/>
                  </a:cubicBezTo>
                  <a:cubicBezTo>
                    <a:pt x="7" y="112"/>
                    <a:pt x="7" y="112"/>
                    <a:pt x="7" y="112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5" y="117"/>
                    <a:pt x="2" y="119"/>
                    <a:pt x="1" y="12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" y="128"/>
                    <a:pt x="1" y="128"/>
                    <a:pt x="1" y="128"/>
                  </a:cubicBezTo>
                  <a:cubicBezTo>
                    <a:pt x="39" y="128"/>
                    <a:pt x="39" y="128"/>
                    <a:pt x="39" y="128"/>
                  </a:cubicBezTo>
                  <a:cubicBezTo>
                    <a:pt x="39" y="136"/>
                    <a:pt x="39" y="136"/>
                    <a:pt x="39" y="136"/>
                  </a:cubicBezTo>
                  <a:cubicBezTo>
                    <a:pt x="55" y="136"/>
                    <a:pt x="55" y="136"/>
                    <a:pt x="55" y="136"/>
                  </a:cubicBezTo>
                  <a:cubicBezTo>
                    <a:pt x="66" y="127"/>
                    <a:pt x="66" y="127"/>
                    <a:pt x="66" y="127"/>
                  </a:cubicBezTo>
                  <a:cubicBezTo>
                    <a:pt x="67" y="125"/>
                    <a:pt x="67" y="125"/>
                    <a:pt x="67" y="125"/>
                  </a:cubicBezTo>
                  <a:cubicBezTo>
                    <a:pt x="68" y="121"/>
                    <a:pt x="68" y="121"/>
                    <a:pt x="68" y="121"/>
                  </a:cubicBezTo>
                  <a:cubicBezTo>
                    <a:pt x="76" y="113"/>
                    <a:pt x="76" y="113"/>
                    <a:pt x="76" y="113"/>
                  </a:cubicBezTo>
                  <a:cubicBezTo>
                    <a:pt x="79" y="109"/>
                    <a:pt x="79" y="109"/>
                    <a:pt x="79" y="109"/>
                  </a:cubicBezTo>
                  <a:cubicBezTo>
                    <a:pt x="78" y="108"/>
                    <a:pt x="78" y="108"/>
                    <a:pt x="78" y="108"/>
                  </a:cubicBezTo>
                  <a:lnTo>
                    <a:pt x="74" y="101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37" name="Nevada">
              <a:extLst>
                <a:ext uri="{FF2B5EF4-FFF2-40B4-BE49-F238E27FC236}">
                  <a16:creationId xmlns:a16="http://schemas.microsoft.com/office/drawing/2014/main" id="{C3AE4A0E-E728-4E12-8365-E82AD8236D2C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2799093" y="2223394"/>
              <a:ext cx="926193" cy="1414367"/>
            </a:xfrm>
            <a:custGeom>
              <a:avLst/>
              <a:gdLst>
                <a:gd name="T0" fmla="*/ 118 w 234"/>
                <a:gd name="T1" fmla="*/ 0 h 357"/>
                <a:gd name="T2" fmla="*/ 118 w 234"/>
                <a:gd name="T3" fmla="*/ 0 h 357"/>
                <a:gd name="T4" fmla="*/ 0 w 234"/>
                <a:gd name="T5" fmla="*/ 0 h 357"/>
                <a:gd name="T6" fmla="*/ 0 w 234"/>
                <a:gd name="T7" fmla="*/ 142 h 357"/>
                <a:gd name="T8" fmla="*/ 217 w 234"/>
                <a:gd name="T9" fmla="*/ 357 h 357"/>
                <a:gd name="T10" fmla="*/ 217 w 234"/>
                <a:gd name="T11" fmla="*/ 357 h 357"/>
                <a:gd name="T12" fmla="*/ 217 w 234"/>
                <a:gd name="T13" fmla="*/ 326 h 357"/>
                <a:gd name="T14" fmla="*/ 220 w 234"/>
                <a:gd name="T15" fmla="*/ 323 h 357"/>
                <a:gd name="T16" fmla="*/ 217 w 234"/>
                <a:gd name="T17" fmla="*/ 317 h 357"/>
                <a:gd name="T18" fmla="*/ 210 w 234"/>
                <a:gd name="T19" fmla="*/ 310 h 357"/>
                <a:gd name="T20" fmla="*/ 214 w 234"/>
                <a:gd name="T21" fmla="*/ 288 h 357"/>
                <a:gd name="T22" fmla="*/ 234 w 234"/>
                <a:gd name="T23" fmla="*/ 301 h 357"/>
                <a:gd name="T24" fmla="*/ 234 w 234"/>
                <a:gd name="T25" fmla="*/ 244 h 357"/>
                <a:gd name="T26" fmla="*/ 234 w 234"/>
                <a:gd name="T27" fmla="*/ 0 h 357"/>
                <a:gd name="T28" fmla="*/ 118 w 234"/>
                <a:gd name="T29" fmla="*/ 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4" h="357">
                  <a:moveTo>
                    <a:pt x="118" y="0"/>
                  </a:moveTo>
                  <a:cubicBezTo>
                    <a:pt x="118" y="0"/>
                    <a:pt x="118" y="0"/>
                    <a:pt x="1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17" y="357"/>
                    <a:pt x="217" y="357"/>
                    <a:pt x="217" y="357"/>
                  </a:cubicBezTo>
                  <a:cubicBezTo>
                    <a:pt x="217" y="357"/>
                    <a:pt x="217" y="357"/>
                    <a:pt x="217" y="357"/>
                  </a:cubicBezTo>
                  <a:cubicBezTo>
                    <a:pt x="217" y="326"/>
                    <a:pt x="217" y="326"/>
                    <a:pt x="217" y="326"/>
                  </a:cubicBezTo>
                  <a:cubicBezTo>
                    <a:pt x="218" y="326"/>
                    <a:pt x="220" y="325"/>
                    <a:pt x="220" y="323"/>
                  </a:cubicBezTo>
                  <a:cubicBezTo>
                    <a:pt x="221" y="321"/>
                    <a:pt x="220" y="319"/>
                    <a:pt x="217" y="317"/>
                  </a:cubicBezTo>
                  <a:cubicBezTo>
                    <a:pt x="210" y="310"/>
                    <a:pt x="210" y="310"/>
                    <a:pt x="210" y="310"/>
                  </a:cubicBezTo>
                  <a:cubicBezTo>
                    <a:pt x="214" y="288"/>
                    <a:pt x="214" y="288"/>
                    <a:pt x="214" y="288"/>
                  </a:cubicBezTo>
                  <a:cubicBezTo>
                    <a:pt x="234" y="301"/>
                    <a:pt x="234" y="301"/>
                    <a:pt x="234" y="301"/>
                  </a:cubicBezTo>
                  <a:cubicBezTo>
                    <a:pt x="234" y="244"/>
                    <a:pt x="234" y="244"/>
                    <a:pt x="234" y="244"/>
                  </a:cubicBezTo>
                  <a:cubicBezTo>
                    <a:pt x="234" y="0"/>
                    <a:pt x="234" y="0"/>
                    <a:pt x="234" y="0"/>
                  </a:cubicBezTo>
                  <a:lnTo>
                    <a:pt x="118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38" name="Nebraska">
              <a:extLst>
                <a:ext uri="{FF2B5EF4-FFF2-40B4-BE49-F238E27FC236}">
                  <a16:creationId xmlns:a16="http://schemas.microsoft.com/office/drawing/2014/main" id="{2493F417-D165-4CFC-BD9C-5802ECD5A8A2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5239963" y="2032805"/>
              <a:ext cx="1315729" cy="583468"/>
            </a:xfrm>
            <a:custGeom>
              <a:avLst/>
              <a:gdLst>
                <a:gd name="T0" fmla="*/ 787 w 787"/>
                <a:gd name="T1" fmla="*/ 323 h 349"/>
                <a:gd name="T2" fmla="*/ 740 w 787"/>
                <a:gd name="T3" fmla="*/ 294 h 349"/>
                <a:gd name="T4" fmla="*/ 740 w 787"/>
                <a:gd name="T5" fmla="*/ 294 h 349"/>
                <a:gd name="T6" fmla="*/ 740 w 787"/>
                <a:gd name="T7" fmla="*/ 294 h 349"/>
                <a:gd name="T8" fmla="*/ 738 w 787"/>
                <a:gd name="T9" fmla="*/ 292 h 349"/>
                <a:gd name="T10" fmla="*/ 740 w 787"/>
                <a:gd name="T11" fmla="*/ 292 h 349"/>
                <a:gd name="T12" fmla="*/ 735 w 787"/>
                <a:gd name="T13" fmla="*/ 249 h 349"/>
                <a:gd name="T14" fmla="*/ 735 w 787"/>
                <a:gd name="T15" fmla="*/ 188 h 349"/>
                <a:gd name="T16" fmla="*/ 707 w 787"/>
                <a:gd name="T17" fmla="*/ 176 h 349"/>
                <a:gd name="T18" fmla="*/ 707 w 787"/>
                <a:gd name="T19" fmla="*/ 105 h 349"/>
                <a:gd name="T20" fmla="*/ 679 w 787"/>
                <a:gd name="T21" fmla="*/ 60 h 349"/>
                <a:gd name="T22" fmla="*/ 650 w 787"/>
                <a:gd name="T23" fmla="*/ 48 h 349"/>
                <a:gd name="T24" fmla="*/ 622 w 787"/>
                <a:gd name="T25" fmla="*/ 27 h 349"/>
                <a:gd name="T26" fmla="*/ 525 w 787"/>
                <a:gd name="T27" fmla="*/ 27 h 349"/>
                <a:gd name="T28" fmla="*/ 492 w 787"/>
                <a:gd name="T29" fmla="*/ 0 h 349"/>
                <a:gd name="T30" fmla="*/ 0 w 787"/>
                <a:gd name="T31" fmla="*/ 0 h 349"/>
                <a:gd name="T32" fmla="*/ 0 w 787"/>
                <a:gd name="T33" fmla="*/ 249 h 349"/>
                <a:gd name="T34" fmla="*/ 196 w 787"/>
                <a:gd name="T35" fmla="*/ 249 h 349"/>
                <a:gd name="T36" fmla="*/ 196 w 787"/>
                <a:gd name="T37" fmla="*/ 349 h 349"/>
                <a:gd name="T38" fmla="*/ 787 w 787"/>
                <a:gd name="T39" fmla="*/ 349 h 349"/>
                <a:gd name="T40" fmla="*/ 787 w 787"/>
                <a:gd name="T41" fmla="*/ 323 h 349"/>
                <a:gd name="T42" fmla="*/ 787 w 787"/>
                <a:gd name="T43" fmla="*/ 323 h 349"/>
                <a:gd name="T44" fmla="*/ 787 w 787"/>
                <a:gd name="T45" fmla="*/ 323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87" h="349">
                  <a:moveTo>
                    <a:pt x="787" y="323"/>
                  </a:moveTo>
                  <a:lnTo>
                    <a:pt x="740" y="294"/>
                  </a:lnTo>
                  <a:lnTo>
                    <a:pt x="740" y="294"/>
                  </a:lnTo>
                  <a:lnTo>
                    <a:pt x="740" y="294"/>
                  </a:lnTo>
                  <a:lnTo>
                    <a:pt x="738" y="292"/>
                  </a:lnTo>
                  <a:lnTo>
                    <a:pt x="740" y="292"/>
                  </a:lnTo>
                  <a:lnTo>
                    <a:pt x="735" y="249"/>
                  </a:lnTo>
                  <a:lnTo>
                    <a:pt x="735" y="188"/>
                  </a:lnTo>
                  <a:lnTo>
                    <a:pt x="707" y="176"/>
                  </a:lnTo>
                  <a:lnTo>
                    <a:pt x="707" y="105"/>
                  </a:lnTo>
                  <a:lnTo>
                    <a:pt x="679" y="60"/>
                  </a:lnTo>
                  <a:lnTo>
                    <a:pt x="650" y="48"/>
                  </a:lnTo>
                  <a:lnTo>
                    <a:pt x="622" y="27"/>
                  </a:lnTo>
                  <a:lnTo>
                    <a:pt x="525" y="27"/>
                  </a:lnTo>
                  <a:lnTo>
                    <a:pt x="492" y="0"/>
                  </a:lnTo>
                  <a:lnTo>
                    <a:pt x="0" y="0"/>
                  </a:lnTo>
                  <a:lnTo>
                    <a:pt x="0" y="249"/>
                  </a:lnTo>
                  <a:lnTo>
                    <a:pt x="196" y="249"/>
                  </a:lnTo>
                  <a:lnTo>
                    <a:pt x="196" y="349"/>
                  </a:lnTo>
                  <a:lnTo>
                    <a:pt x="787" y="349"/>
                  </a:lnTo>
                  <a:lnTo>
                    <a:pt x="787" y="323"/>
                  </a:lnTo>
                  <a:lnTo>
                    <a:pt x="787" y="323"/>
                  </a:lnTo>
                  <a:lnTo>
                    <a:pt x="787" y="323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39" name="Montana">
              <a:extLst>
                <a:ext uri="{FF2B5EF4-FFF2-40B4-BE49-F238E27FC236}">
                  <a16:creationId xmlns:a16="http://schemas.microsoft.com/office/drawing/2014/main" id="{685224D9-95A1-4A2B-ABD2-18F18F66F21C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3415998" y="885931"/>
              <a:ext cx="1827309" cy="891085"/>
            </a:xfrm>
            <a:custGeom>
              <a:avLst/>
              <a:gdLst>
                <a:gd name="T0" fmla="*/ 10 w 462"/>
                <a:gd name="T1" fmla="*/ 63 h 225"/>
                <a:gd name="T2" fmla="*/ 13 w 462"/>
                <a:gd name="T3" fmla="*/ 77 h 225"/>
                <a:gd name="T4" fmla="*/ 23 w 462"/>
                <a:gd name="T5" fmla="*/ 82 h 225"/>
                <a:gd name="T6" fmla="*/ 31 w 462"/>
                <a:gd name="T7" fmla="*/ 87 h 225"/>
                <a:gd name="T8" fmla="*/ 38 w 462"/>
                <a:gd name="T9" fmla="*/ 97 h 225"/>
                <a:gd name="T10" fmla="*/ 38 w 462"/>
                <a:gd name="T11" fmla="*/ 101 h 225"/>
                <a:gd name="T12" fmla="*/ 53 w 462"/>
                <a:gd name="T13" fmla="*/ 107 h 225"/>
                <a:gd name="T14" fmla="*/ 59 w 462"/>
                <a:gd name="T15" fmla="*/ 141 h 225"/>
                <a:gd name="T16" fmla="*/ 60 w 462"/>
                <a:gd name="T17" fmla="*/ 151 h 225"/>
                <a:gd name="T18" fmla="*/ 60 w 462"/>
                <a:gd name="T19" fmla="*/ 153 h 225"/>
                <a:gd name="T20" fmla="*/ 60 w 462"/>
                <a:gd name="T21" fmla="*/ 167 h 225"/>
                <a:gd name="T22" fmla="*/ 70 w 462"/>
                <a:gd name="T23" fmla="*/ 166 h 225"/>
                <a:gd name="T24" fmla="*/ 71 w 462"/>
                <a:gd name="T25" fmla="*/ 166 h 225"/>
                <a:gd name="T26" fmla="*/ 75 w 462"/>
                <a:gd name="T27" fmla="*/ 167 h 225"/>
                <a:gd name="T28" fmla="*/ 88 w 462"/>
                <a:gd name="T29" fmla="*/ 188 h 225"/>
                <a:gd name="T30" fmla="*/ 100 w 462"/>
                <a:gd name="T31" fmla="*/ 206 h 225"/>
                <a:gd name="T32" fmla="*/ 104 w 462"/>
                <a:gd name="T33" fmla="*/ 214 h 225"/>
                <a:gd name="T34" fmla="*/ 105 w 462"/>
                <a:gd name="T35" fmla="*/ 214 h 225"/>
                <a:gd name="T36" fmla="*/ 107 w 462"/>
                <a:gd name="T37" fmla="*/ 212 h 225"/>
                <a:gd name="T38" fmla="*/ 122 w 462"/>
                <a:gd name="T39" fmla="*/ 224 h 225"/>
                <a:gd name="T40" fmla="*/ 138 w 462"/>
                <a:gd name="T41" fmla="*/ 224 h 225"/>
                <a:gd name="T42" fmla="*/ 143 w 462"/>
                <a:gd name="T43" fmla="*/ 224 h 225"/>
                <a:gd name="T44" fmla="*/ 154 w 462"/>
                <a:gd name="T45" fmla="*/ 224 h 225"/>
                <a:gd name="T46" fmla="*/ 156 w 462"/>
                <a:gd name="T47" fmla="*/ 225 h 225"/>
                <a:gd name="T48" fmla="*/ 165 w 462"/>
                <a:gd name="T49" fmla="*/ 221 h 225"/>
                <a:gd name="T50" fmla="*/ 182 w 462"/>
                <a:gd name="T51" fmla="*/ 216 h 225"/>
                <a:gd name="T52" fmla="*/ 189 w 462"/>
                <a:gd name="T53" fmla="*/ 215 h 225"/>
                <a:gd name="T54" fmla="*/ 461 w 462"/>
                <a:gd name="T55" fmla="*/ 204 h 225"/>
                <a:gd name="T56" fmla="*/ 462 w 462"/>
                <a:gd name="T57" fmla="*/ 203 h 225"/>
                <a:gd name="T58" fmla="*/ 461 w 462"/>
                <a:gd name="T59" fmla="*/ 154 h 225"/>
                <a:gd name="T60" fmla="*/ 461 w 462"/>
                <a:gd name="T61" fmla="*/ 0 h 225"/>
                <a:gd name="T62" fmla="*/ 0 w 462"/>
                <a:gd name="T63" fmla="*/ 5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62" h="225">
                  <a:moveTo>
                    <a:pt x="10" y="59"/>
                  </a:moveTo>
                  <a:cubicBezTo>
                    <a:pt x="10" y="63"/>
                    <a:pt x="10" y="63"/>
                    <a:pt x="10" y="63"/>
                  </a:cubicBezTo>
                  <a:cubicBezTo>
                    <a:pt x="13" y="69"/>
                    <a:pt x="13" y="69"/>
                    <a:pt x="13" y="69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19" y="77"/>
                    <a:pt x="19" y="77"/>
                    <a:pt x="19" y="77"/>
                  </a:cubicBezTo>
                  <a:cubicBezTo>
                    <a:pt x="23" y="82"/>
                    <a:pt x="23" y="82"/>
                    <a:pt x="23" y="82"/>
                  </a:cubicBezTo>
                  <a:cubicBezTo>
                    <a:pt x="23" y="87"/>
                    <a:pt x="23" y="87"/>
                    <a:pt x="23" y="87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31" y="93"/>
                    <a:pt x="31" y="93"/>
                    <a:pt x="31" y="93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8" y="101"/>
                    <a:pt x="38" y="101"/>
                    <a:pt x="38" y="101"/>
                  </a:cubicBezTo>
                  <a:cubicBezTo>
                    <a:pt x="38" y="101"/>
                    <a:pt x="38" y="101"/>
                    <a:pt x="38" y="101"/>
                  </a:cubicBezTo>
                  <a:cubicBezTo>
                    <a:pt x="40" y="102"/>
                    <a:pt x="46" y="105"/>
                    <a:pt x="49" y="106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59" y="141"/>
                    <a:pt x="59" y="141"/>
                    <a:pt x="59" y="141"/>
                  </a:cubicBezTo>
                  <a:cubicBezTo>
                    <a:pt x="58" y="141"/>
                    <a:pt x="58" y="144"/>
                    <a:pt x="59" y="148"/>
                  </a:cubicBezTo>
                  <a:cubicBezTo>
                    <a:pt x="59" y="150"/>
                    <a:pt x="60" y="151"/>
                    <a:pt x="60" y="151"/>
                  </a:cubicBezTo>
                  <a:cubicBezTo>
                    <a:pt x="60" y="151"/>
                    <a:pt x="60" y="151"/>
                    <a:pt x="60" y="151"/>
                  </a:cubicBezTo>
                  <a:cubicBezTo>
                    <a:pt x="60" y="151"/>
                    <a:pt x="60" y="152"/>
                    <a:pt x="60" y="153"/>
                  </a:cubicBezTo>
                  <a:cubicBezTo>
                    <a:pt x="58" y="156"/>
                    <a:pt x="60" y="163"/>
                    <a:pt x="60" y="166"/>
                  </a:cubicBezTo>
                  <a:cubicBezTo>
                    <a:pt x="60" y="167"/>
                    <a:pt x="60" y="167"/>
                    <a:pt x="60" y="167"/>
                  </a:cubicBezTo>
                  <a:cubicBezTo>
                    <a:pt x="70" y="167"/>
                    <a:pt x="70" y="167"/>
                    <a:pt x="70" y="167"/>
                  </a:cubicBezTo>
                  <a:cubicBezTo>
                    <a:pt x="70" y="166"/>
                    <a:pt x="70" y="166"/>
                    <a:pt x="70" y="166"/>
                  </a:cubicBezTo>
                  <a:cubicBezTo>
                    <a:pt x="70" y="166"/>
                    <a:pt x="70" y="166"/>
                    <a:pt x="70" y="166"/>
                  </a:cubicBezTo>
                  <a:cubicBezTo>
                    <a:pt x="71" y="166"/>
                    <a:pt x="71" y="166"/>
                    <a:pt x="71" y="166"/>
                  </a:cubicBezTo>
                  <a:cubicBezTo>
                    <a:pt x="71" y="166"/>
                    <a:pt x="72" y="166"/>
                    <a:pt x="73" y="166"/>
                  </a:cubicBezTo>
                  <a:cubicBezTo>
                    <a:pt x="73" y="166"/>
                    <a:pt x="74" y="166"/>
                    <a:pt x="75" y="167"/>
                  </a:cubicBezTo>
                  <a:cubicBezTo>
                    <a:pt x="82" y="168"/>
                    <a:pt x="87" y="172"/>
                    <a:pt x="88" y="173"/>
                  </a:cubicBezTo>
                  <a:cubicBezTo>
                    <a:pt x="88" y="188"/>
                    <a:pt x="88" y="188"/>
                    <a:pt x="88" y="188"/>
                  </a:cubicBezTo>
                  <a:cubicBezTo>
                    <a:pt x="93" y="194"/>
                    <a:pt x="93" y="194"/>
                    <a:pt x="93" y="194"/>
                  </a:cubicBezTo>
                  <a:cubicBezTo>
                    <a:pt x="100" y="206"/>
                    <a:pt x="100" y="206"/>
                    <a:pt x="100" y="206"/>
                  </a:cubicBezTo>
                  <a:cubicBezTo>
                    <a:pt x="104" y="206"/>
                    <a:pt x="104" y="206"/>
                    <a:pt x="104" y="206"/>
                  </a:cubicBezTo>
                  <a:cubicBezTo>
                    <a:pt x="104" y="214"/>
                    <a:pt x="104" y="214"/>
                    <a:pt x="104" y="214"/>
                  </a:cubicBezTo>
                  <a:cubicBezTo>
                    <a:pt x="105" y="214"/>
                    <a:pt x="105" y="214"/>
                    <a:pt x="105" y="214"/>
                  </a:cubicBezTo>
                  <a:cubicBezTo>
                    <a:pt x="105" y="214"/>
                    <a:pt x="105" y="214"/>
                    <a:pt x="105" y="214"/>
                  </a:cubicBezTo>
                  <a:cubicBezTo>
                    <a:pt x="106" y="213"/>
                    <a:pt x="106" y="213"/>
                    <a:pt x="106" y="213"/>
                  </a:cubicBezTo>
                  <a:cubicBezTo>
                    <a:pt x="107" y="212"/>
                    <a:pt x="107" y="212"/>
                    <a:pt x="107" y="212"/>
                  </a:cubicBezTo>
                  <a:cubicBezTo>
                    <a:pt x="109" y="212"/>
                    <a:pt x="110" y="213"/>
                    <a:pt x="111" y="216"/>
                  </a:cubicBezTo>
                  <a:cubicBezTo>
                    <a:pt x="117" y="222"/>
                    <a:pt x="121" y="224"/>
                    <a:pt x="122" y="224"/>
                  </a:cubicBezTo>
                  <a:cubicBezTo>
                    <a:pt x="134" y="224"/>
                    <a:pt x="134" y="224"/>
                    <a:pt x="134" y="224"/>
                  </a:cubicBezTo>
                  <a:cubicBezTo>
                    <a:pt x="136" y="224"/>
                    <a:pt x="137" y="224"/>
                    <a:pt x="138" y="224"/>
                  </a:cubicBezTo>
                  <a:cubicBezTo>
                    <a:pt x="139" y="223"/>
                    <a:pt x="139" y="223"/>
                    <a:pt x="140" y="223"/>
                  </a:cubicBezTo>
                  <a:cubicBezTo>
                    <a:pt x="141" y="223"/>
                    <a:pt x="142" y="224"/>
                    <a:pt x="143" y="224"/>
                  </a:cubicBezTo>
                  <a:cubicBezTo>
                    <a:pt x="143" y="224"/>
                    <a:pt x="145" y="224"/>
                    <a:pt x="147" y="224"/>
                  </a:cubicBezTo>
                  <a:cubicBezTo>
                    <a:pt x="149" y="224"/>
                    <a:pt x="153" y="224"/>
                    <a:pt x="154" y="224"/>
                  </a:cubicBezTo>
                  <a:cubicBezTo>
                    <a:pt x="155" y="225"/>
                    <a:pt x="155" y="225"/>
                    <a:pt x="155" y="225"/>
                  </a:cubicBezTo>
                  <a:cubicBezTo>
                    <a:pt x="156" y="225"/>
                    <a:pt x="156" y="225"/>
                    <a:pt x="156" y="225"/>
                  </a:cubicBezTo>
                  <a:cubicBezTo>
                    <a:pt x="157" y="225"/>
                    <a:pt x="158" y="225"/>
                    <a:pt x="160" y="224"/>
                  </a:cubicBezTo>
                  <a:cubicBezTo>
                    <a:pt x="165" y="221"/>
                    <a:pt x="165" y="221"/>
                    <a:pt x="165" y="221"/>
                  </a:cubicBezTo>
                  <a:cubicBezTo>
                    <a:pt x="176" y="217"/>
                    <a:pt x="176" y="217"/>
                    <a:pt x="176" y="217"/>
                  </a:cubicBezTo>
                  <a:cubicBezTo>
                    <a:pt x="182" y="216"/>
                    <a:pt x="182" y="216"/>
                    <a:pt x="182" y="216"/>
                  </a:cubicBezTo>
                  <a:cubicBezTo>
                    <a:pt x="189" y="216"/>
                    <a:pt x="189" y="216"/>
                    <a:pt x="189" y="216"/>
                  </a:cubicBezTo>
                  <a:cubicBezTo>
                    <a:pt x="189" y="215"/>
                    <a:pt x="189" y="215"/>
                    <a:pt x="189" y="215"/>
                  </a:cubicBezTo>
                  <a:cubicBezTo>
                    <a:pt x="189" y="204"/>
                    <a:pt x="189" y="204"/>
                    <a:pt x="189" y="204"/>
                  </a:cubicBezTo>
                  <a:cubicBezTo>
                    <a:pt x="461" y="204"/>
                    <a:pt x="461" y="204"/>
                    <a:pt x="461" y="204"/>
                  </a:cubicBezTo>
                  <a:cubicBezTo>
                    <a:pt x="462" y="204"/>
                    <a:pt x="462" y="204"/>
                    <a:pt x="462" y="204"/>
                  </a:cubicBezTo>
                  <a:cubicBezTo>
                    <a:pt x="462" y="203"/>
                    <a:pt x="462" y="203"/>
                    <a:pt x="462" y="203"/>
                  </a:cubicBezTo>
                  <a:cubicBezTo>
                    <a:pt x="462" y="154"/>
                    <a:pt x="462" y="154"/>
                    <a:pt x="462" y="154"/>
                  </a:cubicBezTo>
                  <a:cubicBezTo>
                    <a:pt x="461" y="154"/>
                    <a:pt x="461" y="154"/>
                    <a:pt x="461" y="154"/>
                  </a:cubicBezTo>
                  <a:cubicBezTo>
                    <a:pt x="461" y="154"/>
                    <a:pt x="461" y="154"/>
                    <a:pt x="461" y="154"/>
                  </a:cubicBezTo>
                  <a:cubicBezTo>
                    <a:pt x="461" y="0"/>
                    <a:pt x="461" y="0"/>
                    <a:pt x="46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lnTo>
                    <a:pt x="10" y="59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40" name="Missouri">
              <a:extLst>
                <a:ext uri="{FF2B5EF4-FFF2-40B4-BE49-F238E27FC236}">
                  <a16:creationId xmlns:a16="http://schemas.microsoft.com/office/drawing/2014/main" id="{88FFC029-D2D8-4665-837F-FC89ABBD332F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6477116" y="2524323"/>
              <a:ext cx="1051580" cy="887741"/>
            </a:xfrm>
            <a:custGeom>
              <a:avLst/>
              <a:gdLst>
                <a:gd name="T0" fmla="*/ 0 w 266"/>
                <a:gd name="T1" fmla="*/ 0 h 224"/>
                <a:gd name="T2" fmla="*/ 20 w 266"/>
                <a:gd name="T3" fmla="*/ 12 h 224"/>
                <a:gd name="T4" fmla="*/ 20 w 266"/>
                <a:gd name="T5" fmla="*/ 23 h 224"/>
                <a:gd name="T6" fmla="*/ 20 w 266"/>
                <a:gd name="T7" fmla="*/ 23 h 224"/>
                <a:gd name="T8" fmla="*/ 25 w 266"/>
                <a:gd name="T9" fmla="*/ 30 h 224"/>
                <a:gd name="T10" fmla="*/ 25 w 266"/>
                <a:gd name="T11" fmla="*/ 36 h 224"/>
                <a:gd name="T12" fmla="*/ 30 w 266"/>
                <a:gd name="T13" fmla="*/ 36 h 224"/>
                <a:gd name="T14" fmla="*/ 34 w 266"/>
                <a:gd name="T15" fmla="*/ 36 h 224"/>
                <a:gd name="T16" fmla="*/ 38 w 266"/>
                <a:gd name="T17" fmla="*/ 38 h 224"/>
                <a:gd name="T18" fmla="*/ 38 w 266"/>
                <a:gd name="T19" fmla="*/ 38 h 224"/>
                <a:gd name="T20" fmla="*/ 38 w 266"/>
                <a:gd name="T21" fmla="*/ 38 h 224"/>
                <a:gd name="T22" fmla="*/ 38 w 266"/>
                <a:gd name="T23" fmla="*/ 38 h 224"/>
                <a:gd name="T24" fmla="*/ 38 w 266"/>
                <a:gd name="T25" fmla="*/ 38 h 224"/>
                <a:gd name="T26" fmla="*/ 38 w 266"/>
                <a:gd name="T27" fmla="*/ 39 h 224"/>
                <a:gd name="T28" fmla="*/ 39 w 266"/>
                <a:gd name="T29" fmla="*/ 58 h 224"/>
                <a:gd name="T30" fmla="*/ 42 w 266"/>
                <a:gd name="T31" fmla="*/ 58 h 224"/>
                <a:gd name="T32" fmla="*/ 42 w 266"/>
                <a:gd name="T33" fmla="*/ 65 h 224"/>
                <a:gd name="T34" fmla="*/ 51 w 266"/>
                <a:gd name="T35" fmla="*/ 73 h 224"/>
                <a:gd name="T36" fmla="*/ 54 w 266"/>
                <a:gd name="T37" fmla="*/ 76 h 224"/>
                <a:gd name="T38" fmla="*/ 54 w 266"/>
                <a:gd name="T39" fmla="*/ 77 h 224"/>
                <a:gd name="T40" fmla="*/ 54 w 266"/>
                <a:gd name="T41" fmla="*/ 167 h 224"/>
                <a:gd name="T42" fmla="*/ 54 w 266"/>
                <a:gd name="T43" fmla="*/ 168 h 224"/>
                <a:gd name="T44" fmla="*/ 54 w 266"/>
                <a:gd name="T45" fmla="*/ 168 h 224"/>
                <a:gd name="T46" fmla="*/ 54 w 266"/>
                <a:gd name="T47" fmla="*/ 207 h 224"/>
                <a:gd name="T48" fmla="*/ 54 w 266"/>
                <a:gd name="T49" fmla="*/ 208 h 224"/>
                <a:gd name="T50" fmla="*/ 54 w 266"/>
                <a:gd name="T51" fmla="*/ 208 h 224"/>
                <a:gd name="T52" fmla="*/ 220 w 266"/>
                <a:gd name="T53" fmla="*/ 208 h 224"/>
                <a:gd name="T54" fmla="*/ 220 w 266"/>
                <a:gd name="T55" fmla="*/ 224 h 224"/>
                <a:gd name="T56" fmla="*/ 244 w 266"/>
                <a:gd name="T57" fmla="*/ 224 h 224"/>
                <a:gd name="T58" fmla="*/ 244 w 266"/>
                <a:gd name="T59" fmla="*/ 224 h 224"/>
                <a:gd name="T60" fmla="*/ 244 w 266"/>
                <a:gd name="T61" fmla="*/ 224 h 224"/>
                <a:gd name="T62" fmla="*/ 249 w 266"/>
                <a:gd name="T63" fmla="*/ 215 h 224"/>
                <a:gd name="T64" fmla="*/ 249 w 266"/>
                <a:gd name="T65" fmla="*/ 215 h 224"/>
                <a:gd name="T66" fmla="*/ 256 w 266"/>
                <a:gd name="T67" fmla="*/ 201 h 224"/>
                <a:gd name="T68" fmla="*/ 257 w 266"/>
                <a:gd name="T69" fmla="*/ 201 h 224"/>
                <a:gd name="T70" fmla="*/ 263 w 266"/>
                <a:gd name="T71" fmla="*/ 184 h 224"/>
                <a:gd name="T72" fmla="*/ 261 w 266"/>
                <a:gd name="T73" fmla="*/ 172 h 224"/>
                <a:gd name="T74" fmla="*/ 261 w 266"/>
                <a:gd name="T75" fmla="*/ 172 h 224"/>
                <a:gd name="T76" fmla="*/ 249 w 266"/>
                <a:gd name="T77" fmla="*/ 156 h 224"/>
                <a:gd name="T78" fmla="*/ 247 w 266"/>
                <a:gd name="T79" fmla="*/ 148 h 224"/>
                <a:gd name="T80" fmla="*/ 240 w 266"/>
                <a:gd name="T81" fmla="*/ 135 h 224"/>
                <a:gd name="T82" fmla="*/ 220 w 266"/>
                <a:gd name="T83" fmla="*/ 125 h 224"/>
                <a:gd name="T84" fmla="*/ 215 w 266"/>
                <a:gd name="T85" fmla="*/ 108 h 224"/>
                <a:gd name="T86" fmla="*/ 218 w 266"/>
                <a:gd name="T87" fmla="*/ 92 h 224"/>
                <a:gd name="T88" fmla="*/ 201 w 266"/>
                <a:gd name="T89" fmla="*/ 75 h 224"/>
                <a:gd name="T90" fmla="*/ 184 w 266"/>
                <a:gd name="T91" fmla="*/ 64 h 224"/>
                <a:gd name="T92" fmla="*/ 169 w 266"/>
                <a:gd name="T93" fmla="*/ 54 h 224"/>
                <a:gd name="T94" fmla="*/ 169 w 266"/>
                <a:gd name="T95" fmla="*/ 19 h 224"/>
                <a:gd name="T96" fmla="*/ 162 w 266"/>
                <a:gd name="T97" fmla="*/ 0 h 224"/>
                <a:gd name="T98" fmla="*/ 0 w 266"/>
                <a:gd name="T99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66" h="224">
                  <a:moveTo>
                    <a:pt x="0" y="0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6" y="36"/>
                    <a:pt x="37" y="37"/>
                    <a:pt x="38" y="38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2" y="75"/>
                    <a:pt x="53" y="76"/>
                    <a:pt x="54" y="76"/>
                  </a:cubicBezTo>
                  <a:cubicBezTo>
                    <a:pt x="54" y="77"/>
                    <a:pt x="54" y="77"/>
                    <a:pt x="54" y="77"/>
                  </a:cubicBezTo>
                  <a:cubicBezTo>
                    <a:pt x="54" y="167"/>
                    <a:pt x="54" y="167"/>
                    <a:pt x="54" y="167"/>
                  </a:cubicBezTo>
                  <a:cubicBezTo>
                    <a:pt x="54" y="168"/>
                    <a:pt x="54" y="168"/>
                    <a:pt x="54" y="168"/>
                  </a:cubicBezTo>
                  <a:cubicBezTo>
                    <a:pt x="54" y="168"/>
                    <a:pt x="54" y="168"/>
                    <a:pt x="54" y="168"/>
                  </a:cubicBezTo>
                  <a:cubicBezTo>
                    <a:pt x="54" y="207"/>
                    <a:pt x="54" y="207"/>
                    <a:pt x="54" y="207"/>
                  </a:cubicBezTo>
                  <a:cubicBezTo>
                    <a:pt x="54" y="208"/>
                    <a:pt x="54" y="208"/>
                    <a:pt x="54" y="208"/>
                  </a:cubicBezTo>
                  <a:cubicBezTo>
                    <a:pt x="54" y="208"/>
                    <a:pt x="54" y="208"/>
                    <a:pt x="54" y="208"/>
                  </a:cubicBezTo>
                  <a:cubicBezTo>
                    <a:pt x="220" y="208"/>
                    <a:pt x="220" y="208"/>
                    <a:pt x="220" y="208"/>
                  </a:cubicBezTo>
                  <a:cubicBezTo>
                    <a:pt x="220" y="224"/>
                    <a:pt x="220" y="224"/>
                    <a:pt x="220" y="224"/>
                  </a:cubicBezTo>
                  <a:cubicBezTo>
                    <a:pt x="244" y="224"/>
                    <a:pt x="244" y="224"/>
                    <a:pt x="244" y="224"/>
                  </a:cubicBezTo>
                  <a:cubicBezTo>
                    <a:pt x="244" y="224"/>
                    <a:pt x="244" y="224"/>
                    <a:pt x="244" y="224"/>
                  </a:cubicBezTo>
                  <a:cubicBezTo>
                    <a:pt x="244" y="224"/>
                    <a:pt x="244" y="224"/>
                    <a:pt x="244" y="224"/>
                  </a:cubicBezTo>
                  <a:cubicBezTo>
                    <a:pt x="249" y="215"/>
                    <a:pt x="249" y="215"/>
                    <a:pt x="249" y="215"/>
                  </a:cubicBezTo>
                  <a:cubicBezTo>
                    <a:pt x="249" y="215"/>
                    <a:pt x="249" y="215"/>
                    <a:pt x="249" y="215"/>
                  </a:cubicBezTo>
                  <a:cubicBezTo>
                    <a:pt x="256" y="201"/>
                    <a:pt x="256" y="201"/>
                    <a:pt x="256" y="201"/>
                  </a:cubicBezTo>
                  <a:cubicBezTo>
                    <a:pt x="257" y="201"/>
                    <a:pt x="257" y="201"/>
                    <a:pt x="257" y="201"/>
                  </a:cubicBezTo>
                  <a:cubicBezTo>
                    <a:pt x="258" y="200"/>
                    <a:pt x="266" y="194"/>
                    <a:pt x="263" y="184"/>
                  </a:cubicBezTo>
                  <a:cubicBezTo>
                    <a:pt x="261" y="172"/>
                    <a:pt x="261" y="172"/>
                    <a:pt x="261" y="172"/>
                  </a:cubicBezTo>
                  <a:cubicBezTo>
                    <a:pt x="261" y="172"/>
                    <a:pt x="261" y="172"/>
                    <a:pt x="261" y="172"/>
                  </a:cubicBezTo>
                  <a:cubicBezTo>
                    <a:pt x="259" y="170"/>
                    <a:pt x="251" y="162"/>
                    <a:pt x="249" y="156"/>
                  </a:cubicBezTo>
                  <a:cubicBezTo>
                    <a:pt x="247" y="148"/>
                    <a:pt x="247" y="148"/>
                    <a:pt x="247" y="148"/>
                  </a:cubicBezTo>
                  <a:cubicBezTo>
                    <a:pt x="240" y="135"/>
                    <a:pt x="240" y="135"/>
                    <a:pt x="240" y="135"/>
                  </a:cubicBezTo>
                  <a:cubicBezTo>
                    <a:pt x="220" y="125"/>
                    <a:pt x="220" y="125"/>
                    <a:pt x="220" y="125"/>
                  </a:cubicBezTo>
                  <a:cubicBezTo>
                    <a:pt x="215" y="108"/>
                    <a:pt x="215" y="108"/>
                    <a:pt x="215" y="108"/>
                  </a:cubicBezTo>
                  <a:cubicBezTo>
                    <a:pt x="218" y="92"/>
                    <a:pt x="218" y="92"/>
                    <a:pt x="218" y="92"/>
                  </a:cubicBezTo>
                  <a:cubicBezTo>
                    <a:pt x="201" y="75"/>
                    <a:pt x="201" y="75"/>
                    <a:pt x="201" y="75"/>
                  </a:cubicBezTo>
                  <a:cubicBezTo>
                    <a:pt x="184" y="64"/>
                    <a:pt x="184" y="64"/>
                    <a:pt x="184" y="64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69" y="19"/>
                    <a:pt x="169" y="19"/>
                    <a:pt x="169" y="19"/>
                  </a:cubicBezTo>
                  <a:cubicBezTo>
                    <a:pt x="162" y="0"/>
                    <a:pt x="162" y="0"/>
                    <a:pt x="16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41" name="Mississippi">
              <a:extLst>
                <a:ext uri="{FF2B5EF4-FFF2-40B4-BE49-F238E27FC236}">
                  <a16:creationId xmlns:a16="http://schemas.microsoft.com/office/drawing/2014/main" id="{E06DEAC3-D6C6-4C17-BAC3-2799EC516F68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7125786" y="3637760"/>
              <a:ext cx="556719" cy="1004769"/>
            </a:xfrm>
            <a:custGeom>
              <a:avLst/>
              <a:gdLst>
                <a:gd name="T0" fmla="*/ 131 w 141"/>
                <a:gd name="T1" fmla="*/ 108 h 254"/>
                <a:gd name="T2" fmla="*/ 141 w 141"/>
                <a:gd name="T3" fmla="*/ 68 h 254"/>
                <a:gd name="T4" fmla="*/ 141 w 141"/>
                <a:gd name="T5" fmla="*/ 56 h 254"/>
                <a:gd name="T6" fmla="*/ 47 w 141"/>
                <a:gd name="T7" fmla="*/ 0 h 254"/>
                <a:gd name="T8" fmla="*/ 44 w 141"/>
                <a:gd name="T9" fmla="*/ 10 h 254"/>
                <a:gd name="T10" fmla="*/ 37 w 141"/>
                <a:gd name="T11" fmla="*/ 35 h 254"/>
                <a:gd name="T12" fmla="*/ 32 w 141"/>
                <a:gd name="T13" fmla="*/ 44 h 254"/>
                <a:gd name="T14" fmla="*/ 30 w 141"/>
                <a:gd name="T15" fmla="*/ 46 h 254"/>
                <a:gd name="T16" fmla="*/ 27 w 141"/>
                <a:gd name="T17" fmla="*/ 49 h 254"/>
                <a:gd name="T18" fmla="*/ 25 w 141"/>
                <a:gd name="T19" fmla="*/ 50 h 254"/>
                <a:gd name="T20" fmla="*/ 24 w 141"/>
                <a:gd name="T21" fmla="*/ 50 h 254"/>
                <a:gd name="T22" fmla="*/ 17 w 141"/>
                <a:gd name="T23" fmla="*/ 59 h 254"/>
                <a:gd name="T24" fmla="*/ 19 w 141"/>
                <a:gd name="T25" fmla="*/ 75 h 254"/>
                <a:gd name="T26" fmla="*/ 20 w 141"/>
                <a:gd name="T27" fmla="*/ 86 h 254"/>
                <a:gd name="T28" fmla="*/ 19 w 141"/>
                <a:gd name="T29" fmla="*/ 87 h 254"/>
                <a:gd name="T30" fmla="*/ 18 w 141"/>
                <a:gd name="T31" fmla="*/ 88 h 254"/>
                <a:gd name="T32" fmla="*/ 17 w 141"/>
                <a:gd name="T33" fmla="*/ 89 h 254"/>
                <a:gd name="T34" fmla="*/ 17 w 141"/>
                <a:gd name="T35" fmla="*/ 90 h 254"/>
                <a:gd name="T36" fmla="*/ 14 w 141"/>
                <a:gd name="T37" fmla="*/ 100 h 254"/>
                <a:gd name="T38" fmla="*/ 14 w 141"/>
                <a:gd name="T39" fmla="*/ 148 h 254"/>
                <a:gd name="T40" fmla="*/ 0 w 141"/>
                <a:gd name="T41" fmla="*/ 195 h 254"/>
                <a:gd name="T42" fmla="*/ 60 w 141"/>
                <a:gd name="T43" fmla="*/ 200 h 254"/>
                <a:gd name="T44" fmla="*/ 55 w 141"/>
                <a:gd name="T45" fmla="*/ 205 h 254"/>
                <a:gd name="T46" fmla="*/ 59 w 141"/>
                <a:gd name="T47" fmla="*/ 217 h 254"/>
                <a:gd name="T48" fmla="*/ 63 w 141"/>
                <a:gd name="T49" fmla="*/ 220 h 254"/>
                <a:gd name="T50" fmla="*/ 61 w 141"/>
                <a:gd name="T51" fmla="*/ 241 h 254"/>
                <a:gd name="T52" fmla="*/ 56 w 141"/>
                <a:gd name="T53" fmla="*/ 249 h 254"/>
                <a:gd name="T54" fmla="*/ 57 w 141"/>
                <a:gd name="T55" fmla="*/ 249 h 254"/>
                <a:gd name="T56" fmla="*/ 87 w 141"/>
                <a:gd name="T57" fmla="*/ 254 h 254"/>
                <a:gd name="T58" fmla="*/ 103 w 141"/>
                <a:gd name="T59" fmla="*/ 250 h 254"/>
                <a:gd name="T60" fmla="*/ 126 w 141"/>
                <a:gd name="T61" fmla="*/ 248 h 254"/>
                <a:gd name="T62" fmla="*/ 126 w 141"/>
                <a:gd name="T63" fmla="*/ 15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1" h="254">
                  <a:moveTo>
                    <a:pt x="126" y="157"/>
                  </a:moveTo>
                  <a:cubicBezTo>
                    <a:pt x="125" y="154"/>
                    <a:pt x="128" y="126"/>
                    <a:pt x="131" y="108"/>
                  </a:cubicBezTo>
                  <a:cubicBezTo>
                    <a:pt x="132" y="99"/>
                    <a:pt x="132" y="93"/>
                    <a:pt x="132" y="92"/>
                  </a:cubicBezTo>
                  <a:cubicBezTo>
                    <a:pt x="132" y="90"/>
                    <a:pt x="137" y="78"/>
                    <a:pt x="141" y="68"/>
                  </a:cubicBezTo>
                  <a:cubicBezTo>
                    <a:pt x="141" y="68"/>
                    <a:pt x="141" y="68"/>
                    <a:pt x="141" y="68"/>
                  </a:cubicBezTo>
                  <a:cubicBezTo>
                    <a:pt x="141" y="56"/>
                    <a:pt x="141" y="56"/>
                    <a:pt x="141" y="56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35"/>
                    <a:pt x="35" y="39"/>
                    <a:pt x="32" y="44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29" y="46"/>
                    <a:pt x="29" y="47"/>
                    <a:pt x="27" y="49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5" y="50"/>
                    <a:pt x="25" y="50"/>
                    <a:pt x="25" y="50"/>
                  </a:cubicBezTo>
                  <a:cubicBezTo>
                    <a:pt x="25" y="50"/>
                    <a:pt x="25" y="50"/>
                    <a:pt x="25" y="50"/>
                  </a:cubicBez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4" y="50"/>
                    <a:pt x="24" y="50"/>
                  </a:cubicBezTo>
                  <a:cubicBezTo>
                    <a:pt x="23" y="52"/>
                    <a:pt x="19" y="56"/>
                    <a:pt x="17" y="59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8" y="68"/>
                    <a:pt x="19" y="75"/>
                    <a:pt x="19" y="75"/>
                  </a:cubicBezTo>
                  <a:cubicBezTo>
                    <a:pt x="19" y="78"/>
                    <a:pt x="20" y="81"/>
                    <a:pt x="20" y="84"/>
                  </a:cubicBezTo>
                  <a:cubicBezTo>
                    <a:pt x="20" y="86"/>
                    <a:pt x="20" y="86"/>
                    <a:pt x="20" y="86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19" y="87"/>
                    <a:pt x="19" y="87"/>
                    <a:pt x="19" y="87"/>
                  </a:cubicBezTo>
                  <a:cubicBezTo>
                    <a:pt x="18" y="87"/>
                    <a:pt x="18" y="87"/>
                    <a:pt x="18" y="87"/>
                  </a:cubicBezTo>
                  <a:cubicBezTo>
                    <a:pt x="18" y="88"/>
                    <a:pt x="18" y="88"/>
                    <a:pt x="18" y="88"/>
                  </a:cubicBezTo>
                  <a:cubicBezTo>
                    <a:pt x="18" y="88"/>
                    <a:pt x="18" y="88"/>
                    <a:pt x="17" y="88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1"/>
                    <a:pt x="16" y="93"/>
                    <a:pt x="14" y="99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48"/>
                    <a:pt x="14" y="148"/>
                    <a:pt x="14" y="148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59" y="195"/>
                    <a:pt x="59" y="195"/>
                    <a:pt x="59" y="195"/>
                  </a:cubicBezTo>
                  <a:cubicBezTo>
                    <a:pt x="60" y="200"/>
                    <a:pt x="60" y="200"/>
                    <a:pt x="60" y="200"/>
                  </a:cubicBezTo>
                  <a:cubicBezTo>
                    <a:pt x="61" y="201"/>
                    <a:pt x="61" y="202"/>
                    <a:pt x="60" y="203"/>
                  </a:cubicBezTo>
                  <a:cubicBezTo>
                    <a:pt x="59" y="205"/>
                    <a:pt x="56" y="205"/>
                    <a:pt x="55" y="205"/>
                  </a:cubicBezTo>
                  <a:cubicBezTo>
                    <a:pt x="55" y="217"/>
                    <a:pt x="55" y="217"/>
                    <a:pt x="55" y="217"/>
                  </a:cubicBezTo>
                  <a:cubicBezTo>
                    <a:pt x="59" y="217"/>
                    <a:pt x="59" y="217"/>
                    <a:pt x="59" y="217"/>
                  </a:cubicBezTo>
                  <a:cubicBezTo>
                    <a:pt x="59" y="220"/>
                    <a:pt x="59" y="220"/>
                    <a:pt x="59" y="220"/>
                  </a:cubicBezTo>
                  <a:cubicBezTo>
                    <a:pt x="63" y="220"/>
                    <a:pt x="63" y="220"/>
                    <a:pt x="63" y="220"/>
                  </a:cubicBezTo>
                  <a:cubicBezTo>
                    <a:pt x="61" y="233"/>
                    <a:pt x="61" y="233"/>
                    <a:pt x="61" y="233"/>
                  </a:cubicBezTo>
                  <a:cubicBezTo>
                    <a:pt x="61" y="241"/>
                    <a:pt x="61" y="241"/>
                    <a:pt x="61" y="241"/>
                  </a:cubicBezTo>
                  <a:cubicBezTo>
                    <a:pt x="61" y="243"/>
                    <a:pt x="58" y="244"/>
                    <a:pt x="56" y="244"/>
                  </a:cubicBezTo>
                  <a:cubicBezTo>
                    <a:pt x="56" y="249"/>
                    <a:pt x="56" y="249"/>
                    <a:pt x="56" y="249"/>
                  </a:cubicBezTo>
                  <a:cubicBezTo>
                    <a:pt x="57" y="249"/>
                    <a:pt x="57" y="249"/>
                    <a:pt x="57" y="249"/>
                  </a:cubicBezTo>
                  <a:cubicBezTo>
                    <a:pt x="57" y="249"/>
                    <a:pt x="57" y="249"/>
                    <a:pt x="57" y="249"/>
                  </a:cubicBezTo>
                  <a:cubicBezTo>
                    <a:pt x="64" y="246"/>
                    <a:pt x="64" y="246"/>
                    <a:pt x="64" y="246"/>
                  </a:cubicBezTo>
                  <a:cubicBezTo>
                    <a:pt x="87" y="254"/>
                    <a:pt x="87" y="254"/>
                    <a:pt x="87" y="254"/>
                  </a:cubicBezTo>
                  <a:cubicBezTo>
                    <a:pt x="95" y="250"/>
                    <a:pt x="95" y="250"/>
                    <a:pt x="95" y="250"/>
                  </a:cubicBezTo>
                  <a:cubicBezTo>
                    <a:pt x="103" y="250"/>
                    <a:pt x="103" y="250"/>
                    <a:pt x="103" y="250"/>
                  </a:cubicBezTo>
                  <a:cubicBezTo>
                    <a:pt x="110" y="246"/>
                    <a:pt x="110" y="246"/>
                    <a:pt x="110" y="246"/>
                  </a:cubicBezTo>
                  <a:cubicBezTo>
                    <a:pt x="126" y="248"/>
                    <a:pt x="126" y="248"/>
                    <a:pt x="126" y="248"/>
                  </a:cubicBezTo>
                  <a:cubicBezTo>
                    <a:pt x="126" y="248"/>
                    <a:pt x="126" y="248"/>
                    <a:pt x="126" y="248"/>
                  </a:cubicBezTo>
                  <a:cubicBezTo>
                    <a:pt x="126" y="227"/>
                    <a:pt x="127" y="161"/>
                    <a:pt x="126" y="157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42" name="Minnesota">
              <a:extLst>
                <a:ext uri="{FF2B5EF4-FFF2-40B4-BE49-F238E27FC236}">
                  <a16:creationId xmlns:a16="http://schemas.microsoft.com/office/drawing/2014/main" id="{21E9708F-E8C7-4F84-A623-AEE60B41E78D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6279840" y="778934"/>
              <a:ext cx="1173624" cy="1195357"/>
            </a:xfrm>
            <a:custGeom>
              <a:avLst/>
              <a:gdLst>
                <a:gd name="T0" fmla="*/ 10 w 297"/>
                <a:gd name="T1" fmla="*/ 129 h 302"/>
                <a:gd name="T2" fmla="*/ 22 w 297"/>
                <a:gd name="T3" fmla="*/ 162 h 302"/>
                <a:gd name="T4" fmla="*/ 24 w 297"/>
                <a:gd name="T5" fmla="*/ 180 h 302"/>
                <a:gd name="T6" fmla="*/ 24 w 297"/>
                <a:gd name="T7" fmla="*/ 219 h 302"/>
                <a:gd name="T8" fmla="*/ 36 w 297"/>
                <a:gd name="T9" fmla="*/ 301 h 302"/>
                <a:gd name="T10" fmla="*/ 37 w 297"/>
                <a:gd name="T11" fmla="*/ 302 h 302"/>
                <a:gd name="T12" fmla="*/ 228 w 297"/>
                <a:gd name="T13" fmla="*/ 302 h 302"/>
                <a:gd name="T14" fmla="*/ 227 w 297"/>
                <a:gd name="T15" fmla="*/ 294 h 302"/>
                <a:gd name="T16" fmla="*/ 229 w 297"/>
                <a:gd name="T17" fmla="*/ 289 h 302"/>
                <a:gd name="T18" fmla="*/ 227 w 297"/>
                <a:gd name="T19" fmla="*/ 287 h 302"/>
                <a:gd name="T20" fmla="*/ 193 w 297"/>
                <a:gd name="T21" fmla="*/ 249 h 302"/>
                <a:gd name="T22" fmla="*/ 172 w 297"/>
                <a:gd name="T23" fmla="*/ 226 h 302"/>
                <a:gd name="T24" fmla="*/ 172 w 297"/>
                <a:gd name="T25" fmla="*/ 205 h 302"/>
                <a:gd name="T26" fmla="*/ 181 w 297"/>
                <a:gd name="T27" fmla="*/ 174 h 302"/>
                <a:gd name="T28" fmla="*/ 193 w 297"/>
                <a:gd name="T29" fmla="*/ 159 h 302"/>
                <a:gd name="T30" fmla="*/ 204 w 297"/>
                <a:gd name="T31" fmla="*/ 160 h 302"/>
                <a:gd name="T32" fmla="*/ 266 w 297"/>
                <a:gd name="T33" fmla="*/ 105 h 302"/>
                <a:gd name="T34" fmla="*/ 285 w 297"/>
                <a:gd name="T35" fmla="*/ 94 h 302"/>
                <a:gd name="T36" fmla="*/ 293 w 297"/>
                <a:gd name="T37" fmla="*/ 86 h 302"/>
                <a:gd name="T38" fmla="*/ 266 w 297"/>
                <a:gd name="T39" fmla="*/ 78 h 302"/>
                <a:gd name="T40" fmla="*/ 246 w 297"/>
                <a:gd name="T41" fmla="*/ 78 h 302"/>
                <a:gd name="T42" fmla="*/ 231 w 297"/>
                <a:gd name="T43" fmla="*/ 82 h 302"/>
                <a:gd name="T44" fmla="*/ 219 w 297"/>
                <a:gd name="T45" fmla="*/ 70 h 302"/>
                <a:gd name="T46" fmla="*/ 192 w 297"/>
                <a:gd name="T47" fmla="*/ 55 h 302"/>
                <a:gd name="T48" fmla="*/ 161 w 297"/>
                <a:gd name="T49" fmla="*/ 47 h 302"/>
                <a:gd name="T50" fmla="*/ 145 w 297"/>
                <a:gd name="T51" fmla="*/ 51 h 302"/>
                <a:gd name="T52" fmla="*/ 141 w 297"/>
                <a:gd name="T53" fmla="*/ 47 h 302"/>
                <a:gd name="T54" fmla="*/ 118 w 297"/>
                <a:gd name="T55" fmla="*/ 43 h 302"/>
                <a:gd name="T56" fmla="*/ 110 w 297"/>
                <a:gd name="T57" fmla="*/ 43 h 302"/>
                <a:gd name="T58" fmla="*/ 102 w 297"/>
                <a:gd name="T59" fmla="*/ 23 h 302"/>
                <a:gd name="T60" fmla="*/ 86 w 297"/>
                <a:gd name="T61" fmla="*/ 0 h 302"/>
                <a:gd name="T62" fmla="*/ 0 w 297"/>
                <a:gd name="T63" fmla="*/ 27 h 302"/>
                <a:gd name="T64" fmla="*/ 10 w 297"/>
                <a:gd name="T65" fmla="*/ 9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97" h="302">
                  <a:moveTo>
                    <a:pt x="10" y="96"/>
                  </a:moveTo>
                  <a:cubicBezTo>
                    <a:pt x="10" y="129"/>
                    <a:pt x="10" y="129"/>
                    <a:pt x="10" y="129"/>
                  </a:cubicBezTo>
                  <a:cubicBezTo>
                    <a:pt x="22" y="150"/>
                    <a:pt x="22" y="150"/>
                    <a:pt x="22" y="150"/>
                  </a:cubicBezTo>
                  <a:cubicBezTo>
                    <a:pt x="22" y="162"/>
                    <a:pt x="22" y="162"/>
                    <a:pt x="22" y="162"/>
                  </a:cubicBezTo>
                  <a:cubicBezTo>
                    <a:pt x="24" y="180"/>
                    <a:pt x="24" y="180"/>
                    <a:pt x="24" y="180"/>
                  </a:cubicBezTo>
                  <a:cubicBezTo>
                    <a:pt x="24" y="180"/>
                    <a:pt x="24" y="180"/>
                    <a:pt x="24" y="180"/>
                  </a:cubicBezTo>
                  <a:cubicBezTo>
                    <a:pt x="24" y="181"/>
                    <a:pt x="24" y="181"/>
                    <a:pt x="24" y="181"/>
                  </a:cubicBezTo>
                  <a:cubicBezTo>
                    <a:pt x="24" y="219"/>
                    <a:pt x="24" y="219"/>
                    <a:pt x="24" y="219"/>
                  </a:cubicBezTo>
                  <a:cubicBezTo>
                    <a:pt x="36" y="233"/>
                    <a:pt x="36" y="233"/>
                    <a:pt x="36" y="233"/>
                  </a:cubicBezTo>
                  <a:cubicBezTo>
                    <a:pt x="36" y="301"/>
                    <a:pt x="36" y="301"/>
                    <a:pt x="36" y="301"/>
                  </a:cubicBezTo>
                  <a:cubicBezTo>
                    <a:pt x="36" y="302"/>
                    <a:pt x="36" y="302"/>
                    <a:pt x="36" y="302"/>
                  </a:cubicBezTo>
                  <a:cubicBezTo>
                    <a:pt x="37" y="302"/>
                    <a:pt x="37" y="302"/>
                    <a:pt x="37" y="302"/>
                  </a:cubicBezTo>
                  <a:cubicBezTo>
                    <a:pt x="227" y="302"/>
                    <a:pt x="227" y="302"/>
                    <a:pt x="227" y="302"/>
                  </a:cubicBezTo>
                  <a:cubicBezTo>
                    <a:pt x="228" y="302"/>
                    <a:pt x="228" y="302"/>
                    <a:pt x="228" y="302"/>
                  </a:cubicBezTo>
                  <a:cubicBezTo>
                    <a:pt x="227" y="300"/>
                    <a:pt x="227" y="300"/>
                    <a:pt x="227" y="300"/>
                  </a:cubicBezTo>
                  <a:cubicBezTo>
                    <a:pt x="227" y="298"/>
                    <a:pt x="227" y="296"/>
                    <a:pt x="227" y="294"/>
                  </a:cubicBezTo>
                  <a:cubicBezTo>
                    <a:pt x="227" y="291"/>
                    <a:pt x="228" y="290"/>
                    <a:pt x="228" y="290"/>
                  </a:cubicBezTo>
                  <a:cubicBezTo>
                    <a:pt x="229" y="289"/>
                    <a:pt x="229" y="289"/>
                    <a:pt x="229" y="289"/>
                  </a:cubicBezTo>
                  <a:cubicBezTo>
                    <a:pt x="228" y="289"/>
                    <a:pt x="228" y="289"/>
                    <a:pt x="228" y="289"/>
                  </a:cubicBezTo>
                  <a:cubicBezTo>
                    <a:pt x="228" y="288"/>
                    <a:pt x="228" y="288"/>
                    <a:pt x="227" y="287"/>
                  </a:cubicBezTo>
                  <a:cubicBezTo>
                    <a:pt x="218" y="276"/>
                    <a:pt x="216" y="273"/>
                    <a:pt x="215" y="273"/>
                  </a:cubicBezTo>
                  <a:cubicBezTo>
                    <a:pt x="193" y="249"/>
                    <a:pt x="193" y="249"/>
                    <a:pt x="193" y="249"/>
                  </a:cubicBezTo>
                  <a:cubicBezTo>
                    <a:pt x="176" y="237"/>
                    <a:pt x="176" y="237"/>
                    <a:pt x="176" y="237"/>
                  </a:cubicBezTo>
                  <a:cubicBezTo>
                    <a:pt x="172" y="226"/>
                    <a:pt x="172" y="226"/>
                    <a:pt x="172" y="226"/>
                  </a:cubicBezTo>
                  <a:cubicBezTo>
                    <a:pt x="173" y="225"/>
                    <a:pt x="176" y="222"/>
                    <a:pt x="174" y="214"/>
                  </a:cubicBezTo>
                  <a:cubicBezTo>
                    <a:pt x="172" y="205"/>
                    <a:pt x="172" y="205"/>
                    <a:pt x="172" y="205"/>
                  </a:cubicBezTo>
                  <a:cubicBezTo>
                    <a:pt x="172" y="193"/>
                    <a:pt x="172" y="193"/>
                    <a:pt x="172" y="193"/>
                  </a:cubicBezTo>
                  <a:cubicBezTo>
                    <a:pt x="181" y="174"/>
                    <a:pt x="181" y="174"/>
                    <a:pt x="181" y="174"/>
                  </a:cubicBezTo>
                  <a:cubicBezTo>
                    <a:pt x="182" y="174"/>
                    <a:pt x="188" y="173"/>
                    <a:pt x="190" y="164"/>
                  </a:cubicBezTo>
                  <a:cubicBezTo>
                    <a:pt x="190" y="162"/>
                    <a:pt x="192" y="160"/>
                    <a:pt x="193" y="159"/>
                  </a:cubicBezTo>
                  <a:cubicBezTo>
                    <a:pt x="194" y="159"/>
                    <a:pt x="195" y="159"/>
                    <a:pt x="196" y="159"/>
                  </a:cubicBezTo>
                  <a:cubicBezTo>
                    <a:pt x="199" y="159"/>
                    <a:pt x="202" y="160"/>
                    <a:pt x="204" y="160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266" y="105"/>
                    <a:pt x="266" y="105"/>
                    <a:pt x="266" y="105"/>
                  </a:cubicBezTo>
                  <a:cubicBezTo>
                    <a:pt x="282" y="102"/>
                    <a:pt x="282" y="102"/>
                    <a:pt x="282" y="102"/>
                  </a:cubicBezTo>
                  <a:cubicBezTo>
                    <a:pt x="285" y="94"/>
                    <a:pt x="285" y="94"/>
                    <a:pt x="285" y="94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3" y="86"/>
                    <a:pt x="293" y="86"/>
                    <a:pt x="293" y="86"/>
                  </a:cubicBezTo>
                  <a:cubicBezTo>
                    <a:pt x="282" y="82"/>
                    <a:pt x="282" y="82"/>
                    <a:pt x="282" y="82"/>
                  </a:cubicBezTo>
                  <a:cubicBezTo>
                    <a:pt x="266" y="78"/>
                    <a:pt x="266" y="78"/>
                    <a:pt x="266" y="78"/>
                  </a:cubicBezTo>
                  <a:cubicBezTo>
                    <a:pt x="254" y="74"/>
                    <a:pt x="254" y="74"/>
                    <a:pt x="254" y="74"/>
                  </a:cubicBezTo>
                  <a:cubicBezTo>
                    <a:pt x="246" y="78"/>
                    <a:pt x="246" y="78"/>
                    <a:pt x="246" y="78"/>
                  </a:cubicBezTo>
                  <a:cubicBezTo>
                    <a:pt x="239" y="82"/>
                    <a:pt x="239" y="82"/>
                    <a:pt x="239" y="82"/>
                  </a:cubicBezTo>
                  <a:cubicBezTo>
                    <a:pt x="231" y="82"/>
                    <a:pt x="231" y="82"/>
                    <a:pt x="231" y="82"/>
                  </a:cubicBezTo>
                  <a:cubicBezTo>
                    <a:pt x="223" y="78"/>
                    <a:pt x="223" y="78"/>
                    <a:pt x="223" y="78"/>
                  </a:cubicBezTo>
                  <a:cubicBezTo>
                    <a:pt x="219" y="70"/>
                    <a:pt x="219" y="70"/>
                    <a:pt x="219" y="70"/>
                  </a:cubicBezTo>
                  <a:cubicBezTo>
                    <a:pt x="196" y="59"/>
                    <a:pt x="196" y="59"/>
                    <a:pt x="196" y="59"/>
                  </a:cubicBezTo>
                  <a:cubicBezTo>
                    <a:pt x="192" y="55"/>
                    <a:pt x="192" y="55"/>
                    <a:pt x="192" y="55"/>
                  </a:cubicBezTo>
                  <a:cubicBezTo>
                    <a:pt x="176" y="47"/>
                    <a:pt x="176" y="47"/>
                    <a:pt x="176" y="47"/>
                  </a:cubicBezTo>
                  <a:cubicBezTo>
                    <a:pt x="161" y="47"/>
                    <a:pt x="161" y="47"/>
                    <a:pt x="161" y="47"/>
                  </a:cubicBezTo>
                  <a:cubicBezTo>
                    <a:pt x="153" y="51"/>
                    <a:pt x="153" y="51"/>
                    <a:pt x="153" y="51"/>
                  </a:cubicBezTo>
                  <a:cubicBezTo>
                    <a:pt x="145" y="51"/>
                    <a:pt x="145" y="51"/>
                    <a:pt x="145" y="51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41" y="47"/>
                    <a:pt x="141" y="47"/>
                    <a:pt x="141" y="47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18" y="43"/>
                    <a:pt x="118" y="43"/>
                    <a:pt x="118" y="43"/>
                  </a:cubicBezTo>
                  <a:cubicBezTo>
                    <a:pt x="114" y="43"/>
                    <a:pt x="114" y="43"/>
                    <a:pt x="114" y="43"/>
                  </a:cubicBezTo>
                  <a:cubicBezTo>
                    <a:pt x="110" y="43"/>
                    <a:pt x="110" y="43"/>
                    <a:pt x="110" y="43"/>
                  </a:cubicBezTo>
                  <a:cubicBezTo>
                    <a:pt x="102" y="27"/>
                    <a:pt x="102" y="27"/>
                    <a:pt x="102" y="27"/>
                  </a:cubicBezTo>
                  <a:cubicBezTo>
                    <a:pt x="102" y="23"/>
                    <a:pt x="102" y="23"/>
                    <a:pt x="102" y="23"/>
                  </a:cubicBezTo>
                  <a:cubicBezTo>
                    <a:pt x="94" y="4"/>
                    <a:pt x="94" y="4"/>
                    <a:pt x="94" y="4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77"/>
                    <a:pt x="0" y="77"/>
                    <a:pt x="0" y="77"/>
                  </a:cubicBezTo>
                  <a:lnTo>
                    <a:pt x="10" y="96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43" name="Michigan">
              <a:extLst>
                <a:ext uri="{FF2B5EF4-FFF2-40B4-BE49-F238E27FC236}">
                  <a16:creationId xmlns:a16="http://schemas.microsoft.com/office/drawing/2014/main" id="{38C831DF-40FB-48EB-A1C2-AA82907B50E0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7354825" y="1225311"/>
              <a:ext cx="1225450" cy="1235482"/>
            </a:xfrm>
            <a:custGeom>
              <a:avLst/>
              <a:gdLst>
                <a:gd name="connsiteX0" fmla="*/ 827555 w 1225450"/>
                <a:gd name="connsiteY0" fmla="*/ 404583 h 1235482"/>
                <a:gd name="connsiteX1" fmla="*/ 854304 w 1225450"/>
                <a:gd name="connsiteY1" fmla="*/ 404583 h 1235482"/>
                <a:gd name="connsiteX2" fmla="*/ 886069 w 1225450"/>
                <a:gd name="connsiteY2" fmla="*/ 404583 h 1235482"/>
                <a:gd name="connsiteX3" fmla="*/ 886069 w 1225450"/>
                <a:gd name="connsiteY3" fmla="*/ 419630 h 1235482"/>
                <a:gd name="connsiteX4" fmla="*/ 917834 w 1225450"/>
                <a:gd name="connsiteY4" fmla="*/ 404583 h 1235482"/>
                <a:gd name="connsiteX5" fmla="*/ 932880 w 1225450"/>
                <a:gd name="connsiteY5" fmla="*/ 419630 h 1235482"/>
                <a:gd name="connsiteX6" fmla="*/ 964645 w 1225450"/>
                <a:gd name="connsiteY6" fmla="*/ 448051 h 1235482"/>
                <a:gd name="connsiteX7" fmla="*/ 981363 w 1225450"/>
                <a:gd name="connsiteY7" fmla="*/ 448051 h 1235482"/>
                <a:gd name="connsiteX8" fmla="*/ 996410 w 1225450"/>
                <a:gd name="connsiteY8" fmla="*/ 463097 h 1235482"/>
                <a:gd name="connsiteX9" fmla="*/ 1039877 w 1225450"/>
                <a:gd name="connsiteY9" fmla="*/ 479815 h 1235482"/>
                <a:gd name="connsiteX10" fmla="*/ 1056595 w 1225450"/>
                <a:gd name="connsiteY10" fmla="*/ 494862 h 1235482"/>
                <a:gd name="connsiteX11" fmla="*/ 1071642 w 1225450"/>
                <a:gd name="connsiteY11" fmla="*/ 543345 h 1235482"/>
                <a:gd name="connsiteX12" fmla="*/ 1056595 w 1225450"/>
                <a:gd name="connsiteY12" fmla="*/ 558391 h 1235482"/>
                <a:gd name="connsiteX13" fmla="*/ 1056595 w 1225450"/>
                <a:gd name="connsiteY13" fmla="*/ 575110 h 1235482"/>
                <a:gd name="connsiteX14" fmla="*/ 1071642 w 1225450"/>
                <a:gd name="connsiteY14" fmla="*/ 590156 h 1235482"/>
                <a:gd name="connsiteX15" fmla="*/ 1088360 w 1225450"/>
                <a:gd name="connsiteY15" fmla="*/ 682107 h 1235482"/>
                <a:gd name="connsiteX16" fmla="*/ 1071642 w 1225450"/>
                <a:gd name="connsiteY16" fmla="*/ 697153 h 1235482"/>
                <a:gd name="connsiteX17" fmla="*/ 1056595 w 1225450"/>
                <a:gd name="connsiteY17" fmla="*/ 713871 h 1235482"/>
                <a:gd name="connsiteX18" fmla="*/ 1039877 w 1225450"/>
                <a:gd name="connsiteY18" fmla="*/ 745636 h 1235482"/>
                <a:gd name="connsiteX19" fmla="*/ 1008113 w 1225450"/>
                <a:gd name="connsiteY19" fmla="*/ 772385 h 1235482"/>
                <a:gd name="connsiteX20" fmla="*/ 981363 w 1225450"/>
                <a:gd name="connsiteY20" fmla="*/ 820868 h 1235482"/>
                <a:gd name="connsiteX21" fmla="*/ 996410 w 1225450"/>
                <a:gd name="connsiteY21" fmla="*/ 835915 h 1235482"/>
                <a:gd name="connsiteX22" fmla="*/ 1008113 w 1225450"/>
                <a:gd name="connsiteY22" fmla="*/ 835915 h 1235482"/>
                <a:gd name="connsiteX23" fmla="*/ 1056595 w 1225450"/>
                <a:gd name="connsiteY23" fmla="*/ 820868 h 1235482"/>
                <a:gd name="connsiteX24" fmla="*/ 1071642 w 1225450"/>
                <a:gd name="connsiteY24" fmla="*/ 772385 h 1235482"/>
                <a:gd name="connsiteX25" fmla="*/ 1120125 w 1225450"/>
                <a:gd name="connsiteY25" fmla="*/ 757339 h 1235482"/>
                <a:gd name="connsiteX26" fmla="*/ 1150218 w 1225450"/>
                <a:gd name="connsiteY26" fmla="*/ 745636 h 1235482"/>
                <a:gd name="connsiteX27" fmla="*/ 1195357 w 1225450"/>
                <a:gd name="connsiteY27" fmla="*/ 835915 h 1235482"/>
                <a:gd name="connsiteX28" fmla="*/ 1195357 w 1225450"/>
                <a:gd name="connsiteY28" fmla="*/ 927866 h 1235482"/>
                <a:gd name="connsiteX29" fmla="*/ 1210404 w 1225450"/>
                <a:gd name="connsiteY29" fmla="*/ 957959 h 1235482"/>
                <a:gd name="connsiteX30" fmla="*/ 1210404 w 1225450"/>
                <a:gd name="connsiteY30" fmla="*/ 974677 h 1235482"/>
                <a:gd name="connsiteX31" fmla="*/ 1225450 w 1225450"/>
                <a:gd name="connsiteY31" fmla="*/ 957959 h 1235482"/>
                <a:gd name="connsiteX32" fmla="*/ 1195357 w 1225450"/>
                <a:gd name="connsiteY32" fmla="*/ 1053253 h 1235482"/>
                <a:gd name="connsiteX33" fmla="*/ 1163592 w 1225450"/>
                <a:gd name="connsiteY33" fmla="*/ 1053253 h 1235482"/>
                <a:gd name="connsiteX34" fmla="*/ 1150218 w 1225450"/>
                <a:gd name="connsiteY34" fmla="*/ 1069971 h 1235482"/>
                <a:gd name="connsiteX35" fmla="*/ 1150218 w 1225450"/>
                <a:gd name="connsiteY35" fmla="*/ 1081674 h 1235482"/>
                <a:gd name="connsiteX36" fmla="*/ 1150218 w 1225450"/>
                <a:gd name="connsiteY36" fmla="*/ 1113439 h 1235482"/>
                <a:gd name="connsiteX37" fmla="*/ 1135171 w 1225450"/>
                <a:gd name="connsiteY37" fmla="*/ 1113439 h 1235482"/>
                <a:gd name="connsiteX38" fmla="*/ 1135171 w 1225450"/>
                <a:gd name="connsiteY38" fmla="*/ 1128485 h 1235482"/>
                <a:gd name="connsiteX39" fmla="*/ 1120125 w 1225450"/>
                <a:gd name="connsiteY39" fmla="*/ 1160250 h 1235482"/>
                <a:gd name="connsiteX40" fmla="*/ 1120125 w 1225450"/>
                <a:gd name="connsiteY40" fmla="*/ 1192015 h 1235482"/>
                <a:gd name="connsiteX41" fmla="*/ 1076657 w 1225450"/>
                <a:gd name="connsiteY41" fmla="*/ 1235482 h 1235482"/>
                <a:gd name="connsiteX42" fmla="*/ 834242 w 1225450"/>
                <a:gd name="connsiteY42" fmla="*/ 1235482 h 1235482"/>
                <a:gd name="connsiteX43" fmla="*/ 830899 w 1225450"/>
                <a:gd name="connsiteY43" fmla="*/ 1235482 h 1235482"/>
                <a:gd name="connsiteX44" fmla="*/ 514923 w 1225450"/>
                <a:gd name="connsiteY44" fmla="*/ 1235482 h 1235482"/>
                <a:gd name="connsiteX45" fmla="*/ 561734 w 1225450"/>
                <a:gd name="connsiteY45" fmla="*/ 1208733 h 1235482"/>
                <a:gd name="connsiteX46" fmla="*/ 625264 w 1225450"/>
                <a:gd name="connsiteY46" fmla="*/ 1053253 h 1235482"/>
                <a:gd name="connsiteX47" fmla="*/ 625264 w 1225450"/>
                <a:gd name="connsiteY47" fmla="*/ 957959 h 1235482"/>
                <a:gd name="connsiteX48" fmla="*/ 578453 w 1225450"/>
                <a:gd name="connsiteY48" fmla="*/ 835915 h 1235482"/>
                <a:gd name="connsiteX49" fmla="*/ 608546 w 1225450"/>
                <a:gd name="connsiteY49" fmla="*/ 728918 h 1235482"/>
                <a:gd name="connsiteX50" fmla="*/ 625264 w 1225450"/>
                <a:gd name="connsiteY50" fmla="*/ 713871 h 1235482"/>
                <a:gd name="connsiteX51" fmla="*/ 625264 w 1225450"/>
                <a:gd name="connsiteY51" fmla="*/ 618577 h 1235482"/>
                <a:gd name="connsiteX52" fmla="*/ 640310 w 1225450"/>
                <a:gd name="connsiteY52" fmla="*/ 601859 h 1235482"/>
                <a:gd name="connsiteX53" fmla="*/ 657029 w 1225450"/>
                <a:gd name="connsiteY53" fmla="*/ 575110 h 1235482"/>
                <a:gd name="connsiteX54" fmla="*/ 683778 w 1225450"/>
                <a:gd name="connsiteY54" fmla="*/ 558391 h 1235482"/>
                <a:gd name="connsiteX55" fmla="*/ 700496 w 1225450"/>
                <a:gd name="connsiteY55" fmla="*/ 543345 h 1235482"/>
                <a:gd name="connsiteX56" fmla="*/ 715543 w 1225450"/>
                <a:gd name="connsiteY56" fmla="*/ 526627 h 1235482"/>
                <a:gd name="connsiteX57" fmla="*/ 715543 w 1225450"/>
                <a:gd name="connsiteY57" fmla="*/ 543345 h 1235482"/>
                <a:gd name="connsiteX58" fmla="*/ 732261 w 1225450"/>
                <a:gd name="connsiteY58" fmla="*/ 590156 h 1235482"/>
                <a:gd name="connsiteX59" fmla="*/ 732261 w 1225450"/>
                <a:gd name="connsiteY59" fmla="*/ 575110 h 1235482"/>
                <a:gd name="connsiteX60" fmla="*/ 747307 w 1225450"/>
                <a:gd name="connsiteY60" fmla="*/ 575110 h 1235482"/>
                <a:gd name="connsiteX61" fmla="*/ 764026 w 1225450"/>
                <a:gd name="connsiteY61" fmla="*/ 494862 h 1235482"/>
                <a:gd name="connsiteX62" fmla="*/ 827555 w 1225450"/>
                <a:gd name="connsiteY62" fmla="*/ 479815 h 1235482"/>
                <a:gd name="connsiteX63" fmla="*/ 827555 w 1225450"/>
                <a:gd name="connsiteY63" fmla="*/ 463097 h 1235482"/>
                <a:gd name="connsiteX64" fmla="*/ 810837 w 1225450"/>
                <a:gd name="connsiteY64" fmla="*/ 448051 h 1235482"/>
                <a:gd name="connsiteX65" fmla="*/ 810837 w 1225450"/>
                <a:gd name="connsiteY65" fmla="*/ 419630 h 1235482"/>
                <a:gd name="connsiteX66" fmla="*/ 364054 w 1225450"/>
                <a:gd name="connsiteY66" fmla="*/ 0 h 1235482"/>
                <a:gd name="connsiteX67" fmla="*/ 391754 w 1225450"/>
                <a:gd name="connsiteY67" fmla="*/ 0 h 1235482"/>
                <a:gd name="connsiteX68" fmla="*/ 391754 w 1225450"/>
                <a:gd name="connsiteY68" fmla="*/ 15871 h 1235482"/>
                <a:gd name="connsiteX69" fmla="*/ 364054 w 1225450"/>
                <a:gd name="connsiteY69" fmla="*/ 31742 h 1235482"/>
                <a:gd name="connsiteX70" fmla="*/ 316568 w 1225450"/>
                <a:gd name="connsiteY70" fmla="*/ 95227 h 1235482"/>
                <a:gd name="connsiteX71" fmla="*/ 300740 w 1225450"/>
                <a:gd name="connsiteY71" fmla="*/ 111099 h 1235482"/>
                <a:gd name="connsiteX72" fmla="*/ 284912 w 1225450"/>
                <a:gd name="connsiteY72" fmla="*/ 123002 h 1235482"/>
                <a:gd name="connsiteX73" fmla="*/ 284912 w 1225450"/>
                <a:gd name="connsiteY73" fmla="*/ 170616 h 1235482"/>
                <a:gd name="connsiteX74" fmla="*/ 316568 w 1225450"/>
                <a:gd name="connsiteY74" fmla="*/ 138873 h 1235482"/>
                <a:gd name="connsiteX75" fmla="*/ 332397 w 1225450"/>
                <a:gd name="connsiteY75" fmla="*/ 154744 h 1235482"/>
                <a:gd name="connsiteX76" fmla="*/ 364054 w 1225450"/>
                <a:gd name="connsiteY76" fmla="*/ 138873 h 1235482"/>
                <a:gd name="connsiteX77" fmla="*/ 423410 w 1225450"/>
                <a:gd name="connsiteY77" fmla="*/ 170616 h 1235482"/>
                <a:gd name="connsiteX78" fmla="*/ 470896 w 1225450"/>
                <a:gd name="connsiteY78" fmla="*/ 234101 h 1235482"/>
                <a:gd name="connsiteX79" fmla="*/ 486724 w 1225450"/>
                <a:gd name="connsiteY79" fmla="*/ 234101 h 1235482"/>
                <a:gd name="connsiteX80" fmla="*/ 561910 w 1225450"/>
                <a:gd name="connsiteY80" fmla="*/ 234101 h 1235482"/>
                <a:gd name="connsiteX81" fmla="*/ 577738 w 1225450"/>
                <a:gd name="connsiteY81" fmla="*/ 234101 h 1235482"/>
                <a:gd name="connsiteX82" fmla="*/ 593567 w 1225450"/>
                <a:gd name="connsiteY82" fmla="*/ 218229 h 1235482"/>
                <a:gd name="connsiteX83" fmla="*/ 641052 w 1225450"/>
                <a:gd name="connsiteY83" fmla="*/ 186487 h 1235482"/>
                <a:gd name="connsiteX84" fmla="*/ 763722 w 1225450"/>
                <a:gd name="connsiteY84" fmla="*/ 186487 h 1235482"/>
                <a:gd name="connsiteX85" fmla="*/ 779551 w 1225450"/>
                <a:gd name="connsiteY85" fmla="*/ 170616 h 1235482"/>
                <a:gd name="connsiteX86" fmla="*/ 811208 w 1225450"/>
                <a:gd name="connsiteY86" fmla="*/ 170616 h 1235482"/>
                <a:gd name="connsiteX87" fmla="*/ 811208 w 1225450"/>
                <a:gd name="connsiteY87" fmla="*/ 186487 h 1235482"/>
                <a:gd name="connsiteX88" fmla="*/ 811208 w 1225450"/>
                <a:gd name="connsiteY88" fmla="*/ 218229 h 1235482"/>
                <a:gd name="connsiteX89" fmla="*/ 854736 w 1225450"/>
                <a:gd name="connsiteY89" fmla="*/ 234101 h 1235482"/>
                <a:gd name="connsiteX90" fmla="*/ 918049 w 1225450"/>
                <a:gd name="connsiteY90" fmla="*/ 234101 h 1235482"/>
                <a:gd name="connsiteX91" fmla="*/ 933878 w 1225450"/>
                <a:gd name="connsiteY91" fmla="*/ 234101 h 1235482"/>
                <a:gd name="connsiteX92" fmla="*/ 933878 w 1225450"/>
                <a:gd name="connsiteY92" fmla="*/ 249972 h 1235482"/>
                <a:gd name="connsiteX93" fmla="*/ 933878 w 1225450"/>
                <a:gd name="connsiteY93" fmla="*/ 265843 h 1235482"/>
                <a:gd name="connsiteX94" fmla="*/ 933878 w 1225450"/>
                <a:gd name="connsiteY94" fmla="*/ 293618 h 1235482"/>
                <a:gd name="connsiteX95" fmla="*/ 949706 w 1225450"/>
                <a:gd name="connsiteY95" fmla="*/ 309489 h 1235482"/>
                <a:gd name="connsiteX96" fmla="*/ 965535 w 1225450"/>
                <a:gd name="connsiteY96" fmla="*/ 325360 h 1235482"/>
                <a:gd name="connsiteX97" fmla="*/ 981363 w 1225450"/>
                <a:gd name="connsiteY97" fmla="*/ 325360 h 1235482"/>
                <a:gd name="connsiteX98" fmla="*/ 981363 w 1225450"/>
                <a:gd name="connsiteY98" fmla="*/ 341231 h 1235482"/>
                <a:gd name="connsiteX99" fmla="*/ 918049 w 1225450"/>
                <a:gd name="connsiteY99" fmla="*/ 357103 h 1235482"/>
                <a:gd name="connsiteX100" fmla="*/ 902221 w 1225450"/>
                <a:gd name="connsiteY100" fmla="*/ 341231 h 1235482"/>
                <a:gd name="connsiteX101" fmla="*/ 886393 w 1225450"/>
                <a:gd name="connsiteY101" fmla="*/ 325360 h 1235482"/>
                <a:gd name="connsiteX102" fmla="*/ 886393 w 1225450"/>
                <a:gd name="connsiteY102" fmla="*/ 341231 h 1235482"/>
                <a:gd name="connsiteX103" fmla="*/ 870564 w 1225450"/>
                <a:gd name="connsiteY103" fmla="*/ 357103 h 1235482"/>
                <a:gd name="connsiteX104" fmla="*/ 854736 w 1225450"/>
                <a:gd name="connsiteY104" fmla="*/ 357103 h 1235482"/>
                <a:gd name="connsiteX105" fmla="*/ 842864 w 1225450"/>
                <a:gd name="connsiteY105" fmla="*/ 341231 h 1235482"/>
                <a:gd name="connsiteX106" fmla="*/ 811208 w 1225450"/>
                <a:gd name="connsiteY106" fmla="*/ 325360 h 1235482"/>
                <a:gd name="connsiteX107" fmla="*/ 763722 w 1225450"/>
                <a:gd name="connsiteY107" fmla="*/ 325360 h 1235482"/>
                <a:gd name="connsiteX108" fmla="*/ 732065 w 1225450"/>
                <a:gd name="connsiteY108" fmla="*/ 325360 h 1235482"/>
                <a:gd name="connsiteX109" fmla="*/ 716237 w 1225450"/>
                <a:gd name="connsiteY109" fmla="*/ 341231 h 1235482"/>
                <a:gd name="connsiteX110" fmla="*/ 641052 w 1225450"/>
                <a:gd name="connsiteY110" fmla="*/ 372974 h 1235482"/>
                <a:gd name="connsiteX111" fmla="*/ 577738 w 1225450"/>
                <a:gd name="connsiteY111" fmla="*/ 420588 h 1235482"/>
                <a:gd name="connsiteX112" fmla="*/ 561910 w 1225450"/>
                <a:gd name="connsiteY112" fmla="*/ 420588 h 1235482"/>
                <a:gd name="connsiteX113" fmla="*/ 577738 w 1225450"/>
                <a:gd name="connsiteY113" fmla="*/ 372974 h 1235482"/>
                <a:gd name="connsiteX114" fmla="*/ 546081 w 1225450"/>
                <a:gd name="connsiteY114" fmla="*/ 388845 h 1235482"/>
                <a:gd name="connsiteX115" fmla="*/ 530253 w 1225450"/>
                <a:gd name="connsiteY115" fmla="*/ 388845 h 1235482"/>
                <a:gd name="connsiteX116" fmla="*/ 518381 w 1225450"/>
                <a:gd name="connsiteY116" fmla="*/ 388845 h 1235482"/>
                <a:gd name="connsiteX117" fmla="*/ 407582 w 1225450"/>
                <a:gd name="connsiteY117" fmla="*/ 559461 h 1235482"/>
                <a:gd name="connsiteX118" fmla="*/ 391754 w 1225450"/>
                <a:gd name="connsiteY118" fmla="*/ 591203 h 1235482"/>
                <a:gd name="connsiteX119" fmla="*/ 387796 w 1225450"/>
                <a:gd name="connsiteY119" fmla="*/ 595171 h 1235482"/>
                <a:gd name="connsiteX120" fmla="*/ 387796 w 1225450"/>
                <a:gd name="connsiteY120" fmla="*/ 591203 h 1235482"/>
                <a:gd name="connsiteX121" fmla="*/ 383839 w 1225450"/>
                <a:gd name="connsiteY121" fmla="*/ 567396 h 1235482"/>
                <a:gd name="connsiteX122" fmla="*/ 379882 w 1225450"/>
                <a:gd name="connsiteY122" fmla="*/ 535654 h 1235482"/>
                <a:gd name="connsiteX123" fmla="*/ 379882 w 1225450"/>
                <a:gd name="connsiteY123" fmla="*/ 484072 h 1235482"/>
                <a:gd name="connsiteX124" fmla="*/ 379882 w 1225450"/>
                <a:gd name="connsiteY124" fmla="*/ 480105 h 1235482"/>
                <a:gd name="connsiteX125" fmla="*/ 383839 w 1225450"/>
                <a:gd name="connsiteY125" fmla="*/ 476137 h 1235482"/>
                <a:gd name="connsiteX126" fmla="*/ 375925 w 1225450"/>
                <a:gd name="connsiteY126" fmla="*/ 468201 h 1235482"/>
                <a:gd name="connsiteX127" fmla="*/ 368011 w 1225450"/>
                <a:gd name="connsiteY127" fmla="*/ 448362 h 1235482"/>
                <a:gd name="connsiteX128" fmla="*/ 360097 w 1225450"/>
                <a:gd name="connsiteY128" fmla="*/ 440427 h 1235482"/>
                <a:gd name="connsiteX129" fmla="*/ 316568 w 1225450"/>
                <a:gd name="connsiteY129" fmla="*/ 392813 h 1235482"/>
                <a:gd name="connsiteX130" fmla="*/ 328440 w 1225450"/>
                <a:gd name="connsiteY130" fmla="*/ 372974 h 1235482"/>
                <a:gd name="connsiteX131" fmla="*/ 312611 w 1225450"/>
                <a:gd name="connsiteY131" fmla="*/ 365038 h 1235482"/>
                <a:gd name="connsiteX132" fmla="*/ 189941 w 1225450"/>
                <a:gd name="connsiteY132" fmla="*/ 365038 h 1235482"/>
                <a:gd name="connsiteX133" fmla="*/ 189941 w 1225450"/>
                <a:gd name="connsiteY133" fmla="*/ 321392 h 1235482"/>
                <a:gd name="connsiteX134" fmla="*/ 174113 w 1225450"/>
                <a:gd name="connsiteY134" fmla="*/ 305521 h 1235482"/>
                <a:gd name="connsiteX135" fmla="*/ 162241 w 1225450"/>
                <a:gd name="connsiteY135" fmla="*/ 301553 h 1235482"/>
                <a:gd name="connsiteX136" fmla="*/ 158284 w 1225450"/>
                <a:gd name="connsiteY136" fmla="*/ 301553 h 1235482"/>
                <a:gd name="connsiteX137" fmla="*/ 158284 w 1225450"/>
                <a:gd name="connsiteY137" fmla="*/ 297585 h 1235482"/>
                <a:gd name="connsiteX138" fmla="*/ 150370 w 1225450"/>
                <a:gd name="connsiteY138" fmla="*/ 297585 h 1235482"/>
                <a:gd name="connsiteX139" fmla="*/ 126627 w 1225450"/>
                <a:gd name="connsiteY139" fmla="*/ 293618 h 1235482"/>
                <a:gd name="connsiteX140" fmla="*/ 91013 w 1225450"/>
                <a:gd name="connsiteY140" fmla="*/ 297585 h 1235482"/>
                <a:gd name="connsiteX141" fmla="*/ 67271 w 1225450"/>
                <a:gd name="connsiteY141" fmla="*/ 293618 h 1235482"/>
                <a:gd name="connsiteX142" fmla="*/ 35614 w 1225450"/>
                <a:gd name="connsiteY142" fmla="*/ 277746 h 1235482"/>
                <a:gd name="connsiteX143" fmla="*/ 23742 w 1225450"/>
                <a:gd name="connsiteY143" fmla="*/ 277746 h 1235482"/>
                <a:gd name="connsiteX144" fmla="*/ 0 w 1225450"/>
                <a:gd name="connsiteY144" fmla="*/ 238068 h 1235482"/>
                <a:gd name="connsiteX145" fmla="*/ 0 w 1225450"/>
                <a:gd name="connsiteY145" fmla="*/ 202358 h 1235482"/>
                <a:gd name="connsiteX146" fmla="*/ 23742 w 1225450"/>
                <a:gd name="connsiteY146" fmla="*/ 202358 h 1235482"/>
                <a:gd name="connsiteX147" fmla="*/ 83099 w 1225450"/>
                <a:gd name="connsiteY147" fmla="*/ 170616 h 1235482"/>
                <a:gd name="connsiteX148" fmla="*/ 162241 w 1225450"/>
                <a:gd name="connsiteY148" fmla="*/ 138873 h 1235482"/>
                <a:gd name="connsiteX149" fmla="*/ 300740 w 1225450"/>
                <a:gd name="connsiteY149" fmla="*/ 31742 h 1235482"/>
                <a:gd name="connsiteX150" fmla="*/ 364054 w 1225450"/>
                <a:gd name="connsiteY150" fmla="*/ 0 h 1235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</a:cxnLst>
              <a:rect l="l" t="t" r="r" b="b"/>
              <a:pathLst>
                <a:path w="1225450" h="1235482">
                  <a:moveTo>
                    <a:pt x="827555" y="404583"/>
                  </a:moveTo>
                  <a:lnTo>
                    <a:pt x="854304" y="404583"/>
                  </a:lnTo>
                  <a:lnTo>
                    <a:pt x="886069" y="404583"/>
                  </a:lnTo>
                  <a:lnTo>
                    <a:pt x="886069" y="419630"/>
                  </a:lnTo>
                  <a:lnTo>
                    <a:pt x="917834" y="404583"/>
                  </a:lnTo>
                  <a:lnTo>
                    <a:pt x="932880" y="419630"/>
                  </a:lnTo>
                  <a:lnTo>
                    <a:pt x="964645" y="448051"/>
                  </a:lnTo>
                  <a:lnTo>
                    <a:pt x="981363" y="448051"/>
                  </a:lnTo>
                  <a:lnTo>
                    <a:pt x="996410" y="463097"/>
                  </a:lnTo>
                  <a:lnTo>
                    <a:pt x="1039877" y="479815"/>
                  </a:lnTo>
                  <a:lnTo>
                    <a:pt x="1056595" y="494862"/>
                  </a:lnTo>
                  <a:lnTo>
                    <a:pt x="1071642" y="543345"/>
                  </a:lnTo>
                  <a:lnTo>
                    <a:pt x="1056595" y="558391"/>
                  </a:lnTo>
                  <a:lnTo>
                    <a:pt x="1056595" y="575110"/>
                  </a:lnTo>
                  <a:lnTo>
                    <a:pt x="1071642" y="590156"/>
                  </a:lnTo>
                  <a:lnTo>
                    <a:pt x="1088360" y="682107"/>
                  </a:lnTo>
                  <a:lnTo>
                    <a:pt x="1071642" y="697153"/>
                  </a:lnTo>
                  <a:lnTo>
                    <a:pt x="1056595" y="713871"/>
                  </a:lnTo>
                  <a:lnTo>
                    <a:pt x="1039877" y="745636"/>
                  </a:lnTo>
                  <a:lnTo>
                    <a:pt x="1008113" y="772385"/>
                  </a:lnTo>
                  <a:lnTo>
                    <a:pt x="981363" y="820868"/>
                  </a:lnTo>
                  <a:lnTo>
                    <a:pt x="996410" y="835915"/>
                  </a:lnTo>
                  <a:lnTo>
                    <a:pt x="1008113" y="835915"/>
                  </a:lnTo>
                  <a:lnTo>
                    <a:pt x="1056595" y="820868"/>
                  </a:lnTo>
                  <a:lnTo>
                    <a:pt x="1071642" y="772385"/>
                  </a:lnTo>
                  <a:lnTo>
                    <a:pt x="1120125" y="757339"/>
                  </a:lnTo>
                  <a:lnTo>
                    <a:pt x="1150218" y="745636"/>
                  </a:lnTo>
                  <a:lnTo>
                    <a:pt x="1195357" y="835915"/>
                  </a:lnTo>
                  <a:lnTo>
                    <a:pt x="1195357" y="927866"/>
                  </a:lnTo>
                  <a:lnTo>
                    <a:pt x="1210404" y="957959"/>
                  </a:lnTo>
                  <a:lnTo>
                    <a:pt x="1210404" y="974677"/>
                  </a:lnTo>
                  <a:lnTo>
                    <a:pt x="1225450" y="957959"/>
                  </a:lnTo>
                  <a:lnTo>
                    <a:pt x="1195357" y="1053253"/>
                  </a:lnTo>
                  <a:lnTo>
                    <a:pt x="1163592" y="1053253"/>
                  </a:lnTo>
                  <a:lnTo>
                    <a:pt x="1150218" y="1069971"/>
                  </a:lnTo>
                  <a:lnTo>
                    <a:pt x="1150218" y="1081674"/>
                  </a:lnTo>
                  <a:lnTo>
                    <a:pt x="1150218" y="1113439"/>
                  </a:lnTo>
                  <a:lnTo>
                    <a:pt x="1135171" y="1113439"/>
                  </a:lnTo>
                  <a:lnTo>
                    <a:pt x="1135171" y="1128485"/>
                  </a:lnTo>
                  <a:lnTo>
                    <a:pt x="1120125" y="1160250"/>
                  </a:lnTo>
                  <a:lnTo>
                    <a:pt x="1120125" y="1192015"/>
                  </a:lnTo>
                  <a:lnTo>
                    <a:pt x="1076657" y="1235482"/>
                  </a:lnTo>
                  <a:lnTo>
                    <a:pt x="834242" y="1235482"/>
                  </a:lnTo>
                  <a:lnTo>
                    <a:pt x="830899" y="1235482"/>
                  </a:lnTo>
                  <a:lnTo>
                    <a:pt x="514923" y="1235482"/>
                  </a:lnTo>
                  <a:lnTo>
                    <a:pt x="561734" y="1208733"/>
                  </a:lnTo>
                  <a:lnTo>
                    <a:pt x="625264" y="1053253"/>
                  </a:lnTo>
                  <a:lnTo>
                    <a:pt x="625264" y="957959"/>
                  </a:lnTo>
                  <a:lnTo>
                    <a:pt x="578453" y="835915"/>
                  </a:lnTo>
                  <a:lnTo>
                    <a:pt x="608546" y="728918"/>
                  </a:lnTo>
                  <a:lnTo>
                    <a:pt x="625264" y="713871"/>
                  </a:lnTo>
                  <a:lnTo>
                    <a:pt x="625264" y="618577"/>
                  </a:lnTo>
                  <a:lnTo>
                    <a:pt x="640310" y="601859"/>
                  </a:lnTo>
                  <a:lnTo>
                    <a:pt x="657029" y="575110"/>
                  </a:lnTo>
                  <a:lnTo>
                    <a:pt x="683778" y="558391"/>
                  </a:lnTo>
                  <a:lnTo>
                    <a:pt x="700496" y="543345"/>
                  </a:lnTo>
                  <a:lnTo>
                    <a:pt x="715543" y="526627"/>
                  </a:lnTo>
                  <a:lnTo>
                    <a:pt x="715543" y="543345"/>
                  </a:lnTo>
                  <a:lnTo>
                    <a:pt x="732261" y="590156"/>
                  </a:lnTo>
                  <a:lnTo>
                    <a:pt x="732261" y="575110"/>
                  </a:lnTo>
                  <a:lnTo>
                    <a:pt x="747307" y="575110"/>
                  </a:lnTo>
                  <a:lnTo>
                    <a:pt x="764026" y="494862"/>
                  </a:lnTo>
                  <a:lnTo>
                    <a:pt x="827555" y="479815"/>
                  </a:lnTo>
                  <a:lnTo>
                    <a:pt x="827555" y="463097"/>
                  </a:lnTo>
                  <a:lnTo>
                    <a:pt x="810837" y="448051"/>
                  </a:lnTo>
                  <a:lnTo>
                    <a:pt x="810837" y="419630"/>
                  </a:lnTo>
                  <a:close/>
                  <a:moveTo>
                    <a:pt x="364054" y="0"/>
                  </a:moveTo>
                  <a:cubicBezTo>
                    <a:pt x="364054" y="0"/>
                    <a:pt x="364054" y="0"/>
                    <a:pt x="391754" y="0"/>
                  </a:cubicBezTo>
                  <a:cubicBezTo>
                    <a:pt x="391754" y="0"/>
                    <a:pt x="391754" y="0"/>
                    <a:pt x="391754" y="15871"/>
                  </a:cubicBezTo>
                  <a:cubicBezTo>
                    <a:pt x="391754" y="15871"/>
                    <a:pt x="391754" y="15871"/>
                    <a:pt x="364054" y="31742"/>
                  </a:cubicBezTo>
                  <a:cubicBezTo>
                    <a:pt x="364054" y="31742"/>
                    <a:pt x="364054" y="31742"/>
                    <a:pt x="316568" y="95227"/>
                  </a:cubicBezTo>
                  <a:cubicBezTo>
                    <a:pt x="316568" y="95227"/>
                    <a:pt x="316568" y="95227"/>
                    <a:pt x="300740" y="111099"/>
                  </a:cubicBezTo>
                  <a:cubicBezTo>
                    <a:pt x="300740" y="111099"/>
                    <a:pt x="300740" y="111099"/>
                    <a:pt x="284912" y="123002"/>
                  </a:cubicBezTo>
                  <a:cubicBezTo>
                    <a:pt x="284912" y="123002"/>
                    <a:pt x="284912" y="123002"/>
                    <a:pt x="284912" y="170616"/>
                  </a:cubicBezTo>
                  <a:cubicBezTo>
                    <a:pt x="284912" y="170616"/>
                    <a:pt x="284912" y="170616"/>
                    <a:pt x="316568" y="138873"/>
                  </a:cubicBezTo>
                  <a:cubicBezTo>
                    <a:pt x="316568" y="138873"/>
                    <a:pt x="316568" y="138873"/>
                    <a:pt x="332397" y="154744"/>
                  </a:cubicBezTo>
                  <a:cubicBezTo>
                    <a:pt x="332397" y="154744"/>
                    <a:pt x="332397" y="154744"/>
                    <a:pt x="364054" y="138873"/>
                  </a:cubicBezTo>
                  <a:cubicBezTo>
                    <a:pt x="364054" y="138873"/>
                    <a:pt x="364054" y="138873"/>
                    <a:pt x="423410" y="170616"/>
                  </a:cubicBezTo>
                  <a:cubicBezTo>
                    <a:pt x="423410" y="170616"/>
                    <a:pt x="423410" y="170616"/>
                    <a:pt x="470896" y="234101"/>
                  </a:cubicBezTo>
                  <a:cubicBezTo>
                    <a:pt x="470896" y="234101"/>
                    <a:pt x="470896" y="234101"/>
                    <a:pt x="486724" y="234101"/>
                  </a:cubicBezTo>
                  <a:cubicBezTo>
                    <a:pt x="486724" y="234101"/>
                    <a:pt x="486724" y="234101"/>
                    <a:pt x="561910" y="234101"/>
                  </a:cubicBezTo>
                  <a:cubicBezTo>
                    <a:pt x="561910" y="234101"/>
                    <a:pt x="561910" y="234101"/>
                    <a:pt x="577738" y="234101"/>
                  </a:cubicBezTo>
                  <a:cubicBezTo>
                    <a:pt x="577738" y="234101"/>
                    <a:pt x="577738" y="234101"/>
                    <a:pt x="593567" y="218229"/>
                  </a:cubicBezTo>
                  <a:cubicBezTo>
                    <a:pt x="593567" y="218229"/>
                    <a:pt x="593567" y="218229"/>
                    <a:pt x="641052" y="186487"/>
                  </a:cubicBezTo>
                  <a:cubicBezTo>
                    <a:pt x="641052" y="186487"/>
                    <a:pt x="641052" y="186487"/>
                    <a:pt x="763722" y="186487"/>
                  </a:cubicBezTo>
                  <a:cubicBezTo>
                    <a:pt x="763722" y="186487"/>
                    <a:pt x="763722" y="186487"/>
                    <a:pt x="779551" y="170616"/>
                  </a:cubicBezTo>
                  <a:cubicBezTo>
                    <a:pt x="779551" y="170616"/>
                    <a:pt x="779551" y="170616"/>
                    <a:pt x="811208" y="170616"/>
                  </a:cubicBezTo>
                  <a:cubicBezTo>
                    <a:pt x="811208" y="170616"/>
                    <a:pt x="811208" y="170616"/>
                    <a:pt x="811208" y="186487"/>
                  </a:cubicBezTo>
                  <a:cubicBezTo>
                    <a:pt x="811208" y="186487"/>
                    <a:pt x="811208" y="186487"/>
                    <a:pt x="811208" y="218229"/>
                  </a:cubicBezTo>
                  <a:cubicBezTo>
                    <a:pt x="811208" y="218229"/>
                    <a:pt x="811208" y="218229"/>
                    <a:pt x="854736" y="234101"/>
                  </a:cubicBezTo>
                  <a:cubicBezTo>
                    <a:pt x="854736" y="234101"/>
                    <a:pt x="854736" y="234101"/>
                    <a:pt x="918049" y="234101"/>
                  </a:cubicBezTo>
                  <a:cubicBezTo>
                    <a:pt x="918049" y="234101"/>
                    <a:pt x="918049" y="234101"/>
                    <a:pt x="933878" y="234101"/>
                  </a:cubicBezTo>
                  <a:cubicBezTo>
                    <a:pt x="933878" y="234101"/>
                    <a:pt x="933878" y="234101"/>
                    <a:pt x="933878" y="249972"/>
                  </a:cubicBezTo>
                  <a:cubicBezTo>
                    <a:pt x="933878" y="249972"/>
                    <a:pt x="933878" y="249972"/>
                    <a:pt x="933878" y="265843"/>
                  </a:cubicBezTo>
                  <a:cubicBezTo>
                    <a:pt x="933878" y="265843"/>
                    <a:pt x="933878" y="265843"/>
                    <a:pt x="933878" y="293618"/>
                  </a:cubicBezTo>
                  <a:cubicBezTo>
                    <a:pt x="933878" y="293618"/>
                    <a:pt x="933878" y="293618"/>
                    <a:pt x="949706" y="309489"/>
                  </a:cubicBezTo>
                  <a:cubicBezTo>
                    <a:pt x="949706" y="309489"/>
                    <a:pt x="949706" y="309489"/>
                    <a:pt x="965535" y="325360"/>
                  </a:cubicBezTo>
                  <a:cubicBezTo>
                    <a:pt x="965535" y="325360"/>
                    <a:pt x="965535" y="325360"/>
                    <a:pt x="981363" y="325360"/>
                  </a:cubicBezTo>
                  <a:cubicBezTo>
                    <a:pt x="981363" y="325360"/>
                    <a:pt x="981363" y="325360"/>
                    <a:pt x="981363" y="341231"/>
                  </a:cubicBezTo>
                  <a:cubicBezTo>
                    <a:pt x="981363" y="341231"/>
                    <a:pt x="981363" y="341231"/>
                    <a:pt x="918049" y="357103"/>
                  </a:cubicBezTo>
                  <a:cubicBezTo>
                    <a:pt x="918049" y="357103"/>
                    <a:pt x="918049" y="357103"/>
                    <a:pt x="902221" y="341231"/>
                  </a:cubicBezTo>
                  <a:cubicBezTo>
                    <a:pt x="902221" y="341231"/>
                    <a:pt x="902221" y="341231"/>
                    <a:pt x="886393" y="325360"/>
                  </a:cubicBezTo>
                  <a:cubicBezTo>
                    <a:pt x="886393" y="325360"/>
                    <a:pt x="886393" y="325360"/>
                    <a:pt x="886393" y="341231"/>
                  </a:cubicBezTo>
                  <a:cubicBezTo>
                    <a:pt x="886393" y="341231"/>
                    <a:pt x="886393" y="341231"/>
                    <a:pt x="870564" y="357103"/>
                  </a:cubicBezTo>
                  <a:cubicBezTo>
                    <a:pt x="870564" y="357103"/>
                    <a:pt x="870564" y="357103"/>
                    <a:pt x="854736" y="357103"/>
                  </a:cubicBezTo>
                  <a:cubicBezTo>
                    <a:pt x="854736" y="357103"/>
                    <a:pt x="854736" y="357103"/>
                    <a:pt x="842864" y="341231"/>
                  </a:cubicBezTo>
                  <a:cubicBezTo>
                    <a:pt x="842864" y="341231"/>
                    <a:pt x="842864" y="341231"/>
                    <a:pt x="811208" y="325360"/>
                  </a:cubicBezTo>
                  <a:cubicBezTo>
                    <a:pt x="811208" y="325360"/>
                    <a:pt x="811208" y="325360"/>
                    <a:pt x="763722" y="325360"/>
                  </a:cubicBezTo>
                  <a:cubicBezTo>
                    <a:pt x="763722" y="325360"/>
                    <a:pt x="763722" y="325360"/>
                    <a:pt x="732065" y="325360"/>
                  </a:cubicBezTo>
                  <a:cubicBezTo>
                    <a:pt x="732065" y="325360"/>
                    <a:pt x="732065" y="325360"/>
                    <a:pt x="716237" y="341231"/>
                  </a:cubicBezTo>
                  <a:cubicBezTo>
                    <a:pt x="716237" y="341231"/>
                    <a:pt x="716237" y="341231"/>
                    <a:pt x="641052" y="372974"/>
                  </a:cubicBezTo>
                  <a:cubicBezTo>
                    <a:pt x="641052" y="372974"/>
                    <a:pt x="641052" y="372974"/>
                    <a:pt x="577738" y="420588"/>
                  </a:cubicBezTo>
                  <a:cubicBezTo>
                    <a:pt x="577738" y="420588"/>
                    <a:pt x="577738" y="420588"/>
                    <a:pt x="561910" y="420588"/>
                  </a:cubicBezTo>
                  <a:cubicBezTo>
                    <a:pt x="561910" y="420588"/>
                    <a:pt x="561910" y="420588"/>
                    <a:pt x="577738" y="372974"/>
                  </a:cubicBezTo>
                  <a:cubicBezTo>
                    <a:pt x="577738" y="372974"/>
                    <a:pt x="577738" y="372974"/>
                    <a:pt x="546081" y="388845"/>
                  </a:cubicBezTo>
                  <a:cubicBezTo>
                    <a:pt x="546081" y="388845"/>
                    <a:pt x="546081" y="388845"/>
                    <a:pt x="530253" y="388845"/>
                  </a:cubicBezTo>
                  <a:cubicBezTo>
                    <a:pt x="530253" y="388845"/>
                    <a:pt x="530253" y="388845"/>
                    <a:pt x="518381" y="388845"/>
                  </a:cubicBezTo>
                  <a:cubicBezTo>
                    <a:pt x="518381" y="388845"/>
                    <a:pt x="518381" y="388845"/>
                    <a:pt x="407582" y="559461"/>
                  </a:cubicBezTo>
                  <a:cubicBezTo>
                    <a:pt x="407582" y="559461"/>
                    <a:pt x="407582" y="559461"/>
                    <a:pt x="391754" y="591203"/>
                  </a:cubicBezTo>
                  <a:cubicBezTo>
                    <a:pt x="391754" y="591203"/>
                    <a:pt x="391754" y="591203"/>
                    <a:pt x="387796" y="595171"/>
                  </a:cubicBezTo>
                  <a:cubicBezTo>
                    <a:pt x="387796" y="595171"/>
                    <a:pt x="387796" y="595171"/>
                    <a:pt x="387796" y="591203"/>
                  </a:cubicBezTo>
                  <a:cubicBezTo>
                    <a:pt x="387796" y="583268"/>
                    <a:pt x="387796" y="575332"/>
                    <a:pt x="383839" y="567396"/>
                  </a:cubicBezTo>
                  <a:cubicBezTo>
                    <a:pt x="379882" y="555493"/>
                    <a:pt x="379882" y="543590"/>
                    <a:pt x="379882" y="535654"/>
                  </a:cubicBezTo>
                  <a:cubicBezTo>
                    <a:pt x="383839" y="519783"/>
                    <a:pt x="383839" y="499944"/>
                    <a:pt x="379882" y="484072"/>
                  </a:cubicBezTo>
                  <a:cubicBezTo>
                    <a:pt x="379882" y="480105"/>
                    <a:pt x="379882" y="480105"/>
                    <a:pt x="379882" y="480105"/>
                  </a:cubicBezTo>
                  <a:cubicBezTo>
                    <a:pt x="379882" y="480105"/>
                    <a:pt x="379882" y="480105"/>
                    <a:pt x="383839" y="476137"/>
                  </a:cubicBezTo>
                  <a:cubicBezTo>
                    <a:pt x="383839" y="476137"/>
                    <a:pt x="383839" y="476137"/>
                    <a:pt x="375925" y="468201"/>
                  </a:cubicBezTo>
                  <a:cubicBezTo>
                    <a:pt x="368011" y="452330"/>
                    <a:pt x="368011" y="452330"/>
                    <a:pt x="368011" y="448362"/>
                  </a:cubicBezTo>
                  <a:cubicBezTo>
                    <a:pt x="364054" y="448362"/>
                    <a:pt x="364054" y="444394"/>
                    <a:pt x="360097" y="440427"/>
                  </a:cubicBezTo>
                  <a:cubicBezTo>
                    <a:pt x="344268" y="424555"/>
                    <a:pt x="320526" y="396781"/>
                    <a:pt x="316568" y="392813"/>
                  </a:cubicBezTo>
                  <a:cubicBezTo>
                    <a:pt x="316568" y="388845"/>
                    <a:pt x="328440" y="376942"/>
                    <a:pt x="328440" y="372974"/>
                  </a:cubicBezTo>
                  <a:cubicBezTo>
                    <a:pt x="324483" y="369006"/>
                    <a:pt x="320526" y="365038"/>
                    <a:pt x="312611" y="365038"/>
                  </a:cubicBezTo>
                  <a:cubicBezTo>
                    <a:pt x="312611" y="365038"/>
                    <a:pt x="312611" y="365038"/>
                    <a:pt x="189941" y="365038"/>
                  </a:cubicBezTo>
                  <a:cubicBezTo>
                    <a:pt x="189941" y="365038"/>
                    <a:pt x="189941" y="365038"/>
                    <a:pt x="189941" y="321392"/>
                  </a:cubicBezTo>
                  <a:cubicBezTo>
                    <a:pt x="193898" y="317424"/>
                    <a:pt x="189941" y="309489"/>
                    <a:pt x="174113" y="305521"/>
                  </a:cubicBezTo>
                  <a:cubicBezTo>
                    <a:pt x="166198" y="301553"/>
                    <a:pt x="162241" y="301553"/>
                    <a:pt x="162241" y="301553"/>
                  </a:cubicBezTo>
                  <a:cubicBezTo>
                    <a:pt x="162241" y="301553"/>
                    <a:pt x="162241" y="301553"/>
                    <a:pt x="158284" y="301553"/>
                  </a:cubicBezTo>
                  <a:cubicBezTo>
                    <a:pt x="158284" y="301553"/>
                    <a:pt x="158284" y="301553"/>
                    <a:pt x="158284" y="297585"/>
                  </a:cubicBezTo>
                  <a:cubicBezTo>
                    <a:pt x="154327" y="297585"/>
                    <a:pt x="154327" y="297585"/>
                    <a:pt x="150370" y="297585"/>
                  </a:cubicBezTo>
                  <a:cubicBezTo>
                    <a:pt x="146413" y="293618"/>
                    <a:pt x="138499" y="293618"/>
                    <a:pt x="126627" y="293618"/>
                  </a:cubicBezTo>
                  <a:cubicBezTo>
                    <a:pt x="106842" y="293618"/>
                    <a:pt x="91013" y="297585"/>
                    <a:pt x="91013" y="297585"/>
                  </a:cubicBezTo>
                  <a:cubicBezTo>
                    <a:pt x="91013" y="297585"/>
                    <a:pt x="91013" y="297585"/>
                    <a:pt x="67271" y="293618"/>
                  </a:cubicBezTo>
                  <a:cubicBezTo>
                    <a:pt x="67271" y="293618"/>
                    <a:pt x="67271" y="293618"/>
                    <a:pt x="35614" y="277746"/>
                  </a:cubicBezTo>
                  <a:cubicBezTo>
                    <a:pt x="35614" y="277746"/>
                    <a:pt x="35614" y="277746"/>
                    <a:pt x="23742" y="277746"/>
                  </a:cubicBezTo>
                  <a:lnTo>
                    <a:pt x="0" y="238068"/>
                  </a:lnTo>
                  <a:cubicBezTo>
                    <a:pt x="0" y="238068"/>
                    <a:pt x="0" y="238068"/>
                    <a:pt x="0" y="202358"/>
                  </a:cubicBezTo>
                  <a:cubicBezTo>
                    <a:pt x="0" y="202358"/>
                    <a:pt x="0" y="202358"/>
                    <a:pt x="23742" y="202358"/>
                  </a:cubicBezTo>
                  <a:cubicBezTo>
                    <a:pt x="23742" y="202358"/>
                    <a:pt x="23742" y="202358"/>
                    <a:pt x="83099" y="170616"/>
                  </a:cubicBezTo>
                  <a:cubicBezTo>
                    <a:pt x="83099" y="170616"/>
                    <a:pt x="83099" y="170616"/>
                    <a:pt x="162241" y="138873"/>
                  </a:cubicBezTo>
                  <a:cubicBezTo>
                    <a:pt x="162241" y="138873"/>
                    <a:pt x="162241" y="138873"/>
                    <a:pt x="300740" y="31742"/>
                  </a:cubicBezTo>
                  <a:cubicBezTo>
                    <a:pt x="300740" y="31742"/>
                    <a:pt x="300740" y="31742"/>
                    <a:pt x="364054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44" name="Massachusetts">
              <a:extLst>
                <a:ext uri="{FF2B5EF4-FFF2-40B4-BE49-F238E27FC236}">
                  <a16:creationId xmlns:a16="http://schemas.microsoft.com/office/drawing/2014/main" id="{2A1C6F6E-9C3C-483B-AA0C-8E8114A7A06B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10004675" y="2208347"/>
              <a:ext cx="506564" cy="300929"/>
            </a:xfrm>
            <a:custGeom>
              <a:avLst/>
              <a:gdLst>
                <a:gd name="T0" fmla="*/ 64 w 128"/>
                <a:gd name="T1" fmla="*/ 9 h 76"/>
                <a:gd name="T2" fmla="*/ 64 w 128"/>
                <a:gd name="T3" fmla="*/ 1 h 76"/>
                <a:gd name="T4" fmla="*/ 26 w 128"/>
                <a:gd name="T5" fmla="*/ 1 h 76"/>
                <a:gd name="T6" fmla="*/ 25 w 128"/>
                <a:gd name="T7" fmla="*/ 1 h 76"/>
                <a:gd name="T8" fmla="*/ 25 w 128"/>
                <a:gd name="T9" fmla="*/ 1 h 76"/>
                <a:gd name="T10" fmla="*/ 6 w 128"/>
                <a:gd name="T11" fmla="*/ 1 h 76"/>
                <a:gd name="T12" fmla="*/ 5 w 128"/>
                <a:gd name="T13" fmla="*/ 5 h 76"/>
                <a:gd name="T14" fmla="*/ 2 w 128"/>
                <a:gd name="T15" fmla="*/ 28 h 76"/>
                <a:gd name="T16" fmla="*/ 3 w 128"/>
                <a:gd name="T17" fmla="*/ 51 h 76"/>
                <a:gd name="T18" fmla="*/ 52 w 128"/>
                <a:gd name="T19" fmla="*/ 51 h 76"/>
                <a:gd name="T20" fmla="*/ 52 w 128"/>
                <a:gd name="T21" fmla="*/ 51 h 76"/>
                <a:gd name="T22" fmla="*/ 52 w 128"/>
                <a:gd name="T23" fmla="*/ 52 h 76"/>
                <a:gd name="T24" fmla="*/ 68 w 128"/>
                <a:gd name="T25" fmla="*/ 52 h 76"/>
                <a:gd name="T26" fmla="*/ 74 w 128"/>
                <a:gd name="T27" fmla="*/ 59 h 76"/>
                <a:gd name="T28" fmla="*/ 74 w 128"/>
                <a:gd name="T29" fmla="*/ 61 h 76"/>
                <a:gd name="T30" fmla="*/ 76 w 128"/>
                <a:gd name="T31" fmla="*/ 67 h 76"/>
                <a:gd name="T32" fmla="*/ 77 w 128"/>
                <a:gd name="T33" fmla="*/ 68 h 76"/>
                <a:gd name="T34" fmla="*/ 77 w 128"/>
                <a:gd name="T35" fmla="*/ 76 h 76"/>
                <a:gd name="T36" fmla="*/ 81 w 128"/>
                <a:gd name="T37" fmla="*/ 76 h 76"/>
                <a:gd name="T38" fmla="*/ 85 w 128"/>
                <a:gd name="T39" fmla="*/ 72 h 76"/>
                <a:gd name="T40" fmla="*/ 97 w 128"/>
                <a:gd name="T41" fmla="*/ 68 h 76"/>
                <a:gd name="T42" fmla="*/ 101 w 128"/>
                <a:gd name="T43" fmla="*/ 68 h 76"/>
                <a:gd name="T44" fmla="*/ 101 w 128"/>
                <a:gd name="T45" fmla="*/ 72 h 76"/>
                <a:gd name="T46" fmla="*/ 105 w 128"/>
                <a:gd name="T47" fmla="*/ 72 h 76"/>
                <a:gd name="T48" fmla="*/ 112 w 128"/>
                <a:gd name="T49" fmla="*/ 72 h 76"/>
                <a:gd name="T50" fmla="*/ 116 w 128"/>
                <a:gd name="T51" fmla="*/ 72 h 76"/>
                <a:gd name="T52" fmla="*/ 124 w 128"/>
                <a:gd name="T53" fmla="*/ 68 h 76"/>
                <a:gd name="T54" fmla="*/ 128 w 128"/>
                <a:gd name="T55" fmla="*/ 64 h 76"/>
                <a:gd name="T56" fmla="*/ 124 w 128"/>
                <a:gd name="T57" fmla="*/ 53 h 76"/>
                <a:gd name="T58" fmla="*/ 124 w 128"/>
                <a:gd name="T59" fmla="*/ 61 h 76"/>
                <a:gd name="T60" fmla="*/ 124 w 128"/>
                <a:gd name="T61" fmla="*/ 64 h 76"/>
                <a:gd name="T62" fmla="*/ 116 w 128"/>
                <a:gd name="T63" fmla="*/ 64 h 76"/>
                <a:gd name="T64" fmla="*/ 105 w 128"/>
                <a:gd name="T65" fmla="*/ 61 h 76"/>
                <a:gd name="T66" fmla="*/ 101 w 128"/>
                <a:gd name="T67" fmla="*/ 53 h 76"/>
                <a:gd name="T68" fmla="*/ 97 w 128"/>
                <a:gd name="T69" fmla="*/ 49 h 76"/>
                <a:gd name="T70" fmla="*/ 97 w 128"/>
                <a:gd name="T71" fmla="*/ 45 h 76"/>
                <a:gd name="T72" fmla="*/ 93 w 128"/>
                <a:gd name="T73" fmla="*/ 41 h 76"/>
                <a:gd name="T74" fmla="*/ 85 w 128"/>
                <a:gd name="T75" fmla="*/ 37 h 76"/>
                <a:gd name="T76" fmla="*/ 85 w 128"/>
                <a:gd name="T77" fmla="*/ 29 h 76"/>
                <a:gd name="T78" fmla="*/ 89 w 128"/>
                <a:gd name="T79" fmla="*/ 29 h 76"/>
                <a:gd name="T80" fmla="*/ 93 w 128"/>
                <a:gd name="T81" fmla="*/ 22 h 76"/>
                <a:gd name="T82" fmla="*/ 97 w 128"/>
                <a:gd name="T83" fmla="*/ 22 h 76"/>
                <a:gd name="T84" fmla="*/ 89 w 128"/>
                <a:gd name="T85" fmla="*/ 6 h 76"/>
                <a:gd name="T86" fmla="*/ 90 w 128"/>
                <a:gd name="T87" fmla="*/ 2 h 76"/>
                <a:gd name="T88" fmla="*/ 91 w 128"/>
                <a:gd name="T89" fmla="*/ 0 h 76"/>
                <a:gd name="T90" fmla="*/ 80 w 128"/>
                <a:gd name="T91" fmla="*/ 9 h 76"/>
                <a:gd name="T92" fmla="*/ 64 w 128"/>
                <a:gd name="T93" fmla="*/ 9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8" h="76">
                  <a:moveTo>
                    <a:pt x="64" y="9"/>
                  </a:moveTo>
                  <a:cubicBezTo>
                    <a:pt x="64" y="1"/>
                    <a:pt x="64" y="1"/>
                    <a:pt x="64" y="1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0" y="25"/>
                    <a:pt x="1" y="28"/>
                    <a:pt x="2" y="28"/>
                  </a:cubicBezTo>
                  <a:cubicBezTo>
                    <a:pt x="3" y="30"/>
                    <a:pt x="3" y="40"/>
                    <a:pt x="3" y="51"/>
                  </a:cubicBezTo>
                  <a:cubicBezTo>
                    <a:pt x="52" y="51"/>
                    <a:pt x="52" y="51"/>
                    <a:pt x="52" y="51"/>
                  </a:cubicBezTo>
                  <a:cubicBezTo>
                    <a:pt x="52" y="51"/>
                    <a:pt x="52" y="51"/>
                    <a:pt x="52" y="51"/>
                  </a:cubicBezTo>
                  <a:cubicBezTo>
                    <a:pt x="52" y="52"/>
                    <a:pt x="52" y="52"/>
                    <a:pt x="52" y="52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5" y="63"/>
                    <a:pt x="76" y="66"/>
                    <a:pt x="76" y="67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7" y="76"/>
                    <a:pt x="77" y="76"/>
                    <a:pt x="77" y="76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97" y="68"/>
                    <a:pt x="97" y="68"/>
                    <a:pt x="97" y="68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101" y="72"/>
                    <a:pt x="101" y="72"/>
                    <a:pt x="101" y="72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112" y="72"/>
                    <a:pt x="112" y="72"/>
                    <a:pt x="112" y="72"/>
                  </a:cubicBezTo>
                  <a:cubicBezTo>
                    <a:pt x="116" y="72"/>
                    <a:pt x="116" y="72"/>
                    <a:pt x="116" y="72"/>
                  </a:cubicBezTo>
                  <a:cubicBezTo>
                    <a:pt x="124" y="68"/>
                    <a:pt x="124" y="68"/>
                    <a:pt x="124" y="68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4" y="53"/>
                    <a:pt x="124" y="53"/>
                    <a:pt x="124" y="53"/>
                  </a:cubicBezTo>
                  <a:cubicBezTo>
                    <a:pt x="124" y="61"/>
                    <a:pt x="124" y="61"/>
                    <a:pt x="124" y="61"/>
                  </a:cubicBezTo>
                  <a:cubicBezTo>
                    <a:pt x="124" y="64"/>
                    <a:pt x="124" y="64"/>
                    <a:pt x="124" y="64"/>
                  </a:cubicBezTo>
                  <a:cubicBezTo>
                    <a:pt x="116" y="64"/>
                    <a:pt x="116" y="64"/>
                    <a:pt x="116" y="64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1" y="53"/>
                    <a:pt x="101" y="53"/>
                    <a:pt x="101" y="53"/>
                  </a:cubicBezTo>
                  <a:cubicBezTo>
                    <a:pt x="97" y="49"/>
                    <a:pt x="97" y="49"/>
                    <a:pt x="97" y="49"/>
                  </a:cubicBezTo>
                  <a:cubicBezTo>
                    <a:pt x="97" y="45"/>
                    <a:pt x="97" y="45"/>
                    <a:pt x="97" y="45"/>
                  </a:cubicBezTo>
                  <a:cubicBezTo>
                    <a:pt x="93" y="41"/>
                    <a:pt x="93" y="41"/>
                    <a:pt x="93" y="41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89" y="29"/>
                    <a:pt x="89" y="29"/>
                    <a:pt x="89" y="29"/>
                  </a:cubicBezTo>
                  <a:cubicBezTo>
                    <a:pt x="93" y="22"/>
                    <a:pt x="93" y="22"/>
                    <a:pt x="93" y="22"/>
                  </a:cubicBezTo>
                  <a:cubicBezTo>
                    <a:pt x="97" y="22"/>
                    <a:pt x="97" y="22"/>
                    <a:pt x="97" y="22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90" y="2"/>
                    <a:pt x="90" y="2"/>
                    <a:pt x="90" y="2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80" y="9"/>
                    <a:pt x="80" y="9"/>
                    <a:pt x="80" y="9"/>
                  </a:cubicBezTo>
                  <a:lnTo>
                    <a:pt x="64" y="9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45" name="Maryland">
              <a:extLst>
                <a:ext uri="{FF2B5EF4-FFF2-40B4-BE49-F238E27FC236}">
                  <a16:creationId xmlns:a16="http://schemas.microsoft.com/office/drawing/2014/main" id="{75929430-1E1F-4550-A81E-D21C45DC7FD9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8991546" y="2885438"/>
              <a:ext cx="732261" cy="489846"/>
            </a:xfrm>
            <a:custGeom>
              <a:avLst/>
              <a:gdLst>
                <a:gd name="T0" fmla="*/ 156 w 185"/>
                <a:gd name="T1" fmla="*/ 55 h 124"/>
                <a:gd name="T2" fmla="*/ 155 w 185"/>
                <a:gd name="T3" fmla="*/ 3 h 124"/>
                <a:gd name="T4" fmla="*/ 145 w 185"/>
                <a:gd name="T5" fmla="*/ 0 h 124"/>
                <a:gd name="T6" fmla="*/ 0 w 185"/>
                <a:gd name="T7" fmla="*/ 11 h 124"/>
                <a:gd name="T8" fmla="*/ 12 w 185"/>
                <a:gd name="T9" fmla="*/ 7 h 124"/>
                <a:gd name="T10" fmla="*/ 23 w 185"/>
                <a:gd name="T11" fmla="*/ 5 h 124"/>
                <a:gd name="T12" fmla="*/ 40 w 185"/>
                <a:gd name="T13" fmla="*/ 6 h 124"/>
                <a:gd name="T14" fmla="*/ 75 w 185"/>
                <a:gd name="T15" fmla="*/ 5 h 124"/>
                <a:gd name="T16" fmla="*/ 82 w 185"/>
                <a:gd name="T17" fmla="*/ 7 h 124"/>
                <a:gd name="T18" fmla="*/ 79 w 185"/>
                <a:gd name="T19" fmla="*/ 10 h 124"/>
                <a:gd name="T20" fmla="*/ 79 w 185"/>
                <a:gd name="T21" fmla="*/ 12 h 124"/>
                <a:gd name="T22" fmla="*/ 85 w 185"/>
                <a:gd name="T23" fmla="*/ 33 h 124"/>
                <a:gd name="T24" fmla="*/ 81 w 185"/>
                <a:gd name="T25" fmla="*/ 44 h 124"/>
                <a:gd name="T26" fmla="*/ 91 w 185"/>
                <a:gd name="T27" fmla="*/ 52 h 124"/>
                <a:gd name="T28" fmla="*/ 95 w 185"/>
                <a:gd name="T29" fmla="*/ 59 h 124"/>
                <a:gd name="T30" fmla="*/ 95 w 185"/>
                <a:gd name="T31" fmla="*/ 57 h 124"/>
                <a:gd name="T32" fmla="*/ 111 w 185"/>
                <a:gd name="T33" fmla="*/ 65 h 124"/>
                <a:gd name="T34" fmla="*/ 119 w 185"/>
                <a:gd name="T35" fmla="*/ 69 h 124"/>
                <a:gd name="T36" fmla="*/ 126 w 185"/>
                <a:gd name="T37" fmla="*/ 73 h 124"/>
                <a:gd name="T38" fmla="*/ 130 w 185"/>
                <a:gd name="T39" fmla="*/ 65 h 124"/>
                <a:gd name="T40" fmla="*/ 126 w 185"/>
                <a:gd name="T41" fmla="*/ 61 h 124"/>
                <a:gd name="T42" fmla="*/ 126 w 185"/>
                <a:gd name="T43" fmla="*/ 46 h 124"/>
                <a:gd name="T44" fmla="*/ 122 w 185"/>
                <a:gd name="T45" fmla="*/ 22 h 124"/>
                <a:gd name="T46" fmla="*/ 138 w 185"/>
                <a:gd name="T47" fmla="*/ 11 h 124"/>
                <a:gd name="T48" fmla="*/ 150 w 185"/>
                <a:gd name="T49" fmla="*/ 7 h 124"/>
                <a:gd name="T50" fmla="*/ 142 w 185"/>
                <a:gd name="T51" fmla="*/ 18 h 124"/>
                <a:gd name="T52" fmla="*/ 138 w 185"/>
                <a:gd name="T53" fmla="*/ 22 h 124"/>
                <a:gd name="T54" fmla="*/ 138 w 185"/>
                <a:gd name="T55" fmla="*/ 30 h 124"/>
                <a:gd name="T56" fmla="*/ 134 w 185"/>
                <a:gd name="T57" fmla="*/ 38 h 124"/>
                <a:gd name="T58" fmla="*/ 142 w 185"/>
                <a:gd name="T59" fmla="*/ 38 h 124"/>
                <a:gd name="T60" fmla="*/ 138 w 185"/>
                <a:gd name="T61" fmla="*/ 53 h 124"/>
                <a:gd name="T62" fmla="*/ 138 w 185"/>
                <a:gd name="T63" fmla="*/ 61 h 124"/>
                <a:gd name="T64" fmla="*/ 146 w 185"/>
                <a:gd name="T65" fmla="*/ 69 h 124"/>
                <a:gd name="T66" fmla="*/ 154 w 185"/>
                <a:gd name="T67" fmla="*/ 77 h 124"/>
                <a:gd name="T68" fmla="*/ 154 w 185"/>
                <a:gd name="T69" fmla="*/ 85 h 124"/>
                <a:gd name="T70" fmla="*/ 158 w 185"/>
                <a:gd name="T71" fmla="*/ 89 h 124"/>
                <a:gd name="T72" fmla="*/ 146 w 185"/>
                <a:gd name="T73" fmla="*/ 108 h 124"/>
                <a:gd name="T74" fmla="*/ 150 w 185"/>
                <a:gd name="T75" fmla="*/ 124 h 124"/>
                <a:gd name="T76" fmla="*/ 154 w 185"/>
                <a:gd name="T77" fmla="*/ 120 h 124"/>
                <a:gd name="T78" fmla="*/ 173 w 185"/>
                <a:gd name="T79" fmla="*/ 73 h 124"/>
                <a:gd name="T80" fmla="*/ 185 w 185"/>
                <a:gd name="T81" fmla="*/ 57 h 124"/>
                <a:gd name="T82" fmla="*/ 183 w 185"/>
                <a:gd name="T83" fmla="*/ 5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5" h="124">
                  <a:moveTo>
                    <a:pt x="183" y="55"/>
                  </a:moveTo>
                  <a:cubicBezTo>
                    <a:pt x="156" y="55"/>
                    <a:pt x="156" y="55"/>
                    <a:pt x="156" y="55"/>
                  </a:cubicBezTo>
                  <a:cubicBezTo>
                    <a:pt x="156" y="3"/>
                    <a:pt x="156" y="3"/>
                    <a:pt x="156" y="3"/>
                  </a:cubicBezTo>
                  <a:cubicBezTo>
                    <a:pt x="155" y="3"/>
                    <a:pt x="155" y="3"/>
                    <a:pt x="155" y="3"/>
                  </a:cubicBezTo>
                  <a:cubicBezTo>
                    <a:pt x="155" y="3"/>
                    <a:pt x="155" y="3"/>
                    <a:pt x="155" y="3"/>
                  </a:cubicBezTo>
                  <a:cubicBezTo>
                    <a:pt x="150" y="3"/>
                    <a:pt x="146" y="0"/>
                    <a:pt x="1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8" y="9"/>
                    <a:pt x="12" y="7"/>
                    <a:pt x="12" y="7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6" y="5"/>
                    <a:pt x="79" y="6"/>
                    <a:pt x="82" y="7"/>
                  </a:cubicBezTo>
                  <a:cubicBezTo>
                    <a:pt x="82" y="7"/>
                    <a:pt x="82" y="7"/>
                    <a:pt x="82" y="7"/>
                  </a:cubicBezTo>
                  <a:cubicBezTo>
                    <a:pt x="82" y="7"/>
                    <a:pt x="82" y="8"/>
                    <a:pt x="79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5" y="39"/>
                    <a:pt x="85" y="39"/>
                    <a:pt x="85" y="39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5" y="57"/>
                    <a:pt x="95" y="57"/>
                    <a:pt x="95" y="57"/>
                  </a:cubicBezTo>
                  <a:cubicBezTo>
                    <a:pt x="95" y="59"/>
                    <a:pt x="95" y="59"/>
                    <a:pt x="95" y="59"/>
                  </a:cubicBezTo>
                  <a:cubicBezTo>
                    <a:pt x="95" y="59"/>
                    <a:pt x="95" y="59"/>
                    <a:pt x="95" y="59"/>
                  </a:cubicBezTo>
                  <a:cubicBezTo>
                    <a:pt x="95" y="57"/>
                    <a:pt x="95" y="57"/>
                    <a:pt x="95" y="57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111" y="65"/>
                    <a:pt x="111" y="65"/>
                    <a:pt x="111" y="65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9" y="69"/>
                    <a:pt x="119" y="69"/>
                    <a:pt x="119" y="69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26" y="73"/>
                    <a:pt x="126" y="73"/>
                    <a:pt x="126" y="73"/>
                  </a:cubicBezTo>
                  <a:cubicBezTo>
                    <a:pt x="130" y="77"/>
                    <a:pt x="130" y="77"/>
                    <a:pt x="130" y="77"/>
                  </a:cubicBezTo>
                  <a:cubicBezTo>
                    <a:pt x="130" y="65"/>
                    <a:pt x="130" y="65"/>
                    <a:pt x="130" y="65"/>
                  </a:cubicBezTo>
                  <a:cubicBezTo>
                    <a:pt x="122" y="61"/>
                    <a:pt x="122" y="61"/>
                    <a:pt x="122" y="61"/>
                  </a:cubicBezTo>
                  <a:cubicBezTo>
                    <a:pt x="126" y="61"/>
                    <a:pt x="126" y="61"/>
                    <a:pt x="126" y="61"/>
                  </a:cubicBezTo>
                  <a:cubicBezTo>
                    <a:pt x="126" y="57"/>
                    <a:pt x="126" y="57"/>
                    <a:pt x="126" y="57"/>
                  </a:cubicBezTo>
                  <a:cubicBezTo>
                    <a:pt x="126" y="46"/>
                    <a:pt x="126" y="46"/>
                    <a:pt x="126" y="46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22" y="22"/>
                    <a:pt x="122" y="22"/>
                    <a:pt x="122" y="22"/>
                  </a:cubicBezTo>
                  <a:cubicBezTo>
                    <a:pt x="130" y="18"/>
                    <a:pt x="130" y="18"/>
                    <a:pt x="130" y="18"/>
                  </a:cubicBezTo>
                  <a:cubicBezTo>
                    <a:pt x="138" y="11"/>
                    <a:pt x="138" y="11"/>
                    <a:pt x="138" y="11"/>
                  </a:cubicBezTo>
                  <a:cubicBezTo>
                    <a:pt x="146" y="3"/>
                    <a:pt x="146" y="3"/>
                    <a:pt x="146" y="3"/>
                  </a:cubicBezTo>
                  <a:cubicBezTo>
                    <a:pt x="150" y="7"/>
                    <a:pt x="150" y="7"/>
                    <a:pt x="150" y="7"/>
                  </a:cubicBezTo>
                  <a:cubicBezTo>
                    <a:pt x="146" y="14"/>
                    <a:pt x="146" y="14"/>
                    <a:pt x="146" y="14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38" y="18"/>
                    <a:pt x="138" y="18"/>
                    <a:pt x="138" y="18"/>
                  </a:cubicBezTo>
                  <a:cubicBezTo>
                    <a:pt x="138" y="22"/>
                    <a:pt x="138" y="22"/>
                    <a:pt x="138" y="22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8" y="30"/>
                    <a:pt x="138" y="30"/>
                    <a:pt x="138" y="30"/>
                  </a:cubicBezTo>
                  <a:cubicBezTo>
                    <a:pt x="134" y="34"/>
                    <a:pt x="134" y="34"/>
                    <a:pt x="134" y="34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8" y="38"/>
                    <a:pt x="138" y="38"/>
                    <a:pt x="138" y="38"/>
                  </a:cubicBezTo>
                  <a:cubicBezTo>
                    <a:pt x="142" y="38"/>
                    <a:pt x="142" y="38"/>
                    <a:pt x="142" y="38"/>
                  </a:cubicBezTo>
                  <a:cubicBezTo>
                    <a:pt x="142" y="50"/>
                    <a:pt x="142" y="50"/>
                    <a:pt x="142" y="50"/>
                  </a:cubicBezTo>
                  <a:cubicBezTo>
                    <a:pt x="138" y="53"/>
                    <a:pt x="138" y="53"/>
                    <a:pt x="138" y="53"/>
                  </a:cubicBezTo>
                  <a:cubicBezTo>
                    <a:pt x="134" y="57"/>
                    <a:pt x="134" y="57"/>
                    <a:pt x="134" y="57"/>
                  </a:cubicBezTo>
                  <a:cubicBezTo>
                    <a:pt x="138" y="61"/>
                    <a:pt x="138" y="61"/>
                    <a:pt x="138" y="61"/>
                  </a:cubicBezTo>
                  <a:cubicBezTo>
                    <a:pt x="142" y="69"/>
                    <a:pt x="142" y="69"/>
                    <a:pt x="142" y="69"/>
                  </a:cubicBezTo>
                  <a:cubicBezTo>
                    <a:pt x="146" y="69"/>
                    <a:pt x="146" y="69"/>
                    <a:pt x="146" y="69"/>
                  </a:cubicBezTo>
                  <a:cubicBezTo>
                    <a:pt x="150" y="69"/>
                    <a:pt x="150" y="69"/>
                    <a:pt x="150" y="69"/>
                  </a:cubicBezTo>
                  <a:cubicBezTo>
                    <a:pt x="154" y="77"/>
                    <a:pt x="154" y="77"/>
                    <a:pt x="154" y="77"/>
                  </a:cubicBezTo>
                  <a:cubicBezTo>
                    <a:pt x="154" y="81"/>
                    <a:pt x="154" y="81"/>
                    <a:pt x="154" y="81"/>
                  </a:cubicBezTo>
                  <a:cubicBezTo>
                    <a:pt x="154" y="85"/>
                    <a:pt x="154" y="85"/>
                    <a:pt x="154" y="85"/>
                  </a:cubicBezTo>
                  <a:cubicBezTo>
                    <a:pt x="158" y="85"/>
                    <a:pt x="158" y="85"/>
                    <a:pt x="158" y="85"/>
                  </a:cubicBezTo>
                  <a:cubicBezTo>
                    <a:pt x="158" y="89"/>
                    <a:pt x="158" y="89"/>
                    <a:pt x="158" y="89"/>
                  </a:cubicBezTo>
                  <a:cubicBezTo>
                    <a:pt x="154" y="89"/>
                    <a:pt x="154" y="89"/>
                    <a:pt x="154" y="89"/>
                  </a:cubicBezTo>
                  <a:cubicBezTo>
                    <a:pt x="146" y="108"/>
                    <a:pt x="146" y="108"/>
                    <a:pt x="146" y="108"/>
                  </a:cubicBezTo>
                  <a:cubicBezTo>
                    <a:pt x="146" y="124"/>
                    <a:pt x="146" y="124"/>
                    <a:pt x="146" y="124"/>
                  </a:cubicBezTo>
                  <a:cubicBezTo>
                    <a:pt x="150" y="124"/>
                    <a:pt x="150" y="124"/>
                    <a:pt x="150" y="124"/>
                  </a:cubicBezTo>
                  <a:cubicBezTo>
                    <a:pt x="154" y="124"/>
                    <a:pt x="154" y="124"/>
                    <a:pt x="154" y="124"/>
                  </a:cubicBezTo>
                  <a:cubicBezTo>
                    <a:pt x="154" y="120"/>
                    <a:pt x="154" y="120"/>
                    <a:pt x="154" y="120"/>
                  </a:cubicBezTo>
                  <a:cubicBezTo>
                    <a:pt x="173" y="81"/>
                    <a:pt x="173" y="81"/>
                    <a:pt x="173" y="81"/>
                  </a:cubicBezTo>
                  <a:cubicBezTo>
                    <a:pt x="173" y="73"/>
                    <a:pt x="173" y="73"/>
                    <a:pt x="173" y="73"/>
                  </a:cubicBezTo>
                  <a:cubicBezTo>
                    <a:pt x="177" y="65"/>
                    <a:pt x="177" y="65"/>
                    <a:pt x="177" y="65"/>
                  </a:cubicBezTo>
                  <a:cubicBezTo>
                    <a:pt x="185" y="57"/>
                    <a:pt x="185" y="57"/>
                    <a:pt x="185" y="57"/>
                  </a:cubicBezTo>
                  <a:cubicBezTo>
                    <a:pt x="183" y="54"/>
                    <a:pt x="183" y="54"/>
                    <a:pt x="183" y="54"/>
                  </a:cubicBezTo>
                  <a:cubicBezTo>
                    <a:pt x="183" y="54"/>
                    <a:pt x="183" y="54"/>
                    <a:pt x="183" y="54"/>
                  </a:cubicBezTo>
                  <a:lnTo>
                    <a:pt x="183" y="55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46" name="Maine">
              <a:extLst>
                <a:ext uri="{FF2B5EF4-FFF2-40B4-BE49-F238E27FC236}">
                  <a16:creationId xmlns:a16="http://schemas.microsoft.com/office/drawing/2014/main" id="{D15E01AA-DEDF-43C0-873C-6F3EF5D22124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10360774" y="1242030"/>
              <a:ext cx="596843" cy="894428"/>
            </a:xfrm>
            <a:custGeom>
              <a:avLst/>
              <a:gdLst>
                <a:gd name="T0" fmla="*/ 147 w 151"/>
                <a:gd name="T1" fmla="*/ 137 h 226"/>
                <a:gd name="T2" fmla="*/ 143 w 151"/>
                <a:gd name="T3" fmla="*/ 129 h 226"/>
                <a:gd name="T4" fmla="*/ 136 w 151"/>
                <a:gd name="T5" fmla="*/ 125 h 226"/>
                <a:gd name="T6" fmla="*/ 128 w 151"/>
                <a:gd name="T7" fmla="*/ 113 h 226"/>
                <a:gd name="T8" fmla="*/ 128 w 151"/>
                <a:gd name="T9" fmla="*/ 102 h 226"/>
                <a:gd name="T10" fmla="*/ 120 w 151"/>
                <a:gd name="T11" fmla="*/ 24 h 226"/>
                <a:gd name="T12" fmla="*/ 93 w 151"/>
                <a:gd name="T13" fmla="*/ 4 h 226"/>
                <a:gd name="T14" fmla="*/ 77 w 151"/>
                <a:gd name="T15" fmla="*/ 16 h 226"/>
                <a:gd name="T16" fmla="*/ 65 w 151"/>
                <a:gd name="T17" fmla="*/ 4 h 226"/>
                <a:gd name="T18" fmla="*/ 54 w 151"/>
                <a:gd name="T19" fmla="*/ 0 h 226"/>
                <a:gd name="T20" fmla="*/ 18 w 151"/>
                <a:gd name="T21" fmla="*/ 74 h 226"/>
                <a:gd name="T22" fmla="*/ 7 w 151"/>
                <a:gd name="T23" fmla="*/ 109 h 226"/>
                <a:gd name="T24" fmla="*/ 7 w 151"/>
                <a:gd name="T25" fmla="*/ 117 h 226"/>
                <a:gd name="T26" fmla="*/ 3 w 151"/>
                <a:gd name="T27" fmla="*/ 121 h 226"/>
                <a:gd name="T28" fmla="*/ 1 w 151"/>
                <a:gd name="T29" fmla="*/ 123 h 226"/>
                <a:gd name="T30" fmla="*/ 1 w 151"/>
                <a:gd name="T31" fmla="*/ 153 h 226"/>
                <a:gd name="T32" fmla="*/ 2 w 151"/>
                <a:gd name="T33" fmla="*/ 165 h 226"/>
                <a:gd name="T34" fmla="*/ 9 w 151"/>
                <a:gd name="T35" fmla="*/ 218 h 226"/>
                <a:gd name="T36" fmla="*/ 14 w 151"/>
                <a:gd name="T37" fmla="*/ 226 h 226"/>
                <a:gd name="T38" fmla="*/ 26 w 151"/>
                <a:gd name="T39" fmla="*/ 207 h 226"/>
                <a:gd name="T40" fmla="*/ 38 w 151"/>
                <a:gd name="T41" fmla="*/ 199 h 226"/>
                <a:gd name="T42" fmla="*/ 46 w 151"/>
                <a:gd name="T43" fmla="*/ 199 h 226"/>
                <a:gd name="T44" fmla="*/ 50 w 151"/>
                <a:gd name="T45" fmla="*/ 195 h 226"/>
                <a:gd name="T46" fmla="*/ 54 w 151"/>
                <a:gd name="T47" fmla="*/ 199 h 226"/>
                <a:gd name="T48" fmla="*/ 57 w 151"/>
                <a:gd name="T49" fmla="*/ 191 h 226"/>
                <a:gd name="T50" fmla="*/ 65 w 151"/>
                <a:gd name="T51" fmla="*/ 191 h 226"/>
                <a:gd name="T52" fmla="*/ 69 w 151"/>
                <a:gd name="T53" fmla="*/ 180 h 226"/>
                <a:gd name="T54" fmla="*/ 73 w 151"/>
                <a:gd name="T55" fmla="*/ 168 h 226"/>
                <a:gd name="T56" fmla="*/ 81 w 151"/>
                <a:gd name="T57" fmla="*/ 164 h 226"/>
                <a:gd name="T58" fmla="*/ 85 w 151"/>
                <a:gd name="T59" fmla="*/ 172 h 226"/>
                <a:gd name="T60" fmla="*/ 93 w 151"/>
                <a:gd name="T61" fmla="*/ 172 h 226"/>
                <a:gd name="T62" fmla="*/ 100 w 151"/>
                <a:gd name="T63" fmla="*/ 176 h 226"/>
                <a:gd name="T64" fmla="*/ 108 w 151"/>
                <a:gd name="T65" fmla="*/ 168 h 226"/>
                <a:gd name="T66" fmla="*/ 116 w 151"/>
                <a:gd name="T67" fmla="*/ 164 h 226"/>
                <a:gd name="T68" fmla="*/ 132 w 151"/>
                <a:gd name="T69" fmla="*/ 160 h 226"/>
                <a:gd name="T70" fmla="*/ 139 w 151"/>
                <a:gd name="T71" fmla="*/ 156 h 226"/>
                <a:gd name="T72" fmla="*/ 147 w 151"/>
                <a:gd name="T73" fmla="*/ 152 h 226"/>
                <a:gd name="T74" fmla="*/ 151 w 151"/>
                <a:gd name="T75" fmla="*/ 145 h 226"/>
                <a:gd name="T76" fmla="*/ 147 w 151"/>
                <a:gd name="T77" fmla="*/ 14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1" h="226">
                  <a:moveTo>
                    <a:pt x="147" y="141"/>
                  </a:moveTo>
                  <a:cubicBezTo>
                    <a:pt x="147" y="137"/>
                    <a:pt x="147" y="137"/>
                    <a:pt x="147" y="137"/>
                  </a:cubicBezTo>
                  <a:cubicBezTo>
                    <a:pt x="147" y="129"/>
                    <a:pt x="147" y="129"/>
                    <a:pt x="147" y="129"/>
                  </a:cubicBezTo>
                  <a:cubicBezTo>
                    <a:pt x="143" y="129"/>
                    <a:pt x="143" y="129"/>
                    <a:pt x="143" y="129"/>
                  </a:cubicBezTo>
                  <a:cubicBezTo>
                    <a:pt x="136" y="129"/>
                    <a:pt x="136" y="129"/>
                    <a:pt x="136" y="129"/>
                  </a:cubicBezTo>
                  <a:cubicBezTo>
                    <a:pt x="136" y="125"/>
                    <a:pt x="136" y="125"/>
                    <a:pt x="136" y="125"/>
                  </a:cubicBezTo>
                  <a:cubicBezTo>
                    <a:pt x="132" y="121"/>
                    <a:pt x="132" y="121"/>
                    <a:pt x="132" y="121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8" y="106"/>
                    <a:pt x="128" y="106"/>
                    <a:pt x="128" y="106"/>
                  </a:cubicBezTo>
                  <a:cubicBezTo>
                    <a:pt x="128" y="102"/>
                    <a:pt x="128" y="102"/>
                    <a:pt x="128" y="102"/>
                  </a:cubicBezTo>
                  <a:cubicBezTo>
                    <a:pt x="120" y="98"/>
                    <a:pt x="120" y="98"/>
                    <a:pt x="120" y="98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97" y="4"/>
                    <a:pt x="97" y="4"/>
                    <a:pt x="97" y="4"/>
                  </a:cubicBezTo>
                  <a:cubicBezTo>
                    <a:pt x="93" y="4"/>
                    <a:pt x="93" y="4"/>
                    <a:pt x="93" y="4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18" y="102"/>
                    <a:pt x="18" y="102"/>
                    <a:pt x="18" y="102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7" y="117"/>
                    <a:pt x="7" y="117"/>
                    <a:pt x="7" y="117"/>
                  </a:cubicBezTo>
                  <a:cubicBezTo>
                    <a:pt x="3" y="117"/>
                    <a:pt x="3" y="117"/>
                    <a:pt x="3" y="117"/>
                  </a:cubicBezTo>
                  <a:cubicBezTo>
                    <a:pt x="3" y="121"/>
                    <a:pt x="3" y="121"/>
                    <a:pt x="3" y="121"/>
                  </a:cubicBezTo>
                  <a:cubicBezTo>
                    <a:pt x="1" y="120"/>
                    <a:pt x="1" y="120"/>
                    <a:pt x="1" y="120"/>
                  </a:cubicBezTo>
                  <a:cubicBezTo>
                    <a:pt x="1" y="123"/>
                    <a:pt x="1" y="123"/>
                    <a:pt x="1" y="123"/>
                  </a:cubicBezTo>
                  <a:cubicBezTo>
                    <a:pt x="1" y="124"/>
                    <a:pt x="0" y="131"/>
                    <a:pt x="1" y="134"/>
                  </a:cubicBezTo>
                  <a:cubicBezTo>
                    <a:pt x="2" y="137"/>
                    <a:pt x="1" y="151"/>
                    <a:pt x="1" y="153"/>
                  </a:cubicBezTo>
                  <a:cubicBezTo>
                    <a:pt x="2" y="159"/>
                    <a:pt x="2" y="159"/>
                    <a:pt x="2" y="159"/>
                  </a:cubicBezTo>
                  <a:cubicBezTo>
                    <a:pt x="2" y="165"/>
                    <a:pt x="2" y="165"/>
                    <a:pt x="2" y="165"/>
                  </a:cubicBezTo>
                  <a:cubicBezTo>
                    <a:pt x="9" y="192"/>
                    <a:pt x="9" y="192"/>
                    <a:pt x="9" y="192"/>
                  </a:cubicBezTo>
                  <a:cubicBezTo>
                    <a:pt x="9" y="218"/>
                    <a:pt x="9" y="218"/>
                    <a:pt x="9" y="218"/>
                  </a:cubicBezTo>
                  <a:cubicBezTo>
                    <a:pt x="13" y="225"/>
                    <a:pt x="13" y="225"/>
                    <a:pt x="13" y="225"/>
                  </a:cubicBezTo>
                  <a:cubicBezTo>
                    <a:pt x="14" y="226"/>
                    <a:pt x="14" y="226"/>
                    <a:pt x="14" y="226"/>
                  </a:cubicBezTo>
                  <a:cubicBezTo>
                    <a:pt x="22" y="215"/>
                    <a:pt x="22" y="215"/>
                    <a:pt x="22" y="215"/>
                  </a:cubicBezTo>
                  <a:cubicBezTo>
                    <a:pt x="26" y="207"/>
                    <a:pt x="26" y="207"/>
                    <a:pt x="26" y="207"/>
                  </a:cubicBezTo>
                  <a:cubicBezTo>
                    <a:pt x="30" y="199"/>
                    <a:pt x="30" y="199"/>
                    <a:pt x="30" y="199"/>
                  </a:cubicBezTo>
                  <a:cubicBezTo>
                    <a:pt x="38" y="199"/>
                    <a:pt x="38" y="199"/>
                    <a:pt x="38" y="199"/>
                  </a:cubicBezTo>
                  <a:cubicBezTo>
                    <a:pt x="42" y="203"/>
                    <a:pt x="42" y="203"/>
                    <a:pt x="42" y="203"/>
                  </a:cubicBezTo>
                  <a:cubicBezTo>
                    <a:pt x="46" y="199"/>
                    <a:pt x="46" y="199"/>
                    <a:pt x="46" y="199"/>
                  </a:cubicBezTo>
                  <a:cubicBezTo>
                    <a:pt x="46" y="195"/>
                    <a:pt x="46" y="195"/>
                    <a:pt x="46" y="195"/>
                  </a:cubicBezTo>
                  <a:cubicBezTo>
                    <a:pt x="50" y="195"/>
                    <a:pt x="50" y="195"/>
                    <a:pt x="50" y="195"/>
                  </a:cubicBezTo>
                  <a:cubicBezTo>
                    <a:pt x="50" y="199"/>
                    <a:pt x="50" y="199"/>
                    <a:pt x="50" y="199"/>
                  </a:cubicBezTo>
                  <a:cubicBezTo>
                    <a:pt x="54" y="199"/>
                    <a:pt x="54" y="199"/>
                    <a:pt x="54" y="199"/>
                  </a:cubicBezTo>
                  <a:cubicBezTo>
                    <a:pt x="57" y="195"/>
                    <a:pt x="57" y="195"/>
                    <a:pt x="57" y="195"/>
                  </a:cubicBezTo>
                  <a:cubicBezTo>
                    <a:pt x="57" y="191"/>
                    <a:pt x="57" y="191"/>
                    <a:pt x="57" y="191"/>
                  </a:cubicBezTo>
                  <a:cubicBezTo>
                    <a:pt x="61" y="187"/>
                    <a:pt x="61" y="187"/>
                    <a:pt x="61" y="187"/>
                  </a:cubicBezTo>
                  <a:cubicBezTo>
                    <a:pt x="65" y="191"/>
                    <a:pt x="65" y="191"/>
                    <a:pt x="65" y="191"/>
                  </a:cubicBezTo>
                  <a:cubicBezTo>
                    <a:pt x="69" y="184"/>
                    <a:pt x="69" y="184"/>
                    <a:pt x="69" y="184"/>
                  </a:cubicBezTo>
                  <a:cubicBezTo>
                    <a:pt x="69" y="180"/>
                    <a:pt x="69" y="180"/>
                    <a:pt x="69" y="180"/>
                  </a:cubicBezTo>
                  <a:cubicBezTo>
                    <a:pt x="73" y="172"/>
                    <a:pt x="73" y="172"/>
                    <a:pt x="73" y="172"/>
                  </a:cubicBezTo>
                  <a:cubicBezTo>
                    <a:pt x="73" y="168"/>
                    <a:pt x="73" y="168"/>
                    <a:pt x="73" y="168"/>
                  </a:cubicBezTo>
                  <a:cubicBezTo>
                    <a:pt x="77" y="164"/>
                    <a:pt x="77" y="164"/>
                    <a:pt x="77" y="164"/>
                  </a:cubicBezTo>
                  <a:cubicBezTo>
                    <a:pt x="81" y="164"/>
                    <a:pt x="81" y="164"/>
                    <a:pt x="81" y="164"/>
                  </a:cubicBezTo>
                  <a:cubicBezTo>
                    <a:pt x="85" y="168"/>
                    <a:pt x="85" y="168"/>
                    <a:pt x="85" y="168"/>
                  </a:cubicBezTo>
                  <a:cubicBezTo>
                    <a:pt x="85" y="172"/>
                    <a:pt x="85" y="172"/>
                    <a:pt x="85" y="172"/>
                  </a:cubicBezTo>
                  <a:cubicBezTo>
                    <a:pt x="89" y="172"/>
                    <a:pt x="89" y="172"/>
                    <a:pt x="89" y="172"/>
                  </a:cubicBezTo>
                  <a:cubicBezTo>
                    <a:pt x="93" y="172"/>
                    <a:pt x="93" y="172"/>
                    <a:pt x="93" y="172"/>
                  </a:cubicBezTo>
                  <a:cubicBezTo>
                    <a:pt x="97" y="176"/>
                    <a:pt x="97" y="176"/>
                    <a:pt x="97" y="176"/>
                  </a:cubicBezTo>
                  <a:cubicBezTo>
                    <a:pt x="100" y="176"/>
                    <a:pt x="100" y="176"/>
                    <a:pt x="100" y="176"/>
                  </a:cubicBezTo>
                  <a:cubicBezTo>
                    <a:pt x="104" y="172"/>
                    <a:pt x="104" y="172"/>
                    <a:pt x="104" y="172"/>
                  </a:cubicBezTo>
                  <a:cubicBezTo>
                    <a:pt x="108" y="168"/>
                    <a:pt x="108" y="168"/>
                    <a:pt x="108" y="168"/>
                  </a:cubicBezTo>
                  <a:cubicBezTo>
                    <a:pt x="112" y="168"/>
                    <a:pt x="112" y="168"/>
                    <a:pt x="112" y="168"/>
                  </a:cubicBezTo>
                  <a:cubicBezTo>
                    <a:pt x="116" y="164"/>
                    <a:pt x="116" y="164"/>
                    <a:pt x="116" y="164"/>
                  </a:cubicBezTo>
                  <a:cubicBezTo>
                    <a:pt x="120" y="160"/>
                    <a:pt x="120" y="160"/>
                    <a:pt x="120" y="160"/>
                  </a:cubicBezTo>
                  <a:cubicBezTo>
                    <a:pt x="132" y="160"/>
                    <a:pt x="132" y="160"/>
                    <a:pt x="132" y="160"/>
                  </a:cubicBezTo>
                  <a:cubicBezTo>
                    <a:pt x="132" y="156"/>
                    <a:pt x="132" y="156"/>
                    <a:pt x="132" y="156"/>
                  </a:cubicBezTo>
                  <a:cubicBezTo>
                    <a:pt x="139" y="156"/>
                    <a:pt x="139" y="156"/>
                    <a:pt x="139" y="156"/>
                  </a:cubicBezTo>
                  <a:cubicBezTo>
                    <a:pt x="139" y="152"/>
                    <a:pt x="139" y="152"/>
                    <a:pt x="139" y="152"/>
                  </a:cubicBezTo>
                  <a:cubicBezTo>
                    <a:pt x="147" y="152"/>
                    <a:pt x="147" y="152"/>
                    <a:pt x="147" y="152"/>
                  </a:cubicBezTo>
                  <a:cubicBezTo>
                    <a:pt x="151" y="148"/>
                    <a:pt x="151" y="148"/>
                    <a:pt x="151" y="148"/>
                  </a:cubicBezTo>
                  <a:cubicBezTo>
                    <a:pt x="151" y="145"/>
                    <a:pt x="151" y="145"/>
                    <a:pt x="151" y="145"/>
                  </a:cubicBezTo>
                  <a:cubicBezTo>
                    <a:pt x="147" y="145"/>
                    <a:pt x="147" y="145"/>
                    <a:pt x="147" y="145"/>
                  </a:cubicBezTo>
                  <a:lnTo>
                    <a:pt x="147" y="141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47" name="Louisiana">
              <a:extLst>
                <a:ext uri="{FF2B5EF4-FFF2-40B4-BE49-F238E27FC236}">
                  <a16:creationId xmlns:a16="http://schemas.microsoft.com/office/drawing/2014/main" id="{BCAFBE30-DBB6-4C80-B82D-C31BCDE37171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6773030" y="4033984"/>
              <a:ext cx="760682" cy="822540"/>
            </a:xfrm>
            <a:custGeom>
              <a:avLst/>
              <a:gdLst>
                <a:gd name="T0" fmla="*/ 145 w 192"/>
                <a:gd name="T1" fmla="*/ 144 h 208"/>
                <a:gd name="T2" fmla="*/ 150 w 192"/>
                <a:gd name="T3" fmla="*/ 133 h 208"/>
                <a:gd name="T4" fmla="*/ 148 w 192"/>
                <a:gd name="T5" fmla="*/ 120 h 208"/>
                <a:gd name="T6" fmla="*/ 144 w 192"/>
                <a:gd name="T7" fmla="*/ 117 h 208"/>
                <a:gd name="T8" fmla="*/ 149 w 192"/>
                <a:gd name="T9" fmla="*/ 103 h 208"/>
                <a:gd name="T10" fmla="*/ 148 w 192"/>
                <a:gd name="T11" fmla="*/ 95 h 208"/>
                <a:gd name="T12" fmla="*/ 89 w 192"/>
                <a:gd name="T13" fmla="*/ 71 h 208"/>
                <a:gd name="T14" fmla="*/ 103 w 192"/>
                <a:gd name="T15" fmla="*/ 0 h 208"/>
                <a:gd name="T16" fmla="*/ 103 w 192"/>
                <a:gd name="T17" fmla="*/ 0 h 208"/>
                <a:gd name="T18" fmla="*/ 0 w 192"/>
                <a:gd name="T19" fmla="*/ 36 h 208"/>
                <a:gd name="T20" fmla="*/ 4 w 192"/>
                <a:gd name="T21" fmla="*/ 87 h 208"/>
                <a:gd name="T22" fmla="*/ 5 w 192"/>
                <a:gd name="T23" fmla="*/ 93 h 208"/>
                <a:gd name="T24" fmla="*/ 16 w 192"/>
                <a:gd name="T25" fmla="*/ 103 h 208"/>
                <a:gd name="T26" fmla="*/ 16 w 192"/>
                <a:gd name="T27" fmla="*/ 104 h 208"/>
                <a:gd name="T28" fmla="*/ 22 w 192"/>
                <a:gd name="T29" fmla="*/ 118 h 208"/>
                <a:gd name="T30" fmla="*/ 20 w 192"/>
                <a:gd name="T31" fmla="*/ 136 h 208"/>
                <a:gd name="T32" fmla="*/ 20 w 192"/>
                <a:gd name="T33" fmla="*/ 141 h 208"/>
                <a:gd name="T34" fmla="*/ 20 w 192"/>
                <a:gd name="T35" fmla="*/ 145 h 208"/>
                <a:gd name="T36" fmla="*/ 19 w 192"/>
                <a:gd name="T37" fmla="*/ 150 h 208"/>
                <a:gd name="T38" fmla="*/ 18 w 192"/>
                <a:gd name="T39" fmla="*/ 150 h 208"/>
                <a:gd name="T40" fmla="*/ 17 w 192"/>
                <a:gd name="T41" fmla="*/ 154 h 208"/>
                <a:gd name="T42" fmla="*/ 16 w 192"/>
                <a:gd name="T43" fmla="*/ 155 h 208"/>
                <a:gd name="T44" fmla="*/ 13 w 192"/>
                <a:gd name="T45" fmla="*/ 159 h 208"/>
                <a:gd name="T46" fmla="*/ 12 w 192"/>
                <a:gd name="T47" fmla="*/ 159 h 208"/>
                <a:gd name="T48" fmla="*/ 9 w 192"/>
                <a:gd name="T49" fmla="*/ 162 h 208"/>
                <a:gd name="T50" fmla="*/ 10 w 192"/>
                <a:gd name="T51" fmla="*/ 163 h 208"/>
                <a:gd name="T52" fmla="*/ 10 w 192"/>
                <a:gd name="T53" fmla="*/ 163 h 208"/>
                <a:gd name="T54" fmla="*/ 0 w 192"/>
                <a:gd name="T55" fmla="*/ 168 h 208"/>
                <a:gd name="T56" fmla="*/ 32 w 192"/>
                <a:gd name="T57" fmla="*/ 173 h 208"/>
                <a:gd name="T58" fmla="*/ 75 w 192"/>
                <a:gd name="T59" fmla="*/ 181 h 208"/>
                <a:gd name="T60" fmla="*/ 79 w 192"/>
                <a:gd name="T61" fmla="*/ 173 h 208"/>
                <a:gd name="T62" fmla="*/ 98 w 192"/>
                <a:gd name="T63" fmla="*/ 181 h 208"/>
                <a:gd name="T64" fmla="*/ 106 w 192"/>
                <a:gd name="T65" fmla="*/ 185 h 208"/>
                <a:gd name="T66" fmla="*/ 121 w 192"/>
                <a:gd name="T67" fmla="*/ 197 h 208"/>
                <a:gd name="T68" fmla="*/ 129 w 192"/>
                <a:gd name="T69" fmla="*/ 201 h 208"/>
                <a:gd name="T70" fmla="*/ 141 w 192"/>
                <a:gd name="T71" fmla="*/ 201 h 208"/>
                <a:gd name="T72" fmla="*/ 153 w 192"/>
                <a:gd name="T73" fmla="*/ 201 h 208"/>
                <a:gd name="T74" fmla="*/ 160 w 192"/>
                <a:gd name="T75" fmla="*/ 189 h 208"/>
                <a:gd name="T76" fmla="*/ 168 w 192"/>
                <a:gd name="T77" fmla="*/ 193 h 208"/>
                <a:gd name="T78" fmla="*/ 184 w 192"/>
                <a:gd name="T79" fmla="*/ 208 h 208"/>
                <a:gd name="T80" fmla="*/ 192 w 192"/>
                <a:gd name="T81" fmla="*/ 201 h 208"/>
                <a:gd name="T82" fmla="*/ 180 w 192"/>
                <a:gd name="T83" fmla="*/ 189 h 208"/>
                <a:gd name="T84" fmla="*/ 172 w 192"/>
                <a:gd name="T85" fmla="*/ 181 h 208"/>
                <a:gd name="T86" fmla="*/ 184 w 192"/>
                <a:gd name="T87" fmla="*/ 169 h 208"/>
                <a:gd name="T88" fmla="*/ 184 w 192"/>
                <a:gd name="T89" fmla="*/ 158 h 208"/>
                <a:gd name="T90" fmla="*/ 172 w 192"/>
                <a:gd name="T91" fmla="*/ 165 h 208"/>
                <a:gd name="T92" fmla="*/ 168 w 192"/>
                <a:gd name="T93" fmla="*/ 158 h 208"/>
                <a:gd name="T94" fmla="*/ 160 w 192"/>
                <a:gd name="T95" fmla="*/ 158 h 208"/>
                <a:gd name="T96" fmla="*/ 149 w 192"/>
                <a:gd name="T97" fmla="*/ 162 h 208"/>
                <a:gd name="T98" fmla="*/ 145 w 192"/>
                <a:gd name="T99" fmla="*/ 150 h 208"/>
                <a:gd name="T100" fmla="*/ 146 w 192"/>
                <a:gd name="T101" fmla="*/ 149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2" h="208">
                  <a:moveTo>
                    <a:pt x="145" y="149"/>
                  </a:moveTo>
                  <a:cubicBezTo>
                    <a:pt x="145" y="144"/>
                    <a:pt x="145" y="144"/>
                    <a:pt x="145" y="144"/>
                  </a:cubicBezTo>
                  <a:cubicBezTo>
                    <a:pt x="147" y="144"/>
                    <a:pt x="150" y="143"/>
                    <a:pt x="150" y="141"/>
                  </a:cubicBezTo>
                  <a:cubicBezTo>
                    <a:pt x="150" y="133"/>
                    <a:pt x="150" y="133"/>
                    <a:pt x="150" y="133"/>
                  </a:cubicBezTo>
                  <a:cubicBezTo>
                    <a:pt x="152" y="120"/>
                    <a:pt x="152" y="120"/>
                    <a:pt x="152" y="120"/>
                  </a:cubicBezTo>
                  <a:cubicBezTo>
                    <a:pt x="148" y="120"/>
                    <a:pt x="148" y="120"/>
                    <a:pt x="148" y="120"/>
                  </a:cubicBezTo>
                  <a:cubicBezTo>
                    <a:pt x="148" y="117"/>
                    <a:pt x="148" y="117"/>
                    <a:pt x="148" y="117"/>
                  </a:cubicBezTo>
                  <a:cubicBezTo>
                    <a:pt x="144" y="117"/>
                    <a:pt x="144" y="117"/>
                    <a:pt x="144" y="117"/>
                  </a:cubicBezTo>
                  <a:cubicBezTo>
                    <a:pt x="144" y="105"/>
                    <a:pt x="144" y="105"/>
                    <a:pt x="144" y="105"/>
                  </a:cubicBezTo>
                  <a:cubicBezTo>
                    <a:pt x="145" y="105"/>
                    <a:pt x="148" y="105"/>
                    <a:pt x="149" y="103"/>
                  </a:cubicBezTo>
                  <a:cubicBezTo>
                    <a:pt x="150" y="102"/>
                    <a:pt x="150" y="101"/>
                    <a:pt x="149" y="100"/>
                  </a:cubicBezTo>
                  <a:cubicBezTo>
                    <a:pt x="148" y="95"/>
                    <a:pt x="148" y="95"/>
                    <a:pt x="148" y="95"/>
                  </a:cubicBezTo>
                  <a:cubicBezTo>
                    <a:pt x="89" y="95"/>
                    <a:pt x="89" y="95"/>
                    <a:pt x="89" y="95"/>
                  </a:cubicBezTo>
                  <a:cubicBezTo>
                    <a:pt x="89" y="71"/>
                    <a:pt x="89" y="71"/>
                    <a:pt x="89" y="71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4" y="87"/>
                    <a:pt x="4" y="87"/>
                    <a:pt x="4" y="87"/>
                  </a:cubicBezTo>
                  <a:cubicBezTo>
                    <a:pt x="4" y="90"/>
                    <a:pt x="4" y="92"/>
                    <a:pt x="5" y="93"/>
                  </a:cubicBezTo>
                  <a:cubicBezTo>
                    <a:pt x="5" y="93"/>
                    <a:pt x="5" y="93"/>
                    <a:pt x="5" y="93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5" y="101"/>
                    <a:pt x="16" y="102"/>
                    <a:pt x="16" y="103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20" y="111"/>
                    <a:pt x="20" y="111"/>
                    <a:pt x="20" y="111"/>
                  </a:cubicBezTo>
                  <a:cubicBezTo>
                    <a:pt x="23" y="115"/>
                    <a:pt x="23" y="116"/>
                    <a:pt x="22" y="118"/>
                  </a:cubicBezTo>
                  <a:cubicBezTo>
                    <a:pt x="21" y="120"/>
                    <a:pt x="20" y="122"/>
                    <a:pt x="20" y="125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0" y="139"/>
                    <a:pt x="20" y="141"/>
                    <a:pt x="20" y="141"/>
                  </a:cubicBezTo>
                  <a:cubicBezTo>
                    <a:pt x="20" y="141"/>
                    <a:pt x="20" y="141"/>
                    <a:pt x="20" y="141"/>
                  </a:cubicBezTo>
                  <a:cubicBezTo>
                    <a:pt x="20" y="142"/>
                    <a:pt x="20" y="142"/>
                    <a:pt x="20" y="142"/>
                  </a:cubicBezTo>
                  <a:cubicBezTo>
                    <a:pt x="20" y="143"/>
                    <a:pt x="20" y="144"/>
                    <a:pt x="20" y="145"/>
                  </a:cubicBezTo>
                  <a:cubicBezTo>
                    <a:pt x="19" y="147"/>
                    <a:pt x="19" y="149"/>
                    <a:pt x="19" y="149"/>
                  </a:cubicBezTo>
                  <a:cubicBezTo>
                    <a:pt x="19" y="150"/>
                    <a:pt x="19" y="150"/>
                    <a:pt x="19" y="150"/>
                  </a:cubicBezTo>
                  <a:cubicBezTo>
                    <a:pt x="19" y="150"/>
                    <a:pt x="19" y="150"/>
                    <a:pt x="19" y="150"/>
                  </a:cubicBezTo>
                  <a:cubicBezTo>
                    <a:pt x="18" y="150"/>
                    <a:pt x="18" y="150"/>
                    <a:pt x="18" y="150"/>
                  </a:cubicBezTo>
                  <a:cubicBezTo>
                    <a:pt x="18" y="150"/>
                    <a:pt x="18" y="150"/>
                    <a:pt x="18" y="150"/>
                  </a:cubicBezTo>
                  <a:cubicBezTo>
                    <a:pt x="17" y="154"/>
                    <a:pt x="17" y="154"/>
                    <a:pt x="17" y="154"/>
                  </a:cubicBezTo>
                  <a:cubicBezTo>
                    <a:pt x="17" y="154"/>
                    <a:pt x="17" y="154"/>
                    <a:pt x="17" y="154"/>
                  </a:cubicBezTo>
                  <a:cubicBezTo>
                    <a:pt x="16" y="155"/>
                    <a:pt x="16" y="155"/>
                    <a:pt x="16" y="155"/>
                  </a:cubicBezTo>
                  <a:cubicBezTo>
                    <a:pt x="16" y="155"/>
                    <a:pt x="15" y="155"/>
                    <a:pt x="15" y="156"/>
                  </a:cubicBezTo>
                  <a:cubicBezTo>
                    <a:pt x="14" y="158"/>
                    <a:pt x="13" y="159"/>
                    <a:pt x="13" y="159"/>
                  </a:cubicBezTo>
                  <a:cubicBezTo>
                    <a:pt x="13" y="159"/>
                    <a:pt x="13" y="159"/>
                    <a:pt x="13" y="159"/>
                  </a:cubicBezTo>
                  <a:cubicBezTo>
                    <a:pt x="12" y="159"/>
                    <a:pt x="12" y="159"/>
                    <a:pt x="12" y="159"/>
                  </a:cubicBezTo>
                  <a:cubicBezTo>
                    <a:pt x="12" y="159"/>
                    <a:pt x="12" y="160"/>
                    <a:pt x="11" y="161"/>
                  </a:cubicBezTo>
                  <a:cubicBezTo>
                    <a:pt x="9" y="162"/>
                    <a:pt x="9" y="162"/>
                    <a:pt x="9" y="162"/>
                  </a:cubicBezTo>
                  <a:cubicBezTo>
                    <a:pt x="10" y="163"/>
                    <a:pt x="10" y="163"/>
                    <a:pt x="10" y="163"/>
                  </a:cubicBezTo>
                  <a:cubicBezTo>
                    <a:pt x="10" y="163"/>
                    <a:pt x="10" y="163"/>
                    <a:pt x="10" y="163"/>
                  </a:cubicBezTo>
                  <a:cubicBezTo>
                    <a:pt x="10" y="163"/>
                    <a:pt x="10" y="163"/>
                    <a:pt x="10" y="163"/>
                  </a:cubicBezTo>
                  <a:cubicBezTo>
                    <a:pt x="10" y="163"/>
                    <a:pt x="10" y="163"/>
                    <a:pt x="10" y="163"/>
                  </a:cubicBezTo>
                  <a:cubicBezTo>
                    <a:pt x="9" y="165"/>
                    <a:pt x="6" y="167"/>
                    <a:pt x="1" y="168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32" y="173"/>
                    <a:pt x="32" y="173"/>
                    <a:pt x="32" y="173"/>
                  </a:cubicBezTo>
                  <a:cubicBezTo>
                    <a:pt x="71" y="185"/>
                    <a:pt x="71" y="185"/>
                    <a:pt x="71" y="185"/>
                  </a:cubicBezTo>
                  <a:cubicBezTo>
                    <a:pt x="75" y="181"/>
                    <a:pt x="75" y="181"/>
                    <a:pt x="75" y="181"/>
                  </a:cubicBezTo>
                  <a:cubicBezTo>
                    <a:pt x="75" y="177"/>
                    <a:pt x="75" y="177"/>
                    <a:pt x="75" y="177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6" y="173"/>
                    <a:pt x="86" y="173"/>
                    <a:pt x="86" y="173"/>
                  </a:cubicBezTo>
                  <a:cubicBezTo>
                    <a:pt x="98" y="181"/>
                    <a:pt x="98" y="181"/>
                    <a:pt x="98" y="181"/>
                  </a:cubicBezTo>
                  <a:cubicBezTo>
                    <a:pt x="102" y="185"/>
                    <a:pt x="102" y="185"/>
                    <a:pt x="102" y="185"/>
                  </a:cubicBezTo>
                  <a:cubicBezTo>
                    <a:pt x="106" y="185"/>
                    <a:pt x="106" y="185"/>
                    <a:pt x="106" y="185"/>
                  </a:cubicBezTo>
                  <a:cubicBezTo>
                    <a:pt x="114" y="197"/>
                    <a:pt x="114" y="197"/>
                    <a:pt x="114" y="197"/>
                  </a:cubicBezTo>
                  <a:cubicBezTo>
                    <a:pt x="121" y="197"/>
                    <a:pt x="121" y="197"/>
                    <a:pt x="121" y="197"/>
                  </a:cubicBezTo>
                  <a:cubicBezTo>
                    <a:pt x="125" y="201"/>
                    <a:pt x="125" y="201"/>
                    <a:pt x="125" y="201"/>
                  </a:cubicBezTo>
                  <a:cubicBezTo>
                    <a:pt x="129" y="201"/>
                    <a:pt x="129" y="201"/>
                    <a:pt x="129" y="201"/>
                  </a:cubicBezTo>
                  <a:cubicBezTo>
                    <a:pt x="137" y="197"/>
                    <a:pt x="137" y="197"/>
                    <a:pt x="137" y="197"/>
                  </a:cubicBezTo>
                  <a:cubicBezTo>
                    <a:pt x="141" y="201"/>
                    <a:pt x="141" y="201"/>
                    <a:pt x="141" y="201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53" y="201"/>
                    <a:pt x="153" y="201"/>
                    <a:pt x="153" y="201"/>
                  </a:cubicBezTo>
                  <a:cubicBezTo>
                    <a:pt x="160" y="193"/>
                    <a:pt x="160" y="193"/>
                    <a:pt x="160" y="193"/>
                  </a:cubicBezTo>
                  <a:cubicBezTo>
                    <a:pt x="160" y="189"/>
                    <a:pt x="160" y="189"/>
                    <a:pt x="160" y="189"/>
                  </a:cubicBezTo>
                  <a:cubicBezTo>
                    <a:pt x="164" y="189"/>
                    <a:pt x="164" y="189"/>
                    <a:pt x="164" y="189"/>
                  </a:cubicBezTo>
                  <a:cubicBezTo>
                    <a:pt x="168" y="193"/>
                    <a:pt x="168" y="193"/>
                    <a:pt x="168" y="193"/>
                  </a:cubicBezTo>
                  <a:cubicBezTo>
                    <a:pt x="176" y="197"/>
                    <a:pt x="176" y="197"/>
                    <a:pt x="176" y="197"/>
                  </a:cubicBezTo>
                  <a:cubicBezTo>
                    <a:pt x="184" y="208"/>
                    <a:pt x="184" y="208"/>
                    <a:pt x="184" y="208"/>
                  </a:cubicBezTo>
                  <a:cubicBezTo>
                    <a:pt x="192" y="205"/>
                    <a:pt x="192" y="205"/>
                    <a:pt x="192" y="205"/>
                  </a:cubicBezTo>
                  <a:cubicBezTo>
                    <a:pt x="192" y="201"/>
                    <a:pt x="192" y="201"/>
                    <a:pt x="192" y="201"/>
                  </a:cubicBezTo>
                  <a:cubicBezTo>
                    <a:pt x="192" y="197"/>
                    <a:pt x="192" y="197"/>
                    <a:pt x="192" y="197"/>
                  </a:cubicBezTo>
                  <a:cubicBezTo>
                    <a:pt x="180" y="189"/>
                    <a:pt x="180" y="189"/>
                    <a:pt x="180" y="189"/>
                  </a:cubicBezTo>
                  <a:cubicBezTo>
                    <a:pt x="172" y="185"/>
                    <a:pt x="172" y="185"/>
                    <a:pt x="172" y="185"/>
                  </a:cubicBezTo>
                  <a:cubicBezTo>
                    <a:pt x="172" y="181"/>
                    <a:pt x="172" y="181"/>
                    <a:pt x="172" y="181"/>
                  </a:cubicBezTo>
                  <a:cubicBezTo>
                    <a:pt x="176" y="177"/>
                    <a:pt x="176" y="177"/>
                    <a:pt x="176" y="177"/>
                  </a:cubicBezTo>
                  <a:cubicBezTo>
                    <a:pt x="184" y="169"/>
                    <a:pt x="184" y="169"/>
                    <a:pt x="184" y="169"/>
                  </a:cubicBezTo>
                  <a:cubicBezTo>
                    <a:pt x="188" y="162"/>
                    <a:pt x="188" y="162"/>
                    <a:pt x="188" y="162"/>
                  </a:cubicBezTo>
                  <a:cubicBezTo>
                    <a:pt x="184" y="158"/>
                    <a:pt x="184" y="158"/>
                    <a:pt x="184" y="158"/>
                  </a:cubicBezTo>
                  <a:cubicBezTo>
                    <a:pt x="176" y="162"/>
                    <a:pt x="176" y="162"/>
                    <a:pt x="176" y="162"/>
                  </a:cubicBezTo>
                  <a:cubicBezTo>
                    <a:pt x="172" y="165"/>
                    <a:pt x="172" y="165"/>
                    <a:pt x="172" y="165"/>
                  </a:cubicBezTo>
                  <a:cubicBezTo>
                    <a:pt x="168" y="165"/>
                    <a:pt x="168" y="165"/>
                    <a:pt x="168" y="165"/>
                  </a:cubicBezTo>
                  <a:cubicBezTo>
                    <a:pt x="168" y="158"/>
                    <a:pt x="168" y="158"/>
                    <a:pt x="168" y="158"/>
                  </a:cubicBezTo>
                  <a:cubicBezTo>
                    <a:pt x="164" y="158"/>
                    <a:pt x="164" y="158"/>
                    <a:pt x="164" y="158"/>
                  </a:cubicBezTo>
                  <a:cubicBezTo>
                    <a:pt x="160" y="158"/>
                    <a:pt x="160" y="158"/>
                    <a:pt x="160" y="158"/>
                  </a:cubicBezTo>
                  <a:cubicBezTo>
                    <a:pt x="157" y="162"/>
                    <a:pt x="157" y="162"/>
                    <a:pt x="157" y="162"/>
                  </a:cubicBezTo>
                  <a:cubicBezTo>
                    <a:pt x="149" y="162"/>
                    <a:pt x="149" y="162"/>
                    <a:pt x="149" y="162"/>
                  </a:cubicBezTo>
                  <a:cubicBezTo>
                    <a:pt x="145" y="158"/>
                    <a:pt x="145" y="158"/>
                    <a:pt x="145" y="158"/>
                  </a:cubicBezTo>
                  <a:cubicBezTo>
                    <a:pt x="145" y="150"/>
                    <a:pt x="145" y="150"/>
                    <a:pt x="145" y="150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46" y="149"/>
                    <a:pt x="146" y="149"/>
                    <a:pt x="146" y="149"/>
                  </a:cubicBezTo>
                  <a:lnTo>
                    <a:pt x="145" y="149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48" name="Kentucky">
              <a:extLst>
                <a:ext uri="{FF2B5EF4-FFF2-40B4-BE49-F238E27FC236}">
                  <a16:creationId xmlns:a16="http://schemas.microsoft.com/office/drawing/2014/main" id="{689C7F0C-50FC-4E66-B26A-B62268C97F1F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7461823" y="2955654"/>
              <a:ext cx="1138515" cy="424644"/>
            </a:xfrm>
            <a:custGeom>
              <a:avLst/>
              <a:gdLst>
                <a:gd name="T0" fmla="*/ 284 w 288"/>
                <a:gd name="T1" fmla="*/ 65 h 107"/>
                <a:gd name="T2" fmla="*/ 282 w 288"/>
                <a:gd name="T3" fmla="*/ 65 h 107"/>
                <a:gd name="T4" fmla="*/ 279 w 288"/>
                <a:gd name="T5" fmla="*/ 64 h 107"/>
                <a:gd name="T6" fmla="*/ 272 w 288"/>
                <a:gd name="T7" fmla="*/ 58 h 107"/>
                <a:gd name="T8" fmla="*/ 270 w 288"/>
                <a:gd name="T9" fmla="*/ 51 h 107"/>
                <a:gd name="T10" fmla="*/ 271 w 288"/>
                <a:gd name="T11" fmla="*/ 42 h 107"/>
                <a:gd name="T12" fmla="*/ 274 w 288"/>
                <a:gd name="T13" fmla="*/ 32 h 107"/>
                <a:gd name="T14" fmla="*/ 272 w 288"/>
                <a:gd name="T15" fmla="*/ 28 h 107"/>
                <a:gd name="T16" fmla="*/ 252 w 288"/>
                <a:gd name="T17" fmla="*/ 21 h 107"/>
                <a:gd name="T18" fmla="*/ 240 w 288"/>
                <a:gd name="T19" fmla="*/ 17 h 107"/>
                <a:gd name="T20" fmla="*/ 232 w 288"/>
                <a:gd name="T21" fmla="*/ 18 h 107"/>
                <a:gd name="T22" fmla="*/ 203 w 288"/>
                <a:gd name="T23" fmla="*/ 12 h 107"/>
                <a:gd name="T24" fmla="*/ 193 w 288"/>
                <a:gd name="T25" fmla="*/ 0 h 107"/>
                <a:gd name="T26" fmla="*/ 183 w 288"/>
                <a:gd name="T27" fmla="*/ 0 h 107"/>
                <a:gd name="T28" fmla="*/ 171 w 288"/>
                <a:gd name="T29" fmla="*/ 5 h 107"/>
                <a:gd name="T30" fmla="*/ 171 w 288"/>
                <a:gd name="T31" fmla="*/ 5 h 107"/>
                <a:gd name="T32" fmla="*/ 158 w 288"/>
                <a:gd name="T33" fmla="*/ 18 h 107"/>
                <a:gd name="T34" fmla="*/ 151 w 288"/>
                <a:gd name="T35" fmla="*/ 25 h 107"/>
                <a:gd name="T36" fmla="*/ 133 w 288"/>
                <a:gd name="T37" fmla="*/ 35 h 107"/>
                <a:gd name="T38" fmla="*/ 136 w 288"/>
                <a:gd name="T39" fmla="*/ 40 h 107"/>
                <a:gd name="T40" fmla="*/ 136 w 288"/>
                <a:gd name="T41" fmla="*/ 47 h 107"/>
                <a:gd name="T42" fmla="*/ 129 w 288"/>
                <a:gd name="T43" fmla="*/ 46 h 107"/>
                <a:gd name="T44" fmla="*/ 122 w 288"/>
                <a:gd name="T45" fmla="*/ 40 h 107"/>
                <a:gd name="T46" fmla="*/ 121 w 288"/>
                <a:gd name="T47" fmla="*/ 41 h 107"/>
                <a:gd name="T48" fmla="*/ 108 w 288"/>
                <a:gd name="T49" fmla="*/ 47 h 107"/>
                <a:gd name="T50" fmla="*/ 103 w 288"/>
                <a:gd name="T51" fmla="*/ 47 h 107"/>
                <a:gd name="T52" fmla="*/ 94 w 288"/>
                <a:gd name="T53" fmla="*/ 47 h 107"/>
                <a:gd name="T54" fmla="*/ 88 w 288"/>
                <a:gd name="T55" fmla="*/ 48 h 107"/>
                <a:gd name="T56" fmla="*/ 78 w 288"/>
                <a:gd name="T57" fmla="*/ 47 h 107"/>
                <a:gd name="T58" fmla="*/ 68 w 288"/>
                <a:gd name="T59" fmla="*/ 41 h 107"/>
                <a:gd name="T60" fmla="*/ 62 w 288"/>
                <a:gd name="T61" fmla="*/ 48 h 107"/>
                <a:gd name="T62" fmla="*/ 63 w 288"/>
                <a:gd name="T63" fmla="*/ 49 h 107"/>
                <a:gd name="T64" fmla="*/ 60 w 288"/>
                <a:gd name="T65" fmla="*/ 54 h 107"/>
                <a:gd name="T66" fmla="*/ 56 w 288"/>
                <a:gd name="T67" fmla="*/ 51 h 107"/>
                <a:gd name="T68" fmla="*/ 41 w 288"/>
                <a:gd name="T69" fmla="*/ 51 h 107"/>
                <a:gd name="T70" fmla="*/ 33 w 288"/>
                <a:gd name="T71" fmla="*/ 53 h 107"/>
                <a:gd name="T72" fmla="*/ 22 w 288"/>
                <a:gd name="T73" fmla="*/ 63 h 107"/>
                <a:gd name="T74" fmla="*/ 12 w 288"/>
                <a:gd name="T75" fmla="*/ 63 h 107"/>
                <a:gd name="T76" fmla="*/ 8 w 288"/>
                <a:gd name="T77" fmla="*/ 92 h 107"/>
                <a:gd name="T78" fmla="*/ 0 w 288"/>
                <a:gd name="T79" fmla="*/ 106 h 107"/>
                <a:gd name="T80" fmla="*/ 56 w 288"/>
                <a:gd name="T81" fmla="*/ 107 h 107"/>
                <a:gd name="T82" fmla="*/ 264 w 288"/>
                <a:gd name="T83" fmla="*/ 94 h 107"/>
                <a:gd name="T84" fmla="*/ 265 w 288"/>
                <a:gd name="T85" fmla="*/ 94 h 107"/>
                <a:gd name="T86" fmla="*/ 271 w 288"/>
                <a:gd name="T87" fmla="*/ 90 h 107"/>
                <a:gd name="T88" fmla="*/ 288 w 288"/>
                <a:gd name="T89" fmla="*/ 81 h 107"/>
                <a:gd name="T90" fmla="*/ 288 w 288"/>
                <a:gd name="T91" fmla="*/ 76 h 107"/>
                <a:gd name="T92" fmla="*/ 288 w 288"/>
                <a:gd name="T93" fmla="*/ 71 h 107"/>
                <a:gd name="T94" fmla="*/ 286 w 288"/>
                <a:gd name="T95" fmla="*/ 68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8" h="107">
                  <a:moveTo>
                    <a:pt x="286" y="68"/>
                  </a:moveTo>
                  <a:cubicBezTo>
                    <a:pt x="285" y="67"/>
                    <a:pt x="284" y="66"/>
                    <a:pt x="284" y="65"/>
                  </a:cubicBezTo>
                  <a:cubicBezTo>
                    <a:pt x="283" y="64"/>
                    <a:pt x="283" y="64"/>
                    <a:pt x="283" y="64"/>
                  </a:cubicBezTo>
                  <a:cubicBezTo>
                    <a:pt x="282" y="65"/>
                    <a:pt x="282" y="65"/>
                    <a:pt x="282" y="65"/>
                  </a:cubicBezTo>
                  <a:cubicBezTo>
                    <a:pt x="281" y="65"/>
                    <a:pt x="281" y="65"/>
                    <a:pt x="281" y="65"/>
                  </a:cubicBezTo>
                  <a:cubicBezTo>
                    <a:pt x="280" y="65"/>
                    <a:pt x="279" y="65"/>
                    <a:pt x="279" y="64"/>
                  </a:cubicBezTo>
                  <a:cubicBezTo>
                    <a:pt x="277" y="62"/>
                    <a:pt x="276" y="61"/>
                    <a:pt x="275" y="60"/>
                  </a:cubicBezTo>
                  <a:cubicBezTo>
                    <a:pt x="274" y="59"/>
                    <a:pt x="273" y="59"/>
                    <a:pt x="272" y="58"/>
                  </a:cubicBezTo>
                  <a:cubicBezTo>
                    <a:pt x="271" y="56"/>
                    <a:pt x="271" y="56"/>
                    <a:pt x="271" y="56"/>
                  </a:cubicBezTo>
                  <a:cubicBezTo>
                    <a:pt x="270" y="51"/>
                    <a:pt x="270" y="51"/>
                    <a:pt x="270" y="51"/>
                  </a:cubicBezTo>
                  <a:cubicBezTo>
                    <a:pt x="270" y="50"/>
                    <a:pt x="270" y="50"/>
                    <a:pt x="270" y="49"/>
                  </a:cubicBezTo>
                  <a:cubicBezTo>
                    <a:pt x="270" y="47"/>
                    <a:pt x="271" y="44"/>
                    <a:pt x="271" y="42"/>
                  </a:cubicBezTo>
                  <a:cubicBezTo>
                    <a:pt x="271" y="41"/>
                    <a:pt x="271" y="39"/>
                    <a:pt x="272" y="36"/>
                  </a:cubicBezTo>
                  <a:cubicBezTo>
                    <a:pt x="274" y="32"/>
                    <a:pt x="274" y="32"/>
                    <a:pt x="274" y="32"/>
                  </a:cubicBezTo>
                  <a:cubicBezTo>
                    <a:pt x="274" y="30"/>
                    <a:pt x="274" y="30"/>
                    <a:pt x="274" y="30"/>
                  </a:cubicBezTo>
                  <a:cubicBezTo>
                    <a:pt x="272" y="28"/>
                    <a:pt x="272" y="28"/>
                    <a:pt x="272" y="28"/>
                  </a:cubicBezTo>
                  <a:cubicBezTo>
                    <a:pt x="265" y="21"/>
                    <a:pt x="265" y="21"/>
                    <a:pt x="265" y="21"/>
                  </a:cubicBezTo>
                  <a:cubicBezTo>
                    <a:pt x="252" y="21"/>
                    <a:pt x="252" y="21"/>
                    <a:pt x="252" y="21"/>
                  </a:cubicBezTo>
                  <a:cubicBezTo>
                    <a:pt x="252" y="21"/>
                    <a:pt x="246" y="21"/>
                    <a:pt x="243" y="18"/>
                  </a:cubicBezTo>
                  <a:cubicBezTo>
                    <a:pt x="242" y="18"/>
                    <a:pt x="241" y="17"/>
                    <a:pt x="240" y="17"/>
                  </a:cubicBezTo>
                  <a:cubicBezTo>
                    <a:pt x="237" y="17"/>
                    <a:pt x="235" y="18"/>
                    <a:pt x="235" y="18"/>
                  </a:cubicBezTo>
                  <a:cubicBezTo>
                    <a:pt x="232" y="18"/>
                    <a:pt x="232" y="18"/>
                    <a:pt x="232" y="18"/>
                  </a:cubicBezTo>
                  <a:cubicBezTo>
                    <a:pt x="229" y="18"/>
                    <a:pt x="228" y="13"/>
                    <a:pt x="227" y="12"/>
                  </a:cubicBezTo>
                  <a:cubicBezTo>
                    <a:pt x="203" y="12"/>
                    <a:pt x="203" y="12"/>
                    <a:pt x="203" y="12"/>
                  </a:cubicBezTo>
                  <a:cubicBezTo>
                    <a:pt x="198" y="6"/>
                    <a:pt x="198" y="6"/>
                    <a:pt x="198" y="6"/>
                  </a:cubicBezTo>
                  <a:cubicBezTo>
                    <a:pt x="193" y="0"/>
                    <a:pt x="193" y="0"/>
                    <a:pt x="193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78" y="5"/>
                    <a:pt x="178" y="5"/>
                    <a:pt x="178" y="5"/>
                  </a:cubicBezTo>
                  <a:cubicBezTo>
                    <a:pt x="171" y="5"/>
                    <a:pt x="171" y="5"/>
                    <a:pt x="171" y="5"/>
                  </a:cubicBezTo>
                  <a:cubicBezTo>
                    <a:pt x="171" y="5"/>
                    <a:pt x="171" y="5"/>
                    <a:pt x="171" y="5"/>
                  </a:cubicBezTo>
                  <a:cubicBezTo>
                    <a:pt x="171" y="5"/>
                    <a:pt x="171" y="5"/>
                    <a:pt x="171" y="5"/>
                  </a:cubicBezTo>
                  <a:cubicBezTo>
                    <a:pt x="171" y="5"/>
                    <a:pt x="165" y="9"/>
                    <a:pt x="161" y="9"/>
                  </a:cubicBezTo>
                  <a:cubicBezTo>
                    <a:pt x="157" y="10"/>
                    <a:pt x="158" y="17"/>
                    <a:pt x="158" y="18"/>
                  </a:cubicBezTo>
                  <a:cubicBezTo>
                    <a:pt x="158" y="19"/>
                    <a:pt x="158" y="19"/>
                    <a:pt x="158" y="19"/>
                  </a:cubicBezTo>
                  <a:cubicBezTo>
                    <a:pt x="151" y="25"/>
                    <a:pt x="151" y="25"/>
                    <a:pt x="151" y="25"/>
                  </a:cubicBezTo>
                  <a:cubicBezTo>
                    <a:pt x="151" y="25"/>
                    <a:pt x="144" y="30"/>
                    <a:pt x="136" y="33"/>
                  </a:cubicBezTo>
                  <a:cubicBezTo>
                    <a:pt x="134" y="34"/>
                    <a:pt x="133" y="35"/>
                    <a:pt x="133" y="35"/>
                  </a:cubicBezTo>
                  <a:cubicBezTo>
                    <a:pt x="134" y="36"/>
                    <a:pt x="134" y="36"/>
                    <a:pt x="134" y="36"/>
                  </a:cubicBezTo>
                  <a:cubicBezTo>
                    <a:pt x="136" y="37"/>
                    <a:pt x="137" y="38"/>
                    <a:pt x="136" y="40"/>
                  </a:cubicBezTo>
                  <a:cubicBezTo>
                    <a:pt x="135" y="42"/>
                    <a:pt x="135" y="44"/>
                    <a:pt x="136" y="45"/>
                  </a:cubicBezTo>
                  <a:cubicBezTo>
                    <a:pt x="136" y="47"/>
                    <a:pt x="136" y="47"/>
                    <a:pt x="136" y="47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8" y="45"/>
                    <a:pt x="126" y="42"/>
                    <a:pt x="124" y="41"/>
                  </a:cubicBezTo>
                  <a:cubicBezTo>
                    <a:pt x="123" y="40"/>
                    <a:pt x="123" y="40"/>
                    <a:pt x="122" y="40"/>
                  </a:cubicBezTo>
                  <a:cubicBezTo>
                    <a:pt x="122" y="40"/>
                    <a:pt x="121" y="40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08" y="47"/>
                    <a:pt x="108" y="47"/>
                    <a:pt x="108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1" y="47"/>
                    <a:pt x="98" y="47"/>
                  </a:cubicBezTo>
                  <a:cubicBezTo>
                    <a:pt x="97" y="47"/>
                    <a:pt x="95" y="47"/>
                    <a:pt x="94" y="47"/>
                  </a:cubicBezTo>
                  <a:cubicBezTo>
                    <a:pt x="92" y="48"/>
                    <a:pt x="91" y="48"/>
                    <a:pt x="91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89" y="47"/>
                    <a:pt x="89" y="47"/>
                    <a:pt x="89" y="4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3" y="47"/>
                    <a:pt x="63" y="47"/>
                    <a:pt x="62" y="48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3" y="49"/>
                    <a:pt x="63" y="49"/>
                    <a:pt x="63" y="49"/>
                  </a:cubicBezTo>
                  <a:cubicBezTo>
                    <a:pt x="63" y="49"/>
                    <a:pt x="63" y="50"/>
                    <a:pt x="62" y="51"/>
                  </a:cubicBezTo>
                  <a:cubicBezTo>
                    <a:pt x="62" y="53"/>
                    <a:pt x="61" y="54"/>
                    <a:pt x="60" y="54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58" y="54"/>
                    <a:pt x="56" y="52"/>
                    <a:pt x="56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37" y="52"/>
                    <a:pt x="34" y="53"/>
                    <a:pt x="33" y="53"/>
                  </a:cubicBezTo>
                  <a:cubicBezTo>
                    <a:pt x="26" y="58"/>
                    <a:pt x="26" y="58"/>
                    <a:pt x="26" y="58"/>
                  </a:cubicBezTo>
                  <a:cubicBezTo>
                    <a:pt x="22" y="63"/>
                    <a:pt x="22" y="63"/>
                    <a:pt x="22" y="63"/>
                  </a:cubicBezTo>
                  <a:cubicBezTo>
                    <a:pt x="12" y="63"/>
                    <a:pt x="12" y="63"/>
                    <a:pt x="12" y="63"/>
                  </a:cubicBezTo>
                  <a:cubicBezTo>
                    <a:pt x="12" y="63"/>
                    <a:pt x="12" y="63"/>
                    <a:pt x="12" y="63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7" y="85"/>
                    <a:pt x="9" y="91"/>
                    <a:pt x="8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56" y="107"/>
                    <a:pt x="56" y="107"/>
                    <a:pt x="56" y="107"/>
                  </a:cubicBezTo>
                  <a:cubicBezTo>
                    <a:pt x="56" y="94"/>
                    <a:pt x="56" y="94"/>
                    <a:pt x="56" y="94"/>
                  </a:cubicBezTo>
                  <a:cubicBezTo>
                    <a:pt x="264" y="94"/>
                    <a:pt x="264" y="94"/>
                    <a:pt x="264" y="94"/>
                  </a:cubicBezTo>
                  <a:cubicBezTo>
                    <a:pt x="265" y="94"/>
                    <a:pt x="265" y="94"/>
                    <a:pt x="265" y="94"/>
                  </a:cubicBezTo>
                  <a:cubicBezTo>
                    <a:pt x="265" y="94"/>
                    <a:pt x="265" y="94"/>
                    <a:pt x="265" y="94"/>
                  </a:cubicBezTo>
                  <a:cubicBezTo>
                    <a:pt x="267" y="93"/>
                    <a:pt x="267" y="93"/>
                    <a:pt x="267" y="93"/>
                  </a:cubicBezTo>
                  <a:cubicBezTo>
                    <a:pt x="268" y="92"/>
                    <a:pt x="270" y="90"/>
                    <a:pt x="271" y="90"/>
                  </a:cubicBezTo>
                  <a:cubicBezTo>
                    <a:pt x="274" y="88"/>
                    <a:pt x="277" y="86"/>
                    <a:pt x="278" y="85"/>
                  </a:cubicBezTo>
                  <a:cubicBezTo>
                    <a:pt x="288" y="81"/>
                    <a:pt x="288" y="81"/>
                    <a:pt x="288" y="81"/>
                  </a:cubicBezTo>
                  <a:cubicBezTo>
                    <a:pt x="287" y="80"/>
                    <a:pt x="287" y="80"/>
                    <a:pt x="287" y="80"/>
                  </a:cubicBezTo>
                  <a:cubicBezTo>
                    <a:pt x="287" y="79"/>
                    <a:pt x="287" y="77"/>
                    <a:pt x="288" y="76"/>
                  </a:cubicBezTo>
                  <a:cubicBezTo>
                    <a:pt x="288" y="74"/>
                    <a:pt x="288" y="74"/>
                    <a:pt x="288" y="73"/>
                  </a:cubicBezTo>
                  <a:cubicBezTo>
                    <a:pt x="288" y="72"/>
                    <a:pt x="288" y="72"/>
                    <a:pt x="288" y="71"/>
                  </a:cubicBezTo>
                  <a:cubicBezTo>
                    <a:pt x="288" y="71"/>
                    <a:pt x="288" y="71"/>
                    <a:pt x="288" y="71"/>
                  </a:cubicBezTo>
                  <a:cubicBezTo>
                    <a:pt x="288" y="70"/>
                    <a:pt x="287" y="69"/>
                    <a:pt x="286" y="68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49" name="Kansas">
              <a:extLst>
                <a:ext uri="{FF2B5EF4-FFF2-40B4-BE49-F238E27FC236}">
                  <a16:creationId xmlns:a16="http://schemas.microsoft.com/office/drawing/2014/main" id="{75B3637F-EA5D-4234-AD5D-B162D28EF4EF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5564297" y="2616273"/>
              <a:ext cx="1126813" cy="573437"/>
            </a:xfrm>
            <a:custGeom>
              <a:avLst/>
              <a:gdLst>
                <a:gd name="T0" fmla="*/ 285 w 285"/>
                <a:gd name="T1" fmla="*/ 144 h 145"/>
                <a:gd name="T2" fmla="*/ 285 w 285"/>
                <a:gd name="T3" fmla="*/ 54 h 145"/>
                <a:gd name="T4" fmla="*/ 285 w 285"/>
                <a:gd name="T5" fmla="*/ 53 h 145"/>
                <a:gd name="T6" fmla="*/ 282 w 285"/>
                <a:gd name="T7" fmla="*/ 50 h 145"/>
                <a:gd name="T8" fmla="*/ 273 w 285"/>
                <a:gd name="T9" fmla="*/ 42 h 145"/>
                <a:gd name="T10" fmla="*/ 273 w 285"/>
                <a:gd name="T11" fmla="*/ 35 h 145"/>
                <a:gd name="T12" fmla="*/ 270 w 285"/>
                <a:gd name="T13" fmla="*/ 35 h 145"/>
                <a:gd name="T14" fmla="*/ 269 w 285"/>
                <a:gd name="T15" fmla="*/ 16 h 145"/>
                <a:gd name="T16" fmla="*/ 269 w 285"/>
                <a:gd name="T17" fmla="*/ 15 h 145"/>
                <a:gd name="T18" fmla="*/ 269 w 285"/>
                <a:gd name="T19" fmla="*/ 15 h 145"/>
                <a:gd name="T20" fmla="*/ 269 w 285"/>
                <a:gd name="T21" fmla="*/ 15 h 145"/>
                <a:gd name="T22" fmla="*/ 269 w 285"/>
                <a:gd name="T23" fmla="*/ 15 h 145"/>
                <a:gd name="T24" fmla="*/ 265 w 285"/>
                <a:gd name="T25" fmla="*/ 13 h 145"/>
                <a:gd name="T26" fmla="*/ 261 w 285"/>
                <a:gd name="T27" fmla="*/ 13 h 145"/>
                <a:gd name="T28" fmla="*/ 256 w 285"/>
                <a:gd name="T29" fmla="*/ 13 h 145"/>
                <a:gd name="T30" fmla="*/ 256 w 285"/>
                <a:gd name="T31" fmla="*/ 7 h 145"/>
                <a:gd name="T32" fmla="*/ 251 w 285"/>
                <a:gd name="T33" fmla="*/ 0 h 145"/>
                <a:gd name="T34" fmla="*/ 251 w 285"/>
                <a:gd name="T35" fmla="*/ 0 h 145"/>
                <a:gd name="T36" fmla="*/ 1 w 285"/>
                <a:gd name="T37" fmla="*/ 0 h 145"/>
                <a:gd name="T38" fmla="*/ 0 w 285"/>
                <a:gd name="T39" fmla="*/ 0 h 145"/>
                <a:gd name="T40" fmla="*/ 0 w 285"/>
                <a:gd name="T41" fmla="*/ 1 h 145"/>
                <a:gd name="T42" fmla="*/ 0 w 285"/>
                <a:gd name="T43" fmla="*/ 145 h 145"/>
                <a:gd name="T44" fmla="*/ 1 w 285"/>
                <a:gd name="T45" fmla="*/ 145 h 145"/>
                <a:gd name="T46" fmla="*/ 285 w 285"/>
                <a:gd name="T47" fmla="*/ 145 h 145"/>
                <a:gd name="T48" fmla="*/ 285 w 285"/>
                <a:gd name="T49" fmla="*/ 145 h 145"/>
                <a:gd name="T50" fmla="*/ 285 w 285"/>
                <a:gd name="T51" fmla="*/ 144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5" h="145">
                  <a:moveTo>
                    <a:pt x="285" y="144"/>
                  </a:moveTo>
                  <a:cubicBezTo>
                    <a:pt x="285" y="54"/>
                    <a:pt x="285" y="54"/>
                    <a:pt x="285" y="54"/>
                  </a:cubicBezTo>
                  <a:cubicBezTo>
                    <a:pt x="285" y="53"/>
                    <a:pt x="285" y="53"/>
                    <a:pt x="285" y="53"/>
                  </a:cubicBezTo>
                  <a:cubicBezTo>
                    <a:pt x="284" y="53"/>
                    <a:pt x="283" y="52"/>
                    <a:pt x="282" y="50"/>
                  </a:cubicBezTo>
                  <a:cubicBezTo>
                    <a:pt x="273" y="42"/>
                    <a:pt x="273" y="42"/>
                    <a:pt x="273" y="42"/>
                  </a:cubicBezTo>
                  <a:cubicBezTo>
                    <a:pt x="273" y="35"/>
                    <a:pt x="273" y="35"/>
                    <a:pt x="273" y="35"/>
                  </a:cubicBezTo>
                  <a:cubicBezTo>
                    <a:pt x="270" y="35"/>
                    <a:pt x="270" y="35"/>
                    <a:pt x="270" y="35"/>
                  </a:cubicBezTo>
                  <a:cubicBezTo>
                    <a:pt x="269" y="16"/>
                    <a:pt x="269" y="16"/>
                    <a:pt x="269" y="16"/>
                  </a:cubicBezTo>
                  <a:cubicBezTo>
                    <a:pt x="269" y="15"/>
                    <a:pt x="269" y="15"/>
                    <a:pt x="269" y="15"/>
                  </a:cubicBezTo>
                  <a:cubicBezTo>
                    <a:pt x="269" y="15"/>
                    <a:pt x="269" y="15"/>
                    <a:pt x="269" y="15"/>
                  </a:cubicBezTo>
                  <a:cubicBezTo>
                    <a:pt x="269" y="15"/>
                    <a:pt x="269" y="15"/>
                    <a:pt x="269" y="15"/>
                  </a:cubicBezTo>
                  <a:cubicBezTo>
                    <a:pt x="269" y="15"/>
                    <a:pt x="269" y="15"/>
                    <a:pt x="269" y="15"/>
                  </a:cubicBezTo>
                  <a:cubicBezTo>
                    <a:pt x="268" y="14"/>
                    <a:pt x="267" y="13"/>
                    <a:pt x="265" y="13"/>
                  </a:cubicBezTo>
                  <a:cubicBezTo>
                    <a:pt x="261" y="13"/>
                    <a:pt x="261" y="13"/>
                    <a:pt x="261" y="13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6" y="7"/>
                    <a:pt x="256" y="7"/>
                    <a:pt x="256" y="7"/>
                  </a:cubicBezTo>
                  <a:cubicBezTo>
                    <a:pt x="251" y="0"/>
                    <a:pt x="251" y="0"/>
                    <a:pt x="251" y="0"/>
                  </a:cubicBezTo>
                  <a:cubicBezTo>
                    <a:pt x="251" y="0"/>
                    <a:pt x="251" y="0"/>
                    <a:pt x="25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1" y="145"/>
                    <a:pt x="1" y="145"/>
                    <a:pt x="1" y="145"/>
                  </a:cubicBezTo>
                  <a:cubicBezTo>
                    <a:pt x="285" y="145"/>
                    <a:pt x="285" y="145"/>
                    <a:pt x="285" y="145"/>
                  </a:cubicBezTo>
                  <a:cubicBezTo>
                    <a:pt x="285" y="145"/>
                    <a:pt x="285" y="145"/>
                    <a:pt x="285" y="145"/>
                  </a:cubicBezTo>
                  <a:lnTo>
                    <a:pt x="285" y="144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50" name="Iowa">
              <a:extLst>
                <a:ext uri="{FF2B5EF4-FFF2-40B4-BE49-F238E27FC236}">
                  <a16:creationId xmlns:a16="http://schemas.microsoft.com/office/drawing/2014/main" id="{69C50F8A-4929-4347-8BA9-215D0592EA59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6375134" y="1974291"/>
              <a:ext cx="971333" cy="625264"/>
            </a:xfrm>
            <a:custGeom>
              <a:avLst/>
              <a:gdLst>
                <a:gd name="T0" fmla="*/ 0 w 246"/>
                <a:gd name="T1" fmla="*/ 40 h 158"/>
                <a:gd name="T2" fmla="*/ 0 w 246"/>
                <a:gd name="T3" fmla="*/ 40 h 158"/>
                <a:gd name="T4" fmla="*/ 12 w 246"/>
                <a:gd name="T5" fmla="*/ 59 h 158"/>
                <a:gd name="T6" fmla="*/ 12 w 246"/>
                <a:gd name="T7" fmla="*/ 89 h 158"/>
                <a:gd name="T8" fmla="*/ 24 w 246"/>
                <a:gd name="T9" fmla="*/ 94 h 158"/>
                <a:gd name="T10" fmla="*/ 24 w 246"/>
                <a:gd name="T11" fmla="*/ 120 h 158"/>
                <a:gd name="T12" fmla="*/ 26 w 246"/>
                <a:gd name="T13" fmla="*/ 138 h 158"/>
                <a:gd name="T14" fmla="*/ 26 w 246"/>
                <a:gd name="T15" fmla="*/ 139 h 158"/>
                <a:gd name="T16" fmla="*/ 26 w 246"/>
                <a:gd name="T17" fmla="*/ 139 h 158"/>
                <a:gd name="T18" fmla="*/ 26 w 246"/>
                <a:gd name="T19" fmla="*/ 139 h 158"/>
                <a:gd name="T20" fmla="*/ 188 w 246"/>
                <a:gd name="T21" fmla="*/ 139 h 158"/>
                <a:gd name="T22" fmla="*/ 195 w 246"/>
                <a:gd name="T23" fmla="*/ 158 h 158"/>
                <a:gd name="T24" fmla="*/ 195 w 246"/>
                <a:gd name="T25" fmla="*/ 158 h 158"/>
                <a:gd name="T26" fmla="*/ 210 w 246"/>
                <a:gd name="T27" fmla="*/ 139 h 158"/>
                <a:gd name="T28" fmla="*/ 215 w 246"/>
                <a:gd name="T29" fmla="*/ 118 h 158"/>
                <a:gd name="T30" fmla="*/ 224 w 246"/>
                <a:gd name="T31" fmla="*/ 101 h 158"/>
                <a:gd name="T32" fmla="*/ 234 w 246"/>
                <a:gd name="T33" fmla="*/ 89 h 158"/>
                <a:gd name="T34" fmla="*/ 246 w 246"/>
                <a:gd name="T35" fmla="*/ 68 h 158"/>
                <a:gd name="T36" fmla="*/ 234 w 246"/>
                <a:gd name="T37" fmla="*/ 56 h 158"/>
                <a:gd name="T38" fmla="*/ 228 w 246"/>
                <a:gd name="T39" fmla="*/ 49 h 158"/>
                <a:gd name="T40" fmla="*/ 228 w 246"/>
                <a:gd name="T41" fmla="*/ 49 h 158"/>
                <a:gd name="T42" fmla="*/ 224 w 246"/>
                <a:gd name="T43" fmla="*/ 44 h 158"/>
                <a:gd name="T44" fmla="*/ 212 w 246"/>
                <a:gd name="T45" fmla="*/ 25 h 158"/>
                <a:gd name="T46" fmla="*/ 205 w 246"/>
                <a:gd name="T47" fmla="*/ 14 h 158"/>
                <a:gd name="T48" fmla="*/ 205 w 246"/>
                <a:gd name="T49" fmla="*/ 14 h 158"/>
                <a:gd name="T50" fmla="*/ 203 w 246"/>
                <a:gd name="T51" fmla="*/ 0 h 158"/>
                <a:gd name="T52" fmla="*/ 13 w 246"/>
                <a:gd name="T53" fmla="*/ 0 h 158"/>
                <a:gd name="T54" fmla="*/ 13 w 246"/>
                <a:gd name="T55" fmla="*/ 27 h 158"/>
                <a:gd name="T56" fmla="*/ 0 w 246"/>
                <a:gd name="T57" fmla="*/ 4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6" h="158">
                  <a:moveTo>
                    <a:pt x="0" y="40"/>
                  </a:moveTo>
                  <a:cubicBezTo>
                    <a:pt x="0" y="40"/>
                    <a:pt x="0" y="40"/>
                    <a:pt x="0" y="40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24" y="94"/>
                    <a:pt x="24" y="94"/>
                    <a:pt x="24" y="94"/>
                  </a:cubicBezTo>
                  <a:cubicBezTo>
                    <a:pt x="24" y="120"/>
                    <a:pt x="24" y="120"/>
                    <a:pt x="24" y="120"/>
                  </a:cubicBezTo>
                  <a:cubicBezTo>
                    <a:pt x="26" y="138"/>
                    <a:pt x="26" y="138"/>
                    <a:pt x="26" y="138"/>
                  </a:cubicBezTo>
                  <a:cubicBezTo>
                    <a:pt x="26" y="139"/>
                    <a:pt x="26" y="139"/>
                    <a:pt x="26" y="139"/>
                  </a:cubicBezTo>
                  <a:cubicBezTo>
                    <a:pt x="26" y="139"/>
                    <a:pt x="26" y="139"/>
                    <a:pt x="26" y="139"/>
                  </a:cubicBezTo>
                  <a:cubicBezTo>
                    <a:pt x="26" y="139"/>
                    <a:pt x="26" y="139"/>
                    <a:pt x="26" y="139"/>
                  </a:cubicBezTo>
                  <a:cubicBezTo>
                    <a:pt x="188" y="139"/>
                    <a:pt x="188" y="139"/>
                    <a:pt x="188" y="139"/>
                  </a:cubicBezTo>
                  <a:cubicBezTo>
                    <a:pt x="195" y="158"/>
                    <a:pt x="195" y="158"/>
                    <a:pt x="195" y="158"/>
                  </a:cubicBezTo>
                  <a:cubicBezTo>
                    <a:pt x="195" y="158"/>
                    <a:pt x="195" y="158"/>
                    <a:pt x="195" y="158"/>
                  </a:cubicBezTo>
                  <a:cubicBezTo>
                    <a:pt x="210" y="139"/>
                    <a:pt x="210" y="139"/>
                    <a:pt x="210" y="139"/>
                  </a:cubicBezTo>
                  <a:cubicBezTo>
                    <a:pt x="215" y="118"/>
                    <a:pt x="215" y="118"/>
                    <a:pt x="215" y="118"/>
                  </a:cubicBezTo>
                  <a:cubicBezTo>
                    <a:pt x="224" y="101"/>
                    <a:pt x="224" y="101"/>
                    <a:pt x="224" y="101"/>
                  </a:cubicBezTo>
                  <a:cubicBezTo>
                    <a:pt x="234" y="89"/>
                    <a:pt x="234" y="89"/>
                    <a:pt x="234" y="89"/>
                  </a:cubicBezTo>
                  <a:cubicBezTo>
                    <a:pt x="246" y="68"/>
                    <a:pt x="246" y="68"/>
                    <a:pt x="246" y="68"/>
                  </a:cubicBezTo>
                  <a:cubicBezTo>
                    <a:pt x="234" y="56"/>
                    <a:pt x="234" y="56"/>
                    <a:pt x="234" y="56"/>
                  </a:cubicBezTo>
                  <a:cubicBezTo>
                    <a:pt x="228" y="49"/>
                    <a:pt x="228" y="49"/>
                    <a:pt x="228" y="49"/>
                  </a:cubicBezTo>
                  <a:cubicBezTo>
                    <a:pt x="228" y="49"/>
                    <a:pt x="228" y="49"/>
                    <a:pt x="228" y="49"/>
                  </a:cubicBezTo>
                  <a:cubicBezTo>
                    <a:pt x="224" y="44"/>
                    <a:pt x="224" y="44"/>
                    <a:pt x="224" y="44"/>
                  </a:cubicBezTo>
                  <a:cubicBezTo>
                    <a:pt x="212" y="25"/>
                    <a:pt x="212" y="25"/>
                    <a:pt x="212" y="25"/>
                  </a:cubicBezTo>
                  <a:cubicBezTo>
                    <a:pt x="205" y="14"/>
                    <a:pt x="205" y="14"/>
                    <a:pt x="205" y="14"/>
                  </a:cubicBezTo>
                  <a:cubicBezTo>
                    <a:pt x="205" y="14"/>
                    <a:pt x="205" y="14"/>
                    <a:pt x="205" y="14"/>
                  </a:cubicBezTo>
                  <a:cubicBezTo>
                    <a:pt x="205" y="12"/>
                    <a:pt x="204" y="6"/>
                    <a:pt x="20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27"/>
                    <a:pt x="13" y="27"/>
                    <a:pt x="13" y="27"/>
                  </a:cubicBezTo>
                  <a:lnTo>
                    <a:pt x="0" y="4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51" name="Indiana">
              <a:extLst>
                <a:ext uri="{FF2B5EF4-FFF2-40B4-BE49-F238E27FC236}">
                  <a16:creationId xmlns:a16="http://schemas.microsoft.com/office/drawing/2014/main" id="{8D19672F-867E-4752-8E2A-46CE62D28D55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7623990" y="2397264"/>
              <a:ext cx="561734" cy="772385"/>
            </a:xfrm>
            <a:custGeom>
              <a:avLst/>
              <a:gdLst>
                <a:gd name="T0" fmla="*/ 35 w 142"/>
                <a:gd name="T1" fmla="*/ 142 h 195"/>
                <a:gd name="T2" fmla="*/ 30 w 142"/>
                <a:gd name="T3" fmla="*/ 149 h 195"/>
                <a:gd name="T4" fmla="*/ 23 w 142"/>
                <a:gd name="T5" fmla="*/ 153 h 195"/>
                <a:gd name="T6" fmla="*/ 23 w 142"/>
                <a:gd name="T7" fmla="*/ 160 h 195"/>
                <a:gd name="T8" fmla="*/ 19 w 142"/>
                <a:gd name="T9" fmla="*/ 164 h 195"/>
                <a:gd name="T10" fmla="*/ 15 w 142"/>
                <a:gd name="T11" fmla="*/ 171 h 195"/>
                <a:gd name="T12" fmla="*/ 9 w 142"/>
                <a:gd name="T13" fmla="*/ 177 h 195"/>
                <a:gd name="T14" fmla="*/ 5 w 142"/>
                <a:gd name="T15" fmla="*/ 183 h 195"/>
                <a:gd name="T16" fmla="*/ 4 w 142"/>
                <a:gd name="T17" fmla="*/ 185 h 195"/>
                <a:gd name="T18" fmla="*/ 2 w 142"/>
                <a:gd name="T19" fmla="*/ 189 h 195"/>
                <a:gd name="T20" fmla="*/ 2 w 142"/>
                <a:gd name="T21" fmla="*/ 191 h 195"/>
                <a:gd name="T22" fmla="*/ 1 w 142"/>
                <a:gd name="T23" fmla="*/ 191 h 195"/>
                <a:gd name="T24" fmla="*/ 0 w 142"/>
                <a:gd name="T25" fmla="*/ 192 h 195"/>
                <a:gd name="T26" fmla="*/ 0 w 142"/>
                <a:gd name="T27" fmla="*/ 192 h 195"/>
                <a:gd name="T28" fmla="*/ 15 w 142"/>
                <a:gd name="T29" fmla="*/ 192 h 195"/>
                <a:gd name="T30" fmla="*/ 19 w 142"/>
                <a:gd name="T31" fmla="*/ 195 h 195"/>
                <a:gd name="T32" fmla="*/ 19 w 142"/>
                <a:gd name="T33" fmla="*/ 195 h 195"/>
                <a:gd name="T34" fmla="*/ 21 w 142"/>
                <a:gd name="T35" fmla="*/ 192 h 195"/>
                <a:gd name="T36" fmla="*/ 22 w 142"/>
                <a:gd name="T37" fmla="*/ 190 h 195"/>
                <a:gd name="T38" fmla="*/ 22 w 142"/>
                <a:gd name="T39" fmla="*/ 189 h 195"/>
                <a:gd name="T40" fmla="*/ 21 w 142"/>
                <a:gd name="T41" fmla="*/ 189 h 195"/>
                <a:gd name="T42" fmla="*/ 23 w 142"/>
                <a:gd name="T43" fmla="*/ 187 h 195"/>
                <a:gd name="T44" fmla="*/ 27 w 142"/>
                <a:gd name="T45" fmla="*/ 182 h 195"/>
                <a:gd name="T46" fmla="*/ 29 w 142"/>
                <a:gd name="T47" fmla="*/ 186 h 195"/>
                <a:gd name="T48" fmla="*/ 37 w 142"/>
                <a:gd name="T49" fmla="*/ 188 h 195"/>
                <a:gd name="T50" fmla="*/ 48 w 142"/>
                <a:gd name="T51" fmla="*/ 188 h 195"/>
                <a:gd name="T52" fmla="*/ 47 w 142"/>
                <a:gd name="T53" fmla="*/ 189 h 195"/>
                <a:gd name="T54" fmla="*/ 50 w 142"/>
                <a:gd name="T55" fmla="*/ 189 h 195"/>
                <a:gd name="T56" fmla="*/ 53 w 142"/>
                <a:gd name="T57" fmla="*/ 188 h 195"/>
                <a:gd name="T58" fmla="*/ 57 w 142"/>
                <a:gd name="T59" fmla="*/ 188 h 195"/>
                <a:gd name="T60" fmla="*/ 62 w 142"/>
                <a:gd name="T61" fmla="*/ 188 h 195"/>
                <a:gd name="T62" fmla="*/ 62 w 142"/>
                <a:gd name="T63" fmla="*/ 188 h 195"/>
                <a:gd name="T64" fmla="*/ 67 w 142"/>
                <a:gd name="T65" fmla="*/ 188 h 195"/>
                <a:gd name="T66" fmla="*/ 73 w 142"/>
                <a:gd name="T67" fmla="*/ 182 h 195"/>
                <a:gd name="T68" fmla="*/ 80 w 142"/>
                <a:gd name="T69" fmla="*/ 182 h 195"/>
                <a:gd name="T70" fmla="*/ 80 w 142"/>
                <a:gd name="T71" fmla="*/ 182 h 195"/>
                <a:gd name="T72" fmla="*/ 81 w 142"/>
                <a:gd name="T73" fmla="*/ 181 h 195"/>
                <a:gd name="T74" fmla="*/ 83 w 142"/>
                <a:gd name="T75" fmla="*/ 182 h 195"/>
                <a:gd name="T76" fmla="*/ 88 w 142"/>
                <a:gd name="T77" fmla="*/ 187 h 195"/>
                <a:gd name="T78" fmla="*/ 88 w 142"/>
                <a:gd name="T79" fmla="*/ 188 h 195"/>
                <a:gd name="T80" fmla="*/ 95 w 142"/>
                <a:gd name="T81" fmla="*/ 188 h 195"/>
                <a:gd name="T82" fmla="*/ 95 w 142"/>
                <a:gd name="T83" fmla="*/ 186 h 195"/>
                <a:gd name="T84" fmla="*/ 95 w 142"/>
                <a:gd name="T85" fmla="*/ 181 h 195"/>
                <a:gd name="T86" fmla="*/ 93 w 142"/>
                <a:gd name="T87" fmla="*/ 177 h 195"/>
                <a:gd name="T88" fmla="*/ 92 w 142"/>
                <a:gd name="T89" fmla="*/ 176 h 195"/>
                <a:gd name="T90" fmla="*/ 95 w 142"/>
                <a:gd name="T91" fmla="*/ 174 h 195"/>
                <a:gd name="T92" fmla="*/ 110 w 142"/>
                <a:gd name="T93" fmla="*/ 166 h 195"/>
                <a:gd name="T94" fmla="*/ 117 w 142"/>
                <a:gd name="T95" fmla="*/ 160 h 195"/>
                <a:gd name="T96" fmla="*/ 117 w 142"/>
                <a:gd name="T97" fmla="*/ 159 h 195"/>
                <a:gd name="T98" fmla="*/ 120 w 142"/>
                <a:gd name="T99" fmla="*/ 150 h 195"/>
                <a:gd name="T100" fmla="*/ 130 w 142"/>
                <a:gd name="T101" fmla="*/ 146 h 195"/>
                <a:gd name="T102" fmla="*/ 130 w 142"/>
                <a:gd name="T103" fmla="*/ 146 h 195"/>
                <a:gd name="T104" fmla="*/ 130 w 142"/>
                <a:gd name="T105" fmla="*/ 146 h 195"/>
                <a:gd name="T106" fmla="*/ 137 w 142"/>
                <a:gd name="T107" fmla="*/ 146 h 195"/>
                <a:gd name="T108" fmla="*/ 142 w 142"/>
                <a:gd name="T109" fmla="*/ 141 h 195"/>
                <a:gd name="T110" fmla="*/ 142 w 142"/>
                <a:gd name="T111" fmla="*/ 16 h 195"/>
                <a:gd name="T112" fmla="*/ 62 w 142"/>
                <a:gd name="T113" fmla="*/ 16 h 195"/>
                <a:gd name="T114" fmla="*/ 55 w 142"/>
                <a:gd name="T115" fmla="*/ 20 h 195"/>
                <a:gd name="T116" fmla="*/ 51 w 142"/>
                <a:gd name="T117" fmla="*/ 20 h 195"/>
                <a:gd name="T118" fmla="*/ 43 w 142"/>
                <a:gd name="T119" fmla="*/ 16 h 195"/>
                <a:gd name="T120" fmla="*/ 36 w 142"/>
                <a:gd name="T121" fmla="*/ 0 h 195"/>
                <a:gd name="T122" fmla="*/ 35 w 142"/>
                <a:gd name="T123" fmla="*/ 0 h 195"/>
                <a:gd name="T124" fmla="*/ 35 w 142"/>
                <a:gd name="T125" fmla="*/ 142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2" h="195">
                  <a:moveTo>
                    <a:pt x="35" y="142"/>
                  </a:moveTo>
                  <a:cubicBezTo>
                    <a:pt x="30" y="149"/>
                    <a:pt x="30" y="149"/>
                    <a:pt x="30" y="149"/>
                  </a:cubicBezTo>
                  <a:cubicBezTo>
                    <a:pt x="23" y="153"/>
                    <a:pt x="23" y="153"/>
                    <a:pt x="23" y="153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19" y="164"/>
                    <a:pt x="19" y="164"/>
                    <a:pt x="19" y="164"/>
                  </a:cubicBezTo>
                  <a:cubicBezTo>
                    <a:pt x="15" y="171"/>
                    <a:pt x="15" y="171"/>
                    <a:pt x="15" y="171"/>
                  </a:cubicBezTo>
                  <a:cubicBezTo>
                    <a:pt x="14" y="171"/>
                    <a:pt x="12" y="174"/>
                    <a:pt x="9" y="177"/>
                  </a:cubicBezTo>
                  <a:cubicBezTo>
                    <a:pt x="7" y="180"/>
                    <a:pt x="6" y="182"/>
                    <a:pt x="5" y="183"/>
                  </a:cubicBezTo>
                  <a:cubicBezTo>
                    <a:pt x="4" y="184"/>
                    <a:pt x="4" y="185"/>
                    <a:pt x="4" y="185"/>
                  </a:cubicBezTo>
                  <a:cubicBezTo>
                    <a:pt x="4" y="185"/>
                    <a:pt x="4" y="186"/>
                    <a:pt x="2" y="189"/>
                  </a:cubicBezTo>
                  <a:cubicBezTo>
                    <a:pt x="2" y="191"/>
                    <a:pt x="2" y="191"/>
                    <a:pt x="2" y="191"/>
                  </a:cubicBezTo>
                  <a:cubicBezTo>
                    <a:pt x="1" y="191"/>
                    <a:pt x="1" y="191"/>
                    <a:pt x="1" y="191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15" y="192"/>
                    <a:pt x="15" y="192"/>
                    <a:pt x="15" y="192"/>
                  </a:cubicBezTo>
                  <a:cubicBezTo>
                    <a:pt x="15" y="193"/>
                    <a:pt x="17" y="195"/>
                    <a:pt x="19" y="195"/>
                  </a:cubicBezTo>
                  <a:cubicBezTo>
                    <a:pt x="19" y="195"/>
                    <a:pt x="19" y="195"/>
                    <a:pt x="19" y="195"/>
                  </a:cubicBezTo>
                  <a:cubicBezTo>
                    <a:pt x="20" y="195"/>
                    <a:pt x="21" y="194"/>
                    <a:pt x="21" y="192"/>
                  </a:cubicBezTo>
                  <a:cubicBezTo>
                    <a:pt x="22" y="191"/>
                    <a:pt x="22" y="190"/>
                    <a:pt x="22" y="190"/>
                  </a:cubicBezTo>
                  <a:cubicBezTo>
                    <a:pt x="22" y="189"/>
                    <a:pt x="22" y="189"/>
                    <a:pt x="22" y="189"/>
                  </a:cubicBezTo>
                  <a:cubicBezTo>
                    <a:pt x="21" y="189"/>
                    <a:pt x="21" y="189"/>
                    <a:pt x="21" y="189"/>
                  </a:cubicBezTo>
                  <a:cubicBezTo>
                    <a:pt x="22" y="188"/>
                    <a:pt x="22" y="188"/>
                    <a:pt x="23" y="187"/>
                  </a:cubicBezTo>
                  <a:cubicBezTo>
                    <a:pt x="27" y="182"/>
                    <a:pt x="27" y="182"/>
                    <a:pt x="27" y="182"/>
                  </a:cubicBezTo>
                  <a:cubicBezTo>
                    <a:pt x="29" y="186"/>
                    <a:pt x="29" y="186"/>
                    <a:pt x="29" y="186"/>
                  </a:cubicBezTo>
                  <a:cubicBezTo>
                    <a:pt x="37" y="188"/>
                    <a:pt x="37" y="188"/>
                    <a:pt x="37" y="188"/>
                  </a:cubicBezTo>
                  <a:cubicBezTo>
                    <a:pt x="48" y="188"/>
                    <a:pt x="48" y="188"/>
                    <a:pt x="48" y="188"/>
                  </a:cubicBezTo>
                  <a:cubicBezTo>
                    <a:pt x="47" y="189"/>
                    <a:pt x="47" y="189"/>
                    <a:pt x="47" y="189"/>
                  </a:cubicBezTo>
                  <a:cubicBezTo>
                    <a:pt x="50" y="189"/>
                    <a:pt x="50" y="189"/>
                    <a:pt x="50" y="189"/>
                  </a:cubicBezTo>
                  <a:cubicBezTo>
                    <a:pt x="50" y="189"/>
                    <a:pt x="51" y="189"/>
                    <a:pt x="53" y="188"/>
                  </a:cubicBezTo>
                  <a:cubicBezTo>
                    <a:pt x="54" y="188"/>
                    <a:pt x="56" y="188"/>
                    <a:pt x="57" y="188"/>
                  </a:cubicBezTo>
                  <a:cubicBezTo>
                    <a:pt x="60" y="188"/>
                    <a:pt x="62" y="188"/>
                    <a:pt x="62" y="188"/>
                  </a:cubicBezTo>
                  <a:cubicBezTo>
                    <a:pt x="62" y="188"/>
                    <a:pt x="62" y="188"/>
                    <a:pt x="62" y="188"/>
                  </a:cubicBezTo>
                  <a:cubicBezTo>
                    <a:pt x="67" y="188"/>
                    <a:pt x="67" y="188"/>
                    <a:pt x="67" y="188"/>
                  </a:cubicBezTo>
                  <a:cubicBezTo>
                    <a:pt x="73" y="182"/>
                    <a:pt x="73" y="182"/>
                    <a:pt x="73" y="182"/>
                  </a:cubicBezTo>
                  <a:cubicBezTo>
                    <a:pt x="80" y="182"/>
                    <a:pt x="80" y="182"/>
                    <a:pt x="80" y="182"/>
                  </a:cubicBezTo>
                  <a:cubicBezTo>
                    <a:pt x="80" y="182"/>
                    <a:pt x="80" y="182"/>
                    <a:pt x="80" y="182"/>
                  </a:cubicBezTo>
                  <a:cubicBezTo>
                    <a:pt x="80" y="181"/>
                    <a:pt x="81" y="181"/>
                    <a:pt x="81" y="181"/>
                  </a:cubicBezTo>
                  <a:cubicBezTo>
                    <a:pt x="82" y="181"/>
                    <a:pt x="82" y="181"/>
                    <a:pt x="83" y="182"/>
                  </a:cubicBezTo>
                  <a:cubicBezTo>
                    <a:pt x="85" y="183"/>
                    <a:pt x="87" y="186"/>
                    <a:pt x="88" y="187"/>
                  </a:cubicBezTo>
                  <a:cubicBezTo>
                    <a:pt x="88" y="188"/>
                    <a:pt x="88" y="188"/>
                    <a:pt x="88" y="188"/>
                  </a:cubicBezTo>
                  <a:cubicBezTo>
                    <a:pt x="95" y="188"/>
                    <a:pt x="95" y="188"/>
                    <a:pt x="95" y="188"/>
                  </a:cubicBezTo>
                  <a:cubicBezTo>
                    <a:pt x="95" y="186"/>
                    <a:pt x="95" y="186"/>
                    <a:pt x="95" y="186"/>
                  </a:cubicBezTo>
                  <a:cubicBezTo>
                    <a:pt x="94" y="185"/>
                    <a:pt x="94" y="183"/>
                    <a:pt x="95" y="181"/>
                  </a:cubicBezTo>
                  <a:cubicBezTo>
                    <a:pt x="96" y="179"/>
                    <a:pt x="95" y="178"/>
                    <a:pt x="93" y="177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92" y="176"/>
                    <a:pt x="93" y="175"/>
                    <a:pt x="95" y="174"/>
                  </a:cubicBezTo>
                  <a:cubicBezTo>
                    <a:pt x="103" y="171"/>
                    <a:pt x="110" y="166"/>
                    <a:pt x="110" y="166"/>
                  </a:cubicBezTo>
                  <a:cubicBezTo>
                    <a:pt x="117" y="160"/>
                    <a:pt x="117" y="160"/>
                    <a:pt x="117" y="160"/>
                  </a:cubicBezTo>
                  <a:cubicBezTo>
                    <a:pt x="117" y="159"/>
                    <a:pt x="117" y="159"/>
                    <a:pt x="117" y="159"/>
                  </a:cubicBezTo>
                  <a:cubicBezTo>
                    <a:pt x="117" y="158"/>
                    <a:pt x="116" y="151"/>
                    <a:pt x="120" y="150"/>
                  </a:cubicBezTo>
                  <a:cubicBezTo>
                    <a:pt x="124" y="150"/>
                    <a:pt x="130" y="146"/>
                    <a:pt x="130" y="146"/>
                  </a:cubicBezTo>
                  <a:cubicBezTo>
                    <a:pt x="130" y="146"/>
                    <a:pt x="130" y="146"/>
                    <a:pt x="130" y="146"/>
                  </a:cubicBezTo>
                  <a:cubicBezTo>
                    <a:pt x="130" y="146"/>
                    <a:pt x="130" y="146"/>
                    <a:pt x="130" y="146"/>
                  </a:cubicBezTo>
                  <a:cubicBezTo>
                    <a:pt x="137" y="146"/>
                    <a:pt x="137" y="146"/>
                    <a:pt x="137" y="146"/>
                  </a:cubicBezTo>
                  <a:cubicBezTo>
                    <a:pt x="142" y="141"/>
                    <a:pt x="142" y="141"/>
                    <a:pt x="142" y="141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35" y="142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52" name="Illinois">
              <a:extLst>
                <a:ext uri="{FF2B5EF4-FFF2-40B4-BE49-F238E27FC236}">
                  <a16:creationId xmlns:a16="http://schemas.microsoft.com/office/drawing/2014/main" id="{D33BD47D-319C-4A2A-AD57-A6E797119FF1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7145847" y="2168223"/>
              <a:ext cx="616905" cy="1038205"/>
            </a:xfrm>
            <a:custGeom>
              <a:avLst/>
              <a:gdLst>
                <a:gd name="T0" fmla="*/ 39 w 156"/>
                <a:gd name="T1" fmla="*/ 7 h 262"/>
                <a:gd name="T2" fmla="*/ 51 w 156"/>
                <a:gd name="T3" fmla="*/ 19 h 262"/>
                <a:gd name="T4" fmla="*/ 39 w 156"/>
                <a:gd name="T5" fmla="*/ 40 h 262"/>
                <a:gd name="T6" fmla="*/ 29 w 156"/>
                <a:gd name="T7" fmla="*/ 52 h 262"/>
                <a:gd name="T8" fmla="*/ 20 w 156"/>
                <a:gd name="T9" fmla="*/ 69 h 262"/>
                <a:gd name="T10" fmla="*/ 15 w 156"/>
                <a:gd name="T11" fmla="*/ 90 h 262"/>
                <a:gd name="T12" fmla="*/ 0 w 156"/>
                <a:gd name="T13" fmla="*/ 109 h 262"/>
                <a:gd name="T14" fmla="*/ 0 w 156"/>
                <a:gd name="T15" fmla="*/ 109 h 262"/>
                <a:gd name="T16" fmla="*/ 0 w 156"/>
                <a:gd name="T17" fmla="*/ 144 h 262"/>
                <a:gd name="T18" fmla="*/ 15 w 156"/>
                <a:gd name="T19" fmla="*/ 154 h 262"/>
                <a:gd name="T20" fmla="*/ 32 w 156"/>
                <a:gd name="T21" fmla="*/ 165 h 262"/>
                <a:gd name="T22" fmla="*/ 49 w 156"/>
                <a:gd name="T23" fmla="*/ 182 h 262"/>
                <a:gd name="T24" fmla="*/ 46 w 156"/>
                <a:gd name="T25" fmla="*/ 198 h 262"/>
                <a:gd name="T26" fmla="*/ 51 w 156"/>
                <a:gd name="T27" fmla="*/ 215 h 262"/>
                <a:gd name="T28" fmla="*/ 71 w 156"/>
                <a:gd name="T29" fmla="*/ 225 h 262"/>
                <a:gd name="T30" fmla="*/ 78 w 156"/>
                <a:gd name="T31" fmla="*/ 238 h 262"/>
                <a:gd name="T32" fmla="*/ 80 w 156"/>
                <a:gd name="T33" fmla="*/ 246 h 262"/>
                <a:gd name="T34" fmla="*/ 92 w 156"/>
                <a:gd name="T35" fmla="*/ 262 h 262"/>
                <a:gd name="T36" fmla="*/ 92 w 156"/>
                <a:gd name="T37" fmla="*/ 262 h 262"/>
                <a:gd name="T38" fmla="*/ 92 w 156"/>
                <a:gd name="T39" fmla="*/ 262 h 262"/>
                <a:gd name="T40" fmla="*/ 102 w 156"/>
                <a:gd name="T41" fmla="*/ 262 h 262"/>
                <a:gd name="T42" fmla="*/ 106 w 156"/>
                <a:gd name="T43" fmla="*/ 257 h 262"/>
                <a:gd name="T44" fmla="*/ 113 w 156"/>
                <a:gd name="T45" fmla="*/ 252 h 262"/>
                <a:gd name="T46" fmla="*/ 120 w 156"/>
                <a:gd name="T47" fmla="*/ 250 h 262"/>
                <a:gd name="T48" fmla="*/ 121 w 156"/>
                <a:gd name="T49" fmla="*/ 249 h 262"/>
                <a:gd name="T50" fmla="*/ 122 w 156"/>
                <a:gd name="T51" fmla="*/ 249 h 262"/>
                <a:gd name="T52" fmla="*/ 122 w 156"/>
                <a:gd name="T53" fmla="*/ 249 h 262"/>
                <a:gd name="T54" fmla="*/ 123 w 156"/>
                <a:gd name="T55" fmla="*/ 249 h 262"/>
                <a:gd name="T56" fmla="*/ 123 w 156"/>
                <a:gd name="T57" fmla="*/ 247 h 262"/>
                <a:gd name="T58" fmla="*/ 125 w 156"/>
                <a:gd name="T59" fmla="*/ 243 h 262"/>
                <a:gd name="T60" fmla="*/ 126 w 156"/>
                <a:gd name="T61" fmla="*/ 241 h 262"/>
                <a:gd name="T62" fmla="*/ 130 w 156"/>
                <a:gd name="T63" fmla="*/ 235 h 262"/>
                <a:gd name="T64" fmla="*/ 136 w 156"/>
                <a:gd name="T65" fmla="*/ 229 h 262"/>
                <a:gd name="T66" fmla="*/ 140 w 156"/>
                <a:gd name="T67" fmla="*/ 222 h 262"/>
                <a:gd name="T68" fmla="*/ 144 w 156"/>
                <a:gd name="T69" fmla="*/ 218 h 262"/>
                <a:gd name="T70" fmla="*/ 144 w 156"/>
                <a:gd name="T71" fmla="*/ 211 h 262"/>
                <a:gd name="T72" fmla="*/ 151 w 156"/>
                <a:gd name="T73" fmla="*/ 207 h 262"/>
                <a:gd name="T74" fmla="*/ 156 w 156"/>
                <a:gd name="T75" fmla="*/ 200 h 262"/>
                <a:gd name="T76" fmla="*/ 156 w 156"/>
                <a:gd name="T77" fmla="*/ 58 h 262"/>
                <a:gd name="T78" fmla="*/ 156 w 156"/>
                <a:gd name="T79" fmla="*/ 57 h 262"/>
                <a:gd name="T80" fmla="*/ 152 w 156"/>
                <a:gd name="T81" fmla="*/ 47 h 262"/>
                <a:gd name="T82" fmla="*/ 149 w 156"/>
                <a:gd name="T83" fmla="*/ 0 h 262"/>
                <a:gd name="T84" fmla="*/ 33 w 156"/>
                <a:gd name="T85" fmla="*/ 0 h 262"/>
                <a:gd name="T86" fmla="*/ 39 w 156"/>
                <a:gd name="T87" fmla="*/ 7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6" h="262">
                  <a:moveTo>
                    <a:pt x="39" y="7"/>
                  </a:moveTo>
                  <a:cubicBezTo>
                    <a:pt x="51" y="19"/>
                    <a:pt x="51" y="19"/>
                    <a:pt x="51" y="19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15" y="154"/>
                    <a:pt x="15" y="154"/>
                    <a:pt x="15" y="154"/>
                  </a:cubicBezTo>
                  <a:cubicBezTo>
                    <a:pt x="32" y="165"/>
                    <a:pt x="32" y="165"/>
                    <a:pt x="32" y="165"/>
                  </a:cubicBezTo>
                  <a:cubicBezTo>
                    <a:pt x="49" y="182"/>
                    <a:pt x="49" y="182"/>
                    <a:pt x="49" y="182"/>
                  </a:cubicBezTo>
                  <a:cubicBezTo>
                    <a:pt x="46" y="198"/>
                    <a:pt x="46" y="198"/>
                    <a:pt x="46" y="198"/>
                  </a:cubicBezTo>
                  <a:cubicBezTo>
                    <a:pt x="51" y="215"/>
                    <a:pt x="51" y="215"/>
                    <a:pt x="51" y="215"/>
                  </a:cubicBezTo>
                  <a:cubicBezTo>
                    <a:pt x="71" y="225"/>
                    <a:pt x="71" y="225"/>
                    <a:pt x="71" y="225"/>
                  </a:cubicBezTo>
                  <a:cubicBezTo>
                    <a:pt x="78" y="238"/>
                    <a:pt x="78" y="238"/>
                    <a:pt x="78" y="238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2" y="252"/>
                    <a:pt x="90" y="260"/>
                    <a:pt x="92" y="262"/>
                  </a:cubicBezTo>
                  <a:cubicBezTo>
                    <a:pt x="92" y="262"/>
                    <a:pt x="92" y="262"/>
                    <a:pt x="92" y="262"/>
                  </a:cubicBezTo>
                  <a:cubicBezTo>
                    <a:pt x="92" y="262"/>
                    <a:pt x="92" y="262"/>
                    <a:pt x="92" y="262"/>
                  </a:cubicBezTo>
                  <a:cubicBezTo>
                    <a:pt x="102" y="262"/>
                    <a:pt x="102" y="262"/>
                    <a:pt x="102" y="262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113" y="252"/>
                    <a:pt x="113" y="252"/>
                    <a:pt x="113" y="252"/>
                  </a:cubicBezTo>
                  <a:cubicBezTo>
                    <a:pt x="114" y="252"/>
                    <a:pt x="117" y="251"/>
                    <a:pt x="120" y="250"/>
                  </a:cubicBezTo>
                  <a:cubicBezTo>
                    <a:pt x="120" y="250"/>
                    <a:pt x="120" y="249"/>
                    <a:pt x="121" y="249"/>
                  </a:cubicBezTo>
                  <a:cubicBezTo>
                    <a:pt x="121" y="249"/>
                    <a:pt x="121" y="249"/>
                    <a:pt x="122" y="249"/>
                  </a:cubicBezTo>
                  <a:cubicBezTo>
                    <a:pt x="122" y="249"/>
                    <a:pt x="122" y="249"/>
                    <a:pt x="122" y="249"/>
                  </a:cubicBezTo>
                  <a:cubicBezTo>
                    <a:pt x="123" y="249"/>
                    <a:pt x="123" y="249"/>
                    <a:pt x="123" y="249"/>
                  </a:cubicBezTo>
                  <a:cubicBezTo>
                    <a:pt x="123" y="247"/>
                    <a:pt x="123" y="247"/>
                    <a:pt x="123" y="247"/>
                  </a:cubicBezTo>
                  <a:cubicBezTo>
                    <a:pt x="125" y="244"/>
                    <a:pt x="125" y="243"/>
                    <a:pt x="125" y="243"/>
                  </a:cubicBezTo>
                  <a:cubicBezTo>
                    <a:pt x="125" y="243"/>
                    <a:pt x="125" y="242"/>
                    <a:pt x="126" y="241"/>
                  </a:cubicBezTo>
                  <a:cubicBezTo>
                    <a:pt x="127" y="240"/>
                    <a:pt x="128" y="238"/>
                    <a:pt x="130" y="235"/>
                  </a:cubicBezTo>
                  <a:cubicBezTo>
                    <a:pt x="133" y="232"/>
                    <a:pt x="135" y="229"/>
                    <a:pt x="136" y="229"/>
                  </a:cubicBezTo>
                  <a:cubicBezTo>
                    <a:pt x="140" y="222"/>
                    <a:pt x="140" y="222"/>
                    <a:pt x="140" y="222"/>
                  </a:cubicBezTo>
                  <a:cubicBezTo>
                    <a:pt x="144" y="218"/>
                    <a:pt x="144" y="218"/>
                    <a:pt x="144" y="218"/>
                  </a:cubicBezTo>
                  <a:cubicBezTo>
                    <a:pt x="144" y="211"/>
                    <a:pt x="144" y="211"/>
                    <a:pt x="144" y="211"/>
                  </a:cubicBezTo>
                  <a:cubicBezTo>
                    <a:pt x="151" y="207"/>
                    <a:pt x="151" y="207"/>
                    <a:pt x="151" y="207"/>
                  </a:cubicBezTo>
                  <a:cubicBezTo>
                    <a:pt x="156" y="200"/>
                    <a:pt x="156" y="200"/>
                    <a:pt x="156" y="200"/>
                  </a:cubicBezTo>
                  <a:cubicBezTo>
                    <a:pt x="156" y="58"/>
                    <a:pt x="156" y="58"/>
                    <a:pt x="156" y="58"/>
                  </a:cubicBezTo>
                  <a:cubicBezTo>
                    <a:pt x="156" y="57"/>
                    <a:pt x="156" y="57"/>
                    <a:pt x="156" y="57"/>
                  </a:cubicBezTo>
                  <a:cubicBezTo>
                    <a:pt x="152" y="47"/>
                    <a:pt x="152" y="47"/>
                    <a:pt x="152" y="47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39" y="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53" name="Idaho">
              <a:extLst>
                <a:ext uri="{FF2B5EF4-FFF2-40B4-BE49-F238E27FC236}">
                  <a16:creationId xmlns:a16="http://schemas.microsoft.com/office/drawing/2014/main" id="{03F2EF35-E975-4A22-AE05-2133763B227E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3258846" y="885931"/>
              <a:ext cx="904459" cy="1337463"/>
            </a:xfrm>
            <a:custGeom>
              <a:avLst/>
              <a:gdLst>
                <a:gd name="T0" fmla="*/ 9 w 229"/>
                <a:gd name="T1" fmla="*/ 148 h 338"/>
                <a:gd name="T2" fmla="*/ 19 w 229"/>
                <a:gd name="T3" fmla="*/ 163 h 338"/>
                <a:gd name="T4" fmla="*/ 4 w 229"/>
                <a:gd name="T5" fmla="*/ 201 h 338"/>
                <a:gd name="T6" fmla="*/ 4 w 229"/>
                <a:gd name="T7" fmla="*/ 215 h 338"/>
                <a:gd name="T8" fmla="*/ 7 w 229"/>
                <a:gd name="T9" fmla="*/ 248 h 338"/>
                <a:gd name="T10" fmla="*/ 0 w 229"/>
                <a:gd name="T11" fmla="*/ 293 h 338"/>
                <a:gd name="T12" fmla="*/ 2 w 229"/>
                <a:gd name="T13" fmla="*/ 338 h 338"/>
                <a:gd name="T14" fmla="*/ 118 w 229"/>
                <a:gd name="T15" fmla="*/ 338 h 338"/>
                <a:gd name="T16" fmla="*/ 229 w 229"/>
                <a:gd name="T17" fmla="*/ 338 h 338"/>
                <a:gd name="T18" fmla="*/ 222 w 229"/>
                <a:gd name="T19" fmla="*/ 216 h 338"/>
                <a:gd name="T20" fmla="*/ 205 w 229"/>
                <a:gd name="T21" fmla="*/ 221 h 338"/>
                <a:gd name="T22" fmla="*/ 196 w 229"/>
                <a:gd name="T23" fmla="*/ 225 h 338"/>
                <a:gd name="T24" fmla="*/ 194 w 229"/>
                <a:gd name="T25" fmla="*/ 224 h 338"/>
                <a:gd name="T26" fmla="*/ 183 w 229"/>
                <a:gd name="T27" fmla="*/ 224 h 338"/>
                <a:gd name="T28" fmla="*/ 178 w 229"/>
                <a:gd name="T29" fmla="*/ 224 h 338"/>
                <a:gd name="T30" fmla="*/ 162 w 229"/>
                <a:gd name="T31" fmla="*/ 224 h 338"/>
                <a:gd name="T32" fmla="*/ 147 w 229"/>
                <a:gd name="T33" fmla="*/ 212 h 338"/>
                <a:gd name="T34" fmla="*/ 145 w 229"/>
                <a:gd name="T35" fmla="*/ 214 h 338"/>
                <a:gd name="T36" fmla="*/ 145 w 229"/>
                <a:gd name="T37" fmla="*/ 214 h 338"/>
                <a:gd name="T38" fmla="*/ 144 w 229"/>
                <a:gd name="T39" fmla="*/ 206 h 338"/>
                <a:gd name="T40" fmla="*/ 133 w 229"/>
                <a:gd name="T41" fmla="*/ 194 h 338"/>
                <a:gd name="T42" fmla="*/ 128 w 229"/>
                <a:gd name="T43" fmla="*/ 173 h 338"/>
                <a:gd name="T44" fmla="*/ 113 w 229"/>
                <a:gd name="T45" fmla="*/ 166 h 338"/>
                <a:gd name="T46" fmla="*/ 110 w 229"/>
                <a:gd name="T47" fmla="*/ 166 h 338"/>
                <a:gd name="T48" fmla="*/ 100 w 229"/>
                <a:gd name="T49" fmla="*/ 167 h 338"/>
                <a:gd name="T50" fmla="*/ 100 w 229"/>
                <a:gd name="T51" fmla="*/ 153 h 338"/>
                <a:gd name="T52" fmla="*/ 100 w 229"/>
                <a:gd name="T53" fmla="*/ 151 h 338"/>
                <a:gd name="T54" fmla="*/ 99 w 229"/>
                <a:gd name="T55" fmla="*/ 141 h 338"/>
                <a:gd name="T56" fmla="*/ 93 w 229"/>
                <a:gd name="T57" fmla="*/ 107 h 338"/>
                <a:gd name="T58" fmla="*/ 78 w 229"/>
                <a:gd name="T59" fmla="*/ 101 h 338"/>
                <a:gd name="T60" fmla="*/ 78 w 229"/>
                <a:gd name="T61" fmla="*/ 97 h 338"/>
                <a:gd name="T62" fmla="*/ 71 w 229"/>
                <a:gd name="T63" fmla="*/ 87 h 338"/>
                <a:gd name="T64" fmla="*/ 63 w 229"/>
                <a:gd name="T65" fmla="*/ 82 h 338"/>
                <a:gd name="T66" fmla="*/ 53 w 229"/>
                <a:gd name="T67" fmla="*/ 77 h 338"/>
                <a:gd name="T68" fmla="*/ 50 w 229"/>
                <a:gd name="T69" fmla="*/ 63 h 338"/>
                <a:gd name="T70" fmla="*/ 40 w 229"/>
                <a:gd name="T71" fmla="*/ 59 h 338"/>
                <a:gd name="T72" fmla="*/ 2 w 229"/>
                <a:gd name="T73" fmla="*/ 0 h 338"/>
                <a:gd name="T74" fmla="*/ 3 w 229"/>
                <a:gd name="T75" fmla="*/ 148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29" h="338">
                  <a:moveTo>
                    <a:pt x="3" y="148"/>
                  </a:moveTo>
                  <a:cubicBezTo>
                    <a:pt x="6" y="148"/>
                    <a:pt x="9" y="148"/>
                    <a:pt x="9" y="148"/>
                  </a:cubicBezTo>
                  <a:cubicBezTo>
                    <a:pt x="15" y="154"/>
                    <a:pt x="15" y="154"/>
                    <a:pt x="15" y="154"/>
                  </a:cubicBezTo>
                  <a:cubicBezTo>
                    <a:pt x="19" y="163"/>
                    <a:pt x="19" y="163"/>
                    <a:pt x="19" y="163"/>
                  </a:cubicBezTo>
                  <a:cubicBezTo>
                    <a:pt x="19" y="189"/>
                    <a:pt x="19" y="189"/>
                    <a:pt x="19" y="189"/>
                  </a:cubicBezTo>
                  <a:cubicBezTo>
                    <a:pt x="4" y="201"/>
                    <a:pt x="4" y="201"/>
                    <a:pt x="4" y="201"/>
                  </a:cubicBezTo>
                  <a:cubicBezTo>
                    <a:pt x="2" y="211"/>
                    <a:pt x="2" y="211"/>
                    <a:pt x="2" y="211"/>
                  </a:cubicBezTo>
                  <a:cubicBezTo>
                    <a:pt x="4" y="215"/>
                    <a:pt x="4" y="215"/>
                    <a:pt x="4" y="215"/>
                  </a:cubicBezTo>
                  <a:cubicBezTo>
                    <a:pt x="7" y="236"/>
                    <a:pt x="7" y="236"/>
                    <a:pt x="7" y="236"/>
                  </a:cubicBezTo>
                  <a:cubicBezTo>
                    <a:pt x="7" y="248"/>
                    <a:pt x="7" y="248"/>
                    <a:pt x="7" y="248"/>
                  </a:cubicBezTo>
                  <a:cubicBezTo>
                    <a:pt x="2" y="263"/>
                    <a:pt x="2" y="263"/>
                    <a:pt x="2" y="263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2" y="312"/>
                    <a:pt x="2" y="312"/>
                    <a:pt x="2" y="312"/>
                  </a:cubicBezTo>
                  <a:cubicBezTo>
                    <a:pt x="2" y="338"/>
                    <a:pt x="2" y="338"/>
                    <a:pt x="2" y="338"/>
                  </a:cubicBezTo>
                  <a:cubicBezTo>
                    <a:pt x="2" y="338"/>
                    <a:pt x="2" y="338"/>
                    <a:pt x="2" y="338"/>
                  </a:cubicBezTo>
                  <a:cubicBezTo>
                    <a:pt x="118" y="338"/>
                    <a:pt x="118" y="338"/>
                    <a:pt x="118" y="338"/>
                  </a:cubicBezTo>
                  <a:cubicBezTo>
                    <a:pt x="229" y="338"/>
                    <a:pt x="229" y="338"/>
                    <a:pt x="229" y="338"/>
                  </a:cubicBezTo>
                  <a:cubicBezTo>
                    <a:pt x="229" y="338"/>
                    <a:pt x="229" y="338"/>
                    <a:pt x="229" y="338"/>
                  </a:cubicBezTo>
                  <a:cubicBezTo>
                    <a:pt x="229" y="216"/>
                    <a:pt x="229" y="216"/>
                    <a:pt x="229" y="216"/>
                  </a:cubicBezTo>
                  <a:cubicBezTo>
                    <a:pt x="222" y="216"/>
                    <a:pt x="222" y="216"/>
                    <a:pt x="222" y="216"/>
                  </a:cubicBezTo>
                  <a:cubicBezTo>
                    <a:pt x="216" y="217"/>
                    <a:pt x="216" y="217"/>
                    <a:pt x="216" y="217"/>
                  </a:cubicBezTo>
                  <a:cubicBezTo>
                    <a:pt x="205" y="221"/>
                    <a:pt x="205" y="221"/>
                    <a:pt x="205" y="221"/>
                  </a:cubicBezTo>
                  <a:cubicBezTo>
                    <a:pt x="200" y="224"/>
                    <a:pt x="200" y="224"/>
                    <a:pt x="200" y="224"/>
                  </a:cubicBezTo>
                  <a:cubicBezTo>
                    <a:pt x="198" y="225"/>
                    <a:pt x="197" y="225"/>
                    <a:pt x="196" y="225"/>
                  </a:cubicBezTo>
                  <a:cubicBezTo>
                    <a:pt x="195" y="225"/>
                    <a:pt x="195" y="225"/>
                    <a:pt x="195" y="225"/>
                  </a:cubicBezTo>
                  <a:cubicBezTo>
                    <a:pt x="194" y="224"/>
                    <a:pt x="194" y="224"/>
                    <a:pt x="194" y="224"/>
                  </a:cubicBezTo>
                  <a:cubicBezTo>
                    <a:pt x="193" y="224"/>
                    <a:pt x="189" y="224"/>
                    <a:pt x="187" y="224"/>
                  </a:cubicBezTo>
                  <a:cubicBezTo>
                    <a:pt x="185" y="224"/>
                    <a:pt x="183" y="224"/>
                    <a:pt x="183" y="224"/>
                  </a:cubicBezTo>
                  <a:cubicBezTo>
                    <a:pt x="182" y="224"/>
                    <a:pt x="181" y="223"/>
                    <a:pt x="180" y="223"/>
                  </a:cubicBezTo>
                  <a:cubicBezTo>
                    <a:pt x="179" y="223"/>
                    <a:pt x="179" y="223"/>
                    <a:pt x="178" y="224"/>
                  </a:cubicBezTo>
                  <a:cubicBezTo>
                    <a:pt x="177" y="224"/>
                    <a:pt x="176" y="224"/>
                    <a:pt x="174" y="224"/>
                  </a:cubicBezTo>
                  <a:cubicBezTo>
                    <a:pt x="162" y="224"/>
                    <a:pt x="162" y="224"/>
                    <a:pt x="162" y="224"/>
                  </a:cubicBezTo>
                  <a:cubicBezTo>
                    <a:pt x="161" y="224"/>
                    <a:pt x="157" y="222"/>
                    <a:pt x="151" y="216"/>
                  </a:cubicBezTo>
                  <a:cubicBezTo>
                    <a:pt x="150" y="213"/>
                    <a:pt x="149" y="212"/>
                    <a:pt x="147" y="212"/>
                  </a:cubicBezTo>
                  <a:cubicBezTo>
                    <a:pt x="146" y="213"/>
                    <a:pt x="146" y="213"/>
                    <a:pt x="146" y="213"/>
                  </a:cubicBezTo>
                  <a:cubicBezTo>
                    <a:pt x="145" y="214"/>
                    <a:pt x="145" y="214"/>
                    <a:pt x="145" y="214"/>
                  </a:cubicBezTo>
                  <a:cubicBezTo>
                    <a:pt x="145" y="214"/>
                    <a:pt x="145" y="214"/>
                    <a:pt x="145" y="214"/>
                  </a:cubicBezTo>
                  <a:cubicBezTo>
                    <a:pt x="145" y="214"/>
                    <a:pt x="145" y="214"/>
                    <a:pt x="145" y="214"/>
                  </a:cubicBezTo>
                  <a:cubicBezTo>
                    <a:pt x="144" y="214"/>
                    <a:pt x="144" y="214"/>
                    <a:pt x="144" y="214"/>
                  </a:cubicBezTo>
                  <a:cubicBezTo>
                    <a:pt x="144" y="206"/>
                    <a:pt x="144" y="206"/>
                    <a:pt x="144" y="206"/>
                  </a:cubicBezTo>
                  <a:cubicBezTo>
                    <a:pt x="140" y="206"/>
                    <a:pt x="140" y="206"/>
                    <a:pt x="140" y="206"/>
                  </a:cubicBezTo>
                  <a:cubicBezTo>
                    <a:pt x="133" y="194"/>
                    <a:pt x="133" y="194"/>
                    <a:pt x="133" y="194"/>
                  </a:cubicBezTo>
                  <a:cubicBezTo>
                    <a:pt x="128" y="188"/>
                    <a:pt x="128" y="188"/>
                    <a:pt x="128" y="188"/>
                  </a:cubicBezTo>
                  <a:cubicBezTo>
                    <a:pt x="128" y="173"/>
                    <a:pt x="128" y="173"/>
                    <a:pt x="128" y="173"/>
                  </a:cubicBezTo>
                  <a:cubicBezTo>
                    <a:pt x="127" y="172"/>
                    <a:pt x="122" y="168"/>
                    <a:pt x="115" y="167"/>
                  </a:cubicBezTo>
                  <a:cubicBezTo>
                    <a:pt x="114" y="166"/>
                    <a:pt x="113" y="166"/>
                    <a:pt x="113" y="166"/>
                  </a:cubicBezTo>
                  <a:cubicBezTo>
                    <a:pt x="111" y="166"/>
                    <a:pt x="111" y="166"/>
                    <a:pt x="111" y="166"/>
                  </a:cubicBezTo>
                  <a:cubicBezTo>
                    <a:pt x="110" y="166"/>
                    <a:pt x="110" y="166"/>
                    <a:pt x="110" y="166"/>
                  </a:cubicBezTo>
                  <a:cubicBezTo>
                    <a:pt x="110" y="167"/>
                    <a:pt x="110" y="167"/>
                    <a:pt x="110" y="167"/>
                  </a:cubicBezTo>
                  <a:cubicBezTo>
                    <a:pt x="100" y="167"/>
                    <a:pt x="100" y="167"/>
                    <a:pt x="100" y="167"/>
                  </a:cubicBezTo>
                  <a:cubicBezTo>
                    <a:pt x="100" y="166"/>
                    <a:pt x="100" y="166"/>
                    <a:pt x="100" y="166"/>
                  </a:cubicBezTo>
                  <a:cubicBezTo>
                    <a:pt x="100" y="163"/>
                    <a:pt x="98" y="156"/>
                    <a:pt x="100" y="153"/>
                  </a:cubicBezTo>
                  <a:cubicBezTo>
                    <a:pt x="100" y="152"/>
                    <a:pt x="100" y="151"/>
                    <a:pt x="100" y="151"/>
                  </a:cubicBezTo>
                  <a:cubicBezTo>
                    <a:pt x="100" y="151"/>
                    <a:pt x="100" y="151"/>
                    <a:pt x="100" y="151"/>
                  </a:cubicBezTo>
                  <a:cubicBezTo>
                    <a:pt x="100" y="151"/>
                    <a:pt x="99" y="150"/>
                    <a:pt x="99" y="148"/>
                  </a:cubicBezTo>
                  <a:cubicBezTo>
                    <a:pt x="98" y="144"/>
                    <a:pt x="98" y="141"/>
                    <a:pt x="99" y="141"/>
                  </a:cubicBezTo>
                  <a:cubicBezTo>
                    <a:pt x="99" y="113"/>
                    <a:pt x="99" y="113"/>
                    <a:pt x="99" y="113"/>
                  </a:cubicBezTo>
                  <a:cubicBezTo>
                    <a:pt x="93" y="107"/>
                    <a:pt x="93" y="107"/>
                    <a:pt x="93" y="107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6" y="105"/>
                    <a:pt x="80" y="102"/>
                    <a:pt x="78" y="101"/>
                  </a:cubicBezTo>
                  <a:cubicBezTo>
                    <a:pt x="78" y="101"/>
                    <a:pt x="78" y="101"/>
                    <a:pt x="78" y="101"/>
                  </a:cubicBezTo>
                  <a:cubicBezTo>
                    <a:pt x="78" y="97"/>
                    <a:pt x="78" y="97"/>
                    <a:pt x="78" y="97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87"/>
                    <a:pt x="71" y="87"/>
                    <a:pt x="71" y="87"/>
                  </a:cubicBezTo>
                  <a:cubicBezTo>
                    <a:pt x="63" y="87"/>
                    <a:pt x="63" y="87"/>
                    <a:pt x="63" y="87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69"/>
                    <a:pt x="53" y="69"/>
                    <a:pt x="53" y="69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49"/>
                    <a:pt x="2" y="149"/>
                    <a:pt x="2" y="149"/>
                  </a:cubicBezTo>
                  <a:lnTo>
                    <a:pt x="3" y="148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54" name="Hawaii">
              <a:extLst>
                <a:ext uri="{FF2B5EF4-FFF2-40B4-BE49-F238E27FC236}">
                  <a16:creationId xmlns:a16="http://schemas.microsoft.com/office/drawing/2014/main" id="{1B2AB837-7C43-46CA-A396-DE876887EE10}"/>
                </a:ext>
              </a:extLst>
            </p:cNvPr>
            <p:cNvSpPr>
              <a:spLocks noEditPoints="1"/>
            </p:cNvSpPr>
            <p:nvPr>
              <p:custDataLst>
                <p:tags r:id="rId42"/>
              </p:custDataLst>
            </p:nvPr>
          </p:nvSpPr>
          <p:spPr bwMode="auto">
            <a:xfrm>
              <a:off x="3676802" y="5009494"/>
              <a:ext cx="1747409" cy="976031"/>
            </a:xfrm>
            <a:custGeom>
              <a:avLst/>
              <a:gdLst>
                <a:gd name="T0" fmla="*/ 1 w 1313"/>
                <a:gd name="T1" fmla="*/ 1 h 734"/>
                <a:gd name="T2" fmla="*/ 10 w 1313"/>
                <a:gd name="T3" fmla="*/ 17 h 734"/>
                <a:gd name="T4" fmla="*/ 17 w 1313"/>
                <a:gd name="T5" fmla="*/ 3 h 734"/>
                <a:gd name="T6" fmla="*/ 1 w 1313"/>
                <a:gd name="T7" fmla="*/ 1 h 734"/>
                <a:gd name="T8" fmla="*/ 391 w 1313"/>
                <a:gd name="T9" fmla="*/ 194 h 734"/>
                <a:gd name="T10" fmla="*/ 458 w 1313"/>
                <a:gd name="T11" fmla="*/ 217 h 734"/>
                <a:gd name="T12" fmla="*/ 474 w 1313"/>
                <a:gd name="T13" fmla="*/ 150 h 734"/>
                <a:gd name="T14" fmla="*/ 391 w 1313"/>
                <a:gd name="T15" fmla="*/ 194 h 734"/>
                <a:gd name="T16" fmla="*/ 311 w 1313"/>
                <a:gd name="T17" fmla="*/ 233 h 734"/>
                <a:gd name="T18" fmla="*/ 322 w 1313"/>
                <a:gd name="T19" fmla="*/ 242 h 734"/>
                <a:gd name="T20" fmla="*/ 343 w 1313"/>
                <a:gd name="T21" fmla="*/ 219 h 734"/>
                <a:gd name="T22" fmla="*/ 348 w 1313"/>
                <a:gd name="T23" fmla="*/ 196 h 734"/>
                <a:gd name="T24" fmla="*/ 311 w 1313"/>
                <a:gd name="T25" fmla="*/ 233 h 734"/>
                <a:gd name="T26" fmla="*/ 766 w 1313"/>
                <a:gd name="T27" fmla="*/ 276 h 734"/>
                <a:gd name="T28" fmla="*/ 752 w 1313"/>
                <a:gd name="T29" fmla="*/ 281 h 734"/>
                <a:gd name="T30" fmla="*/ 745 w 1313"/>
                <a:gd name="T31" fmla="*/ 260 h 734"/>
                <a:gd name="T32" fmla="*/ 715 w 1313"/>
                <a:gd name="T33" fmla="*/ 230 h 734"/>
                <a:gd name="T34" fmla="*/ 690 w 1313"/>
                <a:gd name="T35" fmla="*/ 256 h 734"/>
                <a:gd name="T36" fmla="*/ 662 w 1313"/>
                <a:gd name="T37" fmla="*/ 263 h 734"/>
                <a:gd name="T38" fmla="*/ 697 w 1313"/>
                <a:gd name="T39" fmla="*/ 313 h 734"/>
                <a:gd name="T40" fmla="*/ 754 w 1313"/>
                <a:gd name="T41" fmla="*/ 318 h 734"/>
                <a:gd name="T42" fmla="*/ 782 w 1313"/>
                <a:gd name="T43" fmla="*/ 304 h 734"/>
                <a:gd name="T44" fmla="*/ 766 w 1313"/>
                <a:gd name="T45" fmla="*/ 276 h 734"/>
                <a:gd name="T46" fmla="*/ 899 w 1313"/>
                <a:gd name="T47" fmla="*/ 313 h 734"/>
                <a:gd name="T48" fmla="*/ 848 w 1313"/>
                <a:gd name="T49" fmla="*/ 315 h 734"/>
                <a:gd name="T50" fmla="*/ 842 w 1313"/>
                <a:gd name="T51" fmla="*/ 341 h 734"/>
                <a:gd name="T52" fmla="*/ 950 w 1313"/>
                <a:gd name="T53" fmla="*/ 320 h 734"/>
                <a:gd name="T54" fmla="*/ 899 w 1313"/>
                <a:gd name="T55" fmla="*/ 313 h 734"/>
                <a:gd name="T56" fmla="*/ 996 w 1313"/>
                <a:gd name="T57" fmla="*/ 366 h 734"/>
                <a:gd name="T58" fmla="*/ 952 w 1313"/>
                <a:gd name="T59" fmla="*/ 366 h 734"/>
                <a:gd name="T60" fmla="*/ 993 w 1313"/>
                <a:gd name="T61" fmla="*/ 389 h 734"/>
                <a:gd name="T62" fmla="*/ 1002 w 1313"/>
                <a:gd name="T63" fmla="*/ 426 h 734"/>
                <a:gd name="T64" fmla="*/ 1012 w 1313"/>
                <a:gd name="T65" fmla="*/ 430 h 734"/>
                <a:gd name="T66" fmla="*/ 1085 w 1313"/>
                <a:gd name="T67" fmla="*/ 384 h 734"/>
                <a:gd name="T68" fmla="*/ 996 w 1313"/>
                <a:gd name="T69" fmla="*/ 366 h 734"/>
                <a:gd name="T70" fmla="*/ 888 w 1313"/>
                <a:gd name="T71" fmla="*/ 375 h 734"/>
                <a:gd name="T72" fmla="*/ 906 w 1313"/>
                <a:gd name="T73" fmla="*/ 407 h 734"/>
                <a:gd name="T74" fmla="*/ 888 w 1313"/>
                <a:gd name="T75" fmla="*/ 375 h 734"/>
                <a:gd name="T76" fmla="*/ 986 w 1313"/>
                <a:gd name="T77" fmla="*/ 426 h 734"/>
                <a:gd name="T78" fmla="*/ 956 w 1313"/>
                <a:gd name="T79" fmla="*/ 444 h 734"/>
                <a:gd name="T80" fmla="*/ 989 w 1313"/>
                <a:gd name="T81" fmla="*/ 442 h 734"/>
                <a:gd name="T82" fmla="*/ 986 w 1313"/>
                <a:gd name="T83" fmla="*/ 426 h 734"/>
                <a:gd name="T84" fmla="*/ 1276 w 1313"/>
                <a:gd name="T85" fmla="*/ 566 h 734"/>
                <a:gd name="T86" fmla="*/ 1260 w 1313"/>
                <a:gd name="T87" fmla="*/ 566 h 734"/>
                <a:gd name="T88" fmla="*/ 1260 w 1313"/>
                <a:gd name="T89" fmla="*/ 545 h 734"/>
                <a:gd name="T90" fmla="*/ 1161 w 1313"/>
                <a:gd name="T91" fmla="*/ 502 h 734"/>
                <a:gd name="T92" fmla="*/ 1108 w 1313"/>
                <a:gd name="T93" fmla="*/ 479 h 734"/>
                <a:gd name="T94" fmla="*/ 1104 w 1313"/>
                <a:gd name="T95" fmla="*/ 481 h 734"/>
                <a:gd name="T96" fmla="*/ 1120 w 1313"/>
                <a:gd name="T97" fmla="*/ 531 h 734"/>
                <a:gd name="T98" fmla="*/ 1081 w 1313"/>
                <a:gd name="T99" fmla="*/ 584 h 734"/>
                <a:gd name="T100" fmla="*/ 1104 w 1313"/>
                <a:gd name="T101" fmla="*/ 628 h 734"/>
                <a:gd name="T102" fmla="*/ 1120 w 1313"/>
                <a:gd name="T103" fmla="*/ 658 h 734"/>
                <a:gd name="T104" fmla="*/ 1115 w 1313"/>
                <a:gd name="T105" fmla="*/ 697 h 734"/>
                <a:gd name="T106" fmla="*/ 1166 w 1313"/>
                <a:gd name="T107" fmla="*/ 734 h 734"/>
                <a:gd name="T108" fmla="*/ 1186 w 1313"/>
                <a:gd name="T109" fmla="*/ 697 h 734"/>
                <a:gd name="T110" fmla="*/ 1234 w 1313"/>
                <a:gd name="T111" fmla="*/ 660 h 734"/>
                <a:gd name="T112" fmla="*/ 1313 w 1313"/>
                <a:gd name="T113" fmla="*/ 605 h 734"/>
                <a:gd name="T114" fmla="*/ 1276 w 1313"/>
                <a:gd name="T115" fmla="*/ 566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13" h="734">
                  <a:moveTo>
                    <a:pt x="1" y="1"/>
                  </a:moveTo>
                  <a:cubicBezTo>
                    <a:pt x="0" y="10"/>
                    <a:pt x="2" y="17"/>
                    <a:pt x="10" y="17"/>
                  </a:cubicBezTo>
                  <a:cubicBezTo>
                    <a:pt x="15" y="15"/>
                    <a:pt x="18" y="11"/>
                    <a:pt x="17" y="3"/>
                  </a:cubicBezTo>
                  <a:cubicBezTo>
                    <a:pt x="9" y="5"/>
                    <a:pt x="8" y="0"/>
                    <a:pt x="1" y="1"/>
                  </a:cubicBezTo>
                  <a:close/>
                  <a:moveTo>
                    <a:pt x="391" y="194"/>
                  </a:moveTo>
                  <a:cubicBezTo>
                    <a:pt x="411" y="205"/>
                    <a:pt x="431" y="219"/>
                    <a:pt x="458" y="217"/>
                  </a:cubicBezTo>
                  <a:cubicBezTo>
                    <a:pt x="477" y="204"/>
                    <a:pt x="485" y="172"/>
                    <a:pt x="474" y="150"/>
                  </a:cubicBezTo>
                  <a:cubicBezTo>
                    <a:pt x="432" y="142"/>
                    <a:pt x="396" y="153"/>
                    <a:pt x="391" y="194"/>
                  </a:cubicBezTo>
                  <a:close/>
                  <a:moveTo>
                    <a:pt x="311" y="233"/>
                  </a:moveTo>
                  <a:cubicBezTo>
                    <a:pt x="314" y="237"/>
                    <a:pt x="316" y="242"/>
                    <a:pt x="322" y="242"/>
                  </a:cubicBezTo>
                  <a:cubicBezTo>
                    <a:pt x="324" y="229"/>
                    <a:pt x="332" y="222"/>
                    <a:pt x="343" y="219"/>
                  </a:cubicBezTo>
                  <a:cubicBezTo>
                    <a:pt x="340" y="207"/>
                    <a:pt x="348" y="205"/>
                    <a:pt x="348" y="196"/>
                  </a:cubicBezTo>
                  <a:cubicBezTo>
                    <a:pt x="329" y="202"/>
                    <a:pt x="315" y="212"/>
                    <a:pt x="311" y="233"/>
                  </a:cubicBezTo>
                  <a:close/>
                  <a:moveTo>
                    <a:pt x="766" y="276"/>
                  </a:moveTo>
                  <a:cubicBezTo>
                    <a:pt x="758" y="275"/>
                    <a:pt x="754" y="277"/>
                    <a:pt x="752" y="281"/>
                  </a:cubicBezTo>
                  <a:cubicBezTo>
                    <a:pt x="742" y="276"/>
                    <a:pt x="744" y="273"/>
                    <a:pt x="745" y="260"/>
                  </a:cubicBezTo>
                  <a:cubicBezTo>
                    <a:pt x="730" y="256"/>
                    <a:pt x="731" y="235"/>
                    <a:pt x="715" y="230"/>
                  </a:cubicBezTo>
                  <a:cubicBezTo>
                    <a:pt x="702" y="234"/>
                    <a:pt x="699" y="248"/>
                    <a:pt x="690" y="256"/>
                  </a:cubicBezTo>
                  <a:cubicBezTo>
                    <a:pt x="679" y="256"/>
                    <a:pt x="667" y="255"/>
                    <a:pt x="662" y="263"/>
                  </a:cubicBezTo>
                  <a:cubicBezTo>
                    <a:pt x="680" y="282"/>
                    <a:pt x="683" y="289"/>
                    <a:pt x="697" y="313"/>
                  </a:cubicBezTo>
                  <a:cubicBezTo>
                    <a:pt x="720" y="309"/>
                    <a:pt x="737" y="306"/>
                    <a:pt x="754" y="318"/>
                  </a:cubicBezTo>
                  <a:cubicBezTo>
                    <a:pt x="764" y="310"/>
                    <a:pt x="778" y="319"/>
                    <a:pt x="782" y="304"/>
                  </a:cubicBezTo>
                  <a:cubicBezTo>
                    <a:pt x="772" y="299"/>
                    <a:pt x="762" y="287"/>
                    <a:pt x="766" y="276"/>
                  </a:cubicBezTo>
                  <a:close/>
                  <a:moveTo>
                    <a:pt x="899" y="313"/>
                  </a:moveTo>
                  <a:cubicBezTo>
                    <a:pt x="894" y="326"/>
                    <a:pt x="864" y="314"/>
                    <a:pt x="848" y="315"/>
                  </a:cubicBezTo>
                  <a:cubicBezTo>
                    <a:pt x="855" y="327"/>
                    <a:pt x="839" y="327"/>
                    <a:pt x="842" y="341"/>
                  </a:cubicBezTo>
                  <a:cubicBezTo>
                    <a:pt x="883" y="332"/>
                    <a:pt x="936" y="365"/>
                    <a:pt x="950" y="320"/>
                  </a:cubicBezTo>
                  <a:cubicBezTo>
                    <a:pt x="927" y="314"/>
                    <a:pt x="913" y="329"/>
                    <a:pt x="899" y="313"/>
                  </a:cubicBezTo>
                  <a:close/>
                  <a:moveTo>
                    <a:pt x="996" y="366"/>
                  </a:moveTo>
                  <a:cubicBezTo>
                    <a:pt x="985" y="342"/>
                    <a:pt x="950" y="336"/>
                    <a:pt x="952" y="366"/>
                  </a:cubicBezTo>
                  <a:cubicBezTo>
                    <a:pt x="953" y="382"/>
                    <a:pt x="976" y="399"/>
                    <a:pt x="993" y="389"/>
                  </a:cubicBezTo>
                  <a:cubicBezTo>
                    <a:pt x="1000" y="397"/>
                    <a:pt x="999" y="414"/>
                    <a:pt x="1002" y="426"/>
                  </a:cubicBezTo>
                  <a:cubicBezTo>
                    <a:pt x="1007" y="426"/>
                    <a:pt x="1010" y="427"/>
                    <a:pt x="1012" y="430"/>
                  </a:cubicBezTo>
                  <a:cubicBezTo>
                    <a:pt x="1040" y="416"/>
                    <a:pt x="1081" y="425"/>
                    <a:pt x="1085" y="384"/>
                  </a:cubicBezTo>
                  <a:cubicBezTo>
                    <a:pt x="1052" y="374"/>
                    <a:pt x="1028" y="340"/>
                    <a:pt x="996" y="366"/>
                  </a:cubicBezTo>
                  <a:close/>
                  <a:moveTo>
                    <a:pt x="888" y="375"/>
                  </a:moveTo>
                  <a:cubicBezTo>
                    <a:pt x="896" y="383"/>
                    <a:pt x="903" y="393"/>
                    <a:pt x="906" y="407"/>
                  </a:cubicBezTo>
                  <a:cubicBezTo>
                    <a:pt x="966" y="409"/>
                    <a:pt x="914" y="342"/>
                    <a:pt x="888" y="375"/>
                  </a:cubicBezTo>
                  <a:close/>
                  <a:moveTo>
                    <a:pt x="986" y="426"/>
                  </a:moveTo>
                  <a:cubicBezTo>
                    <a:pt x="974" y="421"/>
                    <a:pt x="959" y="431"/>
                    <a:pt x="956" y="444"/>
                  </a:cubicBezTo>
                  <a:cubicBezTo>
                    <a:pt x="965" y="449"/>
                    <a:pt x="979" y="443"/>
                    <a:pt x="989" y="442"/>
                  </a:cubicBezTo>
                  <a:cubicBezTo>
                    <a:pt x="985" y="435"/>
                    <a:pt x="989" y="430"/>
                    <a:pt x="986" y="426"/>
                  </a:cubicBezTo>
                  <a:close/>
                  <a:moveTo>
                    <a:pt x="1276" y="566"/>
                  </a:moveTo>
                  <a:cubicBezTo>
                    <a:pt x="1269" y="563"/>
                    <a:pt x="1262" y="572"/>
                    <a:pt x="1260" y="566"/>
                  </a:cubicBezTo>
                  <a:cubicBezTo>
                    <a:pt x="1259" y="558"/>
                    <a:pt x="1256" y="553"/>
                    <a:pt x="1260" y="545"/>
                  </a:cubicBezTo>
                  <a:cubicBezTo>
                    <a:pt x="1235" y="524"/>
                    <a:pt x="1200" y="501"/>
                    <a:pt x="1161" y="502"/>
                  </a:cubicBezTo>
                  <a:cubicBezTo>
                    <a:pt x="1145" y="493"/>
                    <a:pt x="1129" y="474"/>
                    <a:pt x="1108" y="479"/>
                  </a:cubicBezTo>
                  <a:cubicBezTo>
                    <a:pt x="1106" y="479"/>
                    <a:pt x="1105" y="480"/>
                    <a:pt x="1104" y="481"/>
                  </a:cubicBezTo>
                  <a:cubicBezTo>
                    <a:pt x="1099" y="508"/>
                    <a:pt x="1116" y="513"/>
                    <a:pt x="1120" y="531"/>
                  </a:cubicBezTo>
                  <a:cubicBezTo>
                    <a:pt x="1109" y="551"/>
                    <a:pt x="1088" y="561"/>
                    <a:pt x="1081" y="584"/>
                  </a:cubicBezTo>
                  <a:cubicBezTo>
                    <a:pt x="1094" y="595"/>
                    <a:pt x="1097" y="612"/>
                    <a:pt x="1104" y="628"/>
                  </a:cubicBezTo>
                  <a:cubicBezTo>
                    <a:pt x="1108" y="638"/>
                    <a:pt x="1118" y="645"/>
                    <a:pt x="1120" y="658"/>
                  </a:cubicBezTo>
                  <a:cubicBezTo>
                    <a:pt x="1121" y="670"/>
                    <a:pt x="1112" y="685"/>
                    <a:pt x="1115" y="697"/>
                  </a:cubicBezTo>
                  <a:cubicBezTo>
                    <a:pt x="1121" y="723"/>
                    <a:pt x="1151" y="715"/>
                    <a:pt x="1166" y="734"/>
                  </a:cubicBezTo>
                  <a:cubicBezTo>
                    <a:pt x="1177" y="725"/>
                    <a:pt x="1185" y="715"/>
                    <a:pt x="1186" y="697"/>
                  </a:cubicBezTo>
                  <a:cubicBezTo>
                    <a:pt x="1204" y="686"/>
                    <a:pt x="1217" y="671"/>
                    <a:pt x="1234" y="660"/>
                  </a:cubicBezTo>
                  <a:cubicBezTo>
                    <a:pt x="1270" y="659"/>
                    <a:pt x="1300" y="636"/>
                    <a:pt x="1313" y="605"/>
                  </a:cubicBezTo>
                  <a:cubicBezTo>
                    <a:pt x="1295" y="597"/>
                    <a:pt x="1279" y="588"/>
                    <a:pt x="1276" y="56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55" name="Georgia">
              <a:extLst>
                <a:ext uri="{FF2B5EF4-FFF2-40B4-BE49-F238E27FC236}">
                  <a16:creationId xmlns:a16="http://schemas.microsoft.com/office/drawing/2014/main" id="{C985240E-1D2F-4895-8E53-0FC4A018F0DB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8058666" y="3637760"/>
              <a:ext cx="799134" cy="937896"/>
            </a:xfrm>
            <a:custGeom>
              <a:avLst/>
              <a:gdLst>
                <a:gd name="T0" fmla="*/ 469 w 478"/>
                <a:gd name="T1" fmla="*/ 367 h 561"/>
                <a:gd name="T2" fmla="*/ 452 w 478"/>
                <a:gd name="T3" fmla="*/ 343 h 561"/>
                <a:gd name="T4" fmla="*/ 440 w 478"/>
                <a:gd name="T5" fmla="*/ 343 h 561"/>
                <a:gd name="T6" fmla="*/ 426 w 478"/>
                <a:gd name="T7" fmla="*/ 334 h 561"/>
                <a:gd name="T8" fmla="*/ 426 w 478"/>
                <a:gd name="T9" fmla="*/ 315 h 561"/>
                <a:gd name="T10" fmla="*/ 409 w 478"/>
                <a:gd name="T11" fmla="*/ 298 h 561"/>
                <a:gd name="T12" fmla="*/ 409 w 478"/>
                <a:gd name="T13" fmla="*/ 258 h 561"/>
                <a:gd name="T14" fmla="*/ 400 w 478"/>
                <a:gd name="T15" fmla="*/ 248 h 561"/>
                <a:gd name="T16" fmla="*/ 388 w 478"/>
                <a:gd name="T17" fmla="*/ 237 h 561"/>
                <a:gd name="T18" fmla="*/ 369 w 478"/>
                <a:gd name="T19" fmla="*/ 225 h 561"/>
                <a:gd name="T20" fmla="*/ 369 w 478"/>
                <a:gd name="T21" fmla="*/ 203 h 561"/>
                <a:gd name="T22" fmla="*/ 355 w 478"/>
                <a:gd name="T23" fmla="*/ 203 h 561"/>
                <a:gd name="T24" fmla="*/ 355 w 478"/>
                <a:gd name="T25" fmla="*/ 182 h 561"/>
                <a:gd name="T26" fmla="*/ 343 w 478"/>
                <a:gd name="T27" fmla="*/ 170 h 561"/>
                <a:gd name="T28" fmla="*/ 331 w 478"/>
                <a:gd name="T29" fmla="*/ 170 h 561"/>
                <a:gd name="T30" fmla="*/ 315 w 478"/>
                <a:gd name="T31" fmla="*/ 161 h 561"/>
                <a:gd name="T32" fmla="*/ 315 w 478"/>
                <a:gd name="T33" fmla="*/ 147 h 561"/>
                <a:gd name="T34" fmla="*/ 296 w 478"/>
                <a:gd name="T35" fmla="*/ 135 h 561"/>
                <a:gd name="T36" fmla="*/ 289 w 478"/>
                <a:gd name="T37" fmla="*/ 113 h 561"/>
                <a:gd name="T38" fmla="*/ 286 w 478"/>
                <a:gd name="T39" fmla="*/ 85 h 561"/>
                <a:gd name="T40" fmla="*/ 263 w 478"/>
                <a:gd name="T41" fmla="*/ 78 h 561"/>
                <a:gd name="T42" fmla="*/ 227 w 478"/>
                <a:gd name="T43" fmla="*/ 40 h 561"/>
                <a:gd name="T44" fmla="*/ 227 w 478"/>
                <a:gd name="T45" fmla="*/ 0 h 561"/>
                <a:gd name="T46" fmla="*/ 227 w 478"/>
                <a:gd name="T47" fmla="*/ 0 h 561"/>
                <a:gd name="T48" fmla="*/ 97 w 478"/>
                <a:gd name="T49" fmla="*/ 0 h 561"/>
                <a:gd name="T50" fmla="*/ 97 w 478"/>
                <a:gd name="T51" fmla="*/ 0 h 561"/>
                <a:gd name="T52" fmla="*/ 0 w 478"/>
                <a:gd name="T53" fmla="*/ 0 h 561"/>
                <a:gd name="T54" fmla="*/ 0 w 478"/>
                <a:gd name="T55" fmla="*/ 21 h 561"/>
                <a:gd name="T56" fmla="*/ 10 w 478"/>
                <a:gd name="T57" fmla="*/ 52 h 561"/>
                <a:gd name="T58" fmla="*/ 10 w 478"/>
                <a:gd name="T59" fmla="*/ 149 h 561"/>
                <a:gd name="T60" fmla="*/ 19 w 478"/>
                <a:gd name="T61" fmla="*/ 168 h 561"/>
                <a:gd name="T62" fmla="*/ 19 w 478"/>
                <a:gd name="T63" fmla="*/ 182 h 561"/>
                <a:gd name="T64" fmla="*/ 33 w 478"/>
                <a:gd name="T65" fmla="*/ 213 h 561"/>
                <a:gd name="T66" fmla="*/ 33 w 478"/>
                <a:gd name="T67" fmla="*/ 274 h 561"/>
                <a:gd name="T68" fmla="*/ 48 w 478"/>
                <a:gd name="T69" fmla="*/ 312 h 561"/>
                <a:gd name="T70" fmla="*/ 48 w 478"/>
                <a:gd name="T71" fmla="*/ 511 h 561"/>
                <a:gd name="T72" fmla="*/ 50 w 478"/>
                <a:gd name="T73" fmla="*/ 514 h 561"/>
                <a:gd name="T74" fmla="*/ 59 w 478"/>
                <a:gd name="T75" fmla="*/ 530 h 561"/>
                <a:gd name="T76" fmla="*/ 81 w 478"/>
                <a:gd name="T77" fmla="*/ 542 h 561"/>
                <a:gd name="T78" fmla="*/ 182 w 478"/>
                <a:gd name="T79" fmla="*/ 542 h 561"/>
                <a:gd name="T80" fmla="*/ 206 w 478"/>
                <a:gd name="T81" fmla="*/ 561 h 561"/>
                <a:gd name="T82" fmla="*/ 350 w 478"/>
                <a:gd name="T83" fmla="*/ 561 h 561"/>
                <a:gd name="T84" fmla="*/ 364 w 478"/>
                <a:gd name="T85" fmla="*/ 537 h 561"/>
                <a:gd name="T86" fmla="*/ 372 w 478"/>
                <a:gd name="T87" fmla="*/ 530 h 561"/>
                <a:gd name="T88" fmla="*/ 388 w 478"/>
                <a:gd name="T89" fmla="*/ 523 h 561"/>
                <a:gd name="T90" fmla="*/ 443 w 478"/>
                <a:gd name="T91" fmla="*/ 407 h 561"/>
                <a:gd name="T92" fmla="*/ 452 w 478"/>
                <a:gd name="T93" fmla="*/ 407 h 561"/>
                <a:gd name="T94" fmla="*/ 443 w 478"/>
                <a:gd name="T95" fmla="*/ 398 h 561"/>
                <a:gd name="T96" fmla="*/ 452 w 478"/>
                <a:gd name="T97" fmla="*/ 398 h 561"/>
                <a:gd name="T98" fmla="*/ 461 w 478"/>
                <a:gd name="T99" fmla="*/ 388 h 561"/>
                <a:gd name="T100" fmla="*/ 469 w 478"/>
                <a:gd name="T101" fmla="*/ 388 h 561"/>
                <a:gd name="T102" fmla="*/ 478 w 478"/>
                <a:gd name="T103" fmla="*/ 379 h 561"/>
                <a:gd name="T104" fmla="*/ 478 w 478"/>
                <a:gd name="T105" fmla="*/ 376 h 561"/>
                <a:gd name="T106" fmla="*/ 473 w 478"/>
                <a:gd name="T107" fmla="*/ 372 h 561"/>
                <a:gd name="T108" fmla="*/ 469 w 478"/>
                <a:gd name="T109" fmla="*/ 367 h 561"/>
                <a:gd name="T110" fmla="*/ 469 w 478"/>
                <a:gd name="T111" fmla="*/ 367 h 561"/>
                <a:gd name="T112" fmla="*/ 469 w 478"/>
                <a:gd name="T113" fmla="*/ 367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78" h="561">
                  <a:moveTo>
                    <a:pt x="469" y="367"/>
                  </a:moveTo>
                  <a:lnTo>
                    <a:pt x="452" y="343"/>
                  </a:lnTo>
                  <a:lnTo>
                    <a:pt x="440" y="343"/>
                  </a:lnTo>
                  <a:lnTo>
                    <a:pt x="426" y="334"/>
                  </a:lnTo>
                  <a:lnTo>
                    <a:pt x="426" y="315"/>
                  </a:lnTo>
                  <a:lnTo>
                    <a:pt x="409" y="298"/>
                  </a:lnTo>
                  <a:lnTo>
                    <a:pt x="409" y="258"/>
                  </a:lnTo>
                  <a:lnTo>
                    <a:pt x="400" y="248"/>
                  </a:lnTo>
                  <a:lnTo>
                    <a:pt x="388" y="237"/>
                  </a:lnTo>
                  <a:lnTo>
                    <a:pt x="369" y="225"/>
                  </a:lnTo>
                  <a:lnTo>
                    <a:pt x="369" y="203"/>
                  </a:lnTo>
                  <a:lnTo>
                    <a:pt x="355" y="203"/>
                  </a:lnTo>
                  <a:lnTo>
                    <a:pt x="355" y="182"/>
                  </a:lnTo>
                  <a:lnTo>
                    <a:pt x="343" y="170"/>
                  </a:lnTo>
                  <a:lnTo>
                    <a:pt x="331" y="170"/>
                  </a:lnTo>
                  <a:lnTo>
                    <a:pt x="315" y="161"/>
                  </a:lnTo>
                  <a:lnTo>
                    <a:pt x="315" y="147"/>
                  </a:lnTo>
                  <a:lnTo>
                    <a:pt x="296" y="135"/>
                  </a:lnTo>
                  <a:lnTo>
                    <a:pt x="289" y="113"/>
                  </a:lnTo>
                  <a:lnTo>
                    <a:pt x="286" y="85"/>
                  </a:lnTo>
                  <a:lnTo>
                    <a:pt x="263" y="78"/>
                  </a:lnTo>
                  <a:lnTo>
                    <a:pt x="227" y="40"/>
                  </a:lnTo>
                  <a:lnTo>
                    <a:pt x="227" y="0"/>
                  </a:lnTo>
                  <a:lnTo>
                    <a:pt x="227" y="0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0" y="0"/>
                  </a:lnTo>
                  <a:lnTo>
                    <a:pt x="0" y="21"/>
                  </a:lnTo>
                  <a:lnTo>
                    <a:pt x="10" y="52"/>
                  </a:lnTo>
                  <a:lnTo>
                    <a:pt x="10" y="149"/>
                  </a:lnTo>
                  <a:lnTo>
                    <a:pt x="19" y="168"/>
                  </a:lnTo>
                  <a:lnTo>
                    <a:pt x="19" y="182"/>
                  </a:lnTo>
                  <a:lnTo>
                    <a:pt x="33" y="213"/>
                  </a:lnTo>
                  <a:lnTo>
                    <a:pt x="33" y="274"/>
                  </a:lnTo>
                  <a:lnTo>
                    <a:pt x="48" y="312"/>
                  </a:lnTo>
                  <a:lnTo>
                    <a:pt x="48" y="511"/>
                  </a:lnTo>
                  <a:lnTo>
                    <a:pt x="50" y="514"/>
                  </a:lnTo>
                  <a:lnTo>
                    <a:pt x="59" y="530"/>
                  </a:lnTo>
                  <a:lnTo>
                    <a:pt x="81" y="542"/>
                  </a:lnTo>
                  <a:lnTo>
                    <a:pt x="182" y="542"/>
                  </a:lnTo>
                  <a:lnTo>
                    <a:pt x="206" y="561"/>
                  </a:lnTo>
                  <a:lnTo>
                    <a:pt x="350" y="561"/>
                  </a:lnTo>
                  <a:lnTo>
                    <a:pt x="364" y="537"/>
                  </a:lnTo>
                  <a:lnTo>
                    <a:pt x="372" y="530"/>
                  </a:lnTo>
                  <a:lnTo>
                    <a:pt x="388" y="523"/>
                  </a:lnTo>
                  <a:lnTo>
                    <a:pt x="443" y="407"/>
                  </a:lnTo>
                  <a:lnTo>
                    <a:pt x="452" y="407"/>
                  </a:lnTo>
                  <a:lnTo>
                    <a:pt x="443" y="398"/>
                  </a:lnTo>
                  <a:lnTo>
                    <a:pt x="452" y="398"/>
                  </a:lnTo>
                  <a:lnTo>
                    <a:pt x="461" y="388"/>
                  </a:lnTo>
                  <a:lnTo>
                    <a:pt x="469" y="388"/>
                  </a:lnTo>
                  <a:lnTo>
                    <a:pt x="478" y="379"/>
                  </a:lnTo>
                  <a:lnTo>
                    <a:pt x="478" y="376"/>
                  </a:lnTo>
                  <a:lnTo>
                    <a:pt x="473" y="372"/>
                  </a:lnTo>
                  <a:lnTo>
                    <a:pt x="469" y="367"/>
                  </a:lnTo>
                  <a:lnTo>
                    <a:pt x="469" y="367"/>
                  </a:lnTo>
                  <a:lnTo>
                    <a:pt x="469" y="3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56" name="Florida">
              <a:extLst>
                <a:ext uri="{FF2B5EF4-FFF2-40B4-BE49-F238E27FC236}">
                  <a16:creationId xmlns:a16="http://schemas.microsoft.com/office/drawing/2014/main" id="{A8220E90-5443-46AE-80A1-1269C87CAFEC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7774455" y="4497080"/>
              <a:ext cx="1146875" cy="1024831"/>
            </a:xfrm>
            <a:custGeom>
              <a:avLst/>
              <a:gdLst>
                <a:gd name="T0" fmla="*/ 520 w 686"/>
                <a:gd name="T1" fmla="*/ 47 h 613"/>
                <a:gd name="T2" fmla="*/ 352 w 686"/>
                <a:gd name="T3" fmla="*/ 28 h 613"/>
                <a:gd name="T4" fmla="*/ 229 w 686"/>
                <a:gd name="T5" fmla="*/ 16 h 613"/>
                <a:gd name="T6" fmla="*/ 220 w 686"/>
                <a:gd name="T7" fmla="*/ 7 h 613"/>
                <a:gd name="T8" fmla="*/ 0 w 686"/>
                <a:gd name="T9" fmla="*/ 80 h 613"/>
                <a:gd name="T10" fmla="*/ 31 w 686"/>
                <a:gd name="T11" fmla="*/ 59 h 613"/>
                <a:gd name="T12" fmla="*/ 50 w 686"/>
                <a:gd name="T13" fmla="*/ 49 h 613"/>
                <a:gd name="T14" fmla="*/ 113 w 686"/>
                <a:gd name="T15" fmla="*/ 59 h 613"/>
                <a:gd name="T16" fmla="*/ 123 w 686"/>
                <a:gd name="T17" fmla="*/ 68 h 613"/>
                <a:gd name="T18" fmla="*/ 113 w 686"/>
                <a:gd name="T19" fmla="*/ 78 h 613"/>
                <a:gd name="T20" fmla="*/ 206 w 686"/>
                <a:gd name="T21" fmla="*/ 132 h 613"/>
                <a:gd name="T22" fmla="*/ 260 w 686"/>
                <a:gd name="T23" fmla="*/ 132 h 613"/>
                <a:gd name="T24" fmla="*/ 298 w 686"/>
                <a:gd name="T25" fmla="*/ 113 h 613"/>
                <a:gd name="T26" fmla="*/ 307 w 686"/>
                <a:gd name="T27" fmla="*/ 106 h 613"/>
                <a:gd name="T28" fmla="*/ 345 w 686"/>
                <a:gd name="T29" fmla="*/ 106 h 613"/>
                <a:gd name="T30" fmla="*/ 381 w 686"/>
                <a:gd name="T31" fmla="*/ 142 h 613"/>
                <a:gd name="T32" fmla="*/ 390 w 686"/>
                <a:gd name="T33" fmla="*/ 161 h 613"/>
                <a:gd name="T34" fmla="*/ 437 w 686"/>
                <a:gd name="T35" fmla="*/ 199 h 613"/>
                <a:gd name="T36" fmla="*/ 445 w 686"/>
                <a:gd name="T37" fmla="*/ 336 h 613"/>
                <a:gd name="T38" fmla="*/ 454 w 686"/>
                <a:gd name="T39" fmla="*/ 327 h 613"/>
                <a:gd name="T40" fmla="*/ 454 w 686"/>
                <a:gd name="T41" fmla="*/ 364 h 613"/>
                <a:gd name="T42" fmla="*/ 492 w 686"/>
                <a:gd name="T43" fmla="*/ 438 h 613"/>
                <a:gd name="T44" fmla="*/ 511 w 686"/>
                <a:gd name="T45" fmla="*/ 457 h 613"/>
                <a:gd name="T46" fmla="*/ 511 w 686"/>
                <a:gd name="T47" fmla="*/ 476 h 613"/>
                <a:gd name="T48" fmla="*/ 546 w 686"/>
                <a:gd name="T49" fmla="*/ 540 h 613"/>
                <a:gd name="T50" fmla="*/ 575 w 686"/>
                <a:gd name="T51" fmla="*/ 549 h 613"/>
                <a:gd name="T52" fmla="*/ 584 w 686"/>
                <a:gd name="T53" fmla="*/ 604 h 613"/>
                <a:gd name="T54" fmla="*/ 594 w 686"/>
                <a:gd name="T55" fmla="*/ 613 h 613"/>
                <a:gd name="T56" fmla="*/ 657 w 686"/>
                <a:gd name="T57" fmla="*/ 594 h 613"/>
                <a:gd name="T58" fmla="*/ 676 w 686"/>
                <a:gd name="T59" fmla="*/ 594 h 613"/>
                <a:gd name="T60" fmla="*/ 686 w 686"/>
                <a:gd name="T61" fmla="*/ 521 h 613"/>
                <a:gd name="T62" fmla="*/ 639 w 686"/>
                <a:gd name="T63" fmla="*/ 308 h 613"/>
                <a:gd name="T64" fmla="*/ 556 w 686"/>
                <a:gd name="T65" fmla="*/ 49 h 613"/>
                <a:gd name="T66" fmla="*/ 556 w 686"/>
                <a:gd name="T67" fmla="*/ 14 h 613"/>
                <a:gd name="T68" fmla="*/ 542 w 686"/>
                <a:gd name="T69" fmla="*/ 16 h 613"/>
                <a:gd name="T70" fmla="*/ 534 w 686"/>
                <a:gd name="T71" fmla="*/ 23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86" h="613">
                  <a:moveTo>
                    <a:pt x="534" y="23"/>
                  </a:moveTo>
                  <a:lnTo>
                    <a:pt x="520" y="47"/>
                  </a:lnTo>
                  <a:lnTo>
                    <a:pt x="376" y="47"/>
                  </a:lnTo>
                  <a:lnTo>
                    <a:pt x="352" y="28"/>
                  </a:lnTo>
                  <a:lnTo>
                    <a:pt x="251" y="28"/>
                  </a:lnTo>
                  <a:lnTo>
                    <a:pt x="229" y="16"/>
                  </a:lnTo>
                  <a:lnTo>
                    <a:pt x="220" y="0"/>
                  </a:lnTo>
                  <a:lnTo>
                    <a:pt x="220" y="7"/>
                  </a:lnTo>
                  <a:lnTo>
                    <a:pt x="0" y="7"/>
                  </a:lnTo>
                  <a:lnTo>
                    <a:pt x="0" y="80"/>
                  </a:lnTo>
                  <a:lnTo>
                    <a:pt x="21" y="78"/>
                  </a:lnTo>
                  <a:lnTo>
                    <a:pt x="31" y="59"/>
                  </a:lnTo>
                  <a:lnTo>
                    <a:pt x="40" y="59"/>
                  </a:lnTo>
                  <a:lnTo>
                    <a:pt x="50" y="49"/>
                  </a:lnTo>
                  <a:lnTo>
                    <a:pt x="50" y="68"/>
                  </a:lnTo>
                  <a:lnTo>
                    <a:pt x="113" y="59"/>
                  </a:lnTo>
                  <a:lnTo>
                    <a:pt x="123" y="59"/>
                  </a:lnTo>
                  <a:lnTo>
                    <a:pt x="123" y="68"/>
                  </a:lnTo>
                  <a:lnTo>
                    <a:pt x="113" y="68"/>
                  </a:lnTo>
                  <a:lnTo>
                    <a:pt x="113" y="78"/>
                  </a:lnTo>
                  <a:lnTo>
                    <a:pt x="187" y="106"/>
                  </a:lnTo>
                  <a:lnTo>
                    <a:pt x="206" y="132"/>
                  </a:lnTo>
                  <a:lnTo>
                    <a:pt x="215" y="142"/>
                  </a:lnTo>
                  <a:lnTo>
                    <a:pt x="260" y="132"/>
                  </a:lnTo>
                  <a:lnTo>
                    <a:pt x="279" y="113"/>
                  </a:lnTo>
                  <a:lnTo>
                    <a:pt x="298" y="113"/>
                  </a:lnTo>
                  <a:lnTo>
                    <a:pt x="298" y="106"/>
                  </a:lnTo>
                  <a:lnTo>
                    <a:pt x="307" y="106"/>
                  </a:lnTo>
                  <a:lnTo>
                    <a:pt x="317" y="106"/>
                  </a:lnTo>
                  <a:lnTo>
                    <a:pt x="345" y="106"/>
                  </a:lnTo>
                  <a:lnTo>
                    <a:pt x="371" y="142"/>
                  </a:lnTo>
                  <a:lnTo>
                    <a:pt x="381" y="142"/>
                  </a:lnTo>
                  <a:lnTo>
                    <a:pt x="381" y="161"/>
                  </a:lnTo>
                  <a:lnTo>
                    <a:pt x="390" y="161"/>
                  </a:lnTo>
                  <a:lnTo>
                    <a:pt x="419" y="189"/>
                  </a:lnTo>
                  <a:lnTo>
                    <a:pt x="437" y="199"/>
                  </a:lnTo>
                  <a:lnTo>
                    <a:pt x="445" y="208"/>
                  </a:lnTo>
                  <a:lnTo>
                    <a:pt x="445" y="336"/>
                  </a:lnTo>
                  <a:lnTo>
                    <a:pt x="454" y="336"/>
                  </a:lnTo>
                  <a:lnTo>
                    <a:pt x="454" y="327"/>
                  </a:lnTo>
                  <a:lnTo>
                    <a:pt x="464" y="327"/>
                  </a:lnTo>
                  <a:lnTo>
                    <a:pt x="454" y="364"/>
                  </a:lnTo>
                  <a:lnTo>
                    <a:pt x="464" y="383"/>
                  </a:lnTo>
                  <a:lnTo>
                    <a:pt x="492" y="438"/>
                  </a:lnTo>
                  <a:lnTo>
                    <a:pt x="511" y="428"/>
                  </a:lnTo>
                  <a:lnTo>
                    <a:pt x="511" y="457"/>
                  </a:lnTo>
                  <a:lnTo>
                    <a:pt x="520" y="457"/>
                  </a:lnTo>
                  <a:lnTo>
                    <a:pt x="511" y="476"/>
                  </a:lnTo>
                  <a:lnTo>
                    <a:pt x="539" y="530"/>
                  </a:lnTo>
                  <a:lnTo>
                    <a:pt x="546" y="540"/>
                  </a:lnTo>
                  <a:lnTo>
                    <a:pt x="565" y="540"/>
                  </a:lnTo>
                  <a:lnTo>
                    <a:pt x="575" y="549"/>
                  </a:lnTo>
                  <a:lnTo>
                    <a:pt x="584" y="587"/>
                  </a:lnTo>
                  <a:lnTo>
                    <a:pt x="584" y="604"/>
                  </a:lnTo>
                  <a:lnTo>
                    <a:pt x="594" y="604"/>
                  </a:lnTo>
                  <a:lnTo>
                    <a:pt x="594" y="613"/>
                  </a:lnTo>
                  <a:lnTo>
                    <a:pt x="631" y="613"/>
                  </a:lnTo>
                  <a:lnTo>
                    <a:pt x="657" y="594"/>
                  </a:lnTo>
                  <a:lnTo>
                    <a:pt x="667" y="604"/>
                  </a:lnTo>
                  <a:lnTo>
                    <a:pt x="676" y="594"/>
                  </a:lnTo>
                  <a:lnTo>
                    <a:pt x="667" y="587"/>
                  </a:lnTo>
                  <a:lnTo>
                    <a:pt x="686" y="521"/>
                  </a:lnTo>
                  <a:lnTo>
                    <a:pt x="686" y="428"/>
                  </a:lnTo>
                  <a:lnTo>
                    <a:pt x="639" y="308"/>
                  </a:lnTo>
                  <a:lnTo>
                    <a:pt x="639" y="263"/>
                  </a:lnTo>
                  <a:lnTo>
                    <a:pt x="556" y="49"/>
                  </a:lnTo>
                  <a:lnTo>
                    <a:pt x="556" y="40"/>
                  </a:lnTo>
                  <a:lnTo>
                    <a:pt x="556" y="14"/>
                  </a:lnTo>
                  <a:lnTo>
                    <a:pt x="558" y="9"/>
                  </a:lnTo>
                  <a:lnTo>
                    <a:pt x="542" y="16"/>
                  </a:lnTo>
                  <a:lnTo>
                    <a:pt x="534" y="23"/>
                  </a:lnTo>
                  <a:lnTo>
                    <a:pt x="534" y="23"/>
                  </a:lnTo>
                  <a:lnTo>
                    <a:pt x="534" y="23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57" name="Delaware">
              <a:extLst>
                <a:ext uri="{FF2B5EF4-FFF2-40B4-BE49-F238E27FC236}">
                  <a16:creationId xmlns:a16="http://schemas.microsoft.com/office/drawing/2014/main" id="{B35CB737-D997-4445-BA0C-EF55826FAB87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9608451" y="2888888"/>
              <a:ext cx="107288" cy="213887"/>
            </a:xfrm>
            <a:custGeom>
              <a:avLst/>
              <a:gdLst>
                <a:gd name="connsiteX0" fmla="*/ 15489 w 107288"/>
                <a:gd name="connsiteY0" fmla="*/ 0 h 213887"/>
                <a:gd name="connsiteX1" fmla="*/ 23032 w 107288"/>
                <a:gd name="connsiteY1" fmla="*/ 10620 h 213887"/>
                <a:gd name="connsiteX2" fmla="*/ 19868 w 107288"/>
                <a:gd name="connsiteY2" fmla="*/ 7727 h 213887"/>
                <a:gd name="connsiteX3" fmla="*/ 19868 w 107288"/>
                <a:gd name="connsiteY3" fmla="*/ 39444 h 213887"/>
                <a:gd name="connsiteX4" fmla="*/ 107288 w 107288"/>
                <a:gd name="connsiteY4" fmla="*/ 209923 h 213887"/>
                <a:gd name="connsiteX5" fmla="*/ 107288 w 107288"/>
                <a:gd name="connsiteY5" fmla="*/ 213887 h 213887"/>
                <a:gd name="connsiteX6" fmla="*/ 0 w 107288"/>
                <a:gd name="connsiteY6" fmla="*/ 213887 h 213887"/>
                <a:gd name="connsiteX7" fmla="*/ 0 w 107288"/>
                <a:gd name="connsiteY7" fmla="*/ 7727 h 213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288" h="213887">
                  <a:moveTo>
                    <a:pt x="15489" y="0"/>
                  </a:moveTo>
                  <a:lnTo>
                    <a:pt x="23032" y="10620"/>
                  </a:lnTo>
                  <a:lnTo>
                    <a:pt x="19868" y="7727"/>
                  </a:lnTo>
                  <a:cubicBezTo>
                    <a:pt x="19868" y="7727"/>
                    <a:pt x="19868" y="7727"/>
                    <a:pt x="19868" y="39444"/>
                  </a:cubicBezTo>
                  <a:cubicBezTo>
                    <a:pt x="19868" y="39444"/>
                    <a:pt x="19868" y="39444"/>
                    <a:pt x="107288" y="209923"/>
                  </a:cubicBezTo>
                  <a:cubicBezTo>
                    <a:pt x="107288" y="209923"/>
                    <a:pt x="107288" y="209923"/>
                    <a:pt x="107288" y="213887"/>
                  </a:cubicBezTo>
                  <a:cubicBezTo>
                    <a:pt x="107288" y="213887"/>
                    <a:pt x="107288" y="213887"/>
                    <a:pt x="0" y="213887"/>
                  </a:cubicBezTo>
                  <a:cubicBezTo>
                    <a:pt x="0" y="213887"/>
                    <a:pt x="0" y="213887"/>
                    <a:pt x="0" y="7727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/>
            </a:p>
          </p:txBody>
        </p:sp>
        <p:sp>
          <p:nvSpPr>
            <p:cNvPr id="158" name="Connecticut">
              <a:extLst>
                <a:ext uri="{FF2B5EF4-FFF2-40B4-BE49-F238E27FC236}">
                  <a16:creationId xmlns:a16="http://schemas.microsoft.com/office/drawing/2014/main" id="{E70C8810-C63C-48E9-B6E2-0515317485E4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9984613" y="2408967"/>
              <a:ext cx="225697" cy="187245"/>
            </a:xfrm>
            <a:custGeom>
              <a:avLst/>
              <a:gdLst>
                <a:gd name="T0" fmla="*/ 57 w 57"/>
                <a:gd name="T1" fmla="*/ 0 h 47"/>
                <a:gd name="T2" fmla="*/ 57 w 57"/>
                <a:gd name="T3" fmla="*/ 0 h 47"/>
                <a:gd name="T4" fmla="*/ 8 w 57"/>
                <a:gd name="T5" fmla="*/ 0 h 47"/>
                <a:gd name="T6" fmla="*/ 7 w 57"/>
                <a:gd name="T7" fmla="*/ 31 h 47"/>
                <a:gd name="T8" fmla="*/ 7 w 57"/>
                <a:gd name="T9" fmla="*/ 32 h 47"/>
                <a:gd name="T10" fmla="*/ 0 w 57"/>
                <a:gd name="T11" fmla="*/ 37 h 47"/>
                <a:gd name="T12" fmla="*/ 0 w 57"/>
                <a:gd name="T13" fmla="*/ 47 h 47"/>
                <a:gd name="T14" fmla="*/ 8 w 57"/>
                <a:gd name="T15" fmla="*/ 45 h 47"/>
                <a:gd name="T16" fmla="*/ 12 w 57"/>
                <a:gd name="T17" fmla="*/ 41 h 47"/>
                <a:gd name="T18" fmla="*/ 16 w 57"/>
                <a:gd name="T19" fmla="*/ 37 h 47"/>
                <a:gd name="T20" fmla="*/ 28 w 57"/>
                <a:gd name="T21" fmla="*/ 41 h 47"/>
                <a:gd name="T22" fmla="*/ 56 w 57"/>
                <a:gd name="T23" fmla="*/ 36 h 47"/>
                <a:gd name="T24" fmla="*/ 57 w 57"/>
                <a:gd name="T25" fmla="*/ 35 h 47"/>
                <a:gd name="T26" fmla="*/ 57 w 57"/>
                <a:gd name="T27" fmla="*/ 1 h 47"/>
                <a:gd name="T28" fmla="*/ 57 w 57"/>
                <a:gd name="T2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47">
                  <a:moveTo>
                    <a:pt x="57" y="0"/>
                  </a:moveTo>
                  <a:cubicBezTo>
                    <a:pt x="57" y="0"/>
                    <a:pt x="57" y="0"/>
                    <a:pt x="5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4"/>
                    <a:pt x="7" y="28"/>
                    <a:pt x="7" y="31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7" y="35"/>
                    <a:pt x="57" y="35"/>
                    <a:pt x="57" y="35"/>
                  </a:cubicBezTo>
                  <a:cubicBezTo>
                    <a:pt x="57" y="1"/>
                    <a:pt x="57" y="1"/>
                    <a:pt x="57" y="1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59" name="Colorado">
              <a:extLst>
                <a:ext uri="{FF2B5EF4-FFF2-40B4-BE49-F238E27FC236}">
                  <a16:creationId xmlns:a16="http://schemas.microsoft.com/office/drawing/2014/main" id="{8FFCB493-2016-47A9-8C44-D35A1A8B6E59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4504358" y="2449091"/>
              <a:ext cx="1063283" cy="740620"/>
            </a:xfrm>
            <a:custGeom>
              <a:avLst/>
              <a:gdLst>
                <a:gd name="T0" fmla="*/ 634 w 636"/>
                <a:gd name="T1" fmla="*/ 102 h 443"/>
                <a:gd name="T2" fmla="*/ 634 w 636"/>
                <a:gd name="T3" fmla="*/ 100 h 443"/>
                <a:gd name="T4" fmla="*/ 636 w 636"/>
                <a:gd name="T5" fmla="*/ 100 h 443"/>
                <a:gd name="T6" fmla="*/ 636 w 636"/>
                <a:gd name="T7" fmla="*/ 0 h 443"/>
                <a:gd name="T8" fmla="*/ 440 w 636"/>
                <a:gd name="T9" fmla="*/ 0 h 443"/>
                <a:gd name="T10" fmla="*/ 2 w 636"/>
                <a:gd name="T11" fmla="*/ 0 h 443"/>
                <a:gd name="T12" fmla="*/ 0 w 636"/>
                <a:gd name="T13" fmla="*/ 0 h 443"/>
                <a:gd name="T14" fmla="*/ 0 w 636"/>
                <a:gd name="T15" fmla="*/ 441 h 443"/>
                <a:gd name="T16" fmla="*/ 0 w 636"/>
                <a:gd name="T17" fmla="*/ 443 h 443"/>
                <a:gd name="T18" fmla="*/ 2 w 636"/>
                <a:gd name="T19" fmla="*/ 443 h 443"/>
                <a:gd name="T20" fmla="*/ 539 w 636"/>
                <a:gd name="T21" fmla="*/ 443 h 443"/>
                <a:gd name="T22" fmla="*/ 634 w 636"/>
                <a:gd name="T23" fmla="*/ 443 h 443"/>
                <a:gd name="T24" fmla="*/ 634 w 636"/>
                <a:gd name="T25" fmla="*/ 102 h 443"/>
                <a:gd name="T26" fmla="*/ 634 w 636"/>
                <a:gd name="T27" fmla="*/ 102 h 443"/>
                <a:gd name="T28" fmla="*/ 634 w 636"/>
                <a:gd name="T29" fmla="*/ 102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36" h="443">
                  <a:moveTo>
                    <a:pt x="634" y="102"/>
                  </a:moveTo>
                  <a:lnTo>
                    <a:pt x="634" y="100"/>
                  </a:lnTo>
                  <a:lnTo>
                    <a:pt x="636" y="100"/>
                  </a:lnTo>
                  <a:lnTo>
                    <a:pt x="636" y="0"/>
                  </a:lnTo>
                  <a:lnTo>
                    <a:pt x="440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441"/>
                  </a:lnTo>
                  <a:lnTo>
                    <a:pt x="0" y="443"/>
                  </a:lnTo>
                  <a:lnTo>
                    <a:pt x="2" y="443"/>
                  </a:lnTo>
                  <a:lnTo>
                    <a:pt x="539" y="443"/>
                  </a:lnTo>
                  <a:lnTo>
                    <a:pt x="634" y="443"/>
                  </a:lnTo>
                  <a:lnTo>
                    <a:pt x="634" y="102"/>
                  </a:lnTo>
                  <a:lnTo>
                    <a:pt x="634" y="102"/>
                  </a:lnTo>
                  <a:lnTo>
                    <a:pt x="634" y="102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60" name="California">
              <a:extLst>
                <a:ext uri="{FF2B5EF4-FFF2-40B4-BE49-F238E27FC236}">
                  <a16:creationId xmlns:a16="http://schemas.microsoft.com/office/drawing/2014/main" id="{69BF095E-CD9F-4A6E-A0F3-7807458EF12F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2130361" y="2223394"/>
              <a:ext cx="1546442" cy="2016225"/>
            </a:xfrm>
            <a:custGeom>
              <a:avLst/>
              <a:gdLst>
                <a:gd name="T0" fmla="*/ 387 w 391"/>
                <a:gd name="T1" fmla="*/ 493 h 509"/>
                <a:gd name="T2" fmla="*/ 387 w 391"/>
                <a:gd name="T3" fmla="*/ 471 h 509"/>
                <a:gd name="T4" fmla="*/ 391 w 391"/>
                <a:gd name="T5" fmla="*/ 459 h 509"/>
                <a:gd name="T6" fmla="*/ 391 w 391"/>
                <a:gd name="T7" fmla="*/ 455 h 509"/>
                <a:gd name="T8" fmla="*/ 384 w 391"/>
                <a:gd name="T9" fmla="*/ 439 h 509"/>
                <a:gd name="T10" fmla="*/ 384 w 391"/>
                <a:gd name="T11" fmla="*/ 421 h 509"/>
                <a:gd name="T12" fmla="*/ 384 w 391"/>
                <a:gd name="T13" fmla="*/ 411 h 509"/>
                <a:gd name="T14" fmla="*/ 386 w 391"/>
                <a:gd name="T15" fmla="*/ 400 h 509"/>
                <a:gd name="T16" fmla="*/ 387 w 391"/>
                <a:gd name="T17" fmla="*/ 390 h 509"/>
                <a:gd name="T18" fmla="*/ 386 w 391"/>
                <a:gd name="T19" fmla="*/ 357 h 509"/>
                <a:gd name="T20" fmla="*/ 169 w 391"/>
                <a:gd name="T21" fmla="*/ 142 h 509"/>
                <a:gd name="T22" fmla="*/ 0 w 391"/>
                <a:gd name="T23" fmla="*/ 0 h 509"/>
                <a:gd name="T24" fmla="*/ 15 w 391"/>
                <a:gd name="T25" fmla="*/ 80 h 509"/>
                <a:gd name="T26" fmla="*/ 4 w 391"/>
                <a:gd name="T27" fmla="*/ 123 h 509"/>
                <a:gd name="T28" fmla="*/ 11 w 391"/>
                <a:gd name="T29" fmla="*/ 139 h 509"/>
                <a:gd name="T30" fmla="*/ 27 w 391"/>
                <a:gd name="T31" fmla="*/ 170 h 509"/>
                <a:gd name="T32" fmla="*/ 35 w 391"/>
                <a:gd name="T33" fmla="*/ 209 h 509"/>
                <a:gd name="T34" fmla="*/ 58 w 391"/>
                <a:gd name="T35" fmla="*/ 236 h 509"/>
                <a:gd name="T36" fmla="*/ 58 w 391"/>
                <a:gd name="T37" fmla="*/ 248 h 509"/>
                <a:gd name="T38" fmla="*/ 70 w 391"/>
                <a:gd name="T39" fmla="*/ 252 h 509"/>
                <a:gd name="T40" fmla="*/ 74 w 391"/>
                <a:gd name="T41" fmla="*/ 252 h 509"/>
                <a:gd name="T42" fmla="*/ 78 w 391"/>
                <a:gd name="T43" fmla="*/ 240 h 509"/>
                <a:gd name="T44" fmla="*/ 97 w 391"/>
                <a:gd name="T45" fmla="*/ 244 h 509"/>
                <a:gd name="T46" fmla="*/ 86 w 391"/>
                <a:gd name="T47" fmla="*/ 248 h 509"/>
                <a:gd name="T48" fmla="*/ 86 w 391"/>
                <a:gd name="T49" fmla="*/ 256 h 509"/>
                <a:gd name="T50" fmla="*/ 93 w 391"/>
                <a:gd name="T51" fmla="*/ 271 h 509"/>
                <a:gd name="T52" fmla="*/ 82 w 391"/>
                <a:gd name="T53" fmla="*/ 260 h 509"/>
                <a:gd name="T54" fmla="*/ 78 w 391"/>
                <a:gd name="T55" fmla="*/ 263 h 509"/>
                <a:gd name="T56" fmla="*/ 89 w 391"/>
                <a:gd name="T57" fmla="*/ 299 h 509"/>
                <a:gd name="T58" fmla="*/ 105 w 391"/>
                <a:gd name="T59" fmla="*/ 306 h 509"/>
                <a:gd name="T60" fmla="*/ 97 w 391"/>
                <a:gd name="T61" fmla="*/ 318 h 509"/>
                <a:gd name="T62" fmla="*/ 136 w 391"/>
                <a:gd name="T63" fmla="*/ 369 h 509"/>
                <a:gd name="T64" fmla="*/ 140 w 391"/>
                <a:gd name="T65" fmla="*/ 381 h 509"/>
                <a:gd name="T66" fmla="*/ 148 w 391"/>
                <a:gd name="T67" fmla="*/ 388 h 509"/>
                <a:gd name="T68" fmla="*/ 148 w 391"/>
                <a:gd name="T69" fmla="*/ 396 h 509"/>
                <a:gd name="T70" fmla="*/ 152 w 391"/>
                <a:gd name="T71" fmla="*/ 416 h 509"/>
                <a:gd name="T72" fmla="*/ 179 w 391"/>
                <a:gd name="T73" fmla="*/ 423 h 509"/>
                <a:gd name="T74" fmla="*/ 187 w 391"/>
                <a:gd name="T75" fmla="*/ 420 h 509"/>
                <a:gd name="T76" fmla="*/ 203 w 391"/>
                <a:gd name="T77" fmla="*/ 431 h 509"/>
                <a:gd name="T78" fmla="*/ 222 w 391"/>
                <a:gd name="T79" fmla="*/ 439 h 509"/>
                <a:gd name="T80" fmla="*/ 226 w 391"/>
                <a:gd name="T81" fmla="*/ 435 h 509"/>
                <a:gd name="T82" fmla="*/ 234 w 391"/>
                <a:gd name="T83" fmla="*/ 443 h 509"/>
                <a:gd name="T84" fmla="*/ 246 w 391"/>
                <a:gd name="T85" fmla="*/ 455 h 509"/>
                <a:gd name="T86" fmla="*/ 281 w 391"/>
                <a:gd name="T87" fmla="*/ 486 h 509"/>
                <a:gd name="T88" fmla="*/ 285 w 391"/>
                <a:gd name="T89" fmla="*/ 509 h 509"/>
                <a:gd name="T90" fmla="*/ 374 w 391"/>
                <a:gd name="T91" fmla="*/ 505 h 509"/>
                <a:gd name="T92" fmla="*/ 387 w 391"/>
                <a:gd name="T93" fmla="*/ 503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91" h="509">
                  <a:moveTo>
                    <a:pt x="388" y="495"/>
                  </a:moveTo>
                  <a:cubicBezTo>
                    <a:pt x="388" y="495"/>
                    <a:pt x="387" y="494"/>
                    <a:pt x="387" y="493"/>
                  </a:cubicBezTo>
                  <a:cubicBezTo>
                    <a:pt x="386" y="489"/>
                    <a:pt x="387" y="481"/>
                    <a:pt x="387" y="481"/>
                  </a:cubicBezTo>
                  <a:cubicBezTo>
                    <a:pt x="387" y="481"/>
                    <a:pt x="389" y="474"/>
                    <a:pt x="387" y="471"/>
                  </a:cubicBezTo>
                  <a:cubicBezTo>
                    <a:pt x="386" y="470"/>
                    <a:pt x="387" y="468"/>
                    <a:pt x="389" y="465"/>
                  </a:cubicBezTo>
                  <a:cubicBezTo>
                    <a:pt x="390" y="463"/>
                    <a:pt x="391" y="461"/>
                    <a:pt x="391" y="459"/>
                  </a:cubicBezTo>
                  <a:cubicBezTo>
                    <a:pt x="391" y="458"/>
                    <a:pt x="391" y="457"/>
                    <a:pt x="391" y="456"/>
                  </a:cubicBezTo>
                  <a:cubicBezTo>
                    <a:pt x="391" y="455"/>
                    <a:pt x="391" y="455"/>
                    <a:pt x="391" y="455"/>
                  </a:cubicBezTo>
                  <a:cubicBezTo>
                    <a:pt x="391" y="449"/>
                    <a:pt x="391" y="449"/>
                    <a:pt x="391" y="449"/>
                  </a:cubicBezTo>
                  <a:cubicBezTo>
                    <a:pt x="384" y="439"/>
                    <a:pt x="384" y="439"/>
                    <a:pt x="384" y="439"/>
                  </a:cubicBezTo>
                  <a:cubicBezTo>
                    <a:pt x="384" y="422"/>
                    <a:pt x="384" y="422"/>
                    <a:pt x="384" y="422"/>
                  </a:cubicBezTo>
                  <a:cubicBezTo>
                    <a:pt x="384" y="421"/>
                    <a:pt x="384" y="421"/>
                    <a:pt x="384" y="421"/>
                  </a:cubicBezTo>
                  <a:cubicBezTo>
                    <a:pt x="383" y="421"/>
                    <a:pt x="383" y="421"/>
                    <a:pt x="383" y="421"/>
                  </a:cubicBezTo>
                  <a:cubicBezTo>
                    <a:pt x="383" y="420"/>
                    <a:pt x="382" y="420"/>
                    <a:pt x="384" y="411"/>
                  </a:cubicBezTo>
                  <a:cubicBezTo>
                    <a:pt x="386" y="401"/>
                    <a:pt x="386" y="401"/>
                    <a:pt x="386" y="401"/>
                  </a:cubicBezTo>
                  <a:cubicBezTo>
                    <a:pt x="386" y="400"/>
                    <a:pt x="386" y="400"/>
                    <a:pt x="386" y="400"/>
                  </a:cubicBezTo>
                  <a:cubicBezTo>
                    <a:pt x="385" y="399"/>
                    <a:pt x="385" y="399"/>
                    <a:pt x="385" y="399"/>
                  </a:cubicBezTo>
                  <a:cubicBezTo>
                    <a:pt x="385" y="399"/>
                    <a:pt x="384" y="398"/>
                    <a:pt x="387" y="390"/>
                  </a:cubicBezTo>
                  <a:cubicBezTo>
                    <a:pt x="391" y="378"/>
                    <a:pt x="391" y="378"/>
                    <a:pt x="391" y="378"/>
                  </a:cubicBezTo>
                  <a:cubicBezTo>
                    <a:pt x="386" y="357"/>
                    <a:pt x="386" y="357"/>
                    <a:pt x="386" y="357"/>
                  </a:cubicBezTo>
                  <a:cubicBezTo>
                    <a:pt x="386" y="357"/>
                    <a:pt x="386" y="357"/>
                    <a:pt x="386" y="357"/>
                  </a:cubicBezTo>
                  <a:cubicBezTo>
                    <a:pt x="169" y="142"/>
                    <a:pt x="169" y="142"/>
                    <a:pt x="169" y="142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5" y="80"/>
                    <a:pt x="15" y="80"/>
                    <a:pt x="15" y="80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7" y="135"/>
                    <a:pt x="7" y="135"/>
                    <a:pt x="7" y="135"/>
                  </a:cubicBezTo>
                  <a:cubicBezTo>
                    <a:pt x="11" y="139"/>
                    <a:pt x="11" y="139"/>
                    <a:pt x="11" y="139"/>
                  </a:cubicBezTo>
                  <a:cubicBezTo>
                    <a:pt x="27" y="166"/>
                    <a:pt x="27" y="166"/>
                    <a:pt x="27" y="166"/>
                  </a:cubicBezTo>
                  <a:cubicBezTo>
                    <a:pt x="27" y="170"/>
                    <a:pt x="27" y="170"/>
                    <a:pt x="27" y="170"/>
                  </a:cubicBezTo>
                  <a:cubicBezTo>
                    <a:pt x="27" y="181"/>
                    <a:pt x="27" y="181"/>
                    <a:pt x="27" y="181"/>
                  </a:cubicBezTo>
                  <a:cubicBezTo>
                    <a:pt x="35" y="209"/>
                    <a:pt x="35" y="209"/>
                    <a:pt x="35" y="209"/>
                  </a:cubicBezTo>
                  <a:cubicBezTo>
                    <a:pt x="54" y="232"/>
                    <a:pt x="54" y="232"/>
                    <a:pt x="54" y="232"/>
                  </a:cubicBezTo>
                  <a:cubicBezTo>
                    <a:pt x="58" y="236"/>
                    <a:pt x="58" y="236"/>
                    <a:pt x="58" y="236"/>
                  </a:cubicBezTo>
                  <a:cubicBezTo>
                    <a:pt x="58" y="244"/>
                    <a:pt x="58" y="244"/>
                    <a:pt x="58" y="244"/>
                  </a:cubicBezTo>
                  <a:cubicBezTo>
                    <a:pt x="58" y="248"/>
                    <a:pt x="58" y="248"/>
                    <a:pt x="58" y="248"/>
                  </a:cubicBezTo>
                  <a:cubicBezTo>
                    <a:pt x="66" y="252"/>
                    <a:pt x="66" y="252"/>
                    <a:pt x="66" y="252"/>
                  </a:cubicBezTo>
                  <a:cubicBezTo>
                    <a:pt x="70" y="252"/>
                    <a:pt x="70" y="252"/>
                    <a:pt x="70" y="252"/>
                  </a:cubicBezTo>
                  <a:cubicBezTo>
                    <a:pt x="74" y="256"/>
                    <a:pt x="74" y="256"/>
                    <a:pt x="74" y="256"/>
                  </a:cubicBezTo>
                  <a:cubicBezTo>
                    <a:pt x="74" y="252"/>
                    <a:pt x="74" y="252"/>
                    <a:pt x="74" y="252"/>
                  </a:cubicBezTo>
                  <a:cubicBezTo>
                    <a:pt x="78" y="252"/>
                    <a:pt x="78" y="252"/>
                    <a:pt x="78" y="252"/>
                  </a:cubicBezTo>
                  <a:cubicBezTo>
                    <a:pt x="78" y="240"/>
                    <a:pt x="78" y="240"/>
                    <a:pt x="78" y="240"/>
                  </a:cubicBezTo>
                  <a:cubicBezTo>
                    <a:pt x="86" y="240"/>
                    <a:pt x="86" y="240"/>
                    <a:pt x="86" y="240"/>
                  </a:cubicBezTo>
                  <a:cubicBezTo>
                    <a:pt x="97" y="244"/>
                    <a:pt x="97" y="244"/>
                    <a:pt x="97" y="244"/>
                  </a:cubicBezTo>
                  <a:cubicBezTo>
                    <a:pt x="89" y="248"/>
                    <a:pt x="89" y="248"/>
                    <a:pt x="89" y="248"/>
                  </a:cubicBezTo>
                  <a:cubicBezTo>
                    <a:pt x="86" y="248"/>
                    <a:pt x="86" y="248"/>
                    <a:pt x="86" y="248"/>
                  </a:cubicBezTo>
                  <a:cubicBezTo>
                    <a:pt x="82" y="252"/>
                    <a:pt x="82" y="252"/>
                    <a:pt x="82" y="252"/>
                  </a:cubicBezTo>
                  <a:cubicBezTo>
                    <a:pt x="86" y="256"/>
                    <a:pt x="86" y="256"/>
                    <a:pt x="86" y="256"/>
                  </a:cubicBezTo>
                  <a:cubicBezTo>
                    <a:pt x="93" y="267"/>
                    <a:pt x="93" y="267"/>
                    <a:pt x="93" y="267"/>
                  </a:cubicBezTo>
                  <a:cubicBezTo>
                    <a:pt x="93" y="271"/>
                    <a:pt x="93" y="271"/>
                    <a:pt x="93" y="271"/>
                  </a:cubicBezTo>
                  <a:cubicBezTo>
                    <a:pt x="82" y="263"/>
                    <a:pt x="82" y="263"/>
                    <a:pt x="82" y="263"/>
                  </a:cubicBezTo>
                  <a:cubicBezTo>
                    <a:pt x="82" y="260"/>
                    <a:pt x="82" y="260"/>
                    <a:pt x="82" y="260"/>
                  </a:cubicBezTo>
                  <a:cubicBezTo>
                    <a:pt x="78" y="260"/>
                    <a:pt x="78" y="260"/>
                    <a:pt x="78" y="260"/>
                  </a:cubicBezTo>
                  <a:cubicBezTo>
                    <a:pt x="78" y="263"/>
                    <a:pt x="78" y="263"/>
                    <a:pt x="78" y="263"/>
                  </a:cubicBezTo>
                  <a:cubicBezTo>
                    <a:pt x="82" y="291"/>
                    <a:pt x="82" y="291"/>
                    <a:pt x="82" y="291"/>
                  </a:cubicBezTo>
                  <a:cubicBezTo>
                    <a:pt x="89" y="299"/>
                    <a:pt x="89" y="299"/>
                    <a:pt x="89" y="299"/>
                  </a:cubicBezTo>
                  <a:cubicBezTo>
                    <a:pt x="101" y="299"/>
                    <a:pt x="101" y="299"/>
                    <a:pt x="101" y="299"/>
                  </a:cubicBezTo>
                  <a:cubicBezTo>
                    <a:pt x="105" y="306"/>
                    <a:pt x="105" y="306"/>
                    <a:pt x="105" y="306"/>
                  </a:cubicBezTo>
                  <a:cubicBezTo>
                    <a:pt x="105" y="314"/>
                    <a:pt x="105" y="314"/>
                    <a:pt x="105" y="314"/>
                  </a:cubicBezTo>
                  <a:cubicBezTo>
                    <a:pt x="97" y="318"/>
                    <a:pt x="97" y="318"/>
                    <a:pt x="97" y="318"/>
                  </a:cubicBezTo>
                  <a:cubicBezTo>
                    <a:pt x="101" y="326"/>
                    <a:pt x="101" y="326"/>
                    <a:pt x="101" y="326"/>
                  </a:cubicBezTo>
                  <a:cubicBezTo>
                    <a:pt x="136" y="369"/>
                    <a:pt x="136" y="369"/>
                    <a:pt x="136" y="369"/>
                  </a:cubicBezTo>
                  <a:cubicBezTo>
                    <a:pt x="140" y="373"/>
                    <a:pt x="140" y="373"/>
                    <a:pt x="140" y="373"/>
                  </a:cubicBezTo>
                  <a:cubicBezTo>
                    <a:pt x="140" y="381"/>
                    <a:pt x="140" y="381"/>
                    <a:pt x="140" y="381"/>
                  </a:cubicBezTo>
                  <a:cubicBezTo>
                    <a:pt x="148" y="384"/>
                    <a:pt x="148" y="384"/>
                    <a:pt x="148" y="384"/>
                  </a:cubicBezTo>
                  <a:cubicBezTo>
                    <a:pt x="148" y="388"/>
                    <a:pt x="148" y="388"/>
                    <a:pt x="148" y="388"/>
                  </a:cubicBezTo>
                  <a:cubicBezTo>
                    <a:pt x="152" y="392"/>
                    <a:pt x="152" y="392"/>
                    <a:pt x="152" y="392"/>
                  </a:cubicBezTo>
                  <a:cubicBezTo>
                    <a:pt x="148" y="396"/>
                    <a:pt x="148" y="396"/>
                    <a:pt x="148" y="396"/>
                  </a:cubicBezTo>
                  <a:cubicBezTo>
                    <a:pt x="152" y="412"/>
                    <a:pt x="152" y="412"/>
                    <a:pt x="152" y="412"/>
                  </a:cubicBezTo>
                  <a:cubicBezTo>
                    <a:pt x="152" y="416"/>
                    <a:pt x="152" y="416"/>
                    <a:pt x="152" y="416"/>
                  </a:cubicBezTo>
                  <a:cubicBezTo>
                    <a:pt x="171" y="420"/>
                    <a:pt x="171" y="420"/>
                    <a:pt x="171" y="420"/>
                  </a:cubicBezTo>
                  <a:cubicBezTo>
                    <a:pt x="179" y="423"/>
                    <a:pt x="179" y="423"/>
                    <a:pt x="179" y="423"/>
                  </a:cubicBezTo>
                  <a:cubicBezTo>
                    <a:pt x="183" y="420"/>
                    <a:pt x="183" y="420"/>
                    <a:pt x="183" y="420"/>
                  </a:cubicBezTo>
                  <a:cubicBezTo>
                    <a:pt x="187" y="420"/>
                    <a:pt x="187" y="420"/>
                    <a:pt x="187" y="420"/>
                  </a:cubicBezTo>
                  <a:cubicBezTo>
                    <a:pt x="199" y="427"/>
                    <a:pt x="199" y="427"/>
                    <a:pt x="199" y="427"/>
                  </a:cubicBezTo>
                  <a:cubicBezTo>
                    <a:pt x="203" y="431"/>
                    <a:pt x="203" y="431"/>
                    <a:pt x="203" y="431"/>
                  </a:cubicBezTo>
                  <a:cubicBezTo>
                    <a:pt x="218" y="439"/>
                    <a:pt x="218" y="439"/>
                    <a:pt x="218" y="439"/>
                  </a:cubicBezTo>
                  <a:cubicBezTo>
                    <a:pt x="222" y="439"/>
                    <a:pt x="222" y="439"/>
                    <a:pt x="222" y="439"/>
                  </a:cubicBezTo>
                  <a:cubicBezTo>
                    <a:pt x="222" y="435"/>
                    <a:pt x="222" y="435"/>
                    <a:pt x="222" y="435"/>
                  </a:cubicBezTo>
                  <a:cubicBezTo>
                    <a:pt x="226" y="435"/>
                    <a:pt x="226" y="435"/>
                    <a:pt x="226" y="435"/>
                  </a:cubicBezTo>
                  <a:cubicBezTo>
                    <a:pt x="230" y="439"/>
                    <a:pt x="230" y="439"/>
                    <a:pt x="230" y="439"/>
                  </a:cubicBezTo>
                  <a:cubicBezTo>
                    <a:pt x="234" y="443"/>
                    <a:pt x="234" y="443"/>
                    <a:pt x="234" y="443"/>
                  </a:cubicBezTo>
                  <a:cubicBezTo>
                    <a:pt x="238" y="451"/>
                    <a:pt x="238" y="451"/>
                    <a:pt x="238" y="451"/>
                  </a:cubicBezTo>
                  <a:cubicBezTo>
                    <a:pt x="246" y="455"/>
                    <a:pt x="246" y="455"/>
                    <a:pt x="246" y="455"/>
                  </a:cubicBezTo>
                  <a:cubicBezTo>
                    <a:pt x="277" y="478"/>
                    <a:pt x="277" y="478"/>
                    <a:pt x="277" y="478"/>
                  </a:cubicBezTo>
                  <a:cubicBezTo>
                    <a:pt x="281" y="486"/>
                    <a:pt x="281" y="486"/>
                    <a:pt x="281" y="486"/>
                  </a:cubicBezTo>
                  <a:cubicBezTo>
                    <a:pt x="281" y="490"/>
                    <a:pt x="281" y="490"/>
                    <a:pt x="281" y="490"/>
                  </a:cubicBezTo>
                  <a:cubicBezTo>
                    <a:pt x="285" y="509"/>
                    <a:pt x="285" y="509"/>
                    <a:pt x="285" y="509"/>
                  </a:cubicBezTo>
                  <a:cubicBezTo>
                    <a:pt x="370" y="502"/>
                    <a:pt x="370" y="502"/>
                    <a:pt x="370" y="502"/>
                  </a:cubicBezTo>
                  <a:cubicBezTo>
                    <a:pt x="374" y="505"/>
                    <a:pt x="374" y="505"/>
                    <a:pt x="374" y="505"/>
                  </a:cubicBezTo>
                  <a:cubicBezTo>
                    <a:pt x="383" y="509"/>
                    <a:pt x="383" y="509"/>
                    <a:pt x="383" y="509"/>
                  </a:cubicBezTo>
                  <a:cubicBezTo>
                    <a:pt x="387" y="503"/>
                    <a:pt x="387" y="503"/>
                    <a:pt x="387" y="503"/>
                  </a:cubicBezTo>
                  <a:cubicBezTo>
                    <a:pt x="390" y="499"/>
                    <a:pt x="389" y="498"/>
                    <a:pt x="388" y="495"/>
                  </a:cubicBezTo>
                  <a:close/>
                </a:path>
              </a:pathLst>
            </a:custGeom>
            <a:solidFill>
              <a:schemeClr val="accent5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61" name="Arkansas">
              <a:extLst>
                <a:ext uri="{FF2B5EF4-FFF2-40B4-BE49-F238E27FC236}">
                  <a16:creationId xmlns:a16="http://schemas.microsoft.com/office/drawing/2014/main" id="{561A9CB7-D47E-4133-B74B-819E1148A1C4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6691110" y="3348534"/>
              <a:ext cx="750651" cy="685450"/>
            </a:xfrm>
            <a:custGeom>
              <a:avLst/>
              <a:gdLst>
                <a:gd name="T0" fmla="*/ 159 w 190"/>
                <a:gd name="T1" fmla="*/ 69 h 173"/>
                <a:gd name="T2" fmla="*/ 163 w 190"/>
                <a:gd name="T3" fmla="*/ 65 h 173"/>
                <a:gd name="T4" fmla="*/ 163 w 190"/>
                <a:gd name="T5" fmla="*/ 59 h 173"/>
                <a:gd name="T6" fmla="*/ 171 w 190"/>
                <a:gd name="T7" fmla="*/ 53 h 173"/>
                <a:gd name="T8" fmla="*/ 174 w 190"/>
                <a:gd name="T9" fmla="*/ 45 h 173"/>
                <a:gd name="T10" fmla="*/ 179 w 190"/>
                <a:gd name="T11" fmla="*/ 41 h 173"/>
                <a:gd name="T12" fmla="*/ 177 w 190"/>
                <a:gd name="T13" fmla="*/ 39 h 173"/>
                <a:gd name="T14" fmla="*/ 180 w 190"/>
                <a:gd name="T15" fmla="*/ 39 h 173"/>
                <a:gd name="T16" fmla="*/ 180 w 190"/>
                <a:gd name="T17" fmla="*/ 37 h 173"/>
                <a:gd name="T18" fmla="*/ 180 w 190"/>
                <a:gd name="T19" fmla="*/ 35 h 173"/>
                <a:gd name="T20" fmla="*/ 180 w 190"/>
                <a:gd name="T21" fmla="*/ 34 h 173"/>
                <a:gd name="T22" fmla="*/ 181 w 190"/>
                <a:gd name="T23" fmla="*/ 32 h 173"/>
                <a:gd name="T24" fmla="*/ 183 w 190"/>
                <a:gd name="T25" fmla="*/ 28 h 173"/>
                <a:gd name="T26" fmla="*/ 183 w 190"/>
                <a:gd name="T27" fmla="*/ 24 h 173"/>
                <a:gd name="T28" fmla="*/ 183 w 190"/>
                <a:gd name="T29" fmla="*/ 23 h 173"/>
                <a:gd name="T30" fmla="*/ 186 w 190"/>
                <a:gd name="T31" fmla="*/ 21 h 173"/>
                <a:gd name="T32" fmla="*/ 187 w 190"/>
                <a:gd name="T33" fmla="*/ 19 h 173"/>
                <a:gd name="T34" fmla="*/ 190 w 190"/>
                <a:gd name="T35" fmla="*/ 16 h 173"/>
                <a:gd name="T36" fmla="*/ 166 w 190"/>
                <a:gd name="T37" fmla="*/ 16 h 173"/>
                <a:gd name="T38" fmla="*/ 166 w 190"/>
                <a:gd name="T39" fmla="*/ 0 h 173"/>
                <a:gd name="T40" fmla="*/ 0 w 190"/>
                <a:gd name="T41" fmla="*/ 0 h 173"/>
                <a:gd name="T42" fmla="*/ 0 w 190"/>
                <a:gd name="T43" fmla="*/ 34 h 173"/>
                <a:gd name="T44" fmla="*/ 6 w 190"/>
                <a:gd name="T45" fmla="*/ 38 h 173"/>
                <a:gd name="T46" fmla="*/ 12 w 190"/>
                <a:gd name="T47" fmla="*/ 44 h 173"/>
                <a:gd name="T48" fmla="*/ 12 w 190"/>
                <a:gd name="T49" fmla="*/ 139 h 173"/>
                <a:gd name="T50" fmla="*/ 12 w 190"/>
                <a:gd name="T51" fmla="*/ 139 h 173"/>
                <a:gd name="T52" fmla="*/ 21 w 190"/>
                <a:gd name="T53" fmla="*/ 142 h 173"/>
                <a:gd name="T54" fmla="*/ 21 w 190"/>
                <a:gd name="T55" fmla="*/ 173 h 173"/>
                <a:gd name="T56" fmla="*/ 124 w 190"/>
                <a:gd name="T57" fmla="*/ 173 h 173"/>
                <a:gd name="T58" fmla="*/ 124 w 190"/>
                <a:gd name="T59" fmla="*/ 173 h 173"/>
                <a:gd name="T60" fmla="*/ 124 w 190"/>
                <a:gd name="T61" fmla="*/ 172 h 173"/>
                <a:gd name="T62" fmla="*/ 127 w 190"/>
                <a:gd name="T63" fmla="*/ 163 h 173"/>
                <a:gd name="T64" fmla="*/ 127 w 190"/>
                <a:gd name="T65" fmla="*/ 163 h 173"/>
                <a:gd name="T66" fmla="*/ 127 w 190"/>
                <a:gd name="T67" fmla="*/ 162 h 173"/>
                <a:gd name="T68" fmla="*/ 127 w 190"/>
                <a:gd name="T69" fmla="*/ 161 h 173"/>
                <a:gd name="T70" fmla="*/ 128 w 190"/>
                <a:gd name="T71" fmla="*/ 159 h 173"/>
                <a:gd name="T72" fmla="*/ 128 w 190"/>
                <a:gd name="T73" fmla="*/ 159 h 173"/>
                <a:gd name="T74" fmla="*/ 129 w 190"/>
                <a:gd name="T75" fmla="*/ 159 h 173"/>
                <a:gd name="T76" fmla="*/ 130 w 190"/>
                <a:gd name="T77" fmla="*/ 159 h 173"/>
                <a:gd name="T78" fmla="*/ 130 w 190"/>
                <a:gd name="T79" fmla="*/ 157 h 173"/>
                <a:gd name="T80" fmla="*/ 129 w 190"/>
                <a:gd name="T81" fmla="*/ 148 h 173"/>
                <a:gd name="T82" fmla="*/ 127 w 190"/>
                <a:gd name="T83" fmla="*/ 136 h 173"/>
                <a:gd name="T84" fmla="*/ 127 w 190"/>
                <a:gd name="T85" fmla="*/ 132 h 173"/>
                <a:gd name="T86" fmla="*/ 134 w 190"/>
                <a:gd name="T87" fmla="*/ 123 h 173"/>
                <a:gd name="T88" fmla="*/ 134 w 190"/>
                <a:gd name="T89" fmla="*/ 123 h 173"/>
                <a:gd name="T90" fmla="*/ 135 w 190"/>
                <a:gd name="T91" fmla="*/ 123 h 173"/>
                <a:gd name="T92" fmla="*/ 135 w 190"/>
                <a:gd name="T93" fmla="*/ 123 h 173"/>
                <a:gd name="T94" fmla="*/ 136 w 190"/>
                <a:gd name="T95" fmla="*/ 123 h 173"/>
                <a:gd name="T96" fmla="*/ 137 w 190"/>
                <a:gd name="T97" fmla="*/ 122 h 173"/>
                <a:gd name="T98" fmla="*/ 140 w 190"/>
                <a:gd name="T99" fmla="*/ 119 h 173"/>
                <a:gd name="T100" fmla="*/ 140 w 190"/>
                <a:gd name="T101" fmla="*/ 119 h 173"/>
                <a:gd name="T102" fmla="*/ 140 w 190"/>
                <a:gd name="T103" fmla="*/ 119 h 173"/>
                <a:gd name="T104" fmla="*/ 142 w 190"/>
                <a:gd name="T105" fmla="*/ 117 h 173"/>
                <a:gd name="T106" fmla="*/ 147 w 190"/>
                <a:gd name="T107" fmla="*/ 108 h 173"/>
                <a:gd name="T108" fmla="*/ 147 w 190"/>
                <a:gd name="T109" fmla="*/ 108 h 173"/>
                <a:gd name="T110" fmla="*/ 147 w 190"/>
                <a:gd name="T111" fmla="*/ 89 h 173"/>
                <a:gd name="T112" fmla="*/ 154 w 190"/>
                <a:gd name="T113" fmla="*/ 83 h 173"/>
                <a:gd name="T114" fmla="*/ 155 w 190"/>
                <a:gd name="T115" fmla="*/ 78 h 173"/>
                <a:gd name="T116" fmla="*/ 157 w 190"/>
                <a:gd name="T117" fmla="*/ 73 h 173"/>
                <a:gd name="T118" fmla="*/ 157 w 190"/>
                <a:gd name="T119" fmla="*/ 73 h 173"/>
                <a:gd name="T120" fmla="*/ 159 w 190"/>
                <a:gd name="T121" fmla="*/ 69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0" h="173">
                  <a:moveTo>
                    <a:pt x="159" y="69"/>
                  </a:moveTo>
                  <a:cubicBezTo>
                    <a:pt x="163" y="65"/>
                    <a:pt x="163" y="65"/>
                    <a:pt x="163" y="65"/>
                  </a:cubicBezTo>
                  <a:cubicBezTo>
                    <a:pt x="163" y="59"/>
                    <a:pt x="163" y="59"/>
                    <a:pt x="163" y="59"/>
                  </a:cubicBezTo>
                  <a:cubicBezTo>
                    <a:pt x="171" y="53"/>
                    <a:pt x="171" y="53"/>
                    <a:pt x="171" y="53"/>
                  </a:cubicBezTo>
                  <a:cubicBezTo>
                    <a:pt x="174" y="45"/>
                    <a:pt x="174" y="45"/>
                    <a:pt x="174" y="45"/>
                  </a:cubicBezTo>
                  <a:cubicBezTo>
                    <a:pt x="179" y="41"/>
                    <a:pt x="179" y="41"/>
                    <a:pt x="179" y="41"/>
                  </a:cubicBezTo>
                  <a:cubicBezTo>
                    <a:pt x="177" y="39"/>
                    <a:pt x="177" y="39"/>
                    <a:pt x="177" y="39"/>
                  </a:cubicBezTo>
                  <a:cubicBezTo>
                    <a:pt x="180" y="39"/>
                    <a:pt x="180" y="39"/>
                    <a:pt x="180" y="39"/>
                  </a:cubicBezTo>
                  <a:cubicBezTo>
                    <a:pt x="180" y="38"/>
                    <a:pt x="180" y="38"/>
                    <a:pt x="180" y="37"/>
                  </a:cubicBezTo>
                  <a:cubicBezTo>
                    <a:pt x="180" y="36"/>
                    <a:pt x="180" y="35"/>
                    <a:pt x="180" y="35"/>
                  </a:cubicBezTo>
                  <a:cubicBezTo>
                    <a:pt x="180" y="34"/>
                    <a:pt x="180" y="34"/>
                    <a:pt x="180" y="34"/>
                  </a:cubicBezTo>
                  <a:cubicBezTo>
                    <a:pt x="181" y="32"/>
                    <a:pt x="181" y="32"/>
                    <a:pt x="181" y="32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83" y="24"/>
                    <a:pt x="183" y="24"/>
                    <a:pt x="183" y="24"/>
                  </a:cubicBezTo>
                  <a:cubicBezTo>
                    <a:pt x="183" y="23"/>
                    <a:pt x="183" y="23"/>
                    <a:pt x="183" y="23"/>
                  </a:cubicBezTo>
                  <a:cubicBezTo>
                    <a:pt x="183" y="23"/>
                    <a:pt x="185" y="22"/>
                    <a:pt x="186" y="21"/>
                  </a:cubicBezTo>
                  <a:cubicBezTo>
                    <a:pt x="187" y="19"/>
                    <a:pt x="187" y="19"/>
                    <a:pt x="187" y="19"/>
                  </a:cubicBezTo>
                  <a:cubicBezTo>
                    <a:pt x="188" y="18"/>
                    <a:pt x="189" y="17"/>
                    <a:pt x="190" y="16"/>
                  </a:cubicBezTo>
                  <a:cubicBezTo>
                    <a:pt x="166" y="16"/>
                    <a:pt x="166" y="16"/>
                    <a:pt x="166" y="16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21" y="142"/>
                    <a:pt x="21" y="142"/>
                    <a:pt x="21" y="142"/>
                  </a:cubicBezTo>
                  <a:cubicBezTo>
                    <a:pt x="21" y="173"/>
                    <a:pt x="21" y="173"/>
                    <a:pt x="21" y="173"/>
                  </a:cubicBezTo>
                  <a:cubicBezTo>
                    <a:pt x="124" y="173"/>
                    <a:pt x="124" y="173"/>
                    <a:pt x="124" y="173"/>
                  </a:cubicBezTo>
                  <a:cubicBezTo>
                    <a:pt x="124" y="173"/>
                    <a:pt x="124" y="173"/>
                    <a:pt x="124" y="173"/>
                  </a:cubicBezTo>
                  <a:cubicBezTo>
                    <a:pt x="124" y="172"/>
                    <a:pt x="124" y="172"/>
                    <a:pt x="124" y="172"/>
                  </a:cubicBezTo>
                  <a:cubicBezTo>
                    <a:pt x="126" y="166"/>
                    <a:pt x="127" y="164"/>
                    <a:pt x="127" y="163"/>
                  </a:cubicBezTo>
                  <a:cubicBezTo>
                    <a:pt x="127" y="163"/>
                    <a:pt x="127" y="163"/>
                    <a:pt x="127" y="163"/>
                  </a:cubicBezTo>
                  <a:cubicBezTo>
                    <a:pt x="127" y="162"/>
                    <a:pt x="127" y="162"/>
                    <a:pt x="127" y="162"/>
                  </a:cubicBezTo>
                  <a:cubicBezTo>
                    <a:pt x="127" y="162"/>
                    <a:pt x="127" y="162"/>
                    <a:pt x="127" y="161"/>
                  </a:cubicBezTo>
                  <a:cubicBezTo>
                    <a:pt x="128" y="160"/>
                    <a:pt x="128" y="160"/>
                    <a:pt x="128" y="159"/>
                  </a:cubicBezTo>
                  <a:cubicBezTo>
                    <a:pt x="128" y="159"/>
                    <a:pt x="128" y="159"/>
                    <a:pt x="128" y="159"/>
                  </a:cubicBezTo>
                  <a:cubicBezTo>
                    <a:pt x="129" y="159"/>
                    <a:pt x="129" y="159"/>
                    <a:pt x="129" y="159"/>
                  </a:cubicBezTo>
                  <a:cubicBezTo>
                    <a:pt x="130" y="159"/>
                    <a:pt x="130" y="159"/>
                    <a:pt x="130" y="159"/>
                  </a:cubicBezTo>
                  <a:cubicBezTo>
                    <a:pt x="130" y="157"/>
                    <a:pt x="130" y="157"/>
                    <a:pt x="130" y="157"/>
                  </a:cubicBezTo>
                  <a:cubicBezTo>
                    <a:pt x="130" y="154"/>
                    <a:pt x="129" y="151"/>
                    <a:pt x="129" y="148"/>
                  </a:cubicBezTo>
                  <a:cubicBezTo>
                    <a:pt x="129" y="148"/>
                    <a:pt x="128" y="141"/>
                    <a:pt x="127" y="136"/>
                  </a:cubicBezTo>
                  <a:cubicBezTo>
                    <a:pt x="127" y="132"/>
                    <a:pt x="127" y="132"/>
                    <a:pt x="127" y="132"/>
                  </a:cubicBezTo>
                  <a:cubicBezTo>
                    <a:pt x="129" y="129"/>
                    <a:pt x="133" y="125"/>
                    <a:pt x="134" y="123"/>
                  </a:cubicBezTo>
                  <a:cubicBezTo>
                    <a:pt x="134" y="123"/>
                    <a:pt x="134" y="123"/>
                    <a:pt x="134" y="123"/>
                  </a:cubicBezTo>
                  <a:cubicBezTo>
                    <a:pt x="135" y="123"/>
                    <a:pt x="135" y="123"/>
                    <a:pt x="135" y="123"/>
                  </a:cubicBezTo>
                  <a:cubicBezTo>
                    <a:pt x="135" y="123"/>
                    <a:pt x="135" y="123"/>
                    <a:pt x="135" y="123"/>
                  </a:cubicBezTo>
                  <a:cubicBezTo>
                    <a:pt x="136" y="123"/>
                    <a:pt x="136" y="123"/>
                    <a:pt x="136" y="123"/>
                  </a:cubicBezTo>
                  <a:cubicBezTo>
                    <a:pt x="137" y="122"/>
                    <a:pt x="137" y="122"/>
                    <a:pt x="137" y="122"/>
                  </a:cubicBezTo>
                  <a:cubicBezTo>
                    <a:pt x="139" y="120"/>
                    <a:pt x="139" y="119"/>
                    <a:pt x="140" y="119"/>
                  </a:cubicBezTo>
                  <a:cubicBezTo>
                    <a:pt x="140" y="119"/>
                    <a:pt x="140" y="119"/>
                    <a:pt x="140" y="119"/>
                  </a:cubicBezTo>
                  <a:cubicBezTo>
                    <a:pt x="140" y="119"/>
                    <a:pt x="140" y="119"/>
                    <a:pt x="140" y="119"/>
                  </a:cubicBezTo>
                  <a:cubicBezTo>
                    <a:pt x="142" y="117"/>
                    <a:pt x="142" y="117"/>
                    <a:pt x="142" y="117"/>
                  </a:cubicBezTo>
                  <a:cubicBezTo>
                    <a:pt x="145" y="112"/>
                    <a:pt x="147" y="108"/>
                    <a:pt x="147" y="108"/>
                  </a:cubicBezTo>
                  <a:cubicBezTo>
                    <a:pt x="147" y="108"/>
                    <a:pt x="147" y="108"/>
                    <a:pt x="147" y="108"/>
                  </a:cubicBezTo>
                  <a:cubicBezTo>
                    <a:pt x="147" y="89"/>
                    <a:pt x="147" y="89"/>
                    <a:pt x="147" y="89"/>
                  </a:cubicBezTo>
                  <a:cubicBezTo>
                    <a:pt x="154" y="83"/>
                    <a:pt x="154" y="83"/>
                    <a:pt x="154" y="83"/>
                  </a:cubicBezTo>
                  <a:cubicBezTo>
                    <a:pt x="155" y="78"/>
                    <a:pt x="155" y="78"/>
                    <a:pt x="155" y="78"/>
                  </a:cubicBezTo>
                  <a:cubicBezTo>
                    <a:pt x="157" y="73"/>
                    <a:pt x="157" y="73"/>
                    <a:pt x="157" y="73"/>
                  </a:cubicBezTo>
                  <a:cubicBezTo>
                    <a:pt x="157" y="73"/>
                    <a:pt x="157" y="73"/>
                    <a:pt x="157" y="73"/>
                  </a:cubicBezTo>
                  <a:lnTo>
                    <a:pt x="159" y="69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62" name="Arizona">
              <a:extLst>
                <a:ext uri="{FF2B5EF4-FFF2-40B4-BE49-F238E27FC236}">
                  <a16:creationId xmlns:a16="http://schemas.microsoft.com/office/drawing/2014/main" id="{C20E0488-61ED-4382-B625-4F6779C1E12A}"/>
                </a:ext>
              </a:extLst>
            </p:cNvPr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629992" y="3189710"/>
              <a:ext cx="874366" cy="1252199"/>
            </a:xfrm>
            <a:custGeom>
              <a:avLst/>
              <a:gdLst>
                <a:gd name="T0" fmla="*/ 24 w 221"/>
                <a:gd name="T1" fmla="*/ 0 h 316"/>
                <a:gd name="T2" fmla="*/ 24 w 221"/>
                <a:gd name="T3" fmla="*/ 57 h 316"/>
                <a:gd name="T4" fmla="*/ 4 w 221"/>
                <a:gd name="T5" fmla="*/ 44 h 316"/>
                <a:gd name="T6" fmla="*/ 0 w 221"/>
                <a:gd name="T7" fmla="*/ 66 h 316"/>
                <a:gd name="T8" fmla="*/ 7 w 221"/>
                <a:gd name="T9" fmla="*/ 73 h 316"/>
                <a:gd name="T10" fmla="*/ 10 w 221"/>
                <a:gd name="T11" fmla="*/ 79 h 316"/>
                <a:gd name="T12" fmla="*/ 7 w 221"/>
                <a:gd name="T13" fmla="*/ 82 h 316"/>
                <a:gd name="T14" fmla="*/ 7 w 221"/>
                <a:gd name="T15" fmla="*/ 113 h 316"/>
                <a:gd name="T16" fmla="*/ 12 w 221"/>
                <a:gd name="T17" fmla="*/ 134 h 316"/>
                <a:gd name="T18" fmla="*/ 8 w 221"/>
                <a:gd name="T19" fmla="*/ 146 h 316"/>
                <a:gd name="T20" fmla="*/ 6 w 221"/>
                <a:gd name="T21" fmla="*/ 155 h 316"/>
                <a:gd name="T22" fmla="*/ 7 w 221"/>
                <a:gd name="T23" fmla="*/ 156 h 316"/>
                <a:gd name="T24" fmla="*/ 7 w 221"/>
                <a:gd name="T25" fmla="*/ 157 h 316"/>
                <a:gd name="T26" fmla="*/ 5 w 221"/>
                <a:gd name="T27" fmla="*/ 167 h 316"/>
                <a:gd name="T28" fmla="*/ 4 w 221"/>
                <a:gd name="T29" fmla="*/ 177 h 316"/>
                <a:gd name="T30" fmla="*/ 5 w 221"/>
                <a:gd name="T31" fmla="*/ 177 h 316"/>
                <a:gd name="T32" fmla="*/ 5 w 221"/>
                <a:gd name="T33" fmla="*/ 178 h 316"/>
                <a:gd name="T34" fmla="*/ 5 w 221"/>
                <a:gd name="T35" fmla="*/ 195 h 316"/>
                <a:gd name="T36" fmla="*/ 12 w 221"/>
                <a:gd name="T37" fmla="*/ 205 h 316"/>
                <a:gd name="T38" fmla="*/ 12 w 221"/>
                <a:gd name="T39" fmla="*/ 211 h 316"/>
                <a:gd name="T40" fmla="*/ 12 w 221"/>
                <a:gd name="T41" fmla="*/ 212 h 316"/>
                <a:gd name="T42" fmla="*/ 12 w 221"/>
                <a:gd name="T43" fmla="*/ 215 h 316"/>
                <a:gd name="T44" fmla="*/ 10 w 221"/>
                <a:gd name="T45" fmla="*/ 221 h 316"/>
                <a:gd name="T46" fmla="*/ 8 w 221"/>
                <a:gd name="T47" fmla="*/ 227 h 316"/>
                <a:gd name="T48" fmla="*/ 8 w 221"/>
                <a:gd name="T49" fmla="*/ 237 h 316"/>
                <a:gd name="T50" fmla="*/ 8 w 221"/>
                <a:gd name="T51" fmla="*/ 249 h 316"/>
                <a:gd name="T52" fmla="*/ 9 w 221"/>
                <a:gd name="T53" fmla="*/ 251 h 316"/>
                <a:gd name="T54" fmla="*/ 8 w 221"/>
                <a:gd name="T55" fmla="*/ 259 h 316"/>
                <a:gd name="T56" fmla="*/ 4 w 221"/>
                <a:gd name="T57" fmla="*/ 265 h 316"/>
                <a:gd name="T58" fmla="*/ 144 w 221"/>
                <a:gd name="T59" fmla="*/ 316 h 316"/>
                <a:gd name="T60" fmla="*/ 221 w 221"/>
                <a:gd name="T61" fmla="*/ 316 h 316"/>
                <a:gd name="T62" fmla="*/ 221 w 221"/>
                <a:gd name="T63" fmla="*/ 0 h 316"/>
                <a:gd name="T64" fmla="*/ 24 w 221"/>
                <a:gd name="T65" fmla="*/ 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1" h="316">
                  <a:moveTo>
                    <a:pt x="24" y="0"/>
                  </a:moveTo>
                  <a:cubicBezTo>
                    <a:pt x="24" y="57"/>
                    <a:pt x="24" y="57"/>
                    <a:pt x="24" y="57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7" y="73"/>
                    <a:pt x="7" y="73"/>
                    <a:pt x="7" y="73"/>
                  </a:cubicBezTo>
                  <a:cubicBezTo>
                    <a:pt x="10" y="75"/>
                    <a:pt x="11" y="77"/>
                    <a:pt x="10" y="79"/>
                  </a:cubicBezTo>
                  <a:cubicBezTo>
                    <a:pt x="10" y="81"/>
                    <a:pt x="8" y="82"/>
                    <a:pt x="7" y="82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12" y="134"/>
                    <a:pt x="12" y="134"/>
                    <a:pt x="12" y="134"/>
                  </a:cubicBezTo>
                  <a:cubicBezTo>
                    <a:pt x="8" y="146"/>
                    <a:pt x="8" y="146"/>
                    <a:pt x="8" y="146"/>
                  </a:cubicBezTo>
                  <a:cubicBezTo>
                    <a:pt x="5" y="154"/>
                    <a:pt x="6" y="155"/>
                    <a:pt x="6" y="155"/>
                  </a:cubicBezTo>
                  <a:cubicBezTo>
                    <a:pt x="7" y="156"/>
                    <a:pt x="7" y="156"/>
                    <a:pt x="7" y="156"/>
                  </a:cubicBezTo>
                  <a:cubicBezTo>
                    <a:pt x="7" y="157"/>
                    <a:pt x="7" y="157"/>
                    <a:pt x="7" y="157"/>
                  </a:cubicBezTo>
                  <a:cubicBezTo>
                    <a:pt x="5" y="167"/>
                    <a:pt x="5" y="167"/>
                    <a:pt x="5" y="167"/>
                  </a:cubicBezTo>
                  <a:cubicBezTo>
                    <a:pt x="3" y="176"/>
                    <a:pt x="4" y="176"/>
                    <a:pt x="4" y="177"/>
                  </a:cubicBezTo>
                  <a:cubicBezTo>
                    <a:pt x="5" y="177"/>
                    <a:pt x="5" y="177"/>
                    <a:pt x="5" y="177"/>
                  </a:cubicBezTo>
                  <a:cubicBezTo>
                    <a:pt x="5" y="178"/>
                    <a:pt x="5" y="178"/>
                    <a:pt x="5" y="178"/>
                  </a:cubicBezTo>
                  <a:cubicBezTo>
                    <a:pt x="5" y="195"/>
                    <a:pt x="5" y="195"/>
                    <a:pt x="5" y="195"/>
                  </a:cubicBezTo>
                  <a:cubicBezTo>
                    <a:pt x="12" y="205"/>
                    <a:pt x="12" y="205"/>
                    <a:pt x="12" y="205"/>
                  </a:cubicBezTo>
                  <a:cubicBezTo>
                    <a:pt x="12" y="211"/>
                    <a:pt x="12" y="211"/>
                    <a:pt x="12" y="211"/>
                  </a:cubicBezTo>
                  <a:cubicBezTo>
                    <a:pt x="12" y="212"/>
                    <a:pt x="12" y="212"/>
                    <a:pt x="12" y="212"/>
                  </a:cubicBezTo>
                  <a:cubicBezTo>
                    <a:pt x="12" y="213"/>
                    <a:pt x="12" y="214"/>
                    <a:pt x="12" y="215"/>
                  </a:cubicBezTo>
                  <a:cubicBezTo>
                    <a:pt x="12" y="217"/>
                    <a:pt x="11" y="219"/>
                    <a:pt x="10" y="221"/>
                  </a:cubicBezTo>
                  <a:cubicBezTo>
                    <a:pt x="8" y="224"/>
                    <a:pt x="7" y="226"/>
                    <a:pt x="8" y="227"/>
                  </a:cubicBezTo>
                  <a:cubicBezTo>
                    <a:pt x="10" y="230"/>
                    <a:pt x="8" y="237"/>
                    <a:pt x="8" y="237"/>
                  </a:cubicBezTo>
                  <a:cubicBezTo>
                    <a:pt x="8" y="237"/>
                    <a:pt x="7" y="245"/>
                    <a:pt x="8" y="249"/>
                  </a:cubicBezTo>
                  <a:cubicBezTo>
                    <a:pt x="8" y="250"/>
                    <a:pt x="9" y="251"/>
                    <a:pt x="9" y="251"/>
                  </a:cubicBezTo>
                  <a:cubicBezTo>
                    <a:pt x="10" y="254"/>
                    <a:pt x="11" y="255"/>
                    <a:pt x="8" y="259"/>
                  </a:cubicBezTo>
                  <a:cubicBezTo>
                    <a:pt x="4" y="265"/>
                    <a:pt x="4" y="265"/>
                    <a:pt x="4" y="265"/>
                  </a:cubicBezTo>
                  <a:cubicBezTo>
                    <a:pt x="144" y="316"/>
                    <a:pt x="144" y="316"/>
                    <a:pt x="144" y="316"/>
                  </a:cubicBezTo>
                  <a:cubicBezTo>
                    <a:pt x="221" y="316"/>
                    <a:pt x="221" y="316"/>
                    <a:pt x="221" y="316"/>
                  </a:cubicBezTo>
                  <a:cubicBezTo>
                    <a:pt x="221" y="0"/>
                    <a:pt x="221" y="0"/>
                    <a:pt x="221" y="0"/>
                  </a:cubicBezTo>
                  <a:lnTo>
                    <a:pt x="24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63" name="Alaska">
              <a:extLst>
                <a:ext uri="{FF2B5EF4-FFF2-40B4-BE49-F238E27FC236}">
                  <a16:creationId xmlns:a16="http://schemas.microsoft.com/office/drawing/2014/main" id="{7961564C-97E2-4B93-8939-B89275271DE0}"/>
                </a:ext>
              </a:extLst>
            </p:cNvPr>
            <p:cNvSpPr>
              <a:spLocks noEditPoints="1"/>
            </p:cNvSpPr>
            <p:nvPr>
              <p:custDataLst>
                <p:tags r:id="rId51"/>
              </p:custDataLst>
            </p:nvPr>
          </p:nvSpPr>
          <p:spPr bwMode="auto">
            <a:xfrm>
              <a:off x="1121697" y="4480864"/>
              <a:ext cx="2664367" cy="1598204"/>
            </a:xfrm>
            <a:custGeom>
              <a:avLst/>
              <a:gdLst>
                <a:gd name="T0" fmla="*/ 317 w 1083"/>
                <a:gd name="T1" fmla="*/ 272 h 650"/>
                <a:gd name="T2" fmla="*/ 649 w 1083"/>
                <a:gd name="T3" fmla="*/ 394 h 650"/>
                <a:gd name="T4" fmla="*/ 712 w 1083"/>
                <a:gd name="T5" fmla="*/ 422 h 650"/>
                <a:gd name="T6" fmla="*/ 422 w 1083"/>
                <a:gd name="T7" fmla="*/ 600 h 650"/>
                <a:gd name="T8" fmla="*/ 0 w 1083"/>
                <a:gd name="T9" fmla="*/ 621 h 650"/>
                <a:gd name="T10" fmla="*/ 372 w 1083"/>
                <a:gd name="T11" fmla="*/ 618 h 650"/>
                <a:gd name="T12" fmla="*/ 29 w 1083"/>
                <a:gd name="T13" fmla="*/ 623 h 650"/>
                <a:gd name="T14" fmla="*/ 29 w 1083"/>
                <a:gd name="T15" fmla="*/ 635 h 650"/>
                <a:gd name="T16" fmla="*/ 101 w 1083"/>
                <a:gd name="T17" fmla="*/ 627 h 650"/>
                <a:gd name="T18" fmla="*/ 240 w 1083"/>
                <a:gd name="T19" fmla="*/ 636 h 650"/>
                <a:gd name="T20" fmla="*/ 199 w 1083"/>
                <a:gd name="T21" fmla="*/ 641 h 650"/>
                <a:gd name="T22" fmla="*/ 612 w 1083"/>
                <a:gd name="T23" fmla="*/ 498 h 650"/>
                <a:gd name="T24" fmla="*/ 585 w 1083"/>
                <a:gd name="T25" fmla="*/ 508 h 650"/>
                <a:gd name="T26" fmla="*/ 560 w 1083"/>
                <a:gd name="T27" fmla="*/ 546 h 650"/>
                <a:gd name="T28" fmla="*/ 593 w 1083"/>
                <a:gd name="T29" fmla="*/ 535 h 650"/>
                <a:gd name="T30" fmla="*/ 609 w 1083"/>
                <a:gd name="T31" fmla="*/ 504 h 650"/>
                <a:gd name="T32" fmla="*/ 998 w 1083"/>
                <a:gd name="T33" fmla="*/ 540 h 650"/>
                <a:gd name="T34" fmla="*/ 1027 w 1083"/>
                <a:gd name="T35" fmla="*/ 591 h 650"/>
                <a:gd name="T36" fmla="*/ 1046 w 1083"/>
                <a:gd name="T37" fmla="*/ 586 h 650"/>
                <a:gd name="T38" fmla="*/ 981 w 1083"/>
                <a:gd name="T39" fmla="*/ 456 h 650"/>
                <a:gd name="T40" fmla="*/ 858 w 1083"/>
                <a:gd name="T41" fmla="*/ 405 h 650"/>
                <a:gd name="T42" fmla="*/ 734 w 1083"/>
                <a:gd name="T43" fmla="*/ 53 h 650"/>
                <a:gd name="T44" fmla="*/ 618 w 1083"/>
                <a:gd name="T45" fmla="*/ 24 h 650"/>
                <a:gd name="T46" fmla="*/ 572 w 1083"/>
                <a:gd name="T47" fmla="*/ 2 h 650"/>
                <a:gd name="T48" fmla="*/ 445 w 1083"/>
                <a:gd name="T49" fmla="*/ 120 h 650"/>
                <a:gd name="T50" fmla="*/ 461 w 1083"/>
                <a:gd name="T51" fmla="*/ 188 h 650"/>
                <a:gd name="T52" fmla="*/ 389 w 1083"/>
                <a:gd name="T53" fmla="*/ 220 h 650"/>
                <a:gd name="T54" fmla="*/ 465 w 1083"/>
                <a:gd name="T55" fmla="*/ 254 h 650"/>
                <a:gd name="T56" fmla="*/ 395 w 1083"/>
                <a:gd name="T57" fmla="*/ 310 h 650"/>
                <a:gd name="T58" fmla="*/ 374 w 1083"/>
                <a:gd name="T59" fmla="*/ 363 h 650"/>
                <a:gd name="T60" fmla="*/ 421 w 1083"/>
                <a:gd name="T61" fmla="*/ 408 h 650"/>
                <a:gd name="T62" fmla="*/ 456 w 1083"/>
                <a:gd name="T63" fmla="*/ 465 h 650"/>
                <a:gd name="T64" fmla="*/ 499 w 1083"/>
                <a:gd name="T65" fmla="*/ 518 h 650"/>
                <a:gd name="T66" fmla="*/ 429 w 1083"/>
                <a:gd name="T67" fmla="*/ 573 h 650"/>
                <a:gd name="T68" fmla="*/ 383 w 1083"/>
                <a:gd name="T69" fmla="*/ 585 h 650"/>
                <a:gd name="T70" fmla="*/ 363 w 1083"/>
                <a:gd name="T71" fmla="*/ 607 h 650"/>
                <a:gd name="T72" fmla="*/ 391 w 1083"/>
                <a:gd name="T73" fmla="*/ 597 h 650"/>
                <a:gd name="T74" fmla="*/ 446 w 1083"/>
                <a:gd name="T75" fmla="*/ 579 h 650"/>
                <a:gd name="T76" fmla="*/ 480 w 1083"/>
                <a:gd name="T77" fmla="*/ 569 h 650"/>
                <a:gd name="T78" fmla="*/ 506 w 1083"/>
                <a:gd name="T79" fmla="*/ 550 h 650"/>
                <a:gd name="T80" fmla="*/ 541 w 1083"/>
                <a:gd name="T81" fmla="*/ 514 h 650"/>
                <a:gd name="T82" fmla="*/ 589 w 1083"/>
                <a:gd name="T83" fmla="*/ 479 h 650"/>
                <a:gd name="T84" fmla="*/ 611 w 1083"/>
                <a:gd name="T85" fmla="*/ 417 h 650"/>
                <a:gd name="T86" fmla="*/ 625 w 1083"/>
                <a:gd name="T87" fmla="*/ 455 h 650"/>
                <a:gd name="T88" fmla="*/ 666 w 1083"/>
                <a:gd name="T89" fmla="*/ 436 h 650"/>
                <a:gd name="T90" fmla="*/ 691 w 1083"/>
                <a:gd name="T91" fmla="*/ 397 h 650"/>
                <a:gd name="T92" fmla="*/ 725 w 1083"/>
                <a:gd name="T93" fmla="*/ 407 h 650"/>
                <a:gd name="T94" fmla="*/ 748 w 1083"/>
                <a:gd name="T95" fmla="*/ 421 h 650"/>
                <a:gd name="T96" fmla="*/ 850 w 1083"/>
                <a:gd name="T97" fmla="*/ 423 h 650"/>
                <a:gd name="T98" fmla="*/ 932 w 1083"/>
                <a:gd name="T99" fmla="*/ 468 h 650"/>
                <a:gd name="T100" fmla="*/ 981 w 1083"/>
                <a:gd name="T101" fmla="*/ 493 h 650"/>
                <a:gd name="T102" fmla="*/ 989 w 1083"/>
                <a:gd name="T103" fmla="*/ 502 h 650"/>
                <a:gd name="T104" fmla="*/ 983 w 1083"/>
                <a:gd name="T105" fmla="*/ 532 h 650"/>
                <a:gd name="T106" fmla="*/ 1007 w 1083"/>
                <a:gd name="T107" fmla="*/ 532 h 650"/>
                <a:gd name="T108" fmla="*/ 1048 w 1083"/>
                <a:gd name="T109" fmla="*/ 568 h 650"/>
                <a:gd name="T110" fmla="*/ 1083 w 1083"/>
                <a:gd name="T111" fmla="*/ 552 h 650"/>
                <a:gd name="T112" fmla="*/ 932 w 1083"/>
                <a:gd name="T113" fmla="*/ 494 h 650"/>
                <a:gd name="T114" fmla="*/ 974 w 1083"/>
                <a:gd name="T115" fmla="*/ 527 h 650"/>
                <a:gd name="T116" fmla="*/ 255 w 1083"/>
                <a:gd name="T117" fmla="*/ 642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83" h="650">
                  <a:moveTo>
                    <a:pt x="329" y="267"/>
                  </a:moveTo>
                  <a:cubicBezTo>
                    <a:pt x="332" y="268"/>
                    <a:pt x="332" y="270"/>
                    <a:pt x="336" y="270"/>
                  </a:cubicBezTo>
                  <a:cubicBezTo>
                    <a:pt x="337" y="268"/>
                    <a:pt x="339" y="267"/>
                    <a:pt x="340" y="264"/>
                  </a:cubicBezTo>
                  <a:cubicBezTo>
                    <a:pt x="336" y="260"/>
                    <a:pt x="327" y="261"/>
                    <a:pt x="325" y="254"/>
                  </a:cubicBezTo>
                  <a:cubicBezTo>
                    <a:pt x="322" y="254"/>
                    <a:pt x="321" y="252"/>
                    <a:pt x="320" y="251"/>
                  </a:cubicBezTo>
                  <a:cubicBezTo>
                    <a:pt x="320" y="246"/>
                    <a:pt x="319" y="244"/>
                    <a:pt x="318" y="241"/>
                  </a:cubicBezTo>
                  <a:cubicBezTo>
                    <a:pt x="315" y="240"/>
                    <a:pt x="310" y="241"/>
                    <a:pt x="306" y="243"/>
                  </a:cubicBezTo>
                  <a:cubicBezTo>
                    <a:pt x="303" y="240"/>
                    <a:pt x="299" y="238"/>
                    <a:pt x="296" y="235"/>
                  </a:cubicBezTo>
                  <a:cubicBezTo>
                    <a:pt x="296" y="234"/>
                    <a:pt x="298" y="230"/>
                    <a:pt x="296" y="230"/>
                  </a:cubicBezTo>
                  <a:cubicBezTo>
                    <a:pt x="292" y="234"/>
                    <a:pt x="283" y="248"/>
                    <a:pt x="294" y="250"/>
                  </a:cubicBezTo>
                  <a:cubicBezTo>
                    <a:pt x="295" y="250"/>
                    <a:pt x="296" y="250"/>
                    <a:pt x="296" y="250"/>
                  </a:cubicBezTo>
                  <a:cubicBezTo>
                    <a:pt x="298" y="249"/>
                    <a:pt x="299" y="248"/>
                    <a:pt x="302" y="248"/>
                  </a:cubicBezTo>
                  <a:cubicBezTo>
                    <a:pt x="306" y="251"/>
                    <a:pt x="312" y="254"/>
                    <a:pt x="311" y="261"/>
                  </a:cubicBezTo>
                  <a:cubicBezTo>
                    <a:pt x="315" y="262"/>
                    <a:pt x="318" y="267"/>
                    <a:pt x="317" y="272"/>
                  </a:cubicBezTo>
                  <a:cubicBezTo>
                    <a:pt x="322" y="276"/>
                    <a:pt x="322" y="266"/>
                    <a:pt x="329" y="267"/>
                  </a:cubicBezTo>
                  <a:close/>
                  <a:moveTo>
                    <a:pt x="327" y="385"/>
                  </a:moveTo>
                  <a:cubicBezTo>
                    <a:pt x="328" y="386"/>
                    <a:pt x="328" y="388"/>
                    <a:pt x="328" y="391"/>
                  </a:cubicBezTo>
                  <a:cubicBezTo>
                    <a:pt x="334" y="395"/>
                    <a:pt x="337" y="401"/>
                    <a:pt x="344" y="403"/>
                  </a:cubicBezTo>
                  <a:cubicBezTo>
                    <a:pt x="346" y="405"/>
                    <a:pt x="347" y="406"/>
                    <a:pt x="348" y="409"/>
                  </a:cubicBezTo>
                  <a:cubicBezTo>
                    <a:pt x="354" y="409"/>
                    <a:pt x="354" y="403"/>
                    <a:pt x="362" y="405"/>
                  </a:cubicBezTo>
                  <a:cubicBezTo>
                    <a:pt x="361" y="404"/>
                    <a:pt x="362" y="404"/>
                    <a:pt x="362" y="403"/>
                  </a:cubicBezTo>
                  <a:cubicBezTo>
                    <a:pt x="358" y="400"/>
                    <a:pt x="361" y="394"/>
                    <a:pt x="362" y="389"/>
                  </a:cubicBezTo>
                  <a:cubicBezTo>
                    <a:pt x="360" y="388"/>
                    <a:pt x="359" y="386"/>
                    <a:pt x="355" y="387"/>
                  </a:cubicBezTo>
                  <a:cubicBezTo>
                    <a:pt x="355" y="385"/>
                    <a:pt x="354" y="384"/>
                    <a:pt x="355" y="382"/>
                  </a:cubicBezTo>
                  <a:cubicBezTo>
                    <a:pt x="349" y="385"/>
                    <a:pt x="342" y="380"/>
                    <a:pt x="339" y="387"/>
                  </a:cubicBezTo>
                  <a:cubicBezTo>
                    <a:pt x="336" y="385"/>
                    <a:pt x="330" y="382"/>
                    <a:pt x="327" y="385"/>
                  </a:cubicBezTo>
                  <a:close/>
                  <a:moveTo>
                    <a:pt x="652" y="391"/>
                  </a:moveTo>
                  <a:cubicBezTo>
                    <a:pt x="649" y="391"/>
                    <a:pt x="648" y="393"/>
                    <a:pt x="649" y="394"/>
                  </a:cubicBezTo>
                  <a:cubicBezTo>
                    <a:pt x="651" y="394"/>
                    <a:pt x="652" y="393"/>
                    <a:pt x="652" y="391"/>
                  </a:cubicBezTo>
                  <a:close/>
                  <a:moveTo>
                    <a:pt x="696" y="430"/>
                  </a:moveTo>
                  <a:cubicBezTo>
                    <a:pt x="698" y="425"/>
                    <a:pt x="701" y="417"/>
                    <a:pt x="696" y="415"/>
                  </a:cubicBezTo>
                  <a:cubicBezTo>
                    <a:pt x="693" y="420"/>
                    <a:pt x="691" y="427"/>
                    <a:pt x="696" y="430"/>
                  </a:cubicBezTo>
                  <a:close/>
                  <a:moveTo>
                    <a:pt x="710" y="423"/>
                  </a:moveTo>
                  <a:cubicBezTo>
                    <a:pt x="709" y="418"/>
                    <a:pt x="704" y="421"/>
                    <a:pt x="706" y="425"/>
                  </a:cubicBezTo>
                  <a:cubicBezTo>
                    <a:pt x="703" y="426"/>
                    <a:pt x="704" y="428"/>
                    <a:pt x="702" y="431"/>
                  </a:cubicBezTo>
                  <a:cubicBezTo>
                    <a:pt x="700" y="435"/>
                    <a:pt x="693" y="436"/>
                    <a:pt x="695" y="439"/>
                  </a:cubicBezTo>
                  <a:cubicBezTo>
                    <a:pt x="694" y="439"/>
                    <a:pt x="694" y="440"/>
                    <a:pt x="693" y="440"/>
                  </a:cubicBezTo>
                  <a:cubicBezTo>
                    <a:pt x="693" y="441"/>
                    <a:pt x="693" y="443"/>
                    <a:pt x="693" y="444"/>
                  </a:cubicBezTo>
                  <a:cubicBezTo>
                    <a:pt x="697" y="444"/>
                    <a:pt x="699" y="443"/>
                    <a:pt x="700" y="441"/>
                  </a:cubicBezTo>
                  <a:cubicBezTo>
                    <a:pt x="702" y="443"/>
                    <a:pt x="704" y="439"/>
                    <a:pt x="702" y="437"/>
                  </a:cubicBezTo>
                  <a:cubicBezTo>
                    <a:pt x="703" y="436"/>
                    <a:pt x="703" y="437"/>
                    <a:pt x="704" y="437"/>
                  </a:cubicBezTo>
                  <a:cubicBezTo>
                    <a:pt x="703" y="430"/>
                    <a:pt x="712" y="429"/>
                    <a:pt x="712" y="422"/>
                  </a:cubicBezTo>
                  <a:cubicBezTo>
                    <a:pt x="711" y="422"/>
                    <a:pt x="711" y="423"/>
                    <a:pt x="710" y="423"/>
                  </a:cubicBezTo>
                  <a:close/>
                  <a:moveTo>
                    <a:pt x="240" y="483"/>
                  </a:moveTo>
                  <a:cubicBezTo>
                    <a:pt x="242" y="482"/>
                    <a:pt x="245" y="482"/>
                    <a:pt x="246" y="478"/>
                  </a:cubicBezTo>
                  <a:cubicBezTo>
                    <a:pt x="243" y="480"/>
                    <a:pt x="239" y="477"/>
                    <a:pt x="238" y="479"/>
                  </a:cubicBezTo>
                  <a:cubicBezTo>
                    <a:pt x="237" y="482"/>
                    <a:pt x="241" y="481"/>
                    <a:pt x="240" y="483"/>
                  </a:cubicBezTo>
                  <a:close/>
                  <a:moveTo>
                    <a:pt x="248" y="509"/>
                  </a:moveTo>
                  <a:cubicBezTo>
                    <a:pt x="249" y="508"/>
                    <a:pt x="251" y="508"/>
                    <a:pt x="251" y="506"/>
                  </a:cubicBezTo>
                  <a:cubicBezTo>
                    <a:pt x="250" y="505"/>
                    <a:pt x="247" y="505"/>
                    <a:pt x="245" y="503"/>
                  </a:cubicBezTo>
                  <a:cubicBezTo>
                    <a:pt x="244" y="505"/>
                    <a:pt x="246" y="507"/>
                    <a:pt x="248" y="509"/>
                  </a:cubicBezTo>
                  <a:close/>
                  <a:moveTo>
                    <a:pt x="428" y="592"/>
                  </a:moveTo>
                  <a:cubicBezTo>
                    <a:pt x="426" y="592"/>
                    <a:pt x="427" y="593"/>
                    <a:pt x="426" y="593"/>
                  </a:cubicBezTo>
                  <a:cubicBezTo>
                    <a:pt x="426" y="593"/>
                    <a:pt x="425" y="592"/>
                    <a:pt x="425" y="591"/>
                  </a:cubicBezTo>
                  <a:cubicBezTo>
                    <a:pt x="418" y="591"/>
                    <a:pt x="419" y="600"/>
                    <a:pt x="420" y="603"/>
                  </a:cubicBezTo>
                  <a:cubicBezTo>
                    <a:pt x="421" y="603"/>
                    <a:pt x="421" y="601"/>
                    <a:pt x="422" y="600"/>
                  </a:cubicBezTo>
                  <a:cubicBezTo>
                    <a:pt x="424" y="602"/>
                    <a:pt x="425" y="603"/>
                    <a:pt x="427" y="604"/>
                  </a:cubicBezTo>
                  <a:cubicBezTo>
                    <a:pt x="427" y="603"/>
                    <a:pt x="427" y="601"/>
                    <a:pt x="429" y="601"/>
                  </a:cubicBezTo>
                  <a:cubicBezTo>
                    <a:pt x="429" y="599"/>
                    <a:pt x="427" y="598"/>
                    <a:pt x="427" y="596"/>
                  </a:cubicBezTo>
                  <a:cubicBezTo>
                    <a:pt x="428" y="597"/>
                    <a:pt x="430" y="599"/>
                    <a:pt x="431" y="600"/>
                  </a:cubicBezTo>
                  <a:cubicBezTo>
                    <a:pt x="432" y="599"/>
                    <a:pt x="433" y="596"/>
                    <a:pt x="432" y="594"/>
                  </a:cubicBezTo>
                  <a:cubicBezTo>
                    <a:pt x="430" y="595"/>
                    <a:pt x="428" y="594"/>
                    <a:pt x="428" y="592"/>
                  </a:cubicBezTo>
                  <a:close/>
                  <a:moveTo>
                    <a:pt x="11" y="620"/>
                  </a:moveTo>
                  <a:cubicBezTo>
                    <a:pt x="13" y="620"/>
                    <a:pt x="15" y="621"/>
                    <a:pt x="15" y="618"/>
                  </a:cubicBezTo>
                  <a:cubicBezTo>
                    <a:pt x="12" y="618"/>
                    <a:pt x="11" y="617"/>
                    <a:pt x="10" y="616"/>
                  </a:cubicBezTo>
                  <a:cubicBezTo>
                    <a:pt x="9" y="615"/>
                    <a:pt x="9" y="614"/>
                    <a:pt x="8" y="612"/>
                  </a:cubicBezTo>
                  <a:cubicBezTo>
                    <a:pt x="5" y="612"/>
                    <a:pt x="3" y="609"/>
                    <a:pt x="0" y="612"/>
                  </a:cubicBezTo>
                  <a:cubicBezTo>
                    <a:pt x="2" y="614"/>
                    <a:pt x="3" y="617"/>
                    <a:pt x="5" y="619"/>
                  </a:cubicBezTo>
                  <a:cubicBezTo>
                    <a:pt x="4" y="620"/>
                    <a:pt x="3" y="619"/>
                    <a:pt x="1" y="619"/>
                  </a:cubicBezTo>
                  <a:cubicBezTo>
                    <a:pt x="1" y="620"/>
                    <a:pt x="0" y="620"/>
                    <a:pt x="0" y="621"/>
                  </a:cubicBezTo>
                  <a:cubicBezTo>
                    <a:pt x="3" y="621"/>
                    <a:pt x="2" y="625"/>
                    <a:pt x="5" y="626"/>
                  </a:cubicBezTo>
                  <a:cubicBezTo>
                    <a:pt x="5" y="624"/>
                    <a:pt x="5" y="623"/>
                    <a:pt x="6" y="623"/>
                  </a:cubicBezTo>
                  <a:cubicBezTo>
                    <a:pt x="9" y="623"/>
                    <a:pt x="9" y="620"/>
                    <a:pt x="11" y="620"/>
                  </a:cubicBezTo>
                  <a:close/>
                  <a:moveTo>
                    <a:pt x="312" y="616"/>
                  </a:moveTo>
                  <a:cubicBezTo>
                    <a:pt x="312" y="615"/>
                    <a:pt x="314" y="615"/>
                    <a:pt x="313" y="613"/>
                  </a:cubicBezTo>
                  <a:cubicBezTo>
                    <a:pt x="310" y="613"/>
                    <a:pt x="309" y="613"/>
                    <a:pt x="308" y="614"/>
                  </a:cubicBezTo>
                  <a:cubicBezTo>
                    <a:pt x="308" y="616"/>
                    <a:pt x="310" y="617"/>
                    <a:pt x="308" y="619"/>
                  </a:cubicBezTo>
                  <a:cubicBezTo>
                    <a:pt x="307" y="616"/>
                    <a:pt x="304" y="617"/>
                    <a:pt x="304" y="614"/>
                  </a:cubicBezTo>
                  <a:cubicBezTo>
                    <a:pt x="299" y="612"/>
                    <a:pt x="296" y="617"/>
                    <a:pt x="298" y="621"/>
                  </a:cubicBezTo>
                  <a:cubicBezTo>
                    <a:pt x="300" y="621"/>
                    <a:pt x="301" y="620"/>
                    <a:pt x="302" y="622"/>
                  </a:cubicBezTo>
                  <a:cubicBezTo>
                    <a:pt x="304" y="621"/>
                    <a:pt x="307" y="620"/>
                    <a:pt x="310" y="621"/>
                  </a:cubicBezTo>
                  <a:cubicBezTo>
                    <a:pt x="311" y="620"/>
                    <a:pt x="312" y="619"/>
                    <a:pt x="315" y="619"/>
                  </a:cubicBezTo>
                  <a:cubicBezTo>
                    <a:pt x="315" y="616"/>
                    <a:pt x="313" y="617"/>
                    <a:pt x="312" y="616"/>
                  </a:cubicBezTo>
                  <a:close/>
                  <a:moveTo>
                    <a:pt x="372" y="618"/>
                  </a:moveTo>
                  <a:cubicBezTo>
                    <a:pt x="370" y="621"/>
                    <a:pt x="376" y="625"/>
                    <a:pt x="379" y="624"/>
                  </a:cubicBezTo>
                  <a:cubicBezTo>
                    <a:pt x="379" y="623"/>
                    <a:pt x="378" y="621"/>
                    <a:pt x="378" y="620"/>
                  </a:cubicBezTo>
                  <a:cubicBezTo>
                    <a:pt x="375" y="621"/>
                    <a:pt x="376" y="617"/>
                    <a:pt x="372" y="618"/>
                  </a:cubicBezTo>
                  <a:close/>
                  <a:moveTo>
                    <a:pt x="29" y="623"/>
                  </a:moveTo>
                  <a:cubicBezTo>
                    <a:pt x="29" y="620"/>
                    <a:pt x="28" y="619"/>
                    <a:pt x="26" y="619"/>
                  </a:cubicBezTo>
                  <a:cubicBezTo>
                    <a:pt x="24" y="620"/>
                    <a:pt x="24" y="622"/>
                    <a:pt x="22" y="623"/>
                  </a:cubicBezTo>
                  <a:cubicBezTo>
                    <a:pt x="18" y="622"/>
                    <a:pt x="16" y="625"/>
                    <a:pt x="13" y="622"/>
                  </a:cubicBezTo>
                  <a:cubicBezTo>
                    <a:pt x="12" y="622"/>
                    <a:pt x="10" y="622"/>
                    <a:pt x="10" y="623"/>
                  </a:cubicBezTo>
                  <a:cubicBezTo>
                    <a:pt x="10" y="624"/>
                    <a:pt x="10" y="625"/>
                    <a:pt x="11" y="626"/>
                  </a:cubicBezTo>
                  <a:cubicBezTo>
                    <a:pt x="12" y="627"/>
                    <a:pt x="12" y="625"/>
                    <a:pt x="13" y="624"/>
                  </a:cubicBezTo>
                  <a:cubicBezTo>
                    <a:pt x="13" y="626"/>
                    <a:pt x="16" y="625"/>
                    <a:pt x="18" y="626"/>
                  </a:cubicBezTo>
                  <a:cubicBezTo>
                    <a:pt x="19" y="627"/>
                    <a:pt x="19" y="628"/>
                    <a:pt x="20" y="629"/>
                  </a:cubicBezTo>
                  <a:cubicBezTo>
                    <a:pt x="22" y="628"/>
                    <a:pt x="22" y="629"/>
                    <a:pt x="24" y="629"/>
                  </a:cubicBezTo>
                  <a:cubicBezTo>
                    <a:pt x="25" y="627"/>
                    <a:pt x="26" y="623"/>
                    <a:pt x="29" y="623"/>
                  </a:cubicBezTo>
                  <a:close/>
                  <a:moveTo>
                    <a:pt x="53" y="629"/>
                  </a:moveTo>
                  <a:cubicBezTo>
                    <a:pt x="53" y="627"/>
                    <a:pt x="53" y="627"/>
                    <a:pt x="55" y="627"/>
                  </a:cubicBezTo>
                  <a:cubicBezTo>
                    <a:pt x="54" y="615"/>
                    <a:pt x="43" y="628"/>
                    <a:pt x="53" y="629"/>
                  </a:cubicBezTo>
                  <a:close/>
                  <a:moveTo>
                    <a:pt x="45" y="631"/>
                  </a:moveTo>
                  <a:cubicBezTo>
                    <a:pt x="46" y="627"/>
                    <a:pt x="39" y="630"/>
                    <a:pt x="38" y="627"/>
                  </a:cubicBezTo>
                  <a:cubicBezTo>
                    <a:pt x="41" y="627"/>
                    <a:pt x="41" y="624"/>
                    <a:pt x="41" y="622"/>
                  </a:cubicBezTo>
                  <a:cubicBezTo>
                    <a:pt x="38" y="623"/>
                    <a:pt x="38" y="622"/>
                    <a:pt x="35" y="622"/>
                  </a:cubicBezTo>
                  <a:cubicBezTo>
                    <a:pt x="33" y="623"/>
                    <a:pt x="34" y="627"/>
                    <a:pt x="32" y="627"/>
                  </a:cubicBezTo>
                  <a:cubicBezTo>
                    <a:pt x="32" y="626"/>
                    <a:pt x="31" y="626"/>
                    <a:pt x="30" y="626"/>
                  </a:cubicBezTo>
                  <a:cubicBezTo>
                    <a:pt x="29" y="627"/>
                    <a:pt x="29" y="628"/>
                    <a:pt x="29" y="629"/>
                  </a:cubicBezTo>
                  <a:cubicBezTo>
                    <a:pt x="27" y="630"/>
                    <a:pt x="25" y="632"/>
                    <a:pt x="24" y="634"/>
                  </a:cubicBezTo>
                  <a:cubicBezTo>
                    <a:pt x="25" y="634"/>
                    <a:pt x="25" y="634"/>
                    <a:pt x="26" y="635"/>
                  </a:cubicBezTo>
                  <a:cubicBezTo>
                    <a:pt x="28" y="635"/>
                    <a:pt x="27" y="633"/>
                    <a:pt x="29" y="633"/>
                  </a:cubicBezTo>
                  <a:cubicBezTo>
                    <a:pt x="29" y="634"/>
                    <a:pt x="29" y="634"/>
                    <a:pt x="29" y="635"/>
                  </a:cubicBezTo>
                  <a:cubicBezTo>
                    <a:pt x="31" y="635"/>
                    <a:pt x="31" y="636"/>
                    <a:pt x="32" y="636"/>
                  </a:cubicBezTo>
                  <a:cubicBezTo>
                    <a:pt x="33" y="632"/>
                    <a:pt x="38" y="636"/>
                    <a:pt x="38" y="633"/>
                  </a:cubicBezTo>
                  <a:cubicBezTo>
                    <a:pt x="39" y="635"/>
                    <a:pt x="42" y="635"/>
                    <a:pt x="44" y="635"/>
                  </a:cubicBezTo>
                  <a:cubicBezTo>
                    <a:pt x="44" y="634"/>
                    <a:pt x="45" y="633"/>
                    <a:pt x="45" y="632"/>
                  </a:cubicBezTo>
                  <a:cubicBezTo>
                    <a:pt x="46" y="633"/>
                    <a:pt x="46" y="634"/>
                    <a:pt x="46" y="635"/>
                  </a:cubicBezTo>
                  <a:cubicBezTo>
                    <a:pt x="49" y="635"/>
                    <a:pt x="49" y="634"/>
                    <a:pt x="51" y="635"/>
                  </a:cubicBezTo>
                  <a:cubicBezTo>
                    <a:pt x="51" y="634"/>
                    <a:pt x="51" y="633"/>
                    <a:pt x="53" y="634"/>
                  </a:cubicBezTo>
                  <a:cubicBezTo>
                    <a:pt x="53" y="633"/>
                    <a:pt x="53" y="632"/>
                    <a:pt x="53" y="630"/>
                  </a:cubicBezTo>
                  <a:cubicBezTo>
                    <a:pt x="49" y="631"/>
                    <a:pt x="47" y="628"/>
                    <a:pt x="45" y="631"/>
                  </a:cubicBezTo>
                  <a:close/>
                  <a:moveTo>
                    <a:pt x="113" y="644"/>
                  </a:moveTo>
                  <a:cubicBezTo>
                    <a:pt x="111" y="640"/>
                    <a:pt x="101" y="641"/>
                    <a:pt x="99" y="638"/>
                  </a:cubicBezTo>
                  <a:cubicBezTo>
                    <a:pt x="99" y="637"/>
                    <a:pt x="97" y="636"/>
                    <a:pt x="98" y="636"/>
                  </a:cubicBezTo>
                  <a:cubicBezTo>
                    <a:pt x="101" y="637"/>
                    <a:pt x="102" y="635"/>
                    <a:pt x="104" y="634"/>
                  </a:cubicBezTo>
                  <a:cubicBezTo>
                    <a:pt x="104" y="630"/>
                    <a:pt x="102" y="630"/>
                    <a:pt x="101" y="627"/>
                  </a:cubicBezTo>
                  <a:cubicBezTo>
                    <a:pt x="98" y="627"/>
                    <a:pt x="96" y="626"/>
                    <a:pt x="95" y="629"/>
                  </a:cubicBezTo>
                  <a:cubicBezTo>
                    <a:pt x="95" y="628"/>
                    <a:pt x="93" y="628"/>
                    <a:pt x="92" y="629"/>
                  </a:cubicBezTo>
                  <a:cubicBezTo>
                    <a:pt x="92" y="631"/>
                    <a:pt x="95" y="631"/>
                    <a:pt x="96" y="633"/>
                  </a:cubicBezTo>
                  <a:cubicBezTo>
                    <a:pt x="92" y="633"/>
                    <a:pt x="89" y="632"/>
                    <a:pt x="85" y="635"/>
                  </a:cubicBezTo>
                  <a:cubicBezTo>
                    <a:pt x="84" y="633"/>
                    <a:pt x="81" y="635"/>
                    <a:pt x="79" y="632"/>
                  </a:cubicBezTo>
                  <a:cubicBezTo>
                    <a:pt x="79" y="634"/>
                    <a:pt x="76" y="632"/>
                    <a:pt x="75" y="634"/>
                  </a:cubicBezTo>
                  <a:cubicBezTo>
                    <a:pt x="74" y="632"/>
                    <a:pt x="69" y="631"/>
                    <a:pt x="68" y="633"/>
                  </a:cubicBezTo>
                  <a:cubicBezTo>
                    <a:pt x="75" y="637"/>
                    <a:pt x="85" y="638"/>
                    <a:pt x="90" y="640"/>
                  </a:cubicBezTo>
                  <a:cubicBezTo>
                    <a:pt x="93" y="636"/>
                    <a:pt x="100" y="641"/>
                    <a:pt x="102" y="645"/>
                  </a:cubicBezTo>
                  <a:cubicBezTo>
                    <a:pt x="110" y="646"/>
                    <a:pt x="113" y="649"/>
                    <a:pt x="124" y="650"/>
                  </a:cubicBezTo>
                  <a:cubicBezTo>
                    <a:pt x="122" y="646"/>
                    <a:pt x="115" y="646"/>
                    <a:pt x="113" y="644"/>
                  </a:cubicBezTo>
                  <a:close/>
                  <a:moveTo>
                    <a:pt x="256" y="630"/>
                  </a:moveTo>
                  <a:cubicBezTo>
                    <a:pt x="254" y="630"/>
                    <a:pt x="252" y="630"/>
                    <a:pt x="252" y="627"/>
                  </a:cubicBezTo>
                  <a:cubicBezTo>
                    <a:pt x="244" y="625"/>
                    <a:pt x="237" y="632"/>
                    <a:pt x="240" y="636"/>
                  </a:cubicBezTo>
                  <a:cubicBezTo>
                    <a:pt x="238" y="635"/>
                    <a:pt x="236" y="636"/>
                    <a:pt x="234" y="634"/>
                  </a:cubicBezTo>
                  <a:cubicBezTo>
                    <a:pt x="233" y="637"/>
                    <a:pt x="226" y="637"/>
                    <a:pt x="229" y="642"/>
                  </a:cubicBezTo>
                  <a:cubicBezTo>
                    <a:pt x="226" y="642"/>
                    <a:pt x="226" y="644"/>
                    <a:pt x="225" y="645"/>
                  </a:cubicBezTo>
                  <a:cubicBezTo>
                    <a:pt x="223" y="643"/>
                    <a:pt x="223" y="649"/>
                    <a:pt x="220" y="646"/>
                  </a:cubicBezTo>
                  <a:cubicBezTo>
                    <a:pt x="220" y="649"/>
                    <a:pt x="219" y="646"/>
                    <a:pt x="218" y="649"/>
                  </a:cubicBezTo>
                  <a:cubicBezTo>
                    <a:pt x="223" y="649"/>
                    <a:pt x="225" y="647"/>
                    <a:pt x="229" y="648"/>
                  </a:cubicBezTo>
                  <a:cubicBezTo>
                    <a:pt x="228" y="646"/>
                    <a:pt x="232" y="645"/>
                    <a:pt x="236" y="645"/>
                  </a:cubicBezTo>
                  <a:cubicBezTo>
                    <a:pt x="239" y="639"/>
                    <a:pt x="247" y="638"/>
                    <a:pt x="254" y="636"/>
                  </a:cubicBezTo>
                  <a:cubicBezTo>
                    <a:pt x="253" y="632"/>
                    <a:pt x="257" y="633"/>
                    <a:pt x="256" y="630"/>
                  </a:cubicBezTo>
                  <a:close/>
                  <a:moveTo>
                    <a:pt x="199" y="641"/>
                  </a:moveTo>
                  <a:cubicBezTo>
                    <a:pt x="196" y="643"/>
                    <a:pt x="200" y="647"/>
                    <a:pt x="202" y="644"/>
                  </a:cubicBezTo>
                  <a:cubicBezTo>
                    <a:pt x="203" y="645"/>
                    <a:pt x="203" y="647"/>
                    <a:pt x="205" y="647"/>
                  </a:cubicBezTo>
                  <a:cubicBezTo>
                    <a:pt x="206" y="646"/>
                    <a:pt x="208" y="645"/>
                    <a:pt x="207" y="643"/>
                  </a:cubicBezTo>
                  <a:cubicBezTo>
                    <a:pt x="205" y="640"/>
                    <a:pt x="203" y="642"/>
                    <a:pt x="199" y="641"/>
                  </a:cubicBezTo>
                  <a:close/>
                  <a:moveTo>
                    <a:pt x="140" y="642"/>
                  </a:moveTo>
                  <a:cubicBezTo>
                    <a:pt x="136" y="641"/>
                    <a:pt x="133" y="642"/>
                    <a:pt x="132" y="646"/>
                  </a:cubicBezTo>
                  <a:cubicBezTo>
                    <a:pt x="135" y="648"/>
                    <a:pt x="139" y="647"/>
                    <a:pt x="142" y="646"/>
                  </a:cubicBezTo>
                  <a:cubicBezTo>
                    <a:pt x="143" y="643"/>
                    <a:pt x="140" y="644"/>
                    <a:pt x="140" y="642"/>
                  </a:cubicBezTo>
                  <a:close/>
                  <a:moveTo>
                    <a:pt x="176" y="647"/>
                  </a:moveTo>
                  <a:cubicBezTo>
                    <a:pt x="178" y="649"/>
                    <a:pt x="182" y="647"/>
                    <a:pt x="185" y="646"/>
                  </a:cubicBezTo>
                  <a:cubicBezTo>
                    <a:pt x="185" y="639"/>
                    <a:pt x="177" y="643"/>
                    <a:pt x="176" y="647"/>
                  </a:cubicBezTo>
                  <a:close/>
                  <a:moveTo>
                    <a:pt x="168" y="645"/>
                  </a:moveTo>
                  <a:cubicBezTo>
                    <a:pt x="166" y="645"/>
                    <a:pt x="164" y="646"/>
                    <a:pt x="165" y="648"/>
                  </a:cubicBezTo>
                  <a:cubicBezTo>
                    <a:pt x="166" y="648"/>
                    <a:pt x="166" y="649"/>
                    <a:pt x="168" y="649"/>
                  </a:cubicBezTo>
                  <a:cubicBezTo>
                    <a:pt x="168" y="648"/>
                    <a:pt x="168" y="648"/>
                    <a:pt x="169" y="648"/>
                  </a:cubicBezTo>
                  <a:cubicBezTo>
                    <a:pt x="169" y="646"/>
                    <a:pt x="168" y="646"/>
                    <a:pt x="168" y="645"/>
                  </a:cubicBezTo>
                  <a:close/>
                  <a:moveTo>
                    <a:pt x="614" y="497"/>
                  </a:moveTo>
                  <a:cubicBezTo>
                    <a:pt x="614" y="499"/>
                    <a:pt x="613" y="499"/>
                    <a:pt x="612" y="498"/>
                  </a:cubicBezTo>
                  <a:cubicBezTo>
                    <a:pt x="613" y="498"/>
                    <a:pt x="612" y="497"/>
                    <a:pt x="613" y="496"/>
                  </a:cubicBezTo>
                  <a:cubicBezTo>
                    <a:pt x="611" y="494"/>
                    <a:pt x="611" y="497"/>
                    <a:pt x="610" y="497"/>
                  </a:cubicBezTo>
                  <a:cubicBezTo>
                    <a:pt x="610" y="496"/>
                    <a:pt x="609" y="495"/>
                    <a:pt x="608" y="494"/>
                  </a:cubicBezTo>
                  <a:cubicBezTo>
                    <a:pt x="608" y="495"/>
                    <a:pt x="608" y="494"/>
                    <a:pt x="607" y="494"/>
                  </a:cubicBezTo>
                  <a:cubicBezTo>
                    <a:pt x="606" y="494"/>
                    <a:pt x="607" y="496"/>
                    <a:pt x="606" y="496"/>
                  </a:cubicBezTo>
                  <a:cubicBezTo>
                    <a:pt x="605" y="496"/>
                    <a:pt x="605" y="495"/>
                    <a:pt x="605" y="494"/>
                  </a:cubicBezTo>
                  <a:cubicBezTo>
                    <a:pt x="607" y="492"/>
                    <a:pt x="609" y="491"/>
                    <a:pt x="608" y="486"/>
                  </a:cubicBezTo>
                  <a:cubicBezTo>
                    <a:pt x="605" y="487"/>
                    <a:pt x="600" y="485"/>
                    <a:pt x="601" y="492"/>
                  </a:cubicBezTo>
                  <a:cubicBezTo>
                    <a:pt x="599" y="493"/>
                    <a:pt x="598" y="495"/>
                    <a:pt x="596" y="495"/>
                  </a:cubicBezTo>
                  <a:cubicBezTo>
                    <a:pt x="596" y="496"/>
                    <a:pt x="597" y="496"/>
                    <a:pt x="597" y="497"/>
                  </a:cubicBezTo>
                  <a:cubicBezTo>
                    <a:pt x="594" y="496"/>
                    <a:pt x="596" y="499"/>
                    <a:pt x="595" y="499"/>
                  </a:cubicBezTo>
                  <a:cubicBezTo>
                    <a:pt x="595" y="498"/>
                    <a:pt x="594" y="498"/>
                    <a:pt x="593" y="498"/>
                  </a:cubicBezTo>
                  <a:cubicBezTo>
                    <a:pt x="591" y="499"/>
                    <a:pt x="592" y="501"/>
                    <a:pt x="592" y="502"/>
                  </a:cubicBezTo>
                  <a:cubicBezTo>
                    <a:pt x="589" y="501"/>
                    <a:pt x="587" y="506"/>
                    <a:pt x="585" y="508"/>
                  </a:cubicBezTo>
                  <a:cubicBezTo>
                    <a:pt x="587" y="509"/>
                    <a:pt x="592" y="509"/>
                    <a:pt x="591" y="511"/>
                  </a:cubicBezTo>
                  <a:cubicBezTo>
                    <a:pt x="591" y="510"/>
                    <a:pt x="588" y="508"/>
                    <a:pt x="587" y="511"/>
                  </a:cubicBezTo>
                  <a:cubicBezTo>
                    <a:pt x="588" y="511"/>
                    <a:pt x="589" y="512"/>
                    <a:pt x="590" y="513"/>
                  </a:cubicBezTo>
                  <a:cubicBezTo>
                    <a:pt x="587" y="513"/>
                    <a:pt x="587" y="510"/>
                    <a:pt x="583" y="510"/>
                  </a:cubicBezTo>
                  <a:cubicBezTo>
                    <a:pt x="581" y="512"/>
                    <a:pt x="583" y="513"/>
                    <a:pt x="584" y="515"/>
                  </a:cubicBezTo>
                  <a:cubicBezTo>
                    <a:pt x="583" y="515"/>
                    <a:pt x="584" y="517"/>
                    <a:pt x="583" y="518"/>
                  </a:cubicBezTo>
                  <a:cubicBezTo>
                    <a:pt x="583" y="515"/>
                    <a:pt x="581" y="515"/>
                    <a:pt x="582" y="513"/>
                  </a:cubicBezTo>
                  <a:cubicBezTo>
                    <a:pt x="577" y="512"/>
                    <a:pt x="573" y="514"/>
                    <a:pt x="574" y="519"/>
                  </a:cubicBezTo>
                  <a:cubicBezTo>
                    <a:pt x="574" y="520"/>
                    <a:pt x="576" y="521"/>
                    <a:pt x="577" y="521"/>
                  </a:cubicBezTo>
                  <a:cubicBezTo>
                    <a:pt x="576" y="521"/>
                    <a:pt x="575" y="521"/>
                    <a:pt x="575" y="522"/>
                  </a:cubicBezTo>
                  <a:cubicBezTo>
                    <a:pt x="576" y="524"/>
                    <a:pt x="576" y="528"/>
                    <a:pt x="575" y="530"/>
                  </a:cubicBezTo>
                  <a:cubicBezTo>
                    <a:pt x="576" y="521"/>
                    <a:pt x="567" y="518"/>
                    <a:pt x="563" y="524"/>
                  </a:cubicBezTo>
                  <a:cubicBezTo>
                    <a:pt x="559" y="525"/>
                    <a:pt x="556" y="531"/>
                    <a:pt x="555" y="534"/>
                  </a:cubicBezTo>
                  <a:cubicBezTo>
                    <a:pt x="560" y="534"/>
                    <a:pt x="561" y="539"/>
                    <a:pt x="560" y="546"/>
                  </a:cubicBezTo>
                  <a:cubicBezTo>
                    <a:pt x="563" y="546"/>
                    <a:pt x="565" y="549"/>
                    <a:pt x="564" y="552"/>
                  </a:cubicBezTo>
                  <a:cubicBezTo>
                    <a:pt x="568" y="550"/>
                    <a:pt x="570" y="545"/>
                    <a:pt x="574" y="549"/>
                  </a:cubicBezTo>
                  <a:cubicBezTo>
                    <a:pt x="570" y="549"/>
                    <a:pt x="568" y="552"/>
                    <a:pt x="567" y="555"/>
                  </a:cubicBezTo>
                  <a:cubicBezTo>
                    <a:pt x="568" y="556"/>
                    <a:pt x="570" y="556"/>
                    <a:pt x="572" y="556"/>
                  </a:cubicBezTo>
                  <a:cubicBezTo>
                    <a:pt x="574" y="554"/>
                    <a:pt x="575" y="553"/>
                    <a:pt x="578" y="552"/>
                  </a:cubicBezTo>
                  <a:cubicBezTo>
                    <a:pt x="578" y="551"/>
                    <a:pt x="578" y="551"/>
                    <a:pt x="578" y="550"/>
                  </a:cubicBezTo>
                  <a:cubicBezTo>
                    <a:pt x="582" y="550"/>
                    <a:pt x="581" y="547"/>
                    <a:pt x="580" y="544"/>
                  </a:cubicBezTo>
                  <a:cubicBezTo>
                    <a:pt x="583" y="546"/>
                    <a:pt x="582" y="543"/>
                    <a:pt x="584" y="543"/>
                  </a:cubicBezTo>
                  <a:cubicBezTo>
                    <a:pt x="583" y="545"/>
                    <a:pt x="585" y="546"/>
                    <a:pt x="585" y="548"/>
                  </a:cubicBezTo>
                  <a:cubicBezTo>
                    <a:pt x="588" y="548"/>
                    <a:pt x="588" y="546"/>
                    <a:pt x="589" y="544"/>
                  </a:cubicBezTo>
                  <a:cubicBezTo>
                    <a:pt x="591" y="545"/>
                    <a:pt x="592" y="542"/>
                    <a:pt x="595" y="543"/>
                  </a:cubicBezTo>
                  <a:cubicBezTo>
                    <a:pt x="595" y="542"/>
                    <a:pt x="596" y="542"/>
                    <a:pt x="595" y="541"/>
                  </a:cubicBezTo>
                  <a:cubicBezTo>
                    <a:pt x="594" y="540"/>
                    <a:pt x="592" y="540"/>
                    <a:pt x="592" y="540"/>
                  </a:cubicBezTo>
                  <a:cubicBezTo>
                    <a:pt x="595" y="540"/>
                    <a:pt x="593" y="536"/>
                    <a:pt x="593" y="535"/>
                  </a:cubicBezTo>
                  <a:cubicBezTo>
                    <a:pt x="594" y="538"/>
                    <a:pt x="597" y="538"/>
                    <a:pt x="599" y="538"/>
                  </a:cubicBezTo>
                  <a:cubicBezTo>
                    <a:pt x="600" y="536"/>
                    <a:pt x="602" y="535"/>
                    <a:pt x="601" y="533"/>
                  </a:cubicBezTo>
                  <a:cubicBezTo>
                    <a:pt x="600" y="532"/>
                    <a:pt x="598" y="531"/>
                    <a:pt x="598" y="529"/>
                  </a:cubicBezTo>
                  <a:cubicBezTo>
                    <a:pt x="600" y="532"/>
                    <a:pt x="603" y="532"/>
                    <a:pt x="607" y="533"/>
                  </a:cubicBezTo>
                  <a:cubicBezTo>
                    <a:pt x="606" y="528"/>
                    <a:pt x="611" y="529"/>
                    <a:pt x="610" y="524"/>
                  </a:cubicBezTo>
                  <a:cubicBezTo>
                    <a:pt x="608" y="525"/>
                    <a:pt x="607" y="523"/>
                    <a:pt x="605" y="525"/>
                  </a:cubicBezTo>
                  <a:cubicBezTo>
                    <a:pt x="606" y="522"/>
                    <a:pt x="605" y="522"/>
                    <a:pt x="605" y="520"/>
                  </a:cubicBezTo>
                  <a:cubicBezTo>
                    <a:pt x="606" y="520"/>
                    <a:pt x="606" y="519"/>
                    <a:pt x="607" y="519"/>
                  </a:cubicBezTo>
                  <a:cubicBezTo>
                    <a:pt x="607" y="515"/>
                    <a:pt x="606" y="516"/>
                    <a:pt x="608" y="513"/>
                  </a:cubicBezTo>
                  <a:cubicBezTo>
                    <a:pt x="607" y="513"/>
                    <a:pt x="606" y="513"/>
                    <a:pt x="606" y="511"/>
                  </a:cubicBezTo>
                  <a:cubicBezTo>
                    <a:pt x="603" y="513"/>
                    <a:pt x="601" y="513"/>
                    <a:pt x="598" y="515"/>
                  </a:cubicBezTo>
                  <a:cubicBezTo>
                    <a:pt x="599" y="513"/>
                    <a:pt x="597" y="513"/>
                    <a:pt x="595" y="511"/>
                  </a:cubicBezTo>
                  <a:cubicBezTo>
                    <a:pt x="602" y="511"/>
                    <a:pt x="602" y="505"/>
                    <a:pt x="608" y="507"/>
                  </a:cubicBezTo>
                  <a:cubicBezTo>
                    <a:pt x="609" y="507"/>
                    <a:pt x="608" y="505"/>
                    <a:pt x="609" y="504"/>
                  </a:cubicBezTo>
                  <a:cubicBezTo>
                    <a:pt x="610" y="505"/>
                    <a:pt x="611" y="506"/>
                    <a:pt x="613" y="506"/>
                  </a:cubicBezTo>
                  <a:cubicBezTo>
                    <a:pt x="613" y="504"/>
                    <a:pt x="614" y="504"/>
                    <a:pt x="615" y="503"/>
                  </a:cubicBezTo>
                  <a:cubicBezTo>
                    <a:pt x="615" y="501"/>
                    <a:pt x="616" y="498"/>
                    <a:pt x="614" y="497"/>
                  </a:cubicBezTo>
                  <a:close/>
                  <a:moveTo>
                    <a:pt x="1041" y="573"/>
                  </a:moveTo>
                  <a:cubicBezTo>
                    <a:pt x="1043" y="571"/>
                    <a:pt x="1042" y="567"/>
                    <a:pt x="1040" y="564"/>
                  </a:cubicBezTo>
                  <a:cubicBezTo>
                    <a:pt x="1038" y="564"/>
                    <a:pt x="1039" y="564"/>
                    <a:pt x="1037" y="564"/>
                  </a:cubicBezTo>
                  <a:cubicBezTo>
                    <a:pt x="1036" y="560"/>
                    <a:pt x="1032" y="559"/>
                    <a:pt x="1030" y="557"/>
                  </a:cubicBezTo>
                  <a:cubicBezTo>
                    <a:pt x="1032" y="558"/>
                    <a:pt x="1034" y="559"/>
                    <a:pt x="1036" y="559"/>
                  </a:cubicBezTo>
                  <a:cubicBezTo>
                    <a:pt x="1036" y="556"/>
                    <a:pt x="1033" y="556"/>
                    <a:pt x="1031" y="555"/>
                  </a:cubicBezTo>
                  <a:cubicBezTo>
                    <a:pt x="1027" y="549"/>
                    <a:pt x="1021" y="540"/>
                    <a:pt x="1013" y="541"/>
                  </a:cubicBezTo>
                  <a:cubicBezTo>
                    <a:pt x="1011" y="538"/>
                    <a:pt x="1009" y="534"/>
                    <a:pt x="1006" y="531"/>
                  </a:cubicBezTo>
                  <a:cubicBezTo>
                    <a:pt x="1002" y="531"/>
                    <a:pt x="1000" y="533"/>
                    <a:pt x="996" y="532"/>
                  </a:cubicBezTo>
                  <a:cubicBezTo>
                    <a:pt x="994" y="537"/>
                    <a:pt x="998" y="540"/>
                    <a:pt x="1001" y="540"/>
                  </a:cubicBezTo>
                  <a:cubicBezTo>
                    <a:pt x="1000" y="541"/>
                    <a:pt x="999" y="540"/>
                    <a:pt x="998" y="540"/>
                  </a:cubicBezTo>
                  <a:cubicBezTo>
                    <a:pt x="998" y="544"/>
                    <a:pt x="995" y="546"/>
                    <a:pt x="995" y="550"/>
                  </a:cubicBezTo>
                  <a:cubicBezTo>
                    <a:pt x="997" y="550"/>
                    <a:pt x="998" y="551"/>
                    <a:pt x="999" y="551"/>
                  </a:cubicBezTo>
                  <a:cubicBezTo>
                    <a:pt x="1001" y="548"/>
                    <a:pt x="1003" y="544"/>
                    <a:pt x="1006" y="545"/>
                  </a:cubicBezTo>
                  <a:cubicBezTo>
                    <a:pt x="1007" y="547"/>
                    <a:pt x="1005" y="549"/>
                    <a:pt x="1006" y="552"/>
                  </a:cubicBezTo>
                  <a:cubicBezTo>
                    <a:pt x="1004" y="553"/>
                    <a:pt x="1003" y="550"/>
                    <a:pt x="1000" y="552"/>
                  </a:cubicBezTo>
                  <a:cubicBezTo>
                    <a:pt x="1000" y="553"/>
                    <a:pt x="999" y="554"/>
                    <a:pt x="999" y="555"/>
                  </a:cubicBezTo>
                  <a:cubicBezTo>
                    <a:pt x="1001" y="556"/>
                    <a:pt x="1004" y="559"/>
                    <a:pt x="1006" y="556"/>
                  </a:cubicBezTo>
                  <a:cubicBezTo>
                    <a:pt x="1005" y="556"/>
                    <a:pt x="1005" y="555"/>
                    <a:pt x="1006" y="555"/>
                  </a:cubicBezTo>
                  <a:cubicBezTo>
                    <a:pt x="1005" y="559"/>
                    <a:pt x="1011" y="563"/>
                    <a:pt x="1014" y="558"/>
                  </a:cubicBezTo>
                  <a:cubicBezTo>
                    <a:pt x="1013" y="559"/>
                    <a:pt x="1014" y="562"/>
                    <a:pt x="1014" y="564"/>
                  </a:cubicBezTo>
                  <a:cubicBezTo>
                    <a:pt x="1016" y="564"/>
                    <a:pt x="1016" y="565"/>
                    <a:pt x="1017" y="566"/>
                  </a:cubicBezTo>
                  <a:cubicBezTo>
                    <a:pt x="1016" y="565"/>
                    <a:pt x="1015" y="567"/>
                    <a:pt x="1013" y="566"/>
                  </a:cubicBezTo>
                  <a:cubicBezTo>
                    <a:pt x="1011" y="569"/>
                    <a:pt x="1013" y="570"/>
                    <a:pt x="1014" y="572"/>
                  </a:cubicBezTo>
                  <a:cubicBezTo>
                    <a:pt x="1014" y="582"/>
                    <a:pt x="1023" y="585"/>
                    <a:pt x="1027" y="591"/>
                  </a:cubicBezTo>
                  <a:cubicBezTo>
                    <a:pt x="1029" y="591"/>
                    <a:pt x="1030" y="592"/>
                    <a:pt x="1032" y="591"/>
                  </a:cubicBezTo>
                  <a:cubicBezTo>
                    <a:pt x="1032" y="589"/>
                    <a:pt x="1031" y="589"/>
                    <a:pt x="1031" y="588"/>
                  </a:cubicBezTo>
                  <a:cubicBezTo>
                    <a:pt x="1032" y="588"/>
                    <a:pt x="1032" y="587"/>
                    <a:pt x="1033" y="587"/>
                  </a:cubicBezTo>
                  <a:cubicBezTo>
                    <a:pt x="1032" y="585"/>
                    <a:pt x="1031" y="583"/>
                    <a:pt x="1031" y="581"/>
                  </a:cubicBezTo>
                  <a:cubicBezTo>
                    <a:pt x="1030" y="581"/>
                    <a:pt x="1029" y="580"/>
                    <a:pt x="1027" y="580"/>
                  </a:cubicBezTo>
                  <a:cubicBezTo>
                    <a:pt x="1026" y="580"/>
                    <a:pt x="1026" y="582"/>
                    <a:pt x="1025" y="582"/>
                  </a:cubicBezTo>
                  <a:cubicBezTo>
                    <a:pt x="1023" y="580"/>
                    <a:pt x="1021" y="575"/>
                    <a:pt x="1018" y="573"/>
                  </a:cubicBezTo>
                  <a:cubicBezTo>
                    <a:pt x="1020" y="573"/>
                    <a:pt x="1022" y="570"/>
                    <a:pt x="1023" y="572"/>
                  </a:cubicBezTo>
                  <a:cubicBezTo>
                    <a:pt x="1021" y="575"/>
                    <a:pt x="1025" y="575"/>
                    <a:pt x="1023" y="579"/>
                  </a:cubicBezTo>
                  <a:cubicBezTo>
                    <a:pt x="1025" y="578"/>
                    <a:pt x="1026" y="579"/>
                    <a:pt x="1028" y="579"/>
                  </a:cubicBezTo>
                  <a:cubicBezTo>
                    <a:pt x="1029" y="578"/>
                    <a:pt x="1028" y="576"/>
                    <a:pt x="1029" y="576"/>
                  </a:cubicBezTo>
                  <a:cubicBezTo>
                    <a:pt x="1030" y="576"/>
                    <a:pt x="1030" y="578"/>
                    <a:pt x="1030" y="580"/>
                  </a:cubicBezTo>
                  <a:cubicBezTo>
                    <a:pt x="1035" y="581"/>
                    <a:pt x="1038" y="581"/>
                    <a:pt x="1039" y="587"/>
                  </a:cubicBezTo>
                  <a:cubicBezTo>
                    <a:pt x="1042" y="587"/>
                    <a:pt x="1043" y="587"/>
                    <a:pt x="1046" y="586"/>
                  </a:cubicBezTo>
                  <a:cubicBezTo>
                    <a:pt x="1047" y="580"/>
                    <a:pt x="1045" y="578"/>
                    <a:pt x="1043" y="572"/>
                  </a:cubicBezTo>
                  <a:cubicBezTo>
                    <a:pt x="1042" y="572"/>
                    <a:pt x="1042" y="573"/>
                    <a:pt x="1041" y="573"/>
                  </a:cubicBezTo>
                  <a:close/>
                  <a:moveTo>
                    <a:pt x="1074" y="535"/>
                  </a:moveTo>
                  <a:cubicBezTo>
                    <a:pt x="1077" y="530"/>
                    <a:pt x="1075" y="524"/>
                    <a:pt x="1071" y="521"/>
                  </a:cubicBezTo>
                  <a:cubicBezTo>
                    <a:pt x="1069" y="525"/>
                    <a:pt x="1063" y="523"/>
                    <a:pt x="1062" y="519"/>
                  </a:cubicBezTo>
                  <a:cubicBezTo>
                    <a:pt x="1058" y="520"/>
                    <a:pt x="1057" y="518"/>
                    <a:pt x="1055" y="517"/>
                  </a:cubicBezTo>
                  <a:cubicBezTo>
                    <a:pt x="1046" y="517"/>
                    <a:pt x="1040" y="515"/>
                    <a:pt x="1035" y="512"/>
                  </a:cubicBezTo>
                  <a:cubicBezTo>
                    <a:pt x="1035" y="513"/>
                    <a:pt x="1032" y="513"/>
                    <a:pt x="1031" y="514"/>
                  </a:cubicBezTo>
                  <a:cubicBezTo>
                    <a:pt x="1030" y="511"/>
                    <a:pt x="1028" y="510"/>
                    <a:pt x="1028" y="506"/>
                  </a:cubicBezTo>
                  <a:cubicBezTo>
                    <a:pt x="1025" y="506"/>
                    <a:pt x="1024" y="506"/>
                    <a:pt x="1022" y="505"/>
                  </a:cubicBezTo>
                  <a:cubicBezTo>
                    <a:pt x="1022" y="503"/>
                    <a:pt x="1023" y="500"/>
                    <a:pt x="1022" y="498"/>
                  </a:cubicBezTo>
                  <a:cubicBezTo>
                    <a:pt x="1020" y="498"/>
                    <a:pt x="1016" y="499"/>
                    <a:pt x="1015" y="498"/>
                  </a:cubicBezTo>
                  <a:cubicBezTo>
                    <a:pt x="1016" y="497"/>
                    <a:pt x="1016" y="495"/>
                    <a:pt x="1016" y="494"/>
                  </a:cubicBezTo>
                  <a:cubicBezTo>
                    <a:pt x="1004" y="482"/>
                    <a:pt x="993" y="469"/>
                    <a:pt x="981" y="456"/>
                  </a:cubicBezTo>
                  <a:cubicBezTo>
                    <a:pt x="982" y="456"/>
                    <a:pt x="982" y="455"/>
                    <a:pt x="982" y="455"/>
                  </a:cubicBezTo>
                  <a:cubicBezTo>
                    <a:pt x="975" y="451"/>
                    <a:pt x="971" y="443"/>
                    <a:pt x="961" y="443"/>
                  </a:cubicBezTo>
                  <a:cubicBezTo>
                    <a:pt x="959" y="436"/>
                    <a:pt x="952" y="434"/>
                    <a:pt x="949" y="430"/>
                  </a:cubicBezTo>
                  <a:cubicBezTo>
                    <a:pt x="947" y="430"/>
                    <a:pt x="945" y="430"/>
                    <a:pt x="943" y="430"/>
                  </a:cubicBezTo>
                  <a:cubicBezTo>
                    <a:pt x="943" y="427"/>
                    <a:pt x="942" y="426"/>
                    <a:pt x="940" y="425"/>
                  </a:cubicBezTo>
                  <a:cubicBezTo>
                    <a:pt x="943" y="419"/>
                    <a:pt x="934" y="415"/>
                    <a:pt x="929" y="412"/>
                  </a:cubicBezTo>
                  <a:cubicBezTo>
                    <a:pt x="926" y="418"/>
                    <a:pt x="918" y="419"/>
                    <a:pt x="914" y="425"/>
                  </a:cubicBezTo>
                  <a:cubicBezTo>
                    <a:pt x="916" y="425"/>
                    <a:pt x="917" y="426"/>
                    <a:pt x="917" y="426"/>
                  </a:cubicBezTo>
                  <a:cubicBezTo>
                    <a:pt x="916" y="427"/>
                    <a:pt x="917" y="429"/>
                    <a:pt x="916" y="429"/>
                  </a:cubicBezTo>
                  <a:cubicBezTo>
                    <a:pt x="915" y="429"/>
                    <a:pt x="914" y="429"/>
                    <a:pt x="913" y="429"/>
                  </a:cubicBezTo>
                  <a:cubicBezTo>
                    <a:pt x="913" y="434"/>
                    <a:pt x="915" y="438"/>
                    <a:pt x="913" y="441"/>
                  </a:cubicBezTo>
                  <a:cubicBezTo>
                    <a:pt x="905" y="443"/>
                    <a:pt x="903" y="450"/>
                    <a:pt x="898" y="454"/>
                  </a:cubicBezTo>
                  <a:cubicBezTo>
                    <a:pt x="896" y="434"/>
                    <a:pt x="874" y="435"/>
                    <a:pt x="868" y="420"/>
                  </a:cubicBezTo>
                  <a:cubicBezTo>
                    <a:pt x="859" y="421"/>
                    <a:pt x="858" y="414"/>
                    <a:pt x="858" y="405"/>
                  </a:cubicBezTo>
                  <a:cubicBezTo>
                    <a:pt x="851" y="407"/>
                    <a:pt x="844" y="408"/>
                    <a:pt x="842" y="414"/>
                  </a:cubicBezTo>
                  <a:cubicBezTo>
                    <a:pt x="838" y="413"/>
                    <a:pt x="835" y="412"/>
                    <a:pt x="832" y="411"/>
                  </a:cubicBezTo>
                  <a:cubicBezTo>
                    <a:pt x="831" y="412"/>
                    <a:pt x="832" y="414"/>
                    <a:pt x="830" y="414"/>
                  </a:cubicBezTo>
                  <a:cubicBezTo>
                    <a:pt x="828" y="414"/>
                    <a:pt x="825" y="413"/>
                    <a:pt x="823" y="412"/>
                  </a:cubicBezTo>
                  <a:cubicBezTo>
                    <a:pt x="807" y="297"/>
                    <a:pt x="790" y="181"/>
                    <a:pt x="773" y="65"/>
                  </a:cubicBezTo>
                  <a:cubicBezTo>
                    <a:pt x="771" y="65"/>
                    <a:pt x="770" y="64"/>
                    <a:pt x="768" y="65"/>
                  </a:cubicBezTo>
                  <a:cubicBezTo>
                    <a:pt x="767" y="66"/>
                    <a:pt x="770" y="66"/>
                    <a:pt x="768" y="66"/>
                  </a:cubicBezTo>
                  <a:cubicBezTo>
                    <a:pt x="765" y="62"/>
                    <a:pt x="760" y="60"/>
                    <a:pt x="756" y="60"/>
                  </a:cubicBezTo>
                  <a:cubicBezTo>
                    <a:pt x="754" y="58"/>
                    <a:pt x="750" y="52"/>
                    <a:pt x="745" y="53"/>
                  </a:cubicBezTo>
                  <a:cubicBezTo>
                    <a:pt x="745" y="51"/>
                    <a:pt x="743" y="52"/>
                    <a:pt x="741" y="51"/>
                  </a:cubicBezTo>
                  <a:cubicBezTo>
                    <a:pt x="740" y="52"/>
                    <a:pt x="739" y="52"/>
                    <a:pt x="738" y="52"/>
                  </a:cubicBezTo>
                  <a:cubicBezTo>
                    <a:pt x="738" y="51"/>
                    <a:pt x="738" y="51"/>
                    <a:pt x="738" y="50"/>
                  </a:cubicBezTo>
                  <a:cubicBezTo>
                    <a:pt x="736" y="51"/>
                    <a:pt x="735" y="51"/>
                    <a:pt x="733" y="51"/>
                  </a:cubicBezTo>
                  <a:cubicBezTo>
                    <a:pt x="733" y="52"/>
                    <a:pt x="734" y="52"/>
                    <a:pt x="734" y="53"/>
                  </a:cubicBezTo>
                  <a:cubicBezTo>
                    <a:pt x="728" y="53"/>
                    <a:pt x="721" y="62"/>
                    <a:pt x="716" y="56"/>
                  </a:cubicBezTo>
                  <a:cubicBezTo>
                    <a:pt x="713" y="57"/>
                    <a:pt x="710" y="53"/>
                    <a:pt x="708" y="51"/>
                  </a:cubicBezTo>
                  <a:cubicBezTo>
                    <a:pt x="700" y="50"/>
                    <a:pt x="692" y="52"/>
                    <a:pt x="684" y="50"/>
                  </a:cubicBezTo>
                  <a:cubicBezTo>
                    <a:pt x="683" y="50"/>
                    <a:pt x="683" y="48"/>
                    <a:pt x="683" y="47"/>
                  </a:cubicBezTo>
                  <a:cubicBezTo>
                    <a:pt x="679" y="48"/>
                    <a:pt x="678" y="43"/>
                    <a:pt x="674" y="47"/>
                  </a:cubicBezTo>
                  <a:cubicBezTo>
                    <a:pt x="675" y="44"/>
                    <a:pt x="673" y="44"/>
                    <a:pt x="672" y="43"/>
                  </a:cubicBezTo>
                  <a:cubicBezTo>
                    <a:pt x="670" y="42"/>
                    <a:pt x="670" y="43"/>
                    <a:pt x="668" y="43"/>
                  </a:cubicBezTo>
                  <a:cubicBezTo>
                    <a:pt x="664" y="35"/>
                    <a:pt x="653" y="41"/>
                    <a:pt x="647" y="43"/>
                  </a:cubicBezTo>
                  <a:cubicBezTo>
                    <a:pt x="648" y="42"/>
                    <a:pt x="649" y="41"/>
                    <a:pt x="649" y="39"/>
                  </a:cubicBezTo>
                  <a:cubicBezTo>
                    <a:pt x="642" y="39"/>
                    <a:pt x="636" y="44"/>
                    <a:pt x="630" y="40"/>
                  </a:cubicBezTo>
                  <a:cubicBezTo>
                    <a:pt x="633" y="41"/>
                    <a:pt x="632" y="38"/>
                    <a:pt x="633" y="36"/>
                  </a:cubicBezTo>
                  <a:cubicBezTo>
                    <a:pt x="628" y="36"/>
                    <a:pt x="626" y="34"/>
                    <a:pt x="623" y="33"/>
                  </a:cubicBezTo>
                  <a:cubicBezTo>
                    <a:pt x="624" y="31"/>
                    <a:pt x="626" y="29"/>
                    <a:pt x="627" y="27"/>
                  </a:cubicBezTo>
                  <a:cubicBezTo>
                    <a:pt x="626" y="23"/>
                    <a:pt x="621" y="24"/>
                    <a:pt x="618" y="24"/>
                  </a:cubicBezTo>
                  <a:cubicBezTo>
                    <a:pt x="617" y="23"/>
                    <a:pt x="616" y="22"/>
                    <a:pt x="615" y="21"/>
                  </a:cubicBezTo>
                  <a:cubicBezTo>
                    <a:pt x="614" y="21"/>
                    <a:pt x="612" y="22"/>
                    <a:pt x="611" y="23"/>
                  </a:cubicBezTo>
                  <a:cubicBezTo>
                    <a:pt x="607" y="23"/>
                    <a:pt x="604" y="22"/>
                    <a:pt x="602" y="26"/>
                  </a:cubicBezTo>
                  <a:cubicBezTo>
                    <a:pt x="602" y="23"/>
                    <a:pt x="597" y="25"/>
                    <a:pt x="597" y="22"/>
                  </a:cubicBezTo>
                  <a:cubicBezTo>
                    <a:pt x="597" y="21"/>
                    <a:pt x="598" y="19"/>
                    <a:pt x="598" y="18"/>
                  </a:cubicBezTo>
                  <a:cubicBezTo>
                    <a:pt x="596" y="14"/>
                    <a:pt x="594" y="13"/>
                    <a:pt x="591" y="12"/>
                  </a:cubicBezTo>
                  <a:cubicBezTo>
                    <a:pt x="590" y="14"/>
                    <a:pt x="587" y="14"/>
                    <a:pt x="589" y="16"/>
                  </a:cubicBezTo>
                  <a:cubicBezTo>
                    <a:pt x="587" y="17"/>
                    <a:pt x="584" y="18"/>
                    <a:pt x="585" y="23"/>
                  </a:cubicBezTo>
                  <a:cubicBezTo>
                    <a:pt x="583" y="22"/>
                    <a:pt x="583" y="23"/>
                    <a:pt x="580" y="23"/>
                  </a:cubicBezTo>
                  <a:cubicBezTo>
                    <a:pt x="580" y="21"/>
                    <a:pt x="580" y="20"/>
                    <a:pt x="580" y="18"/>
                  </a:cubicBezTo>
                  <a:cubicBezTo>
                    <a:pt x="584" y="19"/>
                    <a:pt x="587" y="15"/>
                    <a:pt x="586" y="10"/>
                  </a:cubicBezTo>
                  <a:cubicBezTo>
                    <a:pt x="581" y="8"/>
                    <a:pt x="578" y="6"/>
                    <a:pt x="575" y="3"/>
                  </a:cubicBezTo>
                  <a:cubicBezTo>
                    <a:pt x="574" y="2"/>
                    <a:pt x="578" y="4"/>
                    <a:pt x="577" y="2"/>
                  </a:cubicBezTo>
                  <a:cubicBezTo>
                    <a:pt x="575" y="0"/>
                    <a:pt x="573" y="2"/>
                    <a:pt x="572" y="2"/>
                  </a:cubicBezTo>
                  <a:cubicBezTo>
                    <a:pt x="566" y="6"/>
                    <a:pt x="563" y="20"/>
                    <a:pt x="552" y="20"/>
                  </a:cubicBezTo>
                  <a:cubicBezTo>
                    <a:pt x="551" y="19"/>
                    <a:pt x="549" y="19"/>
                    <a:pt x="548" y="18"/>
                  </a:cubicBezTo>
                  <a:cubicBezTo>
                    <a:pt x="547" y="22"/>
                    <a:pt x="539" y="19"/>
                    <a:pt x="541" y="16"/>
                  </a:cubicBezTo>
                  <a:cubicBezTo>
                    <a:pt x="534" y="15"/>
                    <a:pt x="530" y="22"/>
                    <a:pt x="525" y="27"/>
                  </a:cubicBezTo>
                  <a:cubicBezTo>
                    <a:pt x="520" y="31"/>
                    <a:pt x="508" y="39"/>
                    <a:pt x="504" y="32"/>
                  </a:cubicBezTo>
                  <a:cubicBezTo>
                    <a:pt x="496" y="36"/>
                    <a:pt x="492" y="45"/>
                    <a:pt x="483" y="50"/>
                  </a:cubicBezTo>
                  <a:cubicBezTo>
                    <a:pt x="483" y="52"/>
                    <a:pt x="483" y="54"/>
                    <a:pt x="481" y="55"/>
                  </a:cubicBezTo>
                  <a:cubicBezTo>
                    <a:pt x="481" y="58"/>
                    <a:pt x="482" y="57"/>
                    <a:pt x="481" y="59"/>
                  </a:cubicBezTo>
                  <a:cubicBezTo>
                    <a:pt x="476" y="69"/>
                    <a:pt x="468" y="77"/>
                    <a:pt x="453" y="76"/>
                  </a:cubicBezTo>
                  <a:cubicBezTo>
                    <a:pt x="446" y="76"/>
                    <a:pt x="439" y="74"/>
                    <a:pt x="434" y="72"/>
                  </a:cubicBezTo>
                  <a:cubicBezTo>
                    <a:pt x="433" y="78"/>
                    <a:pt x="430" y="83"/>
                    <a:pt x="428" y="88"/>
                  </a:cubicBezTo>
                  <a:cubicBezTo>
                    <a:pt x="425" y="89"/>
                    <a:pt x="421" y="88"/>
                    <a:pt x="420" y="90"/>
                  </a:cubicBezTo>
                  <a:cubicBezTo>
                    <a:pt x="426" y="91"/>
                    <a:pt x="429" y="96"/>
                    <a:pt x="430" y="102"/>
                  </a:cubicBezTo>
                  <a:cubicBezTo>
                    <a:pt x="438" y="105"/>
                    <a:pt x="442" y="112"/>
                    <a:pt x="445" y="120"/>
                  </a:cubicBezTo>
                  <a:cubicBezTo>
                    <a:pt x="452" y="123"/>
                    <a:pt x="454" y="134"/>
                    <a:pt x="452" y="144"/>
                  </a:cubicBezTo>
                  <a:cubicBezTo>
                    <a:pt x="457" y="147"/>
                    <a:pt x="461" y="150"/>
                    <a:pt x="466" y="152"/>
                  </a:cubicBezTo>
                  <a:cubicBezTo>
                    <a:pt x="466" y="151"/>
                    <a:pt x="464" y="150"/>
                    <a:pt x="466" y="150"/>
                  </a:cubicBezTo>
                  <a:cubicBezTo>
                    <a:pt x="467" y="152"/>
                    <a:pt x="470" y="152"/>
                    <a:pt x="470" y="154"/>
                  </a:cubicBezTo>
                  <a:cubicBezTo>
                    <a:pt x="468" y="155"/>
                    <a:pt x="468" y="156"/>
                    <a:pt x="466" y="157"/>
                  </a:cubicBezTo>
                  <a:cubicBezTo>
                    <a:pt x="466" y="159"/>
                    <a:pt x="468" y="160"/>
                    <a:pt x="467" y="163"/>
                  </a:cubicBezTo>
                  <a:cubicBezTo>
                    <a:pt x="471" y="162"/>
                    <a:pt x="471" y="166"/>
                    <a:pt x="472" y="169"/>
                  </a:cubicBezTo>
                  <a:cubicBezTo>
                    <a:pt x="473" y="171"/>
                    <a:pt x="475" y="171"/>
                    <a:pt x="475" y="173"/>
                  </a:cubicBezTo>
                  <a:cubicBezTo>
                    <a:pt x="475" y="177"/>
                    <a:pt x="471" y="180"/>
                    <a:pt x="474" y="182"/>
                  </a:cubicBezTo>
                  <a:cubicBezTo>
                    <a:pt x="476" y="182"/>
                    <a:pt x="474" y="178"/>
                    <a:pt x="475" y="178"/>
                  </a:cubicBezTo>
                  <a:cubicBezTo>
                    <a:pt x="480" y="176"/>
                    <a:pt x="484" y="180"/>
                    <a:pt x="486" y="184"/>
                  </a:cubicBezTo>
                  <a:cubicBezTo>
                    <a:pt x="484" y="185"/>
                    <a:pt x="482" y="185"/>
                    <a:pt x="482" y="182"/>
                  </a:cubicBezTo>
                  <a:cubicBezTo>
                    <a:pt x="476" y="181"/>
                    <a:pt x="476" y="187"/>
                    <a:pt x="473" y="190"/>
                  </a:cubicBezTo>
                  <a:cubicBezTo>
                    <a:pt x="469" y="187"/>
                    <a:pt x="465" y="188"/>
                    <a:pt x="461" y="188"/>
                  </a:cubicBezTo>
                  <a:cubicBezTo>
                    <a:pt x="461" y="187"/>
                    <a:pt x="460" y="186"/>
                    <a:pt x="460" y="185"/>
                  </a:cubicBezTo>
                  <a:cubicBezTo>
                    <a:pt x="454" y="186"/>
                    <a:pt x="451" y="183"/>
                    <a:pt x="446" y="183"/>
                  </a:cubicBezTo>
                  <a:cubicBezTo>
                    <a:pt x="439" y="179"/>
                    <a:pt x="448" y="170"/>
                    <a:pt x="448" y="166"/>
                  </a:cubicBezTo>
                  <a:cubicBezTo>
                    <a:pt x="449" y="166"/>
                    <a:pt x="449" y="166"/>
                    <a:pt x="450" y="166"/>
                  </a:cubicBezTo>
                  <a:cubicBezTo>
                    <a:pt x="449" y="162"/>
                    <a:pt x="443" y="162"/>
                    <a:pt x="439" y="161"/>
                  </a:cubicBezTo>
                  <a:cubicBezTo>
                    <a:pt x="429" y="161"/>
                    <a:pt x="417" y="166"/>
                    <a:pt x="409" y="168"/>
                  </a:cubicBezTo>
                  <a:cubicBezTo>
                    <a:pt x="396" y="173"/>
                    <a:pt x="385" y="177"/>
                    <a:pt x="373" y="181"/>
                  </a:cubicBezTo>
                  <a:cubicBezTo>
                    <a:pt x="372" y="182"/>
                    <a:pt x="373" y="183"/>
                    <a:pt x="373" y="185"/>
                  </a:cubicBezTo>
                  <a:cubicBezTo>
                    <a:pt x="377" y="187"/>
                    <a:pt x="379" y="191"/>
                    <a:pt x="381" y="194"/>
                  </a:cubicBezTo>
                  <a:cubicBezTo>
                    <a:pt x="388" y="196"/>
                    <a:pt x="392" y="200"/>
                    <a:pt x="398" y="203"/>
                  </a:cubicBezTo>
                  <a:cubicBezTo>
                    <a:pt x="395" y="201"/>
                    <a:pt x="390" y="211"/>
                    <a:pt x="388" y="204"/>
                  </a:cubicBezTo>
                  <a:cubicBezTo>
                    <a:pt x="388" y="203"/>
                    <a:pt x="391" y="202"/>
                    <a:pt x="389" y="200"/>
                  </a:cubicBezTo>
                  <a:cubicBezTo>
                    <a:pt x="382" y="206"/>
                    <a:pt x="390" y="212"/>
                    <a:pt x="391" y="219"/>
                  </a:cubicBezTo>
                  <a:cubicBezTo>
                    <a:pt x="391" y="220"/>
                    <a:pt x="390" y="220"/>
                    <a:pt x="389" y="220"/>
                  </a:cubicBezTo>
                  <a:cubicBezTo>
                    <a:pt x="387" y="234"/>
                    <a:pt x="404" y="232"/>
                    <a:pt x="410" y="240"/>
                  </a:cubicBezTo>
                  <a:cubicBezTo>
                    <a:pt x="417" y="241"/>
                    <a:pt x="422" y="235"/>
                    <a:pt x="428" y="239"/>
                  </a:cubicBezTo>
                  <a:cubicBezTo>
                    <a:pt x="435" y="237"/>
                    <a:pt x="436" y="245"/>
                    <a:pt x="441" y="248"/>
                  </a:cubicBezTo>
                  <a:cubicBezTo>
                    <a:pt x="442" y="246"/>
                    <a:pt x="442" y="244"/>
                    <a:pt x="444" y="243"/>
                  </a:cubicBezTo>
                  <a:cubicBezTo>
                    <a:pt x="445" y="245"/>
                    <a:pt x="444" y="248"/>
                    <a:pt x="444" y="252"/>
                  </a:cubicBezTo>
                  <a:cubicBezTo>
                    <a:pt x="447" y="252"/>
                    <a:pt x="446" y="250"/>
                    <a:pt x="449" y="250"/>
                  </a:cubicBezTo>
                  <a:cubicBezTo>
                    <a:pt x="449" y="244"/>
                    <a:pt x="456" y="244"/>
                    <a:pt x="458" y="240"/>
                  </a:cubicBezTo>
                  <a:cubicBezTo>
                    <a:pt x="462" y="241"/>
                    <a:pt x="464" y="240"/>
                    <a:pt x="466" y="238"/>
                  </a:cubicBezTo>
                  <a:cubicBezTo>
                    <a:pt x="467" y="238"/>
                    <a:pt x="467" y="241"/>
                    <a:pt x="468" y="240"/>
                  </a:cubicBezTo>
                  <a:cubicBezTo>
                    <a:pt x="472" y="240"/>
                    <a:pt x="472" y="237"/>
                    <a:pt x="475" y="236"/>
                  </a:cubicBezTo>
                  <a:cubicBezTo>
                    <a:pt x="478" y="239"/>
                    <a:pt x="481" y="242"/>
                    <a:pt x="478" y="247"/>
                  </a:cubicBezTo>
                  <a:cubicBezTo>
                    <a:pt x="476" y="247"/>
                    <a:pt x="474" y="248"/>
                    <a:pt x="473" y="250"/>
                  </a:cubicBezTo>
                  <a:cubicBezTo>
                    <a:pt x="471" y="248"/>
                    <a:pt x="469" y="247"/>
                    <a:pt x="467" y="248"/>
                  </a:cubicBezTo>
                  <a:cubicBezTo>
                    <a:pt x="467" y="251"/>
                    <a:pt x="465" y="251"/>
                    <a:pt x="465" y="254"/>
                  </a:cubicBezTo>
                  <a:cubicBezTo>
                    <a:pt x="467" y="254"/>
                    <a:pt x="467" y="252"/>
                    <a:pt x="468" y="252"/>
                  </a:cubicBezTo>
                  <a:cubicBezTo>
                    <a:pt x="474" y="258"/>
                    <a:pt x="473" y="268"/>
                    <a:pt x="474" y="279"/>
                  </a:cubicBezTo>
                  <a:cubicBezTo>
                    <a:pt x="471" y="282"/>
                    <a:pt x="468" y="284"/>
                    <a:pt x="465" y="287"/>
                  </a:cubicBezTo>
                  <a:cubicBezTo>
                    <a:pt x="459" y="288"/>
                    <a:pt x="458" y="286"/>
                    <a:pt x="452" y="286"/>
                  </a:cubicBezTo>
                  <a:cubicBezTo>
                    <a:pt x="453" y="283"/>
                    <a:pt x="448" y="282"/>
                    <a:pt x="447" y="282"/>
                  </a:cubicBezTo>
                  <a:cubicBezTo>
                    <a:pt x="448" y="280"/>
                    <a:pt x="447" y="280"/>
                    <a:pt x="447" y="278"/>
                  </a:cubicBezTo>
                  <a:cubicBezTo>
                    <a:pt x="445" y="277"/>
                    <a:pt x="440" y="277"/>
                    <a:pt x="441" y="281"/>
                  </a:cubicBezTo>
                  <a:cubicBezTo>
                    <a:pt x="442" y="283"/>
                    <a:pt x="447" y="281"/>
                    <a:pt x="447" y="284"/>
                  </a:cubicBezTo>
                  <a:cubicBezTo>
                    <a:pt x="442" y="286"/>
                    <a:pt x="442" y="292"/>
                    <a:pt x="436" y="292"/>
                  </a:cubicBezTo>
                  <a:cubicBezTo>
                    <a:pt x="434" y="295"/>
                    <a:pt x="432" y="298"/>
                    <a:pt x="426" y="297"/>
                  </a:cubicBezTo>
                  <a:cubicBezTo>
                    <a:pt x="424" y="288"/>
                    <a:pt x="412" y="281"/>
                    <a:pt x="405" y="290"/>
                  </a:cubicBezTo>
                  <a:cubicBezTo>
                    <a:pt x="404" y="291"/>
                    <a:pt x="407" y="291"/>
                    <a:pt x="406" y="293"/>
                  </a:cubicBezTo>
                  <a:cubicBezTo>
                    <a:pt x="399" y="291"/>
                    <a:pt x="395" y="303"/>
                    <a:pt x="398" y="308"/>
                  </a:cubicBezTo>
                  <a:cubicBezTo>
                    <a:pt x="396" y="308"/>
                    <a:pt x="396" y="309"/>
                    <a:pt x="395" y="310"/>
                  </a:cubicBezTo>
                  <a:cubicBezTo>
                    <a:pt x="395" y="309"/>
                    <a:pt x="394" y="309"/>
                    <a:pt x="392" y="309"/>
                  </a:cubicBezTo>
                  <a:cubicBezTo>
                    <a:pt x="387" y="315"/>
                    <a:pt x="372" y="320"/>
                    <a:pt x="376" y="332"/>
                  </a:cubicBezTo>
                  <a:cubicBezTo>
                    <a:pt x="373" y="333"/>
                    <a:pt x="371" y="329"/>
                    <a:pt x="367" y="332"/>
                  </a:cubicBezTo>
                  <a:cubicBezTo>
                    <a:pt x="367" y="335"/>
                    <a:pt x="369" y="337"/>
                    <a:pt x="371" y="338"/>
                  </a:cubicBezTo>
                  <a:cubicBezTo>
                    <a:pt x="369" y="337"/>
                    <a:pt x="367" y="338"/>
                    <a:pt x="366" y="337"/>
                  </a:cubicBezTo>
                  <a:cubicBezTo>
                    <a:pt x="366" y="336"/>
                    <a:pt x="367" y="336"/>
                    <a:pt x="367" y="334"/>
                  </a:cubicBezTo>
                  <a:cubicBezTo>
                    <a:pt x="364" y="335"/>
                    <a:pt x="362" y="343"/>
                    <a:pt x="366" y="344"/>
                  </a:cubicBezTo>
                  <a:cubicBezTo>
                    <a:pt x="366" y="344"/>
                    <a:pt x="367" y="343"/>
                    <a:pt x="368" y="342"/>
                  </a:cubicBezTo>
                  <a:cubicBezTo>
                    <a:pt x="369" y="343"/>
                    <a:pt x="371" y="344"/>
                    <a:pt x="371" y="346"/>
                  </a:cubicBezTo>
                  <a:cubicBezTo>
                    <a:pt x="369" y="346"/>
                    <a:pt x="367" y="346"/>
                    <a:pt x="366" y="347"/>
                  </a:cubicBezTo>
                  <a:cubicBezTo>
                    <a:pt x="366" y="349"/>
                    <a:pt x="367" y="350"/>
                    <a:pt x="367" y="352"/>
                  </a:cubicBezTo>
                  <a:cubicBezTo>
                    <a:pt x="368" y="352"/>
                    <a:pt x="370" y="353"/>
                    <a:pt x="371" y="354"/>
                  </a:cubicBezTo>
                  <a:cubicBezTo>
                    <a:pt x="370" y="356"/>
                    <a:pt x="370" y="359"/>
                    <a:pt x="370" y="361"/>
                  </a:cubicBezTo>
                  <a:cubicBezTo>
                    <a:pt x="372" y="362"/>
                    <a:pt x="372" y="363"/>
                    <a:pt x="374" y="363"/>
                  </a:cubicBezTo>
                  <a:cubicBezTo>
                    <a:pt x="376" y="362"/>
                    <a:pt x="375" y="360"/>
                    <a:pt x="376" y="360"/>
                  </a:cubicBezTo>
                  <a:cubicBezTo>
                    <a:pt x="378" y="361"/>
                    <a:pt x="378" y="363"/>
                    <a:pt x="379" y="365"/>
                  </a:cubicBezTo>
                  <a:cubicBezTo>
                    <a:pt x="377" y="365"/>
                    <a:pt x="377" y="366"/>
                    <a:pt x="376" y="366"/>
                  </a:cubicBezTo>
                  <a:cubicBezTo>
                    <a:pt x="375" y="371"/>
                    <a:pt x="380" y="370"/>
                    <a:pt x="381" y="373"/>
                  </a:cubicBezTo>
                  <a:cubicBezTo>
                    <a:pt x="379" y="374"/>
                    <a:pt x="378" y="373"/>
                    <a:pt x="376" y="374"/>
                  </a:cubicBezTo>
                  <a:cubicBezTo>
                    <a:pt x="376" y="376"/>
                    <a:pt x="378" y="376"/>
                    <a:pt x="378" y="377"/>
                  </a:cubicBezTo>
                  <a:cubicBezTo>
                    <a:pt x="374" y="379"/>
                    <a:pt x="371" y="380"/>
                    <a:pt x="368" y="381"/>
                  </a:cubicBezTo>
                  <a:cubicBezTo>
                    <a:pt x="367" y="386"/>
                    <a:pt x="373" y="384"/>
                    <a:pt x="376" y="385"/>
                  </a:cubicBezTo>
                  <a:cubicBezTo>
                    <a:pt x="376" y="386"/>
                    <a:pt x="373" y="385"/>
                    <a:pt x="372" y="386"/>
                  </a:cubicBezTo>
                  <a:cubicBezTo>
                    <a:pt x="373" y="391"/>
                    <a:pt x="376" y="393"/>
                    <a:pt x="380" y="395"/>
                  </a:cubicBezTo>
                  <a:cubicBezTo>
                    <a:pt x="382" y="401"/>
                    <a:pt x="384" y="405"/>
                    <a:pt x="388" y="409"/>
                  </a:cubicBezTo>
                  <a:cubicBezTo>
                    <a:pt x="386" y="409"/>
                    <a:pt x="386" y="409"/>
                    <a:pt x="386" y="411"/>
                  </a:cubicBezTo>
                  <a:cubicBezTo>
                    <a:pt x="388" y="423"/>
                    <a:pt x="409" y="417"/>
                    <a:pt x="417" y="416"/>
                  </a:cubicBezTo>
                  <a:cubicBezTo>
                    <a:pt x="420" y="414"/>
                    <a:pt x="419" y="410"/>
                    <a:pt x="421" y="408"/>
                  </a:cubicBezTo>
                  <a:cubicBezTo>
                    <a:pt x="421" y="411"/>
                    <a:pt x="423" y="410"/>
                    <a:pt x="424" y="410"/>
                  </a:cubicBezTo>
                  <a:cubicBezTo>
                    <a:pt x="422" y="418"/>
                    <a:pt x="428" y="427"/>
                    <a:pt x="429" y="436"/>
                  </a:cubicBezTo>
                  <a:cubicBezTo>
                    <a:pt x="426" y="436"/>
                    <a:pt x="424" y="441"/>
                    <a:pt x="421" y="443"/>
                  </a:cubicBezTo>
                  <a:cubicBezTo>
                    <a:pt x="422" y="450"/>
                    <a:pt x="425" y="453"/>
                    <a:pt x="424" y="461"/>
                  </a:cubicBezTo>
                  <a:cubicBezTo>
                    <a:pt x="423" y="463"/>
                    <a:pt x="421" y="464"/>
                    <a:pt x="421" y="466"/>
                  </a:cubicBezTo>
                  <a:cubicBezTo>
                    <a:pt x="419" y="463"/>
                    <a:pt x="418" y="465"/>
                    <a:pt x="415" y="465"/>
                  </a:cubicBezTo>
                  <a:cubicBezTo>
                    <a:pt x="415" y="469"/>
                    <a:pt x="419" y="467"/>
                    <a:pt x="422" y="468"/>
                  </a:cubicBezTo>
                  <a:cubicBezTo>
                    <a:pt x="423" y="470"/>
                    <a:pt x="422" y="470"/>
                    <a:pt x="422" y="471"/>
                  </a:cubicBezTo>
                  <a:cubicBezTo>
                    <a:pt x="427" y="470"/>
                    <a:pt x="428" y="469"/>
                    <a:pt x="433" y="468"/>
                  </a:cubicBezTo>
                  <a:cubicBezTo>
                    <a:pt x="433" y="467"/>
                    <a:pt x="432" y="467"/>
                    <a:pt x="431" y="466"/>
                  </a:cubicBezTo>
                  <a:cubicBezTo>
                    <a:pt x="435" y="464"/>
                    <a:pt x="437" y="463"/>
                    <a:pt x="442" y="462"/>
                  </a:cubicBezTo>
                  <a:cubicBezTo>
                    <a:pt x="442" y="464"/>
                    <a:pt x="441" y="464"/>
                    <a:pt x="443" y="465"/>
                  </a:cubicBezTo>
                  <a:cubicBezTo>
                    <a:pt x="444" y="461"/>
                    <a:pt x="450" y="456"/>
                    <a:pt x="454" y="458"/>
                  </a:cubicBezTo>
                  <a:cubicBezTo>
                    <a:pt x="450" y="461"/>
                    <a:pt x="456" y="463"/>
                    <a:pt x="456" y="465"/>
                  </a:cubicBezTo>
                  <a:cubicBezTo>
                    <a:pt x="457" y="465"/>
                    <a:pt x="458" y="464"/>
                    <a:pt x="458" y="465"/>
                  </a:cubicBezTo>
                  <a:cubicBezTo>
                    <a:pt x="459" y="466"/>
                    <a:pt x="459" y="468"/>
                    <a:pt x="460" y="469"/>
                  </a:cubicBezTo>
                  <a:cubicBezTo>
                    <a:pt x="464" y="469"/>
                    <a:pt x="463" y="464"/>
                    <a:pt x="466" y="463"/>
                  </a:cubicBezTo>
                  <a:cubicBezTo>
                    <a:pt x="467" y="465"/>
                    <a:pt x="465" y="465"/>
                    <a:pt x="465" y="467"/>
                  </a:cubicBezTo>
                  <a:cubicBezTo>
                    <a:pt x="475" y="469"/>
                    <a:pt x="469" y="486"/>
                    <a:pt x="480" y="486"/>
                  </a:cubicBezTo>
                  <a:cubicBezTo>
                    <a:pt x="481" y="484"/>
                    <a:pt x="482" y="483"/>
                    <a:pt x="483" y="481"/>
                  </a:cubicBezTo>
                  <a:cubicBezTo>
                    <a:pt x="481" y="479"/>
                    <a:pt x="481" y="477"/>
                    <a:pt x="481" y="474"/>
                  </a:cubicBezTo>
                  <a:cubicBezTo>
                    <a:pt x="482" y="470"/>
                    <a:pt x="486" y="465"/>
                    <a:pt x="489" y="463"/>
                  </a:cubicBezTo>
                  <a:cubicBezTo>
                    <a:pt x="488" y="466"/>
                    <a:pt x="487" y="468"/>
                    <a:pt x="485" y="471"/>
                  </a:cubicBezTo>
                  <a:cubicBezTo>
                    <a:pt x="490" y="472"/>
                    <a:pt x="488" y="475"/>
                    <a:pt x="490" y="478"/>
                  </a:cubicBezTo>
                  <a:cubicBezTo>
                    <a:pt x="494" y="484"/>
                    <a:pt x="511" y="470"/>
                    <a:pt x="516" y="472"/>
                  </a:cubicBezTo>
                  <a:cubicBezTo>
                    <a:pt x="514" y="481"/>
                    <a:pt x="499" y="485"/>
                    <a:pt x="505" y="496"/>
                  </a:cubicBezTo>
                  <a:cubicBezTo>
                    <a:pt x="504" y="496"/>
                    <a:pt x="505" y="495"/>
                    <a:pt x="504" y="495"/>
                  </a:cubicBezTo>
                  <a:cubicBezTo>
                    <a:pt x="501" y="500"/>
                    <a:pt x="498" y="511"/>
                    <a:pt x="499" y="518"/>
                  </a:cubicBezTo>
                  <a:cubicBezTo>
                    <a:pt x="499" y="518"/>
                    <a:pt x="499" y="518"/>
                    <a:pt x="499" y="518"/>
                  </a:cubicBezTo>
                  <a:cubicBezTo>
                    <a:pt x="499" y="518"/>
                    <a:pt x="499" y="518"/>
                    <a:pt x="499" y="518"/>
                  </a:cubicBezTo>
                  <a:cubicBezTo>
                    <a:pt x="499" y="519"/>
                    <a:pt x="499" y="520"/>
                    <a:pt x="499" y="520"/>
                  </a:cubicBezTo>
                  <a:cubicBezTo>
                    <a:pt x="499" y="520"/>
                    <a:pt x="499" y="519"/>
                    <a:pt x="499" y="518"/>
                  </a:cubicBezTo>
                  <a:cubicBezTo>
                    <a:pt x="499" y="518"/>
                    <a:pt x="499" y="518"/>
                    <a:pt x="499" y="518"/>
                  </a:cubicBezTo>
                  <a:cubicBezTo>
                    <a:pt x="492" y="519"/>
                    <a:pt x="491" y="526"/>
                    <a:pt x="484" y="527"/>
                  </a:cubicBezTo>
                  <a:cubicBezTo>
                    <a:pt x="479" y="532"/>
                    <a:pt x="473" y="536"/>
                    <a:pt x="474" y="545"/>
                  </a:cubicBezTo>
                  <a:cubicBezTo>
                    <a:pt x="471" y="546"/>
                    <a:pt x="470" y="545"/>
                    <a:pt x="469" y="543"/>
                  </a:cubicBezTo>
                  <a:cubicBezTo>
                    <a:pt x="470" y="543"/>
                    <a:pt x="472" y="543"/>
                    <a:pt x="472" y="541"/>
                  </a:cubicBezTo>
                  <a:cubicBezTo>
                    <a:pt x="467" y="543"/>
                    <a:pt x="463" y="546"/>
                    <a:pt x="459" y="549"/>
                  </a:cubicBezTo>
                  <a:cubicBezTo>
                    <a:pt x="458" y="549"/>
                    <a:pt x="458" y="548"/>
                    <a:pt x="457" y="548"/>
                  </a:cubicBezTo>
                  <a:cubicBezTo>
                    <a:pt x="450" y="551"/>
                    <a:pt x="444" y="556"/>
                    <a:pt x="437" y="559"/>
                  </a:cubicBezTo>
                  <a:cubicBezTo>
                    <a:pt x="434" y="562"/>
                    <a:pt x="433" y="567"/>
                    <a:pt x="430" y="569"/>
                  </a:cubicBezTo>
                  <a:cubicBezTo>
                    <a:pt x="430" y="571"/>
                    <a:pt x="431" y="572"/>
                    <a:pt x="429" y="573"/>
                  </a:cubicBezTo>
                  <a:cubicBezTo>
                    <a:pt x="431" y="573"/>
                    <a:pt x="434" y="575"/>
                    <a:pt x="435" y="577"/>
                  </a:cubicBezTo>
                  <a:cubicBezTo>
                    <a:pt x="434" y="577"/>
                    <a:pt x="435" y="578"/>
                    <a:pt x="434" y="579"/>
                  </a:cubicBezTo>
                  <a:cubicBezTo>
                    <a:pt x="432" y="577"/>
                    <a:pt x="432" y="575"/>
                    <a:pt x="430" y="574"/>
                  </a:cubicBezTo>
                  <a:cubicBezTo>
                    <a:pt x="429" y="576"/>
                    <a:pt x="427" y="573"/>
                    <a:pt x="425" y="573"/>
                  </a:cubicBezTo>
                  <a:cubicBezTo>
                    <a:pt x="424" y="575"/>
                    <a:pt x="426" y="577"/>
                    <a:pt x="424" y="579"/>
                  </a:cubicBezTo>
                  <a:cubicBezTo>
                    <a:pt x="422" y="576"/>
                    <a:pt x="423" y="573"/>
                    <a:pt x="421" y="573"/>
                  </a:cubicBezTo>
                  <a:cubicBezTo>
                    <a:pt x="422" y="571"/>
                    <a:pt x="423" y="572"/>
                    <a:pt x="425" y="572"/>
                  </a:cubicBezTo>
                  <a:cubicBezTo>
                    <a:pt x="425" y="571"/>
                    <a:pt x="425" y="570"/>
                    <a:pt x="425" y="568"/>
                  </a:cubicBezTo>
                  <a:cubicBezTo>
                    <a:pt x="422" y="568"/>
                    <a:pt x="422" y="569"/>
                    <a:pt x="420" y="570"/>
                  </a:cubicBezTo>
                  <a:cubicBezTo>
                    <a:pt x="420" y="567"/>
                    <a:pt x="417" y="571"/>
                    <a:pt x="417" y="568"/>
                  </a:cubicBezTo>
                  <a:cubicBezTo>
                    <a:pt x="418" y="568"/>
                    <a:pt x="420" y="569"/>
                    <a:pt x="419" y="567"/>
                  </a:cubicBezTo>
                  <a:cubicBezTo>
                    <a:pt x="402" y="567"/>
                    <a:pt x="393" y="575"/>
                    <a:pt x="384" y="583"/>
                  </a:cubicBezTo>
                  <a:cubicBezTo>
                    <a:pt x="385" y="585"/>
                    <a:pt x="386" y="585"/>
                    <a:pt x="384" y="587"/>
                  </a:cubicBezTo>
                  <a:cubicBezTo>
                    <a:pt x="383" y="587"/>
                    <a:pt x="384" y="585"/>
                    <a:pt x="383" y="585"/>
                  </a:cubicBezTo>
                  <a:cubicBezTo>
                    <a:pt x="381" y="588"/>
                    <a:pt x="379" y="587"/>
                    <a:pt x="376" y="589"/>
                  </a:cubicBezTo>
                  <a:cubicBezTo>
                    <a:pt x="375" y="590"/>
                    <a:pt x="378" y="591"/>
                    <a:pt x="375" y="592"/>
                  </a:cubicBezTo>
                  <a:cubicBezTo>
                    <a:pt x="374" y="592"/>
                    <a:pt x="374" y="592"/>
                    <a:pt x="373" y="591"/>
                  </a:cubicBezTo>
                  <a:cubicBezTo>
                    <a:pt x="375" y="591"/>
                    <a:pt x="375" y="590"/>
                    <a:pt x="375" y="589"/>
                  </a:cubicBezTo>
                  <a:cubicBezTo>
                    <a:pt x="372" y="591"/>
                    <a:pt x="367" y="591"/>
                    <a:pt x="365" y="593"/>
                  </a:cubicBezTo>
                  <a:cubicBezTo>
                    <a:pt x="367" y="596"/>
                    <a:pt x="365" y="600"/>
                    <a:pt x="363" y="599"/>
                  </a:cubicBezTo>
                  <a:cubicBezTo>
                    <a:pt x="363" y="596"/>
                    <a:pt x="362" y="597"/>
                    <a:pt x="363" y="595"/>
                  </a:cubicBezTo>
                  <a:cubicBezTo>
                    <a:pt x="354" y="590"/>
                    <a:pt x="347" y="598"/>
                    <a:pt x="340" y="595"/>
                  </a:cubicBezTo>
                  <a:cubicBezTo>
                    <a:pt x="336" y="596"/>
                    <a:pt x="335" y="601"/>
                    <a:pt x="333" y="604"/>
                  </a:cubicBezTo>
                  <a:cubicBezTo>
                    <a:pt x="331" y="604"/>
                    <a:pt x="328" y="604"/>
                    <a:pt x="326" y="606"/>
                  </a:cubicBezTo>
                  <a:cubicBezTo>
                    <a:pt x="324" y="613"/>
                    <a:pt x="333" y="617"/>
                    <a:pt x="340" y="614"/>
                  </a:cubicBezTo>
                  <a:cubicBezTo>
                    <a:pt x="341" y="607"/>
                    <a:pt x="353" y="608"/>
                    <a:pt x="357" y="612"/>
                  </a:cubicBezTo>
                  <a:cubicBezTo>
                    <a:pt x="358" y="610"/>
                    <a:pt x="360" y="610"/>
                    <a:pt x="362" y="611"/>
                  </a:cubicBezTo>
                  <a:cubicBezTo>
                    <a:pt x="362" y="609"/>
                    <a:pt x="361" y="607"/>
                    <a:pt x="363" y="607"/>
                  </a:cubicBezTo>
                  <a:cubicBezTo>
                    <a:pt x="364" y="610"/>
                    <a:pt x="366" y="611"/>
                    <a:pt x="370" y="612"/>
                  </a:cubicBezTo>
                  <a:cubicBezTo>
                    <a:pt x="369" y="609"/>
                    <a:pt x="368" y="608"/>
                    <a:pt x="367" y="606"/>
                  </a:cubicBezTo>
                  <a:cubicBezTo>
                    <a:pt x="366" y="606"/>
                    <a:pt x="363" y="607"/>
                    <a:pt x="363" y="605"/>
                  </a:cubicBezTo>
                  <a:cubicBezTo>
                    <a:pt x="366" y="605"/>
                    <a:pt x="370" y="603"/>
                    <a:pt x="372" y="600"/>
                  </a:cubicBezTo>
                  <a:cubicBezTo>
                    <a:pt x="372" y="598"/>
                    <a:pt x="369" y="598"/>
                    <a:pt x="368" y="596"/>
                  </a:cubicBezTo>
                  <a:cubicBezTo>
                    <a:pt x="369" y="595"/>
                    <a:pt x="370" y="595"/>
                    <a:pt x="372" y="595"/>
                  </a:cubicBezTo>
                  <a:cubicBezTo>
                    <a:pt x="373" y="598"/>
                    <a:pt x="372" y="600"/>
                    <a:pt x="374" y="603"/>
                  </a:cubicBezTo>
                  <a:cubicBezTo>
                    <a:pt x="377" y="603"/>
                    <a:pt x="378" y="602"/>
                    <a:pt x="380" y="601"/>
                  </a:cubicBezTo>
                  <a:cubicBezTo>
                    <a:pt x="381" y="601"/>
                    <a:pt x="380" y="603"/>
                    <a:pt x="382" y="603"/>
                  </a:cubicBezTo>
                  <a:cubicBezTo>
                    <a:pt x="381" y="598"/>
                    <a:pt x="384" y="594"/>
                    <a:pt x="381" y="591"/>
                  </a:cubicBezTo>
                  <a:cubicBezTo>
                    <a:pt x="381" y="591"/>
                    <a:pt x="381" y="590"/>
                    <a:pt x="382" y="590"/>
                  </a:cubicBezTo>
                  <a:cubicBezTo>
                    <a:pt x="385" y="591"/>
                    <a:pt x="384" y="596"/>
                    <a:pt x="383" y="597"/>
                  </a:cubicBezTo>
                  <a:cubicBezTo>
                    <a:pt x="383" y="600"/>
                    <a:pt x="387" y="601"/>
                    <a:pt x="390" y="601"/>
                  </a:cubicBezTo>
                  <a:cubicBezTo>
                    <a:pt x="391" y="601"/>
                    <a:pt x="389" y="597"/>
                    <a:pt x="391" y="597"/>
                  </a:cubicBezTo>
                  <a:cubicBezTo>
                    <a:pt x="390" y="599"/>
                    <a:pt x="393" y="600"/>
                    <a:pt x="394" y="600"/>
                  </a:cubicBezTo>
                  <a:cubicBezTo>
                    <a:pt x="394" y="599"/>
                    <a:pt x="396" y="600"/>
                    <a:pt x="396" y="599"/>
                  </a:cubicBezTo>
                  <a:cubicBezTo>
                    <a:pt x="397" y="596"/>
                    <a:pt x="395" y="596"/>
                    <a:pt x="395" y="594"/>
                  </a:cubicBezTo>
                  <a:cubicBezTo>
                    <a:pt x="396" y="594"/>
                    <a:pt x="396" y="596"/>
                    <a:pt x="398" y="596"/>
                  </a:cubicBezTo>
                  <a:cubicBezTo>
                    <a:pt x="398" y="593"/>
                    <a:pt x="402" y="593"/>
                    <a:pt x="404" y="589"/>
                  </a:cubicBezTo>
                  <a:cubicBezTo>
                    <a:pt x="406" y="585"/>
                    <a:pt x="405" y="578"/>
                    <a:pt x="411" y="582"/>
                  </a:cubicBezTo>
                  <a:cubicBezTo>
                    <a:pt x="409" y="585"/>
                    <a:pt x="407" y="587"/>
                    <a:pt x="406" y="591"/>
                  </a:cubicBezTo>
                  <a:cubicBezTo>
                    <a:pt x="410" y="594"/>
                    <a:pt x="418" y="592"/>
                    <a:pt x="421" y="588"/>
                  </a:cubicBezTo>
                  <a:cubicBezTo>
                    <a:pt x="420" y="589"/>
                    <a:pt x="422" y="589"/>
                    <a:pt x="422" y="590"/>
                  </a:cubicBezTo>
                  <a:cubicBezTo>
                    <a:pt x="424" y="590"/>
                    <a:pt x="424" y="591"/>
                    <a:pt x="426" y="591"/>
                  </a:cubicBezTo>
                  <a:cubicBezTo>
                    <a:pt x="427" y="590"/>
                    <a:pt x="425" y="587"/>
                    <a:pt x="427" y="587"/>
                  </a:cubicBezTo>
                  <a:cubicBezTo>
                    <a:pt x="428" y="587"/>
                    <a:pt x="427" y="591"/>
                    <a:pt x="429" y="590"/>
                  </a:cubicBezTo>
                  <a:cubicBezTo>
                    <a:pt x="430" y="584"/>
                    <a:pt x="440" y="586"/>
                    <a:pt x="441" y="581"/>
                  </a:cubicBezTo>
                  <a:cubicBezTo>
                    <a:pt x="443" y="581"/>
                    <a:pt x="445" y="580"/>
                    <a:pt x="446" y="579"/>
                  </a:cubicBezTo>
                  <a:cubicBezTo>
                    <a:pt x="447" y="579"/>
                    <a:pt x="448" y="579"/>
                    <a:pt x="449" y="580"/>
                  </a:cubicBezTo>
                  <a:cubicBezTo>
                    <a:pt x="447" y="584"/>
                    <a:pt x="447" y="586"/>
                    <a:pt x="445" y="589"/>
                  </a:cubicBezTo>
                  <a:cubicBezTo>
                    <a:pt x="446" y="589"/>
                    <a:pt x="448" y="589"/>
                    <a:pt x="449" y="590"/>
                  </a:cubicBezTo>
                  <a:cubicBezTo>
                    <a:pt x="450" y="586"/>
                    <a:pt x="452" y="585"/>
                    <a:pt x="452" y="581"/>
                  </a:cubicBezTo>
                  <a:cubicBezTo>
                    <a:pt x="453" y="581"/>
                    <a:pt x="453" y="583"/>
                    <a:pt x="454" y="582"/>
                  </a:cubicBezTo>
                  <a:cubicBezTo>
                    <a:pt x="454" y="581"/>
                    <a:pt x="455" y="580"/>
                    <a:pt x="456" y="579"/>
                  </a:cubicBezTo>
                  <a:cubicBezTo>
                    <a:pt x="459" y="580"/>
                    <a:pt x="461" y="577"/>
                    <a:pt x="464" y="580"/>
                  </a:cubicBezTo>
                  <a:cubicBezTo>
                    <a:pt x="464" y="578"/>
                    <a:pt x="466" y="579"/>
                    <a:pt x="467" y="576"/>
                  </a:cubicBezTo>
                  <a:cubicBezTo>
                    <a:pt x="468" y="576"/>
                    <a:pt x="468" y="578"/>
                    <a:pt x="470" y="578"/>
                  </a:cubicBezTo>
                  <a:cubicBezTo>
                    <a:pt x="472" y="578"/>
                    <a:pt x="471" y="575"/>
                    <a:pt x="472" y="574"/>
                  </a:cubicBezTo>
                  <a:cubicBezTo>
                    <a:pt x="473" y="575"/>
                    <a:pt x="473" y="578"/>
                    <a:pt x="475" y="577"/>
                  </a:cubicBezTo>
                  <a:cubicBezTo>
                    <a:pt x="475" y="575"/>
                    <a:pt x="475" y="577"/>
                    <a:pt x="476" y="577"/>
                  </a:cubicBezTo>
                  <a:cubicBezTo>
                    <a:pt x="476" y="571"/>
                    <a:pt x="483" y="572"/>
                    <a:pt x="484" y="567"/>
                  </a:cubicBezTo>
                  <a:cubicBezTo>
                    <a:pt x="481" y="567"/>
                    <a:pt x="482" y="569"/>
                    <a:pt x="480" y="569"/>
                  </a:cubicBezTo>
                  <a:cubicBezTo>
                    <a:pt x="480" y="567"/>
                    <a:pt x="483" y="568"/>
                    <a:pt x="482" y="565"/>
                  </a:cubicBezTo>
                  <a:cubicBezTo>
                    <a:pt x="480" y="564"/>
                    <a:pt x="478" y="565"/>
                    <a:pt x="476" y="563"/>
                  </a:cubicBezTo>
                  <a:cubicBezTo>
                    <a:pt x="478" y="562"/>
                    <a:pt x="478" y="560"/>
                    <a:pt x="480" y="559"/>
                  </a:cubicBezTo>
                  <a:cubicBezTo>
                    <a:pt x="482" y="559"/>
                    <a:pt x="482" y="561"/>
                    <a:pt x="484" y="560"/>
                  </a:cubicBezTo>
                  <a:cubicBezTo>
                    <a:pt x="486" y="558"/>
                    <a:pt x="489" y="559"/>
                    <a:pt x="491" y="559"/>
                  </a:cubicBezTo>
                  <a:cubicBezTo>
                    <a:pt x="492" y="558"/>
                    <a:pt x="491" y="556"/>
                    <a:pt x="491" y="554"/>
                  </a:cubicBezTo>
                  <a:cubicBezTo>
                    <a:pt x="490" y="554"/>
                    <a:pt x="489" y="555"/>
                    <a:pt x="489" y="554"/>
                  </a:cubicBezTo>
                  <a:cubicBezTo>
                    <a:pt x="489" y="553"/>
                    <a:pt x="492" y="553"/>
                    <a:pt x="493" y="552"/>
                  </a:cubicBezTo>
                  <a:cubicBezTo>
                    <a:pt x="492" y="553"/>
                    <a:pt x="494" y="553"/>
                    <a:pt x="494" y="554"/>
                  </a:cubicBezTo>
                  <a:cubicBezTo>
                    <a:pt x="497" y="554"/>
                    <a:pt x="496" y="554"/>
                    <a:pt x="499" y="554"/>
                  </a:cubicBezTo>
                  <a:cubicBezTo>
                    <a:pt x="500" y="552"/>
                    <a:pt x="498" y="552"/>
                    <a:pt x="498" y="550"/>
                  </a:cubicBezTo>
                  <a:cubicBezTo>
                    <a:pt x="499" y="549"/>
                    <a:pt x="499" y="550"/>
                    <a:pt x="501" y="549"/>
                  </a:cubicBezTo>
                  <a:cubicBezTo>
                    <a:pt x="501" y="547"/>
                    <a:pt x="499" y="546"/>
                    <a:pt x="501" y="545"/>
                  </a:cubicBezTo>
                  <a:cubicBezTo>
                    <a:pt x="502" y="547"/>
                    <a:pt x="503" y="549"/>
                    <a:pt x="506" y="550"/>
                  </a:cubicBezTo>
                  <a:cubicBezTo>
                    <a:pt x="507" y="547"/>
                    <a:pt x="510" y="545"/>
                    <a:pt x="512" y="543"/>
                  </a:cubicBezTo>
                  <a:cubicBezTo>
                    <a:pt x="512" y="545"/>
                    <a:pt x="512" y="546"/>
                    <a:pt x="514" y="545"/>
                  </a:cubicBezTo>
                  <a:cubicBezTo>
                    <a:pt x="514" y="544"/>
                    <a:pt x="515" y="542"/>
                    <a:pt x="516" y="541"/>
                  </a:cubicBezTo>
                  <a:cubicBezTo>
                    <a:pt x="516" y="542"/>
                    <a:pt x="518" y="542"/>
                    <a:pt x="520" y="543"/>
                  </a:cubicBezTo>
                  <a:cubicBezTo>
                    <a:pt x="520" y="539"/>
                    <a:pt x="522" y="538"/>
                    <a:pt x="524" y="537"/>
                  </a:cubicBezTo>
                  <a:cubicBezTo>
                    <a:pt x="525" y="535"/>
                    <a:pt x="524" y="534"/>
                    <a:pt x="523" y="533"/>
                  </a:cubicBezTo>
                  <a:cubicBezTo>
                    <a:pt x="526" y="533"/>
                    <a:pt x="525" y="531"/>
                    <a:pt x="525" y="529"/>
                  </a:cubicBezTo>
                  <a:cubicBezTo>
                    <a:pt x="524" y="529"/>
                    <a:pt x="522" y="531"/>
                    <a:pt x="522" y="529"/>
                  </a:cubicBezTo>
                  <a:cubicBezTo>
                    <a:pt x="525" y="528"/>
                    <a:pt x="526" y="526"/>
                    <a:pt x="529" y="525"/>
                  </a:cubicBezTo>
                  <a:cubicBezTo>
                    <a:pt x="529" y="527"/>
                    <a:pt x="530" y="527"/>
                    <a:pt x="532" y="527"/>
                  </a:cubicBezTo>
                  <a:cubicBezTo>
                    <a:pt x="532" y="524"/>
                    <a:pt x="531" y="525"/>
                    <a:pt x="532" y="522"/>
                  </a:cubicBezTo>
                  <a:cubicBezTo>
                    <a:pt x="534" y="524"/>
                    <a:pt x="536" y="522"/>
                    <a:pt x="538" y="523"/>
                  </a:cubicBezTo>
                  <a:cubicBezTo>
                    <a:pt x="538" y="521"/>
                    <a:pt x="538" y="518"/>
                    <a:pt x="541" y="519"/>
                  </a:cubicBezTo>
                  <a:cubicBezTo>
                    <a:pt x="542" y="517"/>
                    <a:pt x="540" y="517"/>
                    <a:pt x="541" y="514"/>
                  </a:cubicBezTo>
                  <a:cubicBezTo>
                    <a:pt x="543" y="516"/>
                    <a:pt x="544" y="517"/>
                    <a:pt x="546" y="518"/>
                  </a:cubicBezTo>
                  <a:cubicBezTo>
                    <a:pt x="547" y="515"/>
                    <a:pt x="549" y="512"/>
                    <a:pt x="553" y="512"/>
                  </a:cubicBezTo>
                  <a:cubicBezTo>
                    <a:pt x="552" y="510"/>
                    <a:pt x="553" y="509"/>
                    <a:pt x="554" y="507"/>
                  </a:cubicBezTo>
                  <a:cubicBezTo>
                    <a:pt x="556" y="508"/>
                    <a:pt x="559" y="510"/>
                    <a:pt x="560" y="507"/>
                  </a:cubicBezTo>
                  <a:cubicBezTo>
                    <a:pt x="561" y="507"/>
                    <a:pt x="561" y="508"/>
                    <a:pt x="562" y="509"/>
                  </a:cubicBezTo>
                  <a:cubicBezTo>
                    <a:pt x="563" y="508"/>
                    <a:pt x="563" y="506"/>
                    <a:pt x="564" y="505"/>
                  </a:cubicBezTo>
                  <a:cubicBezTo>
                    <a:pt x="565" y="508"/>
                    <a:pt x="565" y="504"/>
                    <a:pt x="566" y="504"/>
                  </a:cubicBezTo>
                  <a:cubicBezTo>
                    <a:pt x="565" y="505"/>
                    <a:pt x="566" y="506"/>
                    <a:pt x="568" y="506"/>
                  </a:cubicBezTo>
                  <a:cubicBezTo>
                    <a:pt x="570" y="504"/>
                    <a:pt x="570" y="502"/>
                    <a:pt x="572" y="499"/>
                  </a:cubicBezTo>
                  <a:cubicBezTo>
                    <a:pt x="573" y="498"/>
                    <a:pt x="572" y="497"/>
                    <a:pt x="571" y="496"/>
                  </a:cubicBezTo>
                  <a:cubicBezTo>
                    <a:pt x="573" y="497"/>
                    <a:pt x="575" y="496"/>
                    <a:pt x="575" y="495"/>
                  </a:cubicBezTo>
                  <a:cubicBezTo>
                    <a:pt x="575" y="493"/>
                    <a:pt x="573" y="493"/>
                    <a:pt x="574" y="491"/>
                  </a:cubicBezTo>
                  <a:cubicBezTo>
                    <a:pt x="578" y="492"/>
                    <a:pt x="577" y="488"/>
                    <a:pt x="578" y="487"/>
                  </a:cubicBezTo>
                  <a:cubicBezTo>
                    <a:pt x="583" y="488"/>
                    <a:pt x="588" y="483"/>
                    <a:pt x="589" y="479"/>
                  </a:cubicBezTo>
                  <a:cubicBezTo>
                    <a:pt x="589" y="479"/>
                    <a:pt x="590" y="479"/>
                    <a:pt x="591" y="479"/>
                  </a:cubicBezTo>
                  <a:cubicBezTo>
                    <a:pt x="590" y="472"/>
                    <a:pt x="584" y="474"/>
                    <a:pt x="583" y="468"/>
                  </a:cubicBezTo>
                  <a:cubicBezTo>
                    <a:pt x="578" y="470"/>
                    <a:pt x="575" y="466"/>
                    <a:pt x="573" y="470"/>
                  </a:cubicBezTo>
                  <a:cubicBezTo>
                    <a:pt x="572" y="465"/>
                    <a:pt x="575" y="464"/>
                    <a:pt x="575" y="460"/>
                  </a:cubicBezTo>
                  <a:cubicBezTo>
                    <a:pt x="579" y="460"/>
                    <a:pt x="577" y="455"/>
                    <a:pt x="583" y="456"/>
                  </a:cubicBezTo>
                  <a:cubicBezTo>
                    <a:pt x="583" y="454"/>
                    <a:pt x="583" y="453"/>
                    <a:pt x="583" y="451"/>
                  </a:cubicBezTo>
                  <a:cubicBezTo>
                    <a:pt x="584" y="451"/>
                    <a:pt x="585" y="451"/>
                    <a:pt x="586" y="451"/>
                  </a:cubicBezTo>
                  <a:cubicBezTo>
                    <a:pt x="587" y="450"/>
                    <a:pt x="586" y="448"/>
                    <a:pt x="588" y="448"/>
                  </a:cubicBezTo>
                  <a:cubicBezTo>
                    <a:pt x="593" y="451"/>
                    <a:pt x="597" y="446"/>
                    <a:pt x="598" y="441"/>
                  </a:cubicBezTo>
                  <a:cubicBezTo>
                    <a:pt x="597" y="441"/>
                    <a:pt x="597" y="440"/>
                    <a:pt x="596" y="440"/>
                  </a:cubicBezTo>
                  <a:cubicBezTo>
                    <a:pt x="604" y="443"/>
                    <a:pt x="608" y="430"/>
                    <a:pt x="603" y="427"/>
                  </a:cubicBezTo>
                  <a:cubicBezTo>
                    <a:pt x="604" y="427"/>
                    <a:pt x="604" y="428"/>
                    <a:pt x="606" y="427"/>
                  </a:cubicBezTo>
                  <a:cubicBezTo>
                    <a:pt x="608" y="425"/>
                    <a:pt x="610" y="423"/>
                    <a:pt x="613" y="421"/>
                  </a:cubicBezTo>
                  <a:cubicBezTo>
                    <a:pt x="613" y="419"/>
                    <a:pt x="610" y="420"/>
                    <a:pt x="611" y="417"/>
                  </a:cubicBezTo>
                  <a:cubicBezTo>
                    <a:pt x="615" y="415"/>
                    <a:pt x="616" y="407"/>
                    <a:pt x="623" y="409"/>
                  </a:cubicBezTo>
                  <a:cubicBezTo>
                    <a:pt x="623" y="406"/>
                    <a:pt x="622" y="405"/>
                    <a:pt x="621" y="403"/>
                  </a:cubicBezTo>
                  <a:cubicBezTo>
                    <a:pt x="624" y="400"/>
                    <a:pt x="627" y="397"/>
                    <a:pt x="633" y="397"/>
                  </a:cubicBezTo>
                  <a:cubicBezTo>
                    <a:pt x="635" y="392"/>
                    <a:pt x="642" y="386"/>
                    <a:pt x="646" y="389"/>
                  </a:cubicBezTo>
                  <a:cubicBezTo>
                    <a:pt x="649" y="389"/>
                    <a:pt x="653" y="388"/>
                    <a:pt x="655" y="390"/>
                  </a:cubicBezTo>
                  <a:cubicBezTo>
                    <a:pt x="653" y="389"/>
                    <a:pt x="653" y="391"/>
                    <a:pt x="652" y="392"/>
                  </a:cubicBezTo>
                  <a:cubicBezTo>
                    <a:pt x="654" y="395"/>
                    <a:pt x="657" y="396"/>
                    <a:pt x="659" y="399"/>
                  </a:cubicBezTo>
                  <a:cubicBezTo>
                    <a:pt x="655" y="400"/>
                    <a:pt x="649" y="402"/>
                    <a:pt x="647" y="396"/>
                  </a:cubicBezTo>
                  <a:cubicBezTo>
                    <a:pt x="640" y="400"/>
                    <a:pt x="635" y="406"/>
                    <a:pt x="627" y="408"/>
                  </a:cubicBezTo>
                  <a:cubicBezTo>
                    <a:pt x="634" y="422"/>
                    <a:pt x="620" y="432"/>
                    <a:pt x="617" y="444"/>
                  </a:cubicBezTo>
                  <a:cubicBezTo>
                    <a:pt x="619" y="448"/>
                    <a:pt x="623" y="450"/>
                    <a:pt x="627" y="451"/>
                  </a:cubicBezTo>
                  <a:cubicBezTo>
                    <a:pt x="628" y="450"/>
                    <a:pt x="626" y="450"/>
                    <a:pt x="626" y="449"/>
                  </a:cubicBezTo>
                  <a:cubicBezTo>
                    <a:pt x="629" y="448"/>
                    <a:pt x="633" y="445"/>
                    <a:pt x="634" y="444"/>
                  </a:cubicBezTo>
                  <a:cubicBezTo>
                    <a:pt x="632" y="449"/>
                    <a:pt x="627" y="451"/>
                    <a:pt x="625" y="455"/>
                  </a:cubicBezTo>
                  <a:cubicBezTo>
                    <a:pt x="619" y="454"/>
                    <a:pt x="615" y="459"/>
                    <a:pt x="615" y="464"/>
                  </a:cubicBezTo>
                  <a:cubicBezTo>
                    <a:pt x="617" y="465"/>
                    <a:pt x="618" y="467"/>
                    <a:pt x="621" y="468"/>
                  </a:cubicBezTo>
                  <a:cubicBezTo>
                    <a:pt x="622" y="468"/>
                    <a:pt x="623" y="468"/>
                    <a:pt x="624" y="468"/>
                  </a:cubicBezTo>
                  <a:cubicBezTo>
                    <a:pt x="624" y="466"/>
                    <a:pt x="626" y="467"/>
                    <a:pt x="627" y="465"/>
                  </a:cubicBezTo>
                  <a:cubicBezTo>
                    <a:pt x="628" y="466"/>
                    <a:pt x="630" y="466"/>
                    <a:pt x="632" y="466"/>
                  </a:cubicBezTo>
                  <a:cubicBezTo>
                    <a:pt x="633" y="466"/>
                    <a:pt x="633" y="464"/>
                    <a:pt x="634" y="464"/>
                  </a:cubicBezTo>
                  <a:cubicBezTo>
                    <a:pt x="633" y="465"/>
                    <a:pt x="633" y="466"/>
                    <a:pt x="636" y="467"/>
                  </a:cubicBezTo>
                  <a:cubicBezTo>
                    <a:pt x="638" y="464"/>
                    <a:pt x="638" y="458"/>
                    <a:pt x="643" y="458"/>
                  </a:cubicBezTo>
                  <a:cubicBezTo>
                    <a:pt x="643" y="458"/>
                    <a:pt x="643" y="456"/>
                    <a:pt x="644" y="456"/>
                  </a:cubicBezTo>
                  <a:cubicBezTo>
                    <a:pt x="649" y="458"/>
                    <a:pt x="656" y="451"/>
                    <a:pt x="655" y="444"/>
                  </a:cubicBezTo>
                  <a:cubicBezTo>
                    <a:pt x="657" y="445"/>
                    <a:pt x="657" y="449"/>
                    <a:pt x="660" y="449"/>
                  </a:cubicBezTo>
                  <a:cubicBezTo>
                    <a:pt x="660" y="445"/>
                    <a:pt x="658" y="442"/>
                    <a:pt x="660" y="440"/>
                  </a:cubicBezTo>
                  <a:cubicBezTo>
                    <a:pt x="661" y="442"/>
                    <a:pt x="660" y="446"/>
                    <a:pt x="663" y="446"/>
                  </a:cubicBezTo>
                  <a:cubicBezTo>
                    <a:pt x="662" y="440"/>
                    <a:pt x="662" y="438"/>
                    <a:pt x="666" y="436"/>
                  </a:cubicBezTo>
                  <a:cubicBezTo>
                    <a:pt x="666" y="438"/>
                    <a:pt x="667" y="439"/>
                    <a:pt x="667" y="440"/>
                  </a:cubicBezTo>
                  <a:cubicBezTo>
                    <a:pt x="670" y="440"/>
                    <a:pt x="668" y="436"/>
                    <a:pt x="670" y="436"/>
                  </a:cubicBezTo>
                  <a:cubicBezTo>
                    <a:pt x="673" y="439"/>
                    <a:pt x="677" y="436"/>
                    <a:pt x="680" y="439"/>
                  </a:cubicBezTo>
                  <a:cubicBezTo>
                    <a:pt x="682" y="437"/>
                    <a:pt x="682" y="436"/>
                    <a:pt x="684" y="438"/>
                  </a:cubicBezTo>
                  <a:cubicBezTo>
                    <a:pt x="684" y="435"/>
                    <a:pt x="685" y="434"/>
                    <a:pt x="685" y="431"/>
                  </a:cubicBezTo>
                  <a:cubicBezTo>
                    <a:pt x="688" y="433"/>
                    <a:pt x="690" y="429"/>
                    <a:pt x="691" y="427"/>
                  </a:cubicBezTo>
                  <a:cubicBezTo>
                    <a:pt x="690" y="426"/>
                    <a:pt x="688" y="426"/>
                    <a:pt x="687" y="425"/>
                  </a:cubicBezTo>
                  <a:cubicBezTo>
                    <a:pt x="689" y="423"/>
                    <a:pt x="690" y="421"/>
                    <a:pt x="693" y="420"/>
                  </a:cubicBezTo>
                  <a:cubicBezTo>
                    <a:pt x="693" y="416"/>
                    <a:pt x="691" y="415"/>
                    <a:pt x="690" y="412"/>
                  </a:cubicBezTo>
                  <a:cubicBezTo>
                    <a:pt x="688" y="412"/>
                    <a:pt x="687" y="417"/>
                    <a:pt x="686" y="416"/>
                  </a:cubicBezTo>
                  <a:cubicBezTo>
                    <a:pt x="689" y="413"/>
                    <a:pt x="686" y="410"/>
                    <a:pt x="687" y="406"/>
                  </a:cubicBezTo>
                  <a:cubicBezTo>
                    <a:pt x="685" y="405"/>
                    <a:pt x="685" y="409"/>
                    <a:pt x="685" y="408"/>
                  </a:cubicBezTo>
                  <a:cubicBezTo>
                    <a:pt x="685" y="403"/>
                    <a:pt x="687" y="400"/>
                    <a:pt x="688" y="396"/>
                  </a:cubicBezTo>
                  <a:cubicBezTo>
                    <a:pt x="688" y="400"/>
                    <a:pt x="691" y="396"/>
                    <a:pt x="691" y="397"/>
                  </a:cubicBezTo>
                  <a:cubicBezTo>
                    <a:pt x="689" y="399"/>
                    <a:pt x="688" y="402"/>
                    <a:pt x="687" y="405"/>
                  </a:cubicBezTo>
                  <a:cubicBezTo>
                    <a:pt x="689" y="406"/>
                    <a:pt x="690" y="406"/>
                    <a:pt x="692" y="407"/>
                  </a:cubicBezTo>
                  <a:cubicBezTo>
                    <a:pt x="692" y="404"/>
                    <a:pt x="693" y="405"/>
                    <a:pt x="696" y="405"/>
                  </a:cubicBezTo>
                  <a:cubicBezTo>
                    <a:pt x="697" y="404"/>
                    <a:pt x="695" y="402"/>
                    <a:pt x="696" y="402"/>
                  </a:cubicBezTo>
                  <a:cubicBezTo>
                    <a:pt x="697" y="403"/>
                    <a:pt x="697" y="404"/>
                    <a:pt x="699" y="404"/>
                  </a:cubicBezTo>
                  <a:cubicBezTo>
                    <a:pt x="699" y="403"/>
                    <a:pt x="698" y="402"/>
                    <a:pt x="699" y="401"/>
                  </a:cubicBezTo>
                  <a:cubicBezTo>
                    <a:pt x="700" y="402"/>
                    <a:pt x="701" y="402"/>
                    <a:pt x="703" y="403"/>
                  </a:cubicBezTo>
                  <a:cubicBezTo>
                    <a:pt x="704" y="399"/>
                    <a:pt x="707" y="401"/>
                    <a:pt x="708" y="397"/>
                  </a:cubicBezTo>
                  <a:cubicBezTo>
                    <a:pt x="707" y="399"/>
                    <a:pt x="708" y="399"/>
                    <a:pt x="709" y="400"/>
                  </a:cubicBezTo>
                  <a:cubicBezTo>
                    <a:pt x="712" y="400"/>
                    <a:pt x="712" y="396"/>
                    <a:pt x="715" y="395"/>
                  </a:cubicBezTo>
                  <a:cubicBezTo>
                    <a:pt x="714" y="397"/>
                    <a:pt x="713" y="398"/>
                    <a:pt x="713" y="399"/>
                  </a:cubicBezTo>
                  <a:cubicBezTo>
                    <a:pt x="714" y="401"/>
                    <a:pt x="716" y="404"/>
                    <a:pt x="718" y="405"/>
                  </a:cubicBezTo>
                  <a:cubicBezTo>
                    <a:pt x="717" y="405"/>
                    <a:pt x="716" y="406"/>
                    <a:pt x="715" y="406"/>
                  </a:cubicBezTo>
                  <a:cubicBezTo>
                    <a:pt x="716" y="412"/>
                    <a:pt x="722" y="408"/>
                    <a:pt x="725" y="407"/>
                  </a:cubicBezTo>
                  <a:cubicBezTo>
                    <a:pt x="725" y="409"/>
                    <a:pt x="721" y="409"/>
                    <a:pt x="723" y="411"/>
                  </a:cubicBezTo>
                  <a:cubicBezTo>
                    <a:pt x="726" y="411"/>
                    <a:pt x="727" y="409"/>
                    <a:pt x="729" y="411"/>
                  </a:cubicBezTo>
                  <a:cubicBezTo>
                    <a:pt x="725" y="413"/>
                    <a:pt x="722" y="417"/>
                    <a:pt x="717" y="415"/>
                  </a:cubicBezTo>
                  <a:cubicBezTo>
                    <a:pt x="716" y="417"/>
                    <a:pt x="715" y="418"/>
                    <a:pt x="715" y="421"/>
                  </a:cubicBezTo>
                  <a:cubicBezTo>
                    <a:pt x="714" y="422"/>
                    <a:pt x="717" y="421"/>
                    <a:pt x="717" y="423"/>
                  </a:cubicBezTo>
                  <a:cubicBezTo>
                    <a:pt x="716" y="423"/>
                    <a:pt x="715" y="424"/>
                    <a:pt x="716" y="425"/>
                  </a:cubicBezTo>
                  <a:cubicBezTo>
                    <a:pt x="716" y="425"/>
                    <a:pt x="716" y="425"/>
                    <a:pt x="717" y="426"/>
                  </a:cubicBezTo>
                  <a:cubicBezTo>
                    <a:pt x="721" y="424"/>
                    <a:pt x="723" y="421"/>
                    <a:pt x="727" y="420"/>
                  </a:cubicBezTo>
                  <a:cubicBezTo>
                    <a:pt x="728" y="418"/>
                    <a:pt x="727" y="418"/>
                    <a:pt x="727" y="416"/>
                  </a:cubicBezTo>
                  <a:cubicBezTo>
                    <a:pt x="729" y="416"/>
                    <a:pt x="728" y="415"/>
                    <a:pt x="730" y="415"/>
                  </a:cubicBezTo>
                  <a:cubicBezTo>
                    <a:pt x="728" y="416"/>
                    <a:pt x="729" y="416"/>
                    <a:pt x="730" y="417"/>
                  </a:cubicBezTo>
                  <a:cubicBezTo>
                    <a:pt x="736" y="414"/>
                    <a:pt x="737" y="420"/>
                    <a:pt x="742" y="420"/>
                  </a:cubicBezTo>
                  <a:cubicBezTo>
                    <a:pt x="745" y="418"/>
                    <a:pt x="749" y="416"/>
                    <a:pt x="750" y="411"/>
                  </a:cubicBezTo>
                  <a:cubicBezTo>
                    <a:pt x="751" y="415"/>
                    <a:pt x="749" y="417"/>
                    <a:pt x="748" y="421"/>
                  </a:cubicBezTo>
                  <a:cubicBezTo>
                    <a:pt x="750" y="422"/>
                    <a:pt x="751" y="422"/>
                    <a:pt x="754" y="423"/>
                  </a:cubicBezTo>
                  <a:cubicBezTo>
                    <a:pt x="753" y="423"/>
                    <a:pt x="753" y="424"/>
                    <a:pt x="754" y="425"/>
                  </a:cubicBezTo>
                  <a:cubicBezTo>
                    <a:pt x="756" y="426"/>
                    <a:pt x="759" y="426"/>
                    <a:pt x="762" y="425"/>
                  </a:cubicBezTo>
                  <a:cubicBezTo>
                    <a:pt x="760" y="427"/>
                    <a:pt x="765" y="427"/>
                    <a:pt x="766" y="429"/>
                  </a:cubicBezTo>
                  <a:cubicBezTo>
                    <a:pt x="765" y="430"/>
                    <a:pt x="762" y="428"/>
                    <a:pt x="762" y="431"/>
                  </a:cubicBezTo>
                  <a:cubicBezTo>
                    <a:pt x="765" y="430"/>
                    <a:pt x="767" y="431"/>
                    <a:pt x="770" y="432"/>
                  </a:cubicBezTo>
                  <a:cubicBezTo>
                    <a:pt x="779" y="428"/>
                    <a:pt x="790" y="425"/>
                    <a:pt x="800" y="426"/>
                  </a:cubicBezTo>
                  <a:cubicBezTo>
                    <a:pt x="809" y="426"/>
                    <a:pt x="814" y="431"/>
                    <a:pt x="818" y="425"/>
                  </a:cubicBezTo>
                  <a:cubicBezTo>
                    <a:pt x="818" y="422"/>
                    <a:pt x="815" y="423"/>
                    <a:pt x="816" y="421"/>
                  </a:cubicBezTo>
                  <a:cubicBezTo>
                    <a:pt x="817" y="422"/>
                    <a:pt x="819" y="424"/>
                    <a:pt x="819" y="427"/>
                  </a:cubicBezTo>
                  <a:cubicBezTo>
                    <a:pt x="817" y="427"/>
                    <a:pt x="816" y="428"/>
                    <a:pt x="815" y="430"/>
                  </a:cubicBezTo>
                  <a:cubicBezTo>
                    <a:pt x="818" y="431"/>
                    <a:pt x="823" y="434"/>
                    <a:pt x="828" y="435"/>
                  </a:cubicBezTo>
                  <a:cubicBezTo>
                    <a:pt x="837" y="437"/>
                    <a:pt x="843" y="432"/>
                    <a:pt x="848" y="428"/>
                  </a:cubicBezTo>
                  <a:cubicBezTo>
                    <a:pt x="848" y="425"/>
                    <a:pt x="849" y="424"/>
                    <a:pt x="850" y="423"/>
                  </a:cubicBezTo>
                  <a:cubicBezTo>
                    <a:pt x="849" y="427"/>
                    <a:pt x="852" y="429"/>
                    <a:pt x="853" y="432"/>
                  </a:cubicBezTo>
                  <a:cubicBezTo>
                    <a:pt x="852" y="435"/>
                    <a:pt x="851" y="437"/>
                    <a:pt x="848" y="438"/>
                  </a:cubicBezTo>
                  <a:cubicBezTo>
                    <a:pt x="850" y="442"/>
                    <a:pt x="856" y="443"/>
                    <a:pt x="861" y="444"/>
                  </a:cubicBezTo>
                  <a:cubicBezTo>
                    <a:pt x="868" y="447"/>
                    <a:pt x="875" y="452"/>
                    <a:pt x="883" y="452"/>
                  </a:cubicBezTo>
                  <a:cubicBezTo>
                    <a:pt x="884" y="455"/>
                    <a:pt x="888" y="456"/>
                    <a:pt x="889" y="458"/>
                  </a:cubicBezTo>
                  <a:cubicBezTo>
                    <a:pt x="890" y="459"/>
                    <a:pt x="890" y="460"/>
                    <a:pt x="890" y="461"/>
                  </a:cubicBezTo>
                  <a:cubicBezTo>
                    <a:pt x="896" y="466"/>
                    <a:pt x="903" y="470"/>
                    <a:pt x="910" y="473"/>
                  </a:cubicBezTo>
                  <a:cubicBezTo>
                    <a:pt x="911" y="473"/>
                    <a:pt x="910" y="472"/>
                    <a:pt x="912" y="472"/>
                  </a:cubicBezTo>
                  <a:cubicBezTo>
                    <a:pt x="914" y="474"/>
                    <a:pt x="917" y="476"/>
                    <a:pt x="920" y="478"/>
                  </a:cubicBezTo>
                  <a:cubicBezTo>
                    <a:pt x="923" y="476"/>
                    <a:pt x="921" y="475"/>
                    <a:pt x="920" y="473"/>
                  </a:cubicBezTo>
                  <a:cubicBezTo>
                    <a:pt x="924" y="475"/>
                    <a:pt x="928" y="471"/>
                    <a:pt x="931" y="470"/>
                  </a:cubicBezTo>
                  <a:cubicBezTo>
                    <a:pt x="931" y="467"/>
                    <a:pt x="929" y="465"/>
                    <a:pt x="928" y="463"/>
                  </a:cubicBezTo>
                  <a:cubicBezTo>
                    <a:pt x="930" y="464"/>
                    <a:pt x="931" y="463"/>
                    <a:pt x="931" y="462"/>
                  </a:cubicBezTo>
                  <a:cubicBezTo>
                    <a:pt x="934" y="463"/>
                    <a:pt x="931" y="466"/>
                    <a:pt x="932" y="468"/>
                  </a:cubicBezTo>
                  <a:cubicBezTo>
                    <a:pt x="935" y="468"/>
                    <a:pt x="936" y="466"/>
                    <a:pt x="939" y="466"/>
                  </a:cubicBezTo>
                  <a:cubicBezTo>
                    <a:pt x="944" y="467"/>
                    <a:pt x="944" y="472"/>
                    <a:pt x="950" y="472"/>
                  </a:cubicBezTo>
                  <a:cubicBezTo>
                    <a:pt x="951" y="469"/>
                    <a:pt x="951" y="467"/>
                    <a:pt x="950" y="464"/>
                  </a:cubicBezTo>
                  <a:cubicBezTo>
                    <a:pt x="950" y="464"/>
                    <a:pt x="950" y="464"/>
                    <a:pt x="950" y="464"/>
                  </a:cubicBezTo>
                  <a:cubicBezTo>
                    <a:pt x="950" y="464"/>
                    <a:pt x="950" y="464"/>
                    <a:pt x="950" y="464"/>
                  </a:cubicBezTo>
                  <a:cubicBezTo>
                    <a:pt x="951" y="468"/>
                    <a:pt x="956" y="472"/>
                    <a:pt x="957" y="474"/>
                  </a:cubicBezTo>
                  <a:cubicBezTo>
                    <a:pt x="958" y="477"/>
                    <a:pt x="960" y="481"/>
                    <a:pt x="961" y="484"/>
                  </a:cubicBezTo>
                  <a:cubicBezTo>
                    <a:pt x="962" y="492"/>
                    <a:pt x="968" y="495"/>
                    <a:pt x="968" y="503"/>
                  </a:cubicBezTo>
                  <a:cubicBezTo>
                    <a:pt x="965" y="506"/>
                    <a:pt x="970" y="510"/>
                    <a:pt x="969" y="513"/>
                  </a:cubicBezTo>
                  <a:cubicBezTo>
                    <a:pt x="971" y="514"/>
                    <a:pt x="971" y="513"/>
                    <a:pt x="973" y="513"/>
                  </a:cubicBezTo>
                  <a:cubicBezTo>
                    <a:pt x="974" y="507"/>
                    <a:pt x="980" y="505"/>
                    <a:pt x="978" y="499"/>
                  </a:cubicBezTo>
                  <a:cubicBezTo>
                    <a:pt x="979" y="499"/>
                    <a:pt x="979" y="500"/>
                    <a:pt x="981" y="500"/>
                  </a:cubicBezTo>
                  <a:cubicBezTo>
                    <a:pt x="981" y="499"/>
                    <a:pt x="982" y="498"/>
                    <a:pt x="983" y="497"/>
                  </a:cubicBezTo>
                  <a:cubicBezTo>
                    <a:pt x="982" y="495"/>
                    <a:pt x="981" y="494"/>
                    <a:pt x="981" y="493"/>
                  </a:cubicBezTo>
                  <a:cubicBezTo>
                    <a:pt x="982" y="493"/>
                    <a:pt x="982" y="493"/>
                    <a:pt x="982" y="493"/>
                  </a:cubicBezTo>
                  <a:cubicBezTo>
                    <a:pt x="979" y="487"/>
                    <a:pt x="971" y="482"/>
                    <a:pt x="969" y="477"/>
                  </a:cubicBezTo>
                  <a:cubicBezTo>
                    <a:pt x="973" y="479"/>
                    <a:pt x="976" y="487"/>
                    <a:pt x="982" y="489"/>
                  </a:cubicBezTo>
                  <a:cubicBezTo>
                    <a:pt x="980" y="481"/>
                    <a:pt x="971" y="475"/>
                    <a:pt x="969" y="468"/>
                  </a:cubicBezTo>
                  <a:cubicBezTo>
                    <a:pt x="967" y="467"/>
                    <a:pt x="967" y="470"/>
                    <a:pt x="966" y="468"/>
                  </a:cubicBezTo>
                  <a:cubicBezTo>
                    <a:pt x="967" y="468"/>
                    <a:pt x="968" y="467"/>
                    <a:pt x="970" y="467"/>
                  </a:cubicBezTo>
                  <a:cubicBezTo>
                    <a:pt x="971" y="474"/>
                    <a:pt x="978" y="474"/>
                    <a:pt x="981" y="480"/>
                  </a:cubicBezTo>
                  <a:cubicBezTo>
                    <a:pt x="984" y="480"/>
                    <a:pt x="986" y="481"/>
                    <a:pt x="987" y="482"/>
                  </a:cubicBezTo>
                  <a:cubicBezTo>
                    <a:pt x="985" y="483"/>
                    <a:pt x="985" y="481"/>
                    <a:pt x="983" y="482"/>
                  </a:cubicBezTo>
                  <a:cubicBezTo>
                    <a:pt x="982" y="486"/>
                    <a:pt x="984" y="488"/>
                    <a:pt x="987" y="489"/>
                  </a:cubicBezTo>
                  <a:cubicBezTo>
                    <a:pt x="987" y="492"/>
                    <a:pt x="989" y="492"/>
                    <a:pt x="989" y="495"/>
                  </a:cubicBezTo>
                  <a:cubicBezTo>
                    <a:pt x="990" y="496"/>
                    <a:pt x="992" y="495"/>
                    <a:pt x="993" y="496"/>
                  </a:cubicBezTo>
                  <a:cubicBezTo>
                    <a:pt x="992" y="497"/>
                    <a:pt x="990" y="497"/>
                    <a:pt x="989" y="497"/>
                  </a:cubicBezTo>
                  <a:cubicBezTo>
                    <a:pt x="989" y="500"/>
                    <a:pt x="991" y="500"/>
                    <a:pt x="989" y="502"/>
                  </a:cubicBezTo>
                  <a:cubicBezTo>
                    <a:pt x="992" y="502"/>
                    <a:pt x="996" y="506"/>
                    <a:pt x="998" y="502"/>
                  </a:cubicBezTo>
                  <a:cubicBezTo>
                    <a:pt x="998" y="503"/>
                    <a:pt x="998" y="503"/>
                    <a:pt x="998" y="504"/>
                  </a:cubicBezTo>
                  <a:cubicBezTo>
                    <a:pt x="1003" y="504"/>
                    <a:pt x="1006" y="508"/>
                    <a:pt x="1008" y="511"/>
                  </a:cubicBezTo>
                  <a:cubicBezTo>
                    <a:pt x="1010" y="511"/>
                    <a:pt x="1011" y="513"/>
                    <a:pt x="1014" y="513"/>
                  </a:cubicBezTo>
                  <a:cubicBezTo>
                    <a:pt x="1014" y="515"/>
                    <a:pt x="1016" y="516"/>
                    <a:pt x="1014" y="517"/>
                  </a:cubicBezTo>
                  <a:cubicBezTo>
                    <a:pt x="1010" y="513"/>
                    <a:pt x="1005" y="510"/>
                    <a:pt x="1001" y="505"/>
                  </a:cubicBezTo>
                  <a:cubicBezTo>
                    <a:pt x="994" y="508"/>
                    <a:pt x="987" y="504"/>
                    <a:pt x="981" y="507"/>
                  </a:cubicBezTo>
                  <a:cubicBezTo>
                    <a:pt x="981" y="509"/>
                    <a:pt x="981" y="510"/>
                    <a:pt x="981" y="511"/>
                  </a:cubicBezTo>
                  <a:cubicBezTo>
                    <a:pt x="985" y="511"/>
                    <a:pt x="986" y="515"/>
                    <a:pt x="986" y="517"/>
                  </a:cubicBezTo>
                  <a:cubicBezTo>
                    <a:pt x="984" y="515"/>
                    <a:pt x="981" y="514"/>
                    <a:pt x="977" y="514"/>
                  </a:cubicBezTo>
                  <a:cubicBezTo>
                    <a:pt x="973" y="518"/>
                    <a:pt x="976" y="525"/>
                    <a:pt x="981" y="527"/>
                  </a:cubicBezTo>
                  <a:cubicBezTo>
                    <a:pt x="980" y="527"/>
                    <a:pt x="979" y="528"/>
                    <a:pt x="979" y="529"/>
                  </a:cubicBezTo>
                  <a:cubicBezTo>
                    <a:pt x="983" y="529"/>
                    <a:pt x="985" y="531"/>
                    <a:pt x="986" y="533"/>
                  </a:cubicBezTo>
                  <a:cubicBezTo>
                    <a:pt x="985" y="533"/>
                    <a:pt x="984" y="532"/>
                    <a:pt x="983" y="532"/>
                  </a:cubicBezTo>
                  <a:cubicBezTo>
                    <a:pt x="981" y="537"/>
                    <a:pt x="984" y="547"/>
                    <a:pt x="990" y="549"/>
                  </a:cubicBezTo>
                  <a:cubicBezTo>
                    <a:pt x="989" y="546"/>
                    <a:pt x="990" y="546"/>
                    <a:pt x="989" y="544"/>
                  </a:cubicBezTo>
                  <a:cubicBezTo>
                    <a:pt x="990" y="545"/>
                    <a:pt x="990" y="546"/>
                    <a:pt x="992" y="545"/>
                  </a:cubicBezTo>
                  <a:cubicBezTo>
                    <a:pt x="993" y="541"/>
                    <a:pt x="991" y="538"/>
                    <a:pt x="993" y="536"/>
                  </a:cubicBezTo>
                  <a:cubicBezTo>
                    <a:pt x="991" y="532"/>
                    <a:pt x="991" y="532"/>
                    <a:pt x="990" y="526"/>
                  </a:cubicBezTo>
                  <a:cubicBezTo>
                    <a:pt x="991" y="527"/>
                    <a:pt x="991" y="526"/>
                    <a:pt x="993" y="526"/>
                  </a:cubicBezTo>
                  <a:cubicBezTo>
                    <a:pt x="993" y="528"/>
                    <a:pt x="993" y="529"/>
                    <a:pt x="994" y="530"/>
                  </a:cubicBezTo>
                  <a:cubicBezTo>
                    <a:pt x="999" y="531"/>
                    <a:pt x="1000" y="526"/>
                    <a:pt x="1005" y="528"/>
                  </a:cubicBezTo>
                  <a:cubicBezTo>
                    <a:pt x="1006" y="527"/>
                    <a:pt x="1005" y="525"/>
                    <a:pt x="1006" y="524"/>
                  </a:cubicBezTo>
                  <a:cubicBezTo>
                    <a:pt x="1014" y="526"/>
                    <a:pt x="1014" y="519"/>
                    <a:pt x="1019" y="518"/>
                  </a:cubicBezTo>
                  <a:cubicBezTo>
                    <a:pt x="1021" y="521"/>
                    <a:pt x="1019" y="520"/>
                    <a:pt x="1020" y="524"/>
                  </a:cubicBezTo>
                  <a:cubicBezTo>
                    <a:pt x="1018" y="522"/>
                    <a:pt x="1018" y="524"/>
                    <a:pt x="1017" y="525"/>
                  </a:cubicBezTo>
                  <a:cubicBezTo>
                    <a:pt x="1014" y="522"/>
                    <a:pt x="1013" y="525"/>
                    <a:pt x="1009" y="525"/>
                  </a:cubicBezTo>
                  <a:cubicBezTo>
                    <a:pt x="1008" y="526"/>
                    <a:pt x="1007" y="528"/>
                    <a:pt x="1007" y="532"/>
                  </a:cubicBezTo>
                  <a:cubicBezTo>
                    <a:pt x="1010" y="532"/>
                    <a:pt x="1011" y="533"/>
                    <a:pt x="1012" y="534"/>
                  </a:cubicBezTo>
                  <a:cubicBezTo>
                    <a:pt x="1014" y="534"/>
                    <a:pt x="1014" y="533"/>
                    <a:pt x="1016" y="533"/>
                  </a:cubicBezTo>
                  <a:cubicBezTo>
                    <a:pt x="1016" y="536"/>
                    <a:pt x="1017" y="539"/>
                    <a:pt x="1020" y="540"/>
                  </a:cubicBezTo>
                  <a:cubicBezTo>
                    <a:pt x="1020" y="539"/>
                    <a:pt x="1021" y="538"/>
                    <a:pt x="1022" y="538"/>
                  </a:cubicBezTo>
                  <a:cubicBezTo>
                    <a:pt x="1023" y="540"/>
                    <a:pt x="1023" y="541"/>
                    <a:pt x="1025" y="543"/>
                  </a:cubicBezTo>
                  <a:cubicBezTo>
                    <a:pt x="1028" y="543"/>
                    <a:pt x="1030" y="542"/>
                    <a:pt x="1031" y="541"/>
                  </a:cubicBezTo>
                  <a:cubicBezTo>
                    <a:pt x="1032" y="538"/>
                    <a:pt x="1029" y="538"/>
                    <a:pt x="1029" y="536"/>
                  </a:cubicBezTo>
                  <a:cubicBezTo>
                    <a:pt x="1031" y="537"/>
                    <a:pt x="1030" y="534"/>
                    <a:pt x="1031" y="534"/>
                  </a:cubicBezTo>
                  <a:cubicBezTo>
                    <a:pt x="1032" y="540"/>
                    <a:pt x="1033" y="546"/>
                    <a:pt x="1029" y="548"/>
                  </a:cubicBezTo>
                  <a:cubicBezTo>
                    <a:pt x="1031" y="550"/>
                    <a:pt x="1032" y="553"/>
                    <a:pt x="1033" y="555"/>
                  </a:cubicBezTo>
                  <a:cubicBezTo>
                    <a:pt x="1036" y="554"/>
                    <a:pt x="1037" y="556"/>
                    <a:pt x="1039" y="556"/>
                  </a:cubicBezTo>
                  <a:cubicBezTo>
                    <a:pt x="1040" y="551"/>
                    <a:pt x="1040" y="549"/>
                    <a:pt x="1041" y="543"/>
                  </a:cubicBezTo>
                  <a:cubicBezTo>
                    <a:pt x="1041" y="545"/>
                    <a:pt x="1041" y="550"/>
                    <a:pt x="1044" y="551"/>
                  </a:cubicBezTo>
                  <a:cubicBezTo>
                    <a:pt x="1040" y="556"/>
                    <a:pt x="1041" y="568"/>
                    <a:pt x="1048" y="568"/>
                  </a:cubicBezTo>
                  <a:cubicBezTo>
                    <a:pt x="1048" y="567"/>
                    <a:pt x="1047" y="564"/>
                    <a:pt x="1048" y="563"/>
                  </a:cubicBezTo>
                  <a:cubicBezTo>
                    <a:pt x="1050" y="567"/>
                    <a:pt x="1050" y="569"/>
                    <a:pt x="1050" y="572"/>
                  </a:cubicBezTo>
                  <a:cubicBezTo>
                    <a:pt x="1053" y="572"/>
                    <a:pt x="1053" y="571"/>
                    <a:pt x="1055" y="571"/>
                  </a:cubicBezTo>
                  <a:cubicBezTo>
                    <a:pt x="1055" y="572"/>
                    <a:pt x="1053" y="572"/>
                    <a:pt x="1054" y="574"/>
                  </a:cubicBezTo>
                  <a:cubicBezTo>
                    <a:pt x="1055" y="575"/>
                    <a:pt x="1057" y="576"/>
                    <a:pt x="1059" y="576"/>
                  </a:cubicBezTo>
                  <a:cubicBezTo>
                    <a:pt x="1059" y="575"/>
                    <a:pt x="1061" y="575"/>
                    <a:pt x="1061" y="574"/>
                  </a:cubicBezTo>
                  <a:cubicBezTo>
                    <a:pt x="1061" y="571"/>
                    <a:pt x="1059" y="571"/>
                    <a:pt x="1059" y="569"/>
                  </a:cubicBezTo>
                  <a:cubicBezTo>
                    <a:pt x="1057" y="570"/>
                    <a:pt x="1058" y="571"/>
                    <a:pt x="1056" y="571"/>
                  </a:cubicBezTo>
                  <a:cubicBezTo>
                    <a:pt x="1058" y="568"/>
                    <a:pt x="1055" y="563"/>
                    <a:pt x="1052" y="561"/>
                  </a:cubicBezTo>
                  <a:cubicBezTo>
                    <a:pt x="1055" y="561"/>
                    <a:pt x="1056" y="565"/>
                    <a:pt x="1060" y="563"/>
                  </a:cubicBezTo>
                  <a:cubicBezTo>
                    <a:pt x="1060" y="565"/>
                    <a:pt x="1062" y="565"/>
                    <a:pt x="1063" y="566"/>
                  </a:cubicBezTo>
                  <a:cubicBezTo>
                    <a:pt x="1063" y="567"/>
                    <a:pt x="1063" y="568"/>
                    <a:pt x="1063" y="569"/>
                  </a:cubicBezTo>
                  <a:cubicBezTo>
                    <a:pt x="1066" y="570"/>
                    <a:pt x="1066" y="574"/>
                    <a:pt x="1067" y="576"/>
                  </a:cubicBezTo>
                  <a:cubicBezTo>
                    <a:pt x="1080" y="579"/>
                    <a:pt x="1080" y="562"/>
                    <a:pt x="1083" y="552"/>
                  </a:cubicBezTo>
                  <a:cubicBezTo>
                    <a:pt x="1080" y="546"/>
                    <a:pt x="1076" y="541"/>
                    <a:pt x="1074" y="535"/>
                  </a:cubicBezTo>
                  <a:close/>
                  <a:moveTo>
                    <a:pt x="974" y="527"/>
                  </a:moveTo>
                  <a:cubicBezTo>
                    <a:pt x="973" y="522"/>
                    <a:pt x="967" y="512"/>
                    <a:pt x="965" y="507"/>
                  </a:cubicBezTo>
                  <a:cubicBezTo>
                    <a:pt x="963" y="504"/>
                    <a:pt x="965" y="502"/>
                    <a:pt x="963" y="499"/>
                  </a:cubicBezTo>
                  <a:cubicBezTo>
                    <a:pt x="962" y="498"/>
                    <a:pt x="962" y="500"/>
                    <a:pt x="961" y="498"/>
                  </a:cubicBezTo>
                  <a:cubicBezTo>
                    <a:pt x="961" y="497"/>
                    <a:pt x="963" y="498"/>
                    <a:pt x="962" y="496"/>
                  </a:cubicBezTo>
                  <a:cubicBezTo>
                    <a:pt x="960" y="492"/>
                    <a:pt x="959" y="488"/>
                    <a:pt x="956" y="484"/>
                  </a:cubicBezTo>
                  <a:cubicBezTo>
                    <a:pt x="960" y="475"/>
                    <a:pt x="951" y="477"/>
                    <a:pt x="943" y="474"/>
                  </a:cubicBezTo>
                  <a:cubicBezTo>
                    <a:pt x="941" y="474"/>
                    <a:pt x="938" y="471"/>
                    <a:pt x="935" y="470"/>
                  </a:cubicBezTo>
                  <a:cubicBezTo>
                    <a:pt x="934" y="472"/>
                    <a:pt x="933" y="473"/>
                    <a:pt x="932" y="475"/>
                  </a:cubicBezTo>
                  <a:cubicBezTo>
                    <a:pt x="928" y="473"/>
                    <a:pt x="929" y="477"/>
                    <a:pt x="925" y="475"/>
                  </a:cubicBezTo>
                  <a:cubicBezTo>
                    <a:pt x="925" y="478"/>
                    <a:pt x="925" y="480"/>
                    <a:pt x="922" y="480"/>
                  </a:cubicBezTo>
                  <a:cubicBezTo>
                    <a:pt x="922" y="484"/>
                    <a:pt x="923" y="485"/>
                    <a:pt x="923" y="488"/>
                  </a:cubicBezTo>
                  <a:cubicBezTo>
                    <a:pt x="926" y="490"/>
                    <a:pt x="928" y="493"/>
                    <a:pt x="932" y="494"/>
                  </a:cubicBezTo>
                  <a:cubicBezTo>
                    <a:pt x="931" y="494"/>
                    <a:pt x="931" y="495"/>
                    <a:pt x="931" y="496"/>
                  </a:cubicBezTo>
                  <a:cubicBezTo>
                    <a:pt x="938" y="498"/>
                    <a:pt x="937" y="504"/>
                    <a:pt x="944" y="506"/>
                  </a:cubicBezTo>
                  <a:cubicBezTo>
                    <a:pt x="943" y="506"/>
                    <a:pt x="942" y="506"/>
                    <a:pt x="942" y="506"/>
                  </a:cubicBezTo>
                  <a:cubicBezTo>
                    <a:pt x="943" y="508"/>
                    <a:pt x="943" y="509"/>
                    <a:pt x="942" y="512"/>
                  </a:cubicBezTo>
                  <a:cubicBezTo>
                    <a:pt x="944" y="511"/>
                    <a:pt x="944" y="514"/>
                    <a:pt x="945" y="514"/>
                  </a:cubicBezTo>
                  <a:cubicBezTo>
                    <a:pt x="944" y="515"/>
                    <a:pt x="944" y="517"/>
                    <a:pt x="944" y="520"/>
                  </a:cubicBezTo>
                  <a:cubicBezTo>
                    <a:pt x="947" y="521"/>
                    <a:pt x="947" y="519"/>
                    <a:pt x="950" y="519"/>
                  </a:cubicBezTo>
                  <a:cubicBezTo>
                    <a:pt x="951" y="516"/>
                    <a:pt x="950" y="513"/>
                    <a:pt x="952" y="512"/>
                  </a:cubicBezTo>
                  <a:cubicBezTo>
                    <a:pt x="953" y="514"/>
                    <a:pt x="954" y="517"/>
                    <a:pt x="956" y="516"/>
                  </a:cubicBezTo>
                  <a:cubicBezTo>
                    <a:pt x="952" y="519"/>
                    <a:pt x="956" y="527"/>
                    <a:pt x="960" y="525"/>
                  </a:cubicBezTo>
                  <a:cubicBezTo>
                    <a:pt x="960" y="526"/>
                    <a:pt x="959" y="527"/>
                    <a:pt x="960" y="529"/>
                  </a:cubicBezTo>
                  <a:cubicBezTo>
                    <a:pt x="967" y="533"/>
                    <a:pt x="968" y="543"/>
                    <a:pt x="977" y="545"/>
                  </a:cubicBezTo>
                  <a:cubicBezTo>
                    <a:pt x="977" y="540"/>
                    <a:pt x="976" y="535"/>
                    <a:pt x="974" y="532"/>
                  </a:cubicBezTo>
                  <a:cubicBezTo>
                    <a:pt x="975" y="532"/>
                    <a:pt x="974" y="528"/>
                    <a:pt x="974" y="527"/>
                  </a:cubicBezTo>
                  <a:close/>
                  <a:moveTo>
                    <a:pt x="288" y="628"/>
                  </a:moveTo>
                  <a:cubicBezTo>
                    <a:pt x="290" y="625"/>
                    <a:pt x="297" y="626"/>
                    <a:pt x="294" y="621"/>
                  </a:cubicBezTo>
                  <a:cubicBezTo>
                    <a:pt x="291" y="622"/>
                    <a:pt x="292" y="621"/>
                    <a:pt x="291" y="620"/>
                  </a:cubicBezTo>
                  <a:cubicBezTo>
                    <a:pt x="290" y="621"/>
                    <a:pt x="289" y="622"/>
                    <a:pt x="288" y="623"/>
                  </a:cubicBezTo>
                  <a:cubicBezTo>
                    <a:pt x="288" y="620"/>
                    <a:pt x="286" y="624"/>
                    <a:pt x="285" y="622"/>
                  </a:cubicBezTo>
                  <a:cubicBezTo>
                    <a:pt x="286" y="621"/>
                    <a:pt x="287" y="621"/>
                    <a:pt x="286" y="619"/>
                  </a:cubicBezTo>
                  <a:cubicBezTo>
                    <a:pt x="282" y="616"/>
                    <a:pt x="275" y="618"/>
                    <a:pt x="272" y="621"/>
                  </a:cubicBezTo>
                  <a:cubicBezTo>
                    <a:pt x="272" y="624"/>
                    <a:pt x="274" y="624"/>
                    <a:pt x="274" y="627"/>
                  </a:cubicBezTo>
                  <a:cubicBezTo>
                    <a:pt x="276" y="626"/>
                    <a:pt x="279" y="628"/>
                    <a:pt x="278" y="629"/>
                  </a:cubicBezTo>
                  <a:cubicBezTo>
                    <a:pt x="277" y="627"/>
                    <a:pt x="276" y="627"/>
                    <a:pt x="273" y="627"/>
                  </a:cubicBezTo>
                  <a:cubicBezTo>
                    <a:pt x="273" y="629"/>
                    <a:pt x="272" y="630"/>
                    <a:pt x="270" y="630"/>
                  </a:cubicBezTo>
                  <a:cubicBezTo>
                    <a:pt x="270" y="633"/>
                    <a:pt x="268" y="633"/>
                    <a:pt x="268" y="635"/>
                  </a:cubicBezTo>
                  <a:cubicBezTo>
                    <a:pt x="264" y="634"/>
                    <a:pt x="258" y="635"/>
                    <a:pt x="251" y="637"/>
                  </a:cubicBezTo>
                  <a:cubicBezTo>
                    <a:pt x="251" y="640"/>
                    <a:pt x="255" y="640"/>
                    <a:pt x="255" y="642"/>
                  </a:cubicBezTo>
                  <a:cubicBezTo>
                    <a:pt x="258" y="641"/>
                    <a:pt x="258" y="641"/>
                    <a:pt x="260" y="643"/>
                  </a:cubicBezTo>
                  <a:cubicBezTo>
                    <a:pt x="262" y="639"/>
                    <a:pt x="268" y="640"/>
                    <a:pt x="272" y="638"/>
                  </a:cubicBezTo>
                  <a:cubicBezTo>
                    <a:pt x="273" y="640"/>
                    <a:pt x="276" y="638"/>
                    <a:pt x="278" y="640"/>
                  </a:cubicBezTo>
                  <a:cubicBezTo>
                    <a:pt x="278" y="639"/>
                    <a:pt x="279" y="638"/>
                    <a:pt x="279" y="638"/>
                  </a:cubicBezTo>
                  <a:cubicBezTo>
                    <a:pt x="280" y="639"/>
                    <a:pt x="280" y="639"/>
                    <a:pt x="280" y="639"/>
                  </a:cubicBezTo>
                  <a:cubicBezTo>
                    <a:pt x="281" y="637"/>
                    <a:pt x="281" y="636"/>
                    <a:pt x="283" y="637"/>
                  </a:cubicBezTo>
                  <a:cubicBezTo>
                    <a:pt x="284" y="635"/>
                    <a:pt x="284" y="636"/>
                    <a:pt x="286" y="634"/>
                  </a:cubicBezTo>
                  <a:cubicBezTo>
                    <a:pt x="288" y="635"/>
                    <a:pt x="291" y="632"/>
                    <a:pt x="293" y="633"/>
                  </a:cubicBezTo>
                  <a:cubicBezTo>
                    <a:pt x="294" y="631"/>
                    <a:pt x="296" y="630"/>
                    <a:pt x="296" y="627"/>
                  </a:cubicBezTo>
                  <a:cubicBezTo>
                    <a:pt x="294" y="625"/>
                    <a:pt x="290" y="629"/>
                    <a:pt x="288" y="628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  <p:sp>
          <p:nvSpPr>
            <p:cNvPr id="164" name="Alabama">
              <a:extLst>
                <a:ext uri="{FF2B5EF4-FFF2-40B4-BE49-F238E27FC236}">
                  <a16:creationId xmlns:a16="http://schemas.microsoft.com/office/drawing/2014/main" id="{A74C91D4-47F4-4B44-B6A8-18CFAF2F4EDC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7620647" y="3637760"/>
              <a:ext cx="521611" cy="1004769"/>
            </a:xfrm>
            <a:custGeom>
              <a:avLst/>
              <a:gdLst>
                <a:gd name="T0" fmla="*/ 132 w 132"/>
                <a:gd name="T1" fmla="*/ 220 h 254"/>
                <a:gd name="T2" fmla="*/ 132 w 132"/>
                <a:gd name="T3" fmla="*/ 217 h 254"/>
                <a:gd name="T4" fmla="*/ 131 w 132"/>
                <a:gd name="T5" fmla="*/ 216 h 254"/>
                <a:gd name="T6" fmla="*/ 131 w 132"/>
                <a:gd name="T7" fmla="*/ 132 h 254"/>
                <a:gd name="T8" fmla="*/ 125 w 132"/>
                <a:gd name="T9" fmla="*/ 116 h 254"/>
                <a:gd name="T10" fmla="*/ 125 w 132"/>
                <a:gd name="T11" fmla="*/ 90 h 254"/>
                <a:gd name="T12" fmla="*/ 119 w 132"/>
                <a:gd name="T13" fmla="*/ 77 h 254"/>
                <a:gd name="T14" fmla="*/ 119 w 132"/>
                <a:gd name="T15" fmla="*/ 71 h 254"/>
                <a:gd name="T16" fmla="*/ 115 w 132"/>
                <a:gd name="T17" fmla="*/ 63 h 254"/>
                <a:gd name="T18" fmla="*/ 115 w 132"/>
                <a:gd name="T19" fmla="*/ 22 h 254"/>
                <a:gd name="T20" fmla="*/ 111 w 132"/>
                <a:gd name="T21" fmla="*/ 9 h 254"/>
                <a:gd name="T22" fmla="*/ 111 w 132"/>
                <a:gd name="T23" fmla="*/ 0 h 254"/>
                <a:gd name="T24" fmla="*/ 16 w 132"/>
                <a:gd name="T25" fmla="*/ 0 h 254"/>
                <a:gd name="T26" fmla="*/ 16 w 132"/>
                <a:gd name="T27" fmla="*/ 56 h 254"/>
                <a:gd name="T28" fmla="*/ 16 w 132"/>
                <a:gd name="T29" fmla="*/ 68 h 254"/>
                <a:gd name="T30" fmla="*/ 16 w 132"/>
                <a:gd name="T31" fmla="*/ 68 h 254"/>
                <a:gd name="T32" fmla="*/ 7 w 132"/>
                <a:gd name="T33" fmla="*/ 92 h 254"/>
                <a:gd name="T34" fmla="*/ 6 w 132"/>
                <a:gd name="T35" fmla="*/ 108 h 254"/>
                <a:gd name="T36" fmla="*/ 1 w 132"/>
                <a:gd name="T37" fmla="*/ 157 h 254"/>
                <a:gd name="T38" fmla="*/ 1 w 132"/>
                <a:gd name="T39" fmla="*/ 248 h 254"/>
                <a:gd name="T40" fmla="*/ 1 w 132"/>
                <a:gd name="T41" fmla="*/ 248 h 254"/>
                <a:gd name="T42" fmla="*/ 17 w 132"/>
                <a:gd name="T43" fmla="*/ 250 h 254"/>
                <a:gd name="T44" fmla="*/ 17 w 132"/>
                <a:gd name="T45" fmla="*/ 246 h 254"/>
                <a:gd name="T46" fmla="*/ 25 w 132"/>
                <a:gd name="T47" fmla="*/ 223 h 254"/>
                <a:gd name="T48" fmla="*/ 25 w 132"/>
                <a:gd name="T49" fmla="*/ 246 h 254"/>
                <a:gd name="T50" fmla="*/ 25 w 132"/>
                <a:gd name="T51" fmla="*/ 250 h 254"/>
                <a:gd name="T52" fmla="*/ 25 w 132"/>
                <a:gd name="T53" fmla="*/ 254 h 254"/>
                <a:gd name="T54" fmla="*/ 39 w 132"/>
                <a:gd name="T55" fmla="*/ 251 h 254"/>
                <a:gd name="T56" fmla="*/ 39 w 132"/>
                <a:gd name="T57" fmla="*/ 220 h 254"/>
                <a:gd name="T58" fmla="*/ 132 w 132"/>
                <a:gd name="T59" fmla="*/ 22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2" h="254">
                  <a:moveTo>
                    <a:pt x="132" y="220"/>
                  </a:moveTo>
                  <a:cubicBezTo>
                    <a:pt x="132" y="217"/>
                    <a:pt x="132" y="217"/>
                    <a:pt x="132" y="217"/>
                  </a:cubicBezTo>
                  <a:cubicBezTo>
                    <a:pt x="131" y="216"/>
                    <a:pt x="131" y="216"/>
                    <a:pt x="131" y="216"/>
                  </a:cubicBezTo>
                  <a:cubicBezTo>
                    <a:pt x="131" y="132"/>
                    <a:pt x="131" y="132"/>
                    <a:pt x="131" y="132"/>
                  </a:cubicBezTo>
                  <a:cubicBezTo>
                    <a:pt x="125" y="116"/>
                    <a:pt x="125" y="116"/>
                    <a:pt x="125" y="116"/>
                  </a:cubicBezTo>
                  <a:cubicBezTo>
                    <a:pt x="125" y="90"/>
                    <a:pt x="125" y="90"/>
                    <a:pt x="125" y="90"/>
                  </a:cubicBezTo>
                  <a:cubicBezTo>
                    <a:pt x="119" y="77"/>
                    <a:pt x="119" y="77"/>
                    <a:pt x="119" y="77"/>
                  </a:cubicBezTo>
                  <a:cubicBezTo>
                    <a:pt x="119" y="71"/>
                    <a:pt x="119" y="71"/>
                    <a:pt x="119" y="71"/>
                  </a:cubicBezTo>
                  <a:cubicBezTo>
                    <a:pt x="115" y="63"/>
                    <a:pt x="115" y="63"/>
                    <a:pt x="115" y="63"/>
                  </a:cubicBezTo>
                  <a:cubicBezTo>
                    <a:pt x="115" y="22"/>
                    <a:pt x="115" y="22"/>
                    <a:pt x="115" y="22"/>
                  </a:cubicBezTo>
                  <a:cubicBezTo>
                    <a:pt x="111" y="9"/>
                    <a:pt x="111" y="9"/>
                    <a:pt x="111" y="9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2" y="78"/>
                    <a:pt x="7" y="90"/>
                    <a:pt x="7" y="92"/>
                  </a:cubicBezTo>
                  <a:cubicBezTo>
                    <a:pt x="7" y="93"/>
                    <a:pt x="7" y="99"/>
                    <a:pt x="6" y="108"/>
                  </a:cubicBezTo>
                  <a:cubicBezTo>
                    <a:pt x="3" y="126"/>
                    <a:pt x="0" y="154"/>
                    <a:pt x="1" y="157"/>
                  </a:cubicBezTo>
                  <a:cubicBezTo>
                    <a:pt x="2" y="161"/>
                    <a:pt x="1" y="227"/>
                    <a:pt x="1" y="248"/>
                  </a:cubicBezTo>
                  <a:cubicBezTo>
                    <a:pt x="1" y="248"/>
                    <a:pt x="1" y="248"/>
                    <a:pt x="1" y="248"/>
                  </a:cubicBezTo>
                  <a:cubicBezTo>
                    <a:pt x="17" y="250"/>
                    <a:pt x="17" y="250"/>
                    <a:pt x="17" y="250"/>
                  </a:cubicBezTo>
                  <a:cubicBezTo>
                    <a:pt x="17" y="246"/>
                    <a:pt x="17" y="246"/>
                    <a:pt x="17" y="246"/>
                  </a:cubicBezTo>
                  <a:cubicBezTo>
                    <a:pt x="25" y="223"/>
                    <a:pt x="25" y="223"/>
                    <a:pt x="25" y="223"/>
                  </a:cubicBezTo>
                  <a:cubicBezTo>
                    <a:pt x="25" y="246"/>
                    <a:pt x="25" y="246"/>
                    <a:pt x="25" y="246"/>
                  </a:cubicBezTo>
                  <a:cubicBezTo>
                    <a:pt x="25" y="250"/>
                    <a:pt x="25" y="250"/>
                    <a:pt x="25" y="250"/>
                  </a:cubicBezTo>
                  <a:cubicBezTo>
                    <a:pt x="25" y="254"/>
                    <a:pt x="25" y="254"/>
                    <a:pt x="25" y="254"/>
                  </a:cubicBezTo>
                  <a:cubicBezTo>
                    <a:pt x="39" y="251"/>
                    <a:pt x="39" y="251"/>
                    <a:pt x="39" y="251"/>
                  </a:cubicBezTo>
                  <a:cubicBezTo>
                    <a:pt x="39" y="220"/>
                    <a:pt x="39" y="220"/>
                    <a:pt x="39" y="220"/>
                  </a:cubicBezTo>
                  <a:lnTo>
                    <a:pt x="132" y="22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000">
                <a:solidFill>
                  <a:schemeClr val="lt1"/>
                </a:solidFill>
              </a:endParaRP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47C8B337-B337-6520-19E2-9759EC678B62}"/>
              </a:ext>
            </a:extLst>
          </p:cNvPr>
          <p:cNvSpPr/>
          <p:nvPr/>
        </p:nvSpPr>
        <p:spPr>
          <a:xfrm>
            <a:off x="8953014" y="4892180"/>
            <a:ext cx="2588683" cy="69591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>
                <a:solidFill>
                  <a:schemeClr val="bg1"/>
                </a:solidFill>
              </a:rPr>
              <a:t>Select a country to recolor it using the </a:t>
            </a:r>
            <a:r>
              <a:rPr lang="en-US" sz="1200" b="1" dirty="0">
                <a:solidFill>
                  <a:schemeClr val="bg1"/>
                </a:solidFill>
              </a:rPr>
              <a:t>Shape Fill </a:t>
            </a:r>
            <a:r>
              <a:rPr lang="en-US" sz="1200" dirty="0">
                <a:solidFill>
                  <a:schemeClr val="bg1"/>
                </a:solidFill>
              </a:rPr>
              <a:t>option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7A26162-D986-B2C1-F448-3B436B43A009}"/>
              </a:ext>
            </a:extLst>
          </p:cNvPr>
          <p:cNvSpPr/>
          <p:nvPr/>
        </p:nvSpPr>
        <p:spPr>
          <a:xfrm>
            <a:off x="8813532" y="3120094"/>
            <a:ext cx="2866056" cy="17710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b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>
                <a:solidFill>
                  <a:schemeClr val="tx1"/>
                </a:solidFill>
              </a:rPr>
              <a:t>Each country is a separate object in this map. 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You can find individually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named countries in the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Selection Pane</a:t>
            </a:r>
            <a:r>
              <a:rPr lang="en-US" sz="1200" dirty="0">
                <a:solidFill>
                  <a:schemeClr val="tx1"/>
                </a:solidFill>
              </a:rPr>
              <a:t>: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 dirty="0">
                <a:solidFill>
                  <a:schemeClr val="tx1"/>
                </a:solidFill>
              </a:rPr>
              <a:t>Home tab &gt; Arrange </a:t>
            </a:r>
            <a:br>
              <a:rPr lang="en-US" sz="1200" b="1" dirty="0">
                <a:solidFill>
                  <a:schemeClr val="tx1"/>
                </a:solidFill>
              </a:rPr>
            </a:br>
            <a:r>
              <a:rPr lang="en-US" sz="1200" b="1" dirty="0">
                <a:solidFill>
                  <a:schemeClr val="tx1"/>
                </a:solidFill>
              </a:rPr>
              <a:t>&gt; Selection Pane</a:t>
            </a:r>
            <a:r>
              <a:rPr lang="en-US" sz="1200" dirty="0">
                <a:solidFill>
                  <a:schemeClr val="tx1"/>
                </a:solidFill>
              </a:rPr>
              <a:t>, 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or by pressing </a:t>
            </a:r>
            <a:r>
              <a:rPr lang="en-US" sz="1200" b="1" dirty="0">
                <a:solidFill>
                  <a:schemeClr val="tx1"/>
                </a:solidFill>
              </a:rPr>
              <a:t>Alt + F1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B5D5E6-EB7B-2622-DC12-51314FA7A550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US map</a:t>
            </a:r>
            <a:endParaRPr lang="en-CA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270931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:a16="http://schemas.microsoft.com/office/drawing/2014/main" id="{52FF6D6E-E8DF-F02E-D733-F3699D4CB718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ocial Icons - Vector</a:t>
            </a:r>
            <a:endParaRPr lang="en-CA" dirty="0">
              <a:solidFill>
                <a:schemeClr val="tx1"/>
              </a:solidFill>
            </a:endParaRPr>
          </a:p>
        </p:txBody>
      </p:sp>
      <p:grpSp>
        <p:nvGrpSpPr>
          <p:cNvPr id="2" name="Graphic 2">
            <a:extLst>
              <a:ext uri="{FF2B5EF4-FFF2-40B4-BE49-F238E27FC236}">
                <a16:creationId xmlns:a16="http://schemas.microsoft.com/office/drawing/2014/main" id="{789FD7F6-58DA-F2BE-A401-D972150A05F7}"/>
              </a:ext>
            </a:extLst>
          </p:cNvPr>
          <p:cNvGrpSpPr/>
          <p:nvPr/>
        </p:nvGrpSpPr>
        <p:grpSpPr>
          <a:xfrm>
            <a:off x="1492250" y="2451100"/>
            <a:ext cx="453961" cy="453961"/>
            <a:chOff x="1492250" y="2451100"/>
            <a:chExt cx="453961" cy="453961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6C6FE091-9F15-34FC-3728-472E769D6EDE}"/>
                </a:ext>
              </a:extLst>
            </p:cNvPr>
            <p:cNvSpPr/>
            <p:nvPr/>
          </p:nvSpPr>
          <p:spPr>
            <a:xfrm>
              <a:off x="1492250" y="24511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F507971E-7E2B-224C-9EBD-38FC89D28643}"/>
                </a:ext>
              </a:extLst>
            </p:cNvPr>
            <p:cNvSpPr/>
            <p:nvPr/>
          </p:nvSpPr>
          <p:spPr>
            <a:xfrm>
              <a:off x="1575832" y="2568924"/>
              <a:ext cx="286778" cy="218408"/>
            </a:xfrm>
            <a:custGeom>
              <a:avLst/>
              <a:gdLst>
                <a:gd name="connsiteX0" fmla="*/ 242935 w 286778"/>
                <a:gd name="connsiteY0" fmla="*/ 18193 h 218408"/>
                <a:gd name="connsiteX1" fmla="*/ 183785 w 286778"/>
                <a:gd name="connsiteY1" fmla="*/ 0 h 218408"/>
                <a:gd name="connsiteX2" fmla="*/ 176165 w 286778"/>
                <a:gd name="connsiteY2" fmla="*/ 15526 h 218408"/>
                <a:gd name="connsiteX3" fmla="*/ 110633 w 286778"/>
                <a:gd name="connsiteY3" fmla="*/ 15526 h 218408"/>
                <a:gd name="connsiteX4" fmla="*/ 102917 w 286778"/>
                <a:gd name="connsiteY4" fmla="*/ 0 h 218408"/>
                <a:gd name="connsiteX5" fmla="*/ 43672 w 286778"/>
                <a:gd name="connsiteY5" fmla="*/ 18288 h 218408"/>
                <a:gd name="connsiteX6" fmla="*/ 1286 w 286778"/>
                <a:gd name="connsiteY6" fmla="*/ 181737 h 218408"/>
                <a:gd name="connsiteX7" fmla="*/ 73866 w 286778"/>
                <a:gd name="connsiteY7" fmla="*/ 218408 h 218408"/>
                <a:gd name="connsiteX8" fmla="*/ 89392 w 286778"/>
                <a:gd name="connsiteY8" fmla="*/ 193167 h 218408"/>
                <a:gd name="connsiteX9" fmla="*/ 64913 w 286778"/>
                <a:gd name="connsiteY9" fmla="*/ 181451 h 218408"/>
                <a:gd name="connsiteX10" fmla="*/ 70818 w 286778"/>
                <a:gd name="connsiteY10" fmla="*/ 176784 h 218408"/>
                <a:gd name="connsiteX11" fmla="*/ 215979 w 286778"/>
                <a:gd name="connsiteY11" fmla="*/ 176784 h 218408"/>
                <a:gd name="connsiteX12" fmla="*/ 221980 w 286778"/>
                <a:gd name="connsiteY12" fmla="*/ 181451 h 218408"/>
                <a:gd name="connsiteX13" fmla="*/ 197405 w 286778"/>
                <a:gd name="connsiteY13" fmla="*/ 193262 h 218408"/>
                <a:gd name="connsiteX14" fmla="*/ 213026 w 286778"/>
                <a:gd name="connsiteY14" fmla="*/ 218408 h 218408"/>
                <a:gd name="connsiteX15" fmla="*/ 285512 w 286778"/>
                <a:gd name="connsiteY15" fmla="*/ 181737 h 218408"/>
                <a:gd name="connsiteX16" fmla="*/ 242935 w 286778"/>
                <a:gd name="connsiteY16" fmla="*/ 18193 h 218408"/>
                <a:gd name="connsiteX17" fmla="*/ 95774 w 286778"/>
                <a:gd name="connsiteY17" fmla="*/ 148876 h 218408"/>
                <a:gd name="connsiteX18" fmla="*/ 70056 w 286778"/>
                <a:gd name="connsiteY18" fmla="*/ 120301 h 218408"/>
                <a:gd name="connsiteX19" fmla="*/ 95774 w 286778"/>
                <a:gd name="connsiteY19" fmla="*/ 91726 h 218408"/>
                <a:gd name="connsiteX20" fmla="*/ 121586 w 286778"/>
                <a:gd name="connsiteY20" fmla="*/ 120301 h 218408"/>
                <a:gd name="connsiteX21" fmla="*/ 95774 w 286778"/>
                <a:gd name="connsiteY21" fmla="*/ 148876 h 218408"/>
                <a:gd name="connsiteX22" fmla="*/ 191024 w 286778"/>
                <a:gd name="connsiteY22" fmla="*/ 148876 h 218408"/>
                <a:gd name="connsiteX23" fmla="*/ 165211 w 286778"/>
                <a:gd name="connsiteY23" fmla="*/ 120301 h 218408"/>
                <a:gd name="connsiteX24" fmla="*/ 191024 w 286778"/>
                <a:gd name="connsiteY24" fmla="*/ 91726 h 218408"/>
                <a:gd name="connsiteX25" fmla="*/ 216741 w 286778"/>
                <a:gd name="connsiteY25" fmla="*/ 120301 h 218408"/>
                <a:gd name="connsiteX26" fmla="*/ 191024 w 286778"/>
                <a:gd name="connsiteY26" fmla="*/ 148876 h 218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86778" h="218408">
                  <a:moveTo>
                    <a:pt x="242935" y="18193"/>
                  </a:moveTo>
                  <a:cubicBezTo>
                    <a:pt x="224106" y="9549"/>
                    <a:pt x="204217" y="3431"/>
                    <a:pt x="183785" y="0"/>
                  </a:cubicBezTo>
                  <a:cubicBezTo>
                    <a:pt x="180922" y="5011"/>
                    <a:pt x="178377" y="10197"/>
                    <a:pt x="176165" y="15526"/>
                  </a:cubicBezTo>
                  <a:cubicBezTo>
                    <a:pt x="154441" y="12287"/>
                    <a:pt x="132356" y="12287"/>
                    <a:pt x="110633" y="15526"/>
                  </a:cubicBezTo>
                  <a:cubicBezTo>
                    <a:pt x="108368" y="10203"/>
                    <a:pt x="105792" y="5019"/>
                    <a:pt x="102917" y="0"/>
                  </a:cubicBezTo>
                  <a:cubicBezTo>
                    <a:pt x="82447" y="3449"/>
                    <a:pt x="62525" y="9598"/>
                    <a:pt x="43672" y="18288"/>
                  </a:cubicBezTo>
                  <a:cubicBezTo>
                    <a:pt x="10348" y="65902"/>
                    <a:pt x="-4700" y="123930"/>
                    <a:pt x="1286" y="181737"/>
                  </a:cubicBezTo>
                  <a:cubicBezTo>
                    <a:pt x="23207" y="198016"/>
                    <a:pt x="47756" y="210419"/>
                    <a:pt x="73866" y="218408"/>
                  </a:cubicBezTo>
                  <a:cubicBezTo>
                    <a:pt x="79688" y="210409"/>
                    <a:pt x="84878" y="201970"/>
                    <a:pt x="89392" y="193167"/>
                  </a:cubicBezTo>
                  <a:cubicBezTo>
                    <a:pt x="80907" y="189980"/>
                    <a:pt x="72716" y="186060"/>
                    <a:pt x="64913" y="181451"/>
                  </a:cubicBezTo>
                  <a:cubicBezTo>
                    <a:pt x="67008" y="179927"/>
                    <a:pt x="68913" y="178403"/>
                    <a:pt x="70818" y="176784"/>
                  </a:cubicBezTo>
                  <a:cubicBezTo>
                    <a:pt x="116768" y="198505"/>
                    <a:pt x="170030" y="198505"/>
                    <a:pt x="215979" y="176784"/>
                  </a:cubicBezTo>
                  <a:cubicBezTo>
                    <a:pt x="217895" y="178444"/>
                    <a:pt x="219899" y="180003"/>
                    <a:pt x="221980" y="181451"/>
                  </a:cubicBezTo>
                  <a:cubicBezTo>
                    <a:pt x="214155" y="186110"/>
                    <a:pt x="205931" y="190062"/>
                    <a:pt x="197405" y="193262"/>
                  </a:cubicBezTo>
                  <a:cubicBezTo>
                    <a:pt x="201917" y="202057"/>
                    <a:pt x="207142" y="210467"/>
                    <a:pt x="213026" y="218408"/>
                  </a:cubicBezTo>
                  <a:cubicBezTo>
                    <a:pt x="239146" y="210516"/>
                    <a:pt x="263679" y="198105"/>
                    <a:pt x="285512" y="181737"/>
                  </a:cubicBezTo>
                  <a:cubicBezTo>
                    <a:pt x="291457" y="123875"/>
                    <a:pt x="276340" y="65810"/>
                    <a:pt x="242935" y="18193"/>
                  </a:cubicBezTo>
                  <a:close/>
                  <a:moveTo>
                    <a:pt x="95774" y="148876"/>
                  </a:moveTo>
                  <a:cubicBezTo>
                    <a:pt x="80844" y="147955"/>
                    <a:pt x="69405" y="135245"/>
                    <a:pt x="70056" y="120301"/>
                  </a:cubicBezTo>
                  <a:cubicBezTo>
                    <a:pt x="69405" y="105357"/>
                    <a:pt x="80844" y="92647"/>
                    <a:pt x="95774" y="91726"/>
                  </a:cubicBezTo>
                  <a:cubicBezTo>
                    <a:pt x="110765" y="92546"/>
                    <a:pt x="122289" y="105304"/>
                    <a:pt x="121586" y="120301"/>
                  </a:cubicBezTo>
                  <a:cubicBezTo>
                    <a:pt x="122184" y="135261"/>
                    <a:pt x="110716" y="147956"/>
                    <a:pt x="95774" y="148876"/>
                  </a:cubicBezTo>
                  <a:close/>
                  <a:moveTo>
                    <a:pt x="191024" y="148876"/>
                  </a:moveTo>
                  <a:cubicBezTo>
                    <a:pt x="176080" y="147956"/>
                    <a:pt x="164613" y="135261"/>
                    <a:pt x="165211" y="120301"/>
                  </a:cubicBezTo>
                  <a:cubicBezTo>
                    <a:pt x="164613" y="105341"/>
                    <a:pt x="176081" y="92646"/>
                    <a:pt x="191024" y="91726"/>
                  </a:cubicBezTo>
                  <a:cubicBezTo>
                    <a:pt x="206002" y="92546"/>
                    <a:pt x="217497" y="105320"/>
                    <a:pt x="216741" y="120301"/>
                  </a:cubicBezTo>
                  <a:cubicBezTo>
                    <a:pt x="217393" y="135245"/>
                    <a:pt x="205953" y="147955"/>
                    <a:pt x="191024" y="14887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8" name="Graphic 4">
            <a:extLst>
              <a:ext uri="{FF2B5EF4-FFF2-40B4-BE49-F238E27FC236}">
                <a16:creationId xmlns:a16="http://schemas.microsoft.com/office/drawing/2014/main" id="{7DDBE5C7-16BF-D1C8-AD90-C51575E34E37}"/>
              </a:ext>
            </a:extLst>
          </p:cNvPr>
          <p:cNvGrpSpPr/>
          <p:nvPr/>
        </p:nvGrpSpPr>
        <p:grpSpPr>
          <a:xfrm>
            <a:off x="2406650" y="2451100"/>
            <a:ext cx="453961" cy="453961"/>
            <a:chOff x="2406650" y="2451100"/>
            <a:chExt cx="453961" cy="453961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97B8EFFE-F8CC-C833-182A-8DA65B7876DF}"/>
                </a:ext>
              </a:extLst>
            </p:cNvPr>
            <p:cNvSpPr/>
            <p:nvPr/>
          </p:nvSpPr>
          <p:spPr>
            <a:xfrm>
              <a:off x="2406650" y="24511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DEF36B0-08FC-6D5B-4018-B43D8312F36F}"/>
                </a:ext>
              </a:extLst>
            </p:cNvPr>
            <p:cNvSpPr/>
            <p:nvPr/>
          </p:nvSpPr>
          <p:spPr>
            <a:xfrm>
              <a:off x="2532570" y="2574925"/>
              <a:ext cx="202215" cy="206120"/>
            </a:xfrm>
            <a:custGeom>
              <a:avLst/>
              <a:gdLst>
                <a:gd name="connsiteX0" fmla="*/ 120301 w 202215"/>
                <a:gd name="connsiteY0" fmla="*/ 87249 h 206120"/>
                <a:gd name="connsiteX1" fmla="*/ 195643 w 202215"/>
                <a:gd name="connsiteY1" fmla="*/ 0 h 206120"/>
                <a:gd name="connsiteX2" fmla="*/ 177736 w 202215"/>
                <a:gd name="connsiteY2" fmla="*/ 0 h 206120"/>
                <a:gd name="connsiteX3" fmla="*/ 112205 w 202215"/>
                <a:gd name="connsiteY3" fmla="*/ 76200 h 206120"/>
                <a:gd name="connsiteX4" fmla="*/ 60008 w 202215"/>
                <a:gd name="connsiteY4" fmla="*/ 0 h 206120"/>
                <a:gd name="connsiteX5" fmla="*/ 0 w 202215"/>
                <a:gd name="connsiteY5" fmla="*/ 0 h 206120"/>
                <a:gd name="connsiteX6" fmla="*/ 78867 w 202215"/>
                <a:gd name="connsiteY6" fmla="*/ 114300 h 206120"/>
                <a:gd name="connsiteX7" fmla="*/ 0 w 202215"/>
                <a:gd name="connsiteY7" fmla="*/ 206121 h 206120"/>
                <a:gd name="connsiteX8" fmla="*/ 17812 w 202215"/>
                <a:gd name="connsiteY8" fmla="*/ 206121 h 206120"/>
                <a:gd name="connsiteX9" fmla="*/ 86868 w 202215"/>
                <a:gd name="connsiteY9" fmla="*/ 125825 h 206120"/>
                <a:gd name="connsiteX10" fmla="*/ 142018 w 202215"/>
                <a:gd name="connsiteY10" fmla="*/ 206121 h 206120"/>
                <a:gd name="connsiteX11" fmla="*/ 202216 w 202215"/>
                <a:gd name="connsiteY11" fmla="*/ 206121 h 206120"/>
                <a:gd name="connsiteX12" fmla="*/ 120301 w 202215"/>
                <a:gd name="connsiteY12" fmla="*/ 86963 h 206120"/>
                <a:gd name="connsiteX13" fmla="*/ 95917 w 202215"/>
                <a:gd name="connsiteY13" fmla="*/ 115824 h 206120"/>
                <a:gd name="connsiteX14" fmla="*/ 87916 w 202215"/>
                <a:gd name="connsiteY14" fmla="*/ 104394 h 206120"/>
                <a:gd name="connsiteX15" fmla="*/ 24194 w 202215"/>
                <a:gd name="connsiteY15" fmla="*/ 13335 h 206120"/>
                <a:gd name="connsiteX16" fmla="*/ 51625 w 202215"/>
                <a:gd name="connsiteY16" fmla="*/ 13335 h 206120"/>
                <a:gd name="connsiteX17" fmla="*/ 102680 w 202215"/>
                <a:gd name="connsiteY17" fmla="*/ 86582 h 206120"/>
                <a:gd name="connsiteX18" fmla="*/ 110681 w 202215"/>
                <a:gd name="connsiteY18" fmla="*/ 98107 h 206120"/>
                <a:gd name="connsiteX19" fmla="*/ 177356 w 202215"/>
                <a:gd name="connsiteY19" fmla="*/ 193358 h 206120"/>
                <a:gd name="connsiteX20" fmla="*/ 150305 w 202215"/>
                <a:gd name="connsiteY20" fmla="*/ 193358 h 206120"/>
                <a:gd name="connsiteX21" fmla="*/ 95822 w 202215"/>
                <a:gd name="connsiteY21" fmla="*/ 115443 h 20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2215" h="206120">
                  <a:moveTo>
                    <a:pt x="120301" y="87249"/>
                  </a:moveTo>
                  <a:lnTo>
                    <a:pt x="195643" y="0"/>
                  </a:lnTo>
                  <a:lnTo>
                    <a:pt x="177736" y="0"/>
                  </a:lnTo>
                  <a:lnTo>
                    <a:pt x="112205" y="76200"/>
                  </a:lnTo>
                  <a:lnTo>
                    <a:pt x="60008" y="0"/>
                  </a:lnTo>
                  <a:lnTo>
                    <a:pt x="0" y="0"/>
                  </a:lnTo>
                  <a:lnTo>
                    <a:pt x="78867" y="114300"/>
                  </a:lnTo>
                  <a:lnTo>
                    <a:pt x="0" y="206121"/>
                  </a:lnTo>
                  <a:lnTo>
                    <a:pt x="17812" y="206121"/>
                  </a:lnTo>
                  <a:lnTo>
                    <a:pt x="86868" y="125825"/>
                  </a:lnTo>
                  <a:lnTo>
                    <a:pt x="142018" y="206121"/>
                  </a:lnTo>
                  <a:lnTo>
                    <a:pt x="202216" y="206121"/>
                  </a:lnTo>
                  <a:lnTo>
                    <a:pt x="120301" y="86963"/>
                  </a:lnTo>
                  <a:close/>
                  <a:moveTo>
                    <a:pt x="95917" y="115824"/>
                  </a:moveTo>
                  <a:lnTo>
                    <a:pt x="87916" y="104394"/>
                  </a:lnTo>
                  <a:lnTo>
                    <a:pt x="24194" y="13335"/>
                  </a:lnTo>
                  <a:lnTo>
                    <a:pt x="51625" y="13335"/>
                  </a:lnTo>
                  <a:lnTo>
                    <a:pt x="102680" y="86582"/>
                  </a:lnTo>
                  <a:lnTo>
                    <a:pt x="110681" y="98107"/>
                  </a:lnTo>
                  <a:lnTo>
                    <a:pt x="177356" y="193358"/>
                  </a:lnTo>
                  <a:lnTo>
                    <a:pt x="150305" y="193358"/>
                  </a:lnTo>
                  <a:lnTo>
                    <a:pt x="95822" y="11544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4" name="Graphic 6">
            <a:extLst>
              <a:ext uri="{FF2B5EF4-FFF2-40B4-BE49-F238E27FC236}">
                <a16:creationId xmlns:a16="http://schemas.microsoft.com/office/drawing/2014/main" id="{9B8B7218-9E29-03B5-4C57-54E3C7B73073}"/>
              </a:ext>
            </a:extLst>
          </p:cNvPr>
          <p:cNvGrpSpPr/>
          <p:nvPr/>
        </p:nvGrpSpPr>
        <p:grpSpPr>
          <a:xfrm>
            <a:off x="3321050" y="2451100"/>
            <a:ext cx="453961" cy="453961"/>
            <a:chOff x="3321050" y="2451100"/>
            <a:chExt cx="453961" cy="453961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A5F07333-7933-D9EC-2BB3-2B42B18D3BB7}"/>
                </a:ext>
              </a:extLst>
            </p:cNvPr>
            <p:cNvSpPr/>
            <p:nvPr/>
          </p:nvSpPr>
          <p:spPr>
            <a:xfrm>
              <a:off x="3321050" y="24511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0A5DAC-8B5F-57B6-DE2C-0BF8518EF445}"/>
                </a:ext>
              </a:extLst>
            </p:cNvPr>
            <p:cNvSpPr/>
            <p:nvPr/>
          </p:nvSpPr>
          <p:spPr>
            <a:xfrm>
              <a:off x="3427356" y="2551017"/>
              <a:ext cx="218686" cy="255365"/>
            </a:xfrm>
            <a:custGeom>
              <a:avLst/>
              <a:gdLst>
                <a:gd name="connsiteX0" fmla="*/ 218687 w 218686"/>
                <a:gd name="connsiteY0" fmla="*/ 102775 h 255365"/>
                <a:gd name="connsiteX1" fmla="*/ 218687 w 218686"/>
                <a:gd name="connsiteY1" fmla="*/ 102775 h 255365"/>
                <a:gd name="connsiteX2" fmla="*/ 212400 w 218686"/>
                <a:gd name="connsiteY2" fmla="*/ 102775 h 255365"/>
                <a:gd name="connsiteX3" fmla="*/ 155250 w 218686"/>
                <a:gd name="connsiteY3" fmla="*/ 71914 h 255365"/>
                <a:gd name="connsiteX4" fmla="*/ 155250 w 218686"/>
                <a:gd name="connsiteY4" fmla="*/ 176689 h 255365"/>
                <a:gd name="connsiteX5" fmla="*/ 78676 w 218686"/>
                <a:gd name="connsiteY5" fmla="*/ 255359 h 255365"/>
                <a:gd name="connsiteX6" fmla="*/ 7 w 218686"/>
                <a:gd name="connsiteY6" fmla="*/ 178784 h 255365"/>
                <a:gd name="connsiteX7" fmla="*/ 76581 w 218686"/>
                <a:gd name="connsiteY7" fmla="*/ 100114 h 255365"/>
                <a:gd name="connsiteX8" fmla="*/ 77717 w 218686"/>
                <a:gd name="connsiteY8" fmla="*/ 100108 h 255365"/>
                <a:gd name="connsiteX9" fmla="*/ 82575 w 218686"/>
                <a:gd name="connsiteY9" fmla="*/ 100108 h 255365"/>
                <a:gd name="connsiteX10" fmla="*/ 82575 w 218686"/>
                <a:gd name="connsiteY10" fmla="*/ 138208 h 255365"/>
                <a:gd name="connsiteX11" fmla="*/ 77717 w 218686"/>
                <a:gd name="connsiteY11" fmla="*/ 138208 h 255365"/>
                <a:gd name="connsiteX12" fmla="*/ 36198 w 218686"/>
                <a:gd name="connsiteY12" fmla="*/ 175842 h 255365"/>
                <a:gd name="connsiteX13" fmla="*/ 73833 w 218686"/>
                <a:gd name="connsiteY13" fmla="*/ 217361 h 255365"/>
                <a:gd name="connsiteX14" fmla="*/ 77717 w 218686"/>
                <a:gd name="connsiteY14" fmla="*/ 217361 h 255365"/>
                <a:gd name="connsiteX15" fmla="*/ 118960 w 218686"/>
                <a:gd name="connsiteY15" fmla="*/ 178308 h 255365"/>
                <a:gd name="connsiteX16" fmla="*/ 118960 w 218686"/>
                <a:gd name="connsiteY16" fmla="*/ 0 h 255365"/>
                <a:gd name="connsiteX17" fmla="*/ 155536 w 218686"/>
                <a:gd name="connsiteY17" fmla="*/ 0 h 255365"/>
                <a:gd name="connsiteX18" fmla="*/ 218306 w 218686"/>
                <a:gd name="connsiteY18" fmla="*/ 60865 h 255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8686" h="255365">
                  <a:moveTo>
                    <a:pt x="218687" y="102775"/>
                  </a:moveTo>
                  <a:lnTo>
                    <a:pt x="218687" y="102775"/>
                  </a:lnTo>
                  <a:cubicBezTo>
                    <a:pt x="216591" y="102775"/>
                    <a:pt x="214496" y="102775"/>
                    <a:pt x="212400" y="102775"/>
                  </a:cubicBezTo>
                  <a:cubicBezTo>
                    <a:pt x="189356" y="102820"/>
                    <a:pt x="167852" y="91208"/>
                    <a:pt x="155250" y="71914"/>
                  </a:cubicBezTo>
                  <a:lnTo>
                    <a:pt x="155250" y="176689"/>
                  </a:lnTo>
                  <a:cubicBezTo>
                    <a:pt x="155829" y="219558"/>
                    <a:pt x="121545" y="254779"/>
                    <a:pt x="78676" y="255359"/>
                  </a:cubicBezTo>
                  <a:cubicBezTo>
                    <a:pt x="35807" y="255937"/>
                    <a:pt x="585" y="221653"/>
                    <a:pt x="7" y="178784"/>
                  </a:cubicBezTo>
                  <a:cubicBezTo>
                    <a:pt x="-572" y="135915"/>
                    <a:pt x="33711" y="100694"/>
                    <a:pt x="76581" y="100114"/>
                  </a:cubicBezTo>
                  <a:cubicBezTo>
                    <a:pt x="76960" y="100110"/>
                    <a:pt x="77338" y="100108"/>
                    <a:pt x="77717" y="100108"/>
                  </a:cubicBezTo>
                  <a:cubicBezTo>
                    <a:pt x="79335" y="100013"/>
                    <a:pt x="80956" y="100013"/>
                    <a:pt x="82575" y="100108"/>
                  </a:cubicBezTo>
                  <a:lnTo>
                    <a:pt x="82575" y="138208"/>
                  </a:lnTo>
                  <a:cubicBezTo>
                    <a:pt x="80956" y="138113"/>
                    <a:pt x="79335" y="138113"/>
                    <a:pt x="77717" y="138208"/>
                  </a:cubicBezTo>
                  <a:cubicBezTo>
                    <a:pt x="55860" y="137135"/>
                    <a:pt x="37271" y="153985"/>
                    <a:pt x="36198" y="175842"/>
                  </a:cubicBezTo>
                  <a:cubicBezTo>
                    <a:pt x="35126" y="197699"/>
                    <a:pt x="51976" y="216288"/>
                    <a:pt x="73833" y="217361"/>
                  </a:cubicBezTo>
                  <a:cubicBezTo>
                    <a:pt x="75127" y="217424"/>
                    <a:pt x="76422" y="217424"/>
                    <a:pt x="77717" y="217361"/>
                  </a:cubicBezTo>
                  <a:cubicBezTo>
                    <a:pt x="99803" y="217739"/>
                    <a:pt x="118133" y="200381"/>
                    <a:pt x="118960" y="178308"/>
                  </a:cubicBezTo>
                  <a:lnTo>
                    <a:pt x="118960" y="0"/>
                  </a:lnTo>
                  <a:lnTo>
                    <a:pt x="155536" y="0"/>
                  </a:lnTo>
                  <a:cubicBezTo>
                    <a:pt x="159029" y="32778"/>
                    <a:pt x="185436" y="58383"/>
                    <a:pt x="218306" y="6086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20" name="Graphic 8">
            <a:extLst>
              <a:ext uri="{FF2B5EF4-FFF2-40B4-BE49-F238E27FC236}">
                <a16:creationId xmlns:a16="http://schemas.microsoft.com/office/drawing/2014/main" id="{EAB4237D-9325-CA12-4A12-C1B6A4DD4BF6}"/>
              </a:ext>
            </a:extLst>
          </p:cNvPr>
          <p:cNvGrpSpPr/>
          <p:nvPr/>
        </p:nvGrpSpPr>
        <p:grpSpPr>
          <a:xfrm>
            <a:off x="4235450" y="2451100"/>
            <a:ext cx="453961" cy="453961"/>
            <a:chOff x="4235450" y="2451100"/>
            <a:chExt cx="453961" cy="453961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BD07377B-D211-A36C-0159-A141D3DFEC35}"/>
                </a:ext>
              </a:extLst>
            </p:cNvPr>
            <p:cNvSpPr/>
            <p:nvPr/>
          </p:nvSpPr>
          <p:spPr>
            <a:xfrm>
              <a:off x="4235450" y="24511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DD638212-2377-012D-8357-D92F5F325648}"/>
                </a:ext>
              </a:extLst>
            </p:cNvPr>
            <p:cNvSpPr/>
            <p:nvPr/>
          </p:nvSpPr>
          <p:spPr>
            <a:xfrm>
              <a:off x="4384992" y="2533300"/>
              <a:ext cx="155257" cy="289274"/>
            </a:xfrm>
            <a:custGeom>
              <a:avLst/>
              <a:gdLst>
                <a:gd name="connsiteX0" fmla="*/ 102584 w 155257"/>
                <a:gd name="connsiteY0" fmla="*/ 289274 h 289274"/>
                <a:gd name="connsiteX1" fmla="*/ 102584 w 155257"/>
                <a:gd name="connsiteY1" fmla="*/ 162878 h 289274"/>
                <a:gd name="connsiteX2" fmla="*/ 144780 w 155257"/>
                <a:gd name="connsiteY2" fmla="*/ 162878 h 289274"/>
                <a:gd name="connsiteX3" fmla="*/ 152781 w 155257"/>
                <a:gd name="connsiteY3" fmla="*/ 110490 h 289274"/>
                <a:gd name="connsiteX4" fmla="*/ 102584 w 155257"/>
                <a:gd name="connsiteY4" fmla="*/ 110490 h 289274"/>
                <a:gd name="connsiteX5" fmla="*/ 102584 w 155257"/>
                <a:gd name="connsiteY5" fmla="*/ 76581 h 289274"/>
                <a:gd name="connsiteX6" fmla="*/ 125833 w 155257"/>
                <a:gd name="connsiteY6" fmla="*/ 47915 h 289274"/>
                <a:gd name="connsiteX7" fmla="*/ 132017 w 155257"/>
                <a:gd name="connsiteY7" fmla="*/ 48006 h 289274"/>
                <a:gd name="connsiteX8" fmla="*/ 155258 w 155257"/>
                <a:gd name="connsiteY8" fmla="*/ 48006 h 289274"/>
                <a:gd name="connsiteX9" fmla="*/ 155258 w 155257"/>
                <a:gd name="connsiteY9" fmla="*/ 3524 h 289274"/>
                <a:gd name="connsiteX10" fmla="*/ 114776 w 155257"/>
                <a:gd name="connsiteY10" fmla="*/ 0 h 289274"/>
                <a:gd name="connsiteX11" fmla="*/ 46387 w 155257"/>
                <a:gd name="connsiteY11" fmla="*/ 70485 h 289274"/>
                <a:gd name="connsiteX12" fmla="*/ 46387 w 155257"/>
                <a:gd name="connsiteY12" fmla="*/ 110299 h 289274"/>
                <a:gd name="connsiteX13" fmla="*/ 0 w 155257"/>
                <a:gd name="connsiteY13" fmla="*/ 110299 h 289274"/>
                <a:gd name="connsiteX14" fmla="*/ 0 w 155257"/>
                <a:gd name="connsiteY14" fmla="*/ 162687 h 289274"/>
                <a:gd name="connsiteX15" fmla="*/ 46006 w 155257"/>
                <a:gd name="connsiteY15" fmla="*/ 162687 h 289274"/>
                <a:gd name="connsiteX16" fmla="*/ 46006 w 155257"/>
                <a:gd name="connsiteY16" fmla="*/ 289274 h 289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5257" h="289274">
                  <a:moveTo>
                    <a:pt x="102584" y="289274"/>
                  </a:moveTo>
                  <a:lnTo>
                    <a:pt x="102584" y="162878"/>
                  </a:lnTo>
                  <a:lnTo>
                    <a:pt x="144780" y="162878"/>
                  </a:lnTo>
                  <a:lnTo>
                    <a:pt x="152781" y="110490"/>
                  </a:lnTo>
                  <a:lnTo>
                    <a:pt x="102584" y="110490"/>
                  </a:lnTo>
                  <a:lnTo>
                    <a:pt x="102584" y="76581"/>
                  </a:lnTo>
                  <a:cubicBezTo>
                    <a:pt x="101088" y="62245"/>
                    <a:pt x="111497" y="49411"/>
                    <a:pt x="125833" y="47915"/>
                  </a:cubicBezTo>
                  <a:cubicBezTo>
                    <a:pt x="127890" y="47700"/>
                    <a:pt x="129966" y="47731"/>
                    <a:pt x="132017" y="48006"/>
                  </a:cubicBezTo>
                  <a:lnTo>
                    <a:pt x="155258" y="48006"/>
                  </a:lnTo>
                  <a:lnTo>
                    <a:pt x="155258" y="3524"/>
                  </a:lnTo>
                  <a:cubicBezTo>
                    <a:pt x="141867" y="1364"/>
                    <a:pt x="128338" y="186"/>
                    <a:pt x="114776" y="0"/>
                  </a:cubicBezTo>
                  <a:cubicBezTo>
                    <a:pt x="73438" y="0"/>
                    <a:pt x="46387" y="25051"/>
                    <a:pt x="46387" y="70485"/>
                  </a:cubicBezTo>
                  <a:lnTo>
                    <a:pt x="46387" y="110299"/>
                  </a:lnTo>
                  <a:lnTo>
                    <a:pt x="0" y="110299"/>
                  </a:lnTo>
                  <a:lnTo>
                    <a:pt x="0" y="162687"/>
                  </a:lnTo>
                  <a:lnTo>
                    <a:pt x="46006" y="162687"/>
                  </a:lnTo>
                  <a:lnTo>
                    <a:pt x="46006" y="28927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26" name="Graphic 10">
            <a:extLst>
              <a:ext uri="{FF2B5EF4-FFF2-40B4-BE49-F238E27FC236}">
                <a16:creationId xmlns:a16="http://schemas.microsoft.com/office/drawing/2014/main" id="{C7560ED9-22A7-3FBB-CC7F-961DE1D59177}"/>
              </a:ext>
            </a:extLst>
          </p:cNvPr>
          <p:cNvGrpSpPr/>
          <p:nvPr/>
        </p:nvGrpSpPr>
        <p:grpSpPr>
          <a:xfrm>
            <a:off x="5149850" y="2451100"/>
            <a:ext cx="453961" cy="453961"/>
            <a:chOff x="5149850" y="2451100"/>
            <a:chExt cx="453961" cy="453961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3A4391A-5238-F478-6929-34D08EE2CD68}"/>
                </a:ext>
              </a:extLst>
            </p:cNvPr>
            <p:cNvSpPr/>
            <p:nvPr/>
          </p:nvSpPr>
          <p:spPr>
            <a:xfrm>
              <a:off x="5149850" y="24511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6D51B12-482F-33ED-E501-3CE9E8465688}"/>
                </a:ext>
              </a:extLst>
            </p:cNvPr>
            <p:cNvSpPr/>
            <p:nvPr/>
          </p:nvSpPr>
          <p:spPr>
            <a:xfrm>
              <a:off x="5425408" y="2602166"/>
              <a:ext cx="27812" cy="27812"/>
            </a:xfrm>
            <a:custGeom>
              <a:avLst/>
              <a:gdLst>
                <a:gd name="connsiteX0" fmla="*/ 14001 w 27812"/>
                <a:gd name="connsiteY0" fmla="*/ 0 h 27812"/>
                <a:gd name="connsiteX1" fmla="*/ 0 w 27812"/>
                <a:gd name="connsiteY1" fmla="*/ 13812 h 27812"/>
                <a:gd name="connsiteX2" fmla="*/ 13812 w 27812"/>
                <a:gd name="connsiteY2" fmla="*/ 27812 h 27812"/>
                <a:gd name="connsiteX3" fmla="*/ 27812 w 27812"/>
                <a:gd name="connsiteY3" fmla="*/ 14001 h 27812"/>
                <a:gd name="connsiteX4" fmla="*/ 27812 w 27812"/>
                <a:gd name="connsiteY4" fmla="*/ 13812 h 27812"/>
                <a:gd name="connsiteX5" fmla="*/ 14001 w 27812"/>
                <a:gd name="connsiteY5" fmla="*/ 0 h 2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12" h="27812">
                  <a:moveTo>
                    <a:pt x="14001" y="0"/>
                  </a:moveTo>
                  <a:cubicBezTo>
                    <a:pt x="6321" y="-52"/>
                    <a:pt x="53" y="6132"/>
                    <a:pt x="0" y="13812"/>
                  </a:cubicBezTo>
                  <a:cubicBezTo>
                    <a:pt x="-52" y="21492"/>
                    <a:pt x="6131" y="27760"/>
                    <a:pt x="13812" y="27812"/>
                  </a:cubicBezTo>
                  <a:cubicBezTo>
                    <a:pt x="21492" y="27865"/>
                    <a:pt x="27760" y="21681"/>
                    <a:pt x="27812" y="14001"/>
                  </a:cubicBezTo>
                  <a:cubicBezTo>
                    <a:pt x="27812" y="13938"/>
                    <a:pt x="27812" y="13874"/>
                    <a:pt x="27812" y="13812"/>
                  </a:cubicBezTo>
                  <a:cubicBezTo>
                    <a:pt x="27760" y="6206"/>
                    <a:pt x="21607" y="53"/>
                    <a:pt x="14001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06BBD916-895F-66E5-AD2F-82390BC5A0FE}"/>
                </a:ext>
              </a:extLst>
            </p:cNvPr>
            <p:cNvSpPr/>
            <p:nvPr/>
          </p:nvSpPr>
          <p:spPr>
            <a:xfrm>
              <a:off x="5319204" y="2619881"/>
              <a:ext cx="116395" cy="116395"/>
            </a:xfrm>
            <a:custGeom>
              <a:avLst/>
              <a:gdLst>
                <a:gd name="connsiteX0" fmla="*/ 58579 w 116395"/>
                <a:gd name="connsiteY0" fmla="*/ 1 h 116395"/>
                <a:gd name="connsiteX1" fmla="*/ 1 w 116395"/>
                <a:gd name="connsiteY1" fmla="*/ 57817 h 116395"/>
                <a:gd name="connsiteX2" fmla="*/ 57817 w 116395"/>
                <a:gd name="connsiteY2" fmla="*/ 116394 h 116395"/>
                <a:gd name="connsiteX3" fmla="*/ 116395 w 116395"/>
                <a:gd name="connsiteY3" fmla="*/ 58579 h 116395"/>
                <a:gd name="connsiteX4" fmla="*/ 116396 w 116395"/>
                <a:gd name="connsiteY4" fmla="*/ 58199 h 116395"/>
                <a:gd name="connsiteX5" fmla="*/ 58579 w 116395"/>
                <a:gd name="connsiteY5" fmla="*/ 1 h 116395"/>
                <a:gd name="connsiteX6" fmla="*/ 58579 w 116395"/>
                <a:gd name="connsiteY6" fmla="*/ 95251 h 116395"/>
                <a:gd name="connsiteX7" fmla="*/ 21432 w 116395"/>
                <a:gd name="connsiteY7" fmla="*/ 57913 h 116395"/>
                <a:gd name="connsiteX8" fmla="*/ 58770 w 116395"/>
                <a:gd name="connsiteY8" fmla="*/ 20766 h 116395"/>
                <a:gd name="connsiteX9" fmla="*/ 95917 w 116395"/>
                <a:gd name="connsiteY9" fmla="*/ 58009 h 116395"/>
                <a:gd name="connsiteX10" fmla="*/ 58674 w 116395"/>
                <a:gd name="connsiteY10" fmla="*/ 95442 h 116395"/>
                <a:gd name="connsiteX11" fmla="*/ 58579 w 116395"/>
                <a:gd name="connsiteY11" fmla="*/ 95442 h 11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395" h="116395">
                  <a:moveTo>
                    <a:pt x="58579" y="1"/>
                  </a:moveTo>
                  <a:cubicBezTo>
                    <a:pt x="26438" y="-209"/>
                    <a:pt x="212" y="25676"/>
                    <a:pt x="1" y="57817"/>
                  </a:cubicBezTo>
                  <a:cubicBezTo>
                    <a:pt x="-209" y="89958"/>
                    <a:pt x="25676" y="116183"/>
                    <a:pt x="57817" y="116394"/>
                  </a:cubicBezTo>
                  <a:cubicBezTo>
                    <a:pt x="89958" y="116604"/>
                    <a:pt x="116184" y="90720"/>
                    <a:pt x="116395" y="58579"/>
                  </a:cubicBezTo>
                  <a:cubicBezTo>
                    <a:pt x="116396" y="58452"/>
                    <a:pt x="116396" y="58326"/>
                    <a:pt x="116396" y="58199"/>
                  </a:cubicBezTo>
                  <a:cubicBezTo>
                    <a:pt x="116344" y="26226"/>
                    <a:pt x="90550" y="262"/>
                    <a:pt x="58579" y="1"/>
                  </a:cubicBezTo>
                  <a:close/>
                  <a:moveTo>
                    <a:pt x="58579" y="95251"/>
                  </a:moveTo>
                  <a:cubicBezTo>
                    <a:pt x="38011" y="95199"/>
                    <a:pt x="21379" y="78482"/>
                    <a:pt x="21432" y="57913"/>
                  </a:cubicBezTo>
                  <a:cubicBezTo>
                    <a:pt x="21484" y="37345"/>
                    <a:pt x="38201" y="20713"/>
                    <a:pt x="58770" y="20766"/>
                  </a:cubicBezTo>
                  <a:cubicBezTo>
                    <a:pt x="79301" y="20818"/>
                    <a:pt x="95917" y="37477"/>
                    <a:pt x="95917" y="58009"/>
                  </a:cubicBezTo>
                  <a:cubicBezTo>
                    <a:pt x="95969" y="78630"/>
                    <a:pt x="79296" y="95389"/>
                    <a:pt x="58674" y="95442"/>
                  </a:cubicBezTo>
                  <a:cubicBezTo>
                    <a:pt x="58643" y="95442"/>
                    <a:pt x="58611" y="95442"/>
                    <a:pt x="58579" y="95442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BD034C3-5B2F-B1BF-26E2-CBA04B890E95}"/>
                </a:ext>
              </a:extLst>
            </p:cNvPr>
            <p:cNvSpPr/>
            <p:nvPr/>
          </p:nvSpPr>
          <p:spPr>
            <a:xfrm>
              <a:off x="5258720" y="2559970"/>
              <a:ext cx="236219" cy="236219"/>
            </a:xfrm>
            <a:custGeom>
              <a:avLst/>
              <a:gdLst>
                <a:gd name="connsiteX0" fmla="*/ 165259 w 236219"/>
                <a:gd name="connsiteY0" fmla="*/ 236220 h 236219"/>
                <a:gd name="connsiteX1" fmla="*/ 70961 w 236219"/>
                <a:gd name="connsiteY1" fmla="*/ 236220 h 236219"/>
                <a:gd name="connsiteX2" fmla="*/ 0 w 236219"/>
                <a:gd name="connsiteY2" fmla="*/ 165259 h 236219"/>
                <a:gd name="connsiteX3" fmla="*/ 0 w 236219"/>
                <a:gd name="connsiteY3" fmla="*/ 70961 h 236219"/>
                <a:gd name="connsiteX4" fmla="*/ 70961 w 236219"/>
                <a:gd name="connsiteY4" fmla="*/ 0 h 236219"/>
                <a:gd name="connsiteX5" fmla="*/ 165259 w 236219"/>
                <a:gd name="connsiteY5" fmla="*/ 0 h 236219"/>
                <a:gd name="connsiteX6" fmla="*/ 236220 w 236219"/>
                <a:gd name="connsiteY6" fmla="*/ 70961 h 236219"/>
                <a:gd name="connsiteX7" fmla="*/ 236220 w 236219"/>
                <a:gd name="connsiteY7" fmla="*/ 165259 h 236219"/>
                <a:gd name="connsiteX8" fmla="*/ 165259 w 236219"/>
                <a:gd name="connsiteY8" fmla="*/ 236220 h 236219"/>
                <a:gd name="connsiteX9" fmla="*/ 70961 w 236219"/>
                <a:gd name="connsiteY9" fmla="*/ 22193 h 236219"/>
                <a:gd name="connsiteX10" fmla="*/ 22193 w 236219"/>
                <a:gd name="connsiteY10" fmla="*/ 70961 h 236219"/>
                <a:gd name="connsiteX11" fmla="*/ 22193 w 236219"/>
                <a:gd name="connsiteY11" fmla="*/ 165259 h 236219"/>
                <a:gd name="connsiteX12" fmla="*/ 70961 w 236219"/>
                <a:gd name="connsiteY12" fmla="*/ 214027 h 236219"/>
                <a:gd name="connsiteX13" fmla="*/ 165259 w 236219"/>
                <a:gd name="connsiteY13" fmla="*/ 214027 h 236219"/>
                <a:gd name="connsiteX14" fmla="*/ 214027 w 236219"/>
                <a:gd name="connsiteY14" fmla="*/ 165259 h 236219"/>
                <a:gd name="connsiteX15" fmla="*/ 214027 w 236219"/>
                <a:gd name="connsiteY15" fmla="*/ 70961 h 236219"/>
                <a:gd name="connsiteX16" fmla="*/ 165259 w 236219"/>
                <a:gd name="connsiteY16" fmla="*/ 22193 h 236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6219" h="236219">
                  <a:moveTo>
                    <a:pt x="165259" y="236220"/>
                  </a:moveTo>
                  <a:lnTo>
                    <a:pt x="70961" y="236220"/>
                  </a:lnTo>
                  <a:cubicBezTo>
                    <a:pt x="31793" y="236168"/>
                    <a:pt x="52" y="204427"/>
                    <a:pt x="0" y="165259"/>
                  </a:cubicBezTo>
                  <a:lnTo>
                    <a:pt x="0" y="70961"/>
                  </a:lnTo>
                  <a:cubicBezTo>
                    <a:pt x="52" y="31793"/>
                    <a:pt x="31793" y="52"/>
                    <a:pt x="70961" y="0"/>
                  </a:cubicBezTo>
                  <a:lnTo>
                    <a:pt x="165259" y="0"/>
                  </a:lnTo>
                  <a:cubicBezTo>
                    <a:pt x="204427" y="52"/>
                    <a:pt x="236168" y="31793"/>
                    <a:pt x="236220" y="70961"/>
                  </a:cubicBezTo>
                  <a:lnTo>
                    <a:pt x="236220" y="165259"/>
                  </a:lnTo>
                  <a:cubicBezTo>
                    <a:pt x="236168" y="204427"/>
                    <a:pt x="204427" y="236168"/>
                    <a:pt x="165259" y="236220"/>
                  </a:cubicBezTo>
                  <a:close/>
                  <a:moveTo>
                    <a:pt x="70961" y="22193"/>
                  </a:moveTo>
                  <a:cubicBezTo>
                    <a:pt x="44049" y="22246"/>
                    <a:pt x="22246" y="44049"/>
                    <a:pt x="22193" y="70961"/>
                  </a:cubicBezTo>
                  <a:lnTo>
                    <a:pt x="22193" y="165259"/>
                  </a:lnTo>
                  <a:cubicBezTo>
                    <a:pt x="22246" y="192171"/>
                    <a:pt x="44049" y="213974"/>
                    <a:pt x="70961" y="214027"/>
                  </a:cubicBezTo>
                  <a:lnTo>
                    <a:pt x="165259" y="214027"/>
                  </a:lnTo>
                  <a:cubicBezTo>
                    <a:pt x="192171" y="213974"/>
                    <a:pt x="213974" y="192171"/>
                    <a:pt x="214027" y="165259"/>
                  </a:cubicBezTo>
                  <a:lnTo>
                    <a:pt x="214027" y="70961"/>
                  </a:lnTo>
                  <a:cubicBezTo>
                    <a:pt x="213974" y="44049"/>
                    <a:pt x="192171" y="22246"/>
                    <a:pt x="165259" y="2219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36" name="Graphic 12">
            <a:extLst>
              <a:ext uri="{FF2B5EF4-FFF2-40B4-BE49-F238E27FC236}">
                <a16:creationId xmlns:a16="http://schemas.microsoft.com/office/drawing/2014/main" id="{BBEE1839-0448-ED61-2778-714F6C15F162}"/>
              </a:ext>
            </a:extLst>
          </p:cNvPr>
          <p:cNvGrpSpPr/>
          <p:nvPr/>
        </p:nvGrpSpPr>
        <p:grpSpPr>
          <a:xfrm>
            <a:off x="1492250" y="3365500"/>
            <a:ext cx="453961" cy="453961"/>
            <a:chOff x="1492250" y="3365500"/>
            <a:chExt cx="453961" cy="453961"/>
          </a:xfrm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AFD089C1-1672-BAB9-A7EF-7DCFBF98FF1A}"/>
                </a:ext>
              </a:extLst>
            </p:cNvPr>
            <p:cNvSpPr/>
            <p:nvPr/>
          </p:nvSpPr>
          <p:spPr>
            <a:xfrm>
              <a:off x="1492250" y="33655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0A63B56-E862-9504-F964-2E84F05434D8}"/>
                </a:ext>
              </a:extLst>
            </p:cNvPr>
            <p:cNvSpPr/>
            <p:nvPr/>
          </p:nvSpPr>
          <p:spPr>
            <a:xfrm>
              <a:off x="1632172" y="3489325"/>
              <a:ext cx="194691" cy="226980"/>
            </a:xfrm>
            <a:custGeom>
              <a:avLst/>
              <a:gdLst>
                <a:gd name="connsiteX0" fmla="*/ 40481 w 194691"/>
                <a:gd name="connsiteY0" fmla="*/ 0 h 226980"/>
                <a:gd name="connsiteX1" fmla="*/ 0 w 194691"/>
                <a:gd name="connsiteY1" fmla="*/ 40577 h 226980"/>
                <a:gd name="connsiteX2" fmla="*/ 0 w 194691"/>
                <a:gd name="connsiteY2" fmla="*/ 186404 h 226980"/>
                <a:gd name="connsiteX3" fmla="*/ 48673 w 194691"/>
                <a:gd name="connsiteY3" fmla="*/ 186404 h 226980"/>
                <a:gd name="connsiteX4" fmla="*/ 48673 w 194691"/>
                <a:gd name="connsiteY4" fmla="*/ 226981 h 226980"/>
                <a:gd name="connsiteX5" fmla="*/ 89249 w 194691"/>
                <a:gd name="connsiteY5" fmla="*/ 186404 h 226980"/>
                <a:gd name="connsiteX6" fmla="*/ 121634 w 194691"/>
                <a:gd name="connsiteY6" fmla="*/ 186404 h 226980"/>
                <a:gd name="connsiteX7" fmla="*/ 194691 w 194691"/>
                <a:gd name="connsiteY7" fmla="*/ 113443 h 226980"/>
                <a:gd name="connsiteX8" fmla="*/ 194691 w 194691"/>
                <a:gd name="connsiteY8" fmla="*/ 0 h 226980"/>
                <a:gd name="connsiteX9" fmla="*/ 178499 w 194691"/>
                <a:gd name="connsiteY9" fmla="*/ 105346 h 226980"/>
                <a:gd name="connsiteX10" fmla="*/ 145828 w 194691"/>
                <a:gd name="connsiteY10" fmla="*/ 137731 h 226980"/>
                <a:gd name="connsiteX11" fmla="*/ 113538 w 194691"/>
                <a:gd name="connsiteY11" fmla="*/ 137731 h 226980"/>
                <a:gd name="connsiteX12" fmla="*/ 84963 w 194691"/>
                <a:gd name="connsiteY12" fmla="*/ 166306 h 226980"/>
                <a:gd name="connsiteX13" fmla="*/ 84963 w 194691"/>
                <a:gd name="connsiteY13" fmla="*/ 137731 h 226980"/>
                <a:gd name="connsiteX14" fmla="*/ 48673 w 194691"/>
                <a:gd name="connsiteY14" fmla="*/ 137731 h 226980"/>
                <a:gd name="connsiteX15" fmla="*/ 48673 w 194691"/>
                <a:gd name="connsiteY15" fmla="*/ 16097 h 226980"/>
                <a:gd name="connsiteX16" fmla="*/ 178499 w 194691"/>
                <a:gd name="connsiteY16" fmla="*/ 16097 h 226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4691" h="226980">
                  <a:moveTo>
                    <a:pt x="40481" y="0"/>
                  </a:moveTo>
                  <a:lnTo>
                    <a:pt x="0" y="40577"/>
                  </a:lnTo>
                  <a:lnTo>
                    <a:pt x="0" y="186404"/>
                  </a:lnTo>
                  <a:lnTo>
                    <a:pt x="48673" y="186404"/>
                  </a:lnTo>
                  <a:lnTo>
                    <a:pt x="48673" y="226981"/>
                  </a:lnTo>
                  <a:lnTo>
                    <a:pt x="89249" y="186404"/>
                  </a:lnTo>
                  <a:lnTo>
                    <a:pt x="121634" y="186404"/>
                  </a:lnTo>
                  <a:lnTo>
                    <a:pt x="194691" y="113443"/>
                  </a:lnTo>
                  <a:lnTo>
                    <a:pt x="194691" y="0"/>
                  </a:lnTo>
                  <a:close/>
                  <a:moveTo>
                    <a:pt x="178499" y="105346"/>
                  </a:moveTo>
                  <a:lnTo>
                    <a:pt x="145828" y="137731"/>
                  </a:lnTo>
                  <a:lnTo>
                    <a:pt x="113538" y="137731"/>
                  </a:lnTo>
                  <a:lnTo>
                    <a:pt x="84963" y="166306"/>
                  </a:lnTo>
                  <a:lnTo>
                    <a:pt x="84963" y="137731"/>
                  </a:lnTo>
                  <a:lnTo>
                    <a:pt x="48673" y="137731"/>
                  </a:lnTo>
                  <a:lnTo>
                    <a:pt x="48673" y="16097"/>
                  </a:lnTo>
                  <a:lnTo>
                    <a:pt x="178499" y="16097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8E5C9B0-B169-68EE-F7AE-6CFBF2BAECA3}"/>
                </a:ext>
              </a:extLst>
            </p:cNvPr>
            <p:cNvSpPr/>
            <p:nvPr/>
          </p:nvSpPr>
          <p:spPr>
            <a:xfrm>
              <a:off x="1770094" y="3533806"/>
              <a:ext cx="16192" cy="48672"/>
            </a:xfrm>
            <a:custGeom>
              <a:avLst/>
              <a:gdLst>
                <a:gd name="connsiteX0" fmla="*/ 0 w 16192"/>
                <a:gd name="connsiteY0" fmla="*/ 0 h 48672"/>
                <a:gd name="connsiteX1" fmla="*/ 16193 w 16192"/>
                <a:gd name="connsiteY1" fmla="*/ 0 h 48672"/>
                <a:gd name="connsiteX2" fmla="*/ 16193 w 16192"/>
                <a:gd name="connsiteY2" fmla="*/ 48673 h 48672"/>
                <a:gd name="connsiteX3" fmla="*/ 0 w 16192"/>
                <a:gd name="connsiteY3" fmla="*/ 48673 h 48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92" h="48672">
                  <a:moveTo>
                    <a:pt x="0" y="0"/>
                  </a:moveTo>
                  <a:lnTo>
                    <a:pt x="16193" y="0"/>
                  </a:lnTo>
                  <a:lnTo>
                    <a:pt x="16193" y="48673"/>
                  </a:lnTo>
                  <a:lnTo>
                    <a:pt x="0" y="4867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69B391C9-BBCF-A8F5-ED0F-537C0754AC62}"/>
                </a:ext>
              </a:extLst>
            </p:cNvPr>
            <p:cNvSpPr/>
            <p:nvPr/>
          </p:nvSpPr>
          <p:spPr>
            <a:xfrm>
              <a:off x="1725422" y="3533806"/>
              <a:ext cx="16192" cy="48672"/>
            </a:xfrm>
            <a:custGeom>
              <a:avLst/>
              <a:gdLst>
                <a:gd name="connsiteX0" fmla="*/ 0 w 16192"/>
                <a:gd name="connsiteY0" fmla="*/ 0 h 48672"/>
                <a:gd name="connsiteX1" fmla="*/ 16193 w 16192"/>
                <a:gd name="connsiteY1" fmla="*/ 0 h 48672"/>
                <a:gd name="connsiteX2" fmla="*/ 16193 w 16192"/>
                <a:gd name="connsiteY2" fmla="*/ 48673 h 48672"/>
                <a:gd name="connsiteX3" fmla="*/ 0 w 16192"/>
                <a:gd name="connsiteY3" fmla="*/ 48673 h 48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92" h="48672">
                  <a:moveTo>
                    <a:pt x="0" y="0"/>
                  </a:moveTo>
                  <a:lnTo>
                    <a:pt x="16193" y="0"/>
                  </a:lnTo>
                  <a:lnTo>
                    <a:pt x="16193" y="48673"/>
                  </a:lnTo>
                  <a:lnTo>
                    <a:pt x="0" y="4867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46" name="Graphic 14">
            <a:extLst>
              <a:ext uri="{FF2B5EF4-FFF2-40B4-BE49-F238E27FC236}">
                <a16:creationId xmlns:a16="http://schemas.microsoft.com/office/drawing/2014/main" id="{FBDED235-A196-0A3E-557B-F575940C7873}"/>
              </a:ext>
            </a:extLst>
          </p:cNvPr>
          <p:cNvGrpSpPr/>
          <p:nvPr/>
        </p:nvGrpSpPr>
        <p:grpSpPr>
          <a:xfrm>
            <a:off x="2406650" y="3365500"/>
            <a:ext cx="453961" cy="453961"/>
            <a:chOff x="2406650" y="3365500"/>
            <a:chExt cx="453961" cy="453961"/>
          </a:xfrm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0E25E55-8B5C-098C-EBD0-7F24D65156EC}"/>
                </a:ext>
              </a:extLst>
            </p:cNvPr>
            <p:cNvSpPr/>
            <p:nvPr/>
          </p:nvSpPr>
          <p:spPr>
            <a:xfrm>
              <a:off x="2406650" y="33655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FFD161D-4EF8-69A9-1FB5-DA4F518E41BE}"/>
                </a:ext>
              </a:extLst>
            </p:cNvPr>
            <p:cNvSpPr/>
            <p:nvPr/>
          </p:nvSpPr>
          <p:spPr>
            <a:xfrm>
              <a:off x="2533046" y="3475676"/>
              <a:ext cx="200977" cy="233676"/>
            </a:xfrm>
            <a:custGeom>
              <a:avLst/>
              <a:gdLst>
                <a:gd name="connsiteX0" fmla="*/ 153448 w 200977"/>
                <a:gd name="connsiteY0" fmla="*/ 106899 h 233676"/>
                <a:gd name="connsiteX1" fmla="*/ 156496 w 200977"/>
                <a:gd name="connsiteY1" fmla="*/ 108232 h 233676"/>
                <a:gd name="connsiteX2" fmla="*/ 186595 w 200977"/>
                <a:gd name="connsiteY2" fmla="*/ 138141 h 233676"/>
                <a:gd name="connsiteX3" fmla="*/ 171831 w 200977"/>
                <a:gd name="connsiteY3" fmla="*/ 207864 h 233676"/>
                <a:gd name="connsiteX4" fmla="*/ 102203 w 200977"/>
                <a:gd name="connsiteY4" fmla="*/ 233676 h 233676"/>
                <a:gd name="connsiteX5" fmla="*/ 102203 w 200977"/>
                <a:gd name="connsiteY5" fmla="*/ 233676 h 233676"/>
                <a:gd name="connsiteX6" fmla="*/ 24098 w 200977"/>
                <a:gd name="connsiteY6" fmla="*/ 199577 h 233676"/>
                <a:gd name="connsiteX7" fmla="*/ 0 w 200977"/>
                <a:gd name="connsiteY7" fmla="*/ 116900 h 233676"/>
                <a:gd name="connsiteX8" fmla="*/ 0 w 200977"/>
                <a:gd name="connsiteY8" fmla="*/ 116900 h 233676"/>
                <a:gd name="connsiteX9" fmla="*/ 24098 w 200977"/>
                <a:gd name="connsiteY9" fmla="*/ 34318 h 233676"/>
                <a:gd name="connsiteX10" fmla="*/ 102203 w 200977"/>
                <a:gd name="connsiteY10" fmla="*/ 123 h 233676"/>
                <a:gd name="connsiteX11" fmla="*/ 102203 w 200977"/>
                <a:gd name="connsiteY11" fmla="*/ 123 h 233676"/>
                <a:gd name="connsiteX12" fmla="*/ 181261 w 200977"/>
                <a:gd name="connsiteY12" fmla="*/ 34128 h 233676"/>
                <a:gd name="connsiteX13" fmla="*/ 200977 w 200977"/>
                <a:gd name="connsiteY13" fmla="*/ 73942 h 233676"/>
                <a:gd name="connsiteX14" fmla="*/ 181356 w 200977"/>
                <a:gd name="connsiteY14" fmla="*/ 79181 h 233676"/>
                <a:gd name="connsiteX15" fmla="*/ 165640 w 200977"/>
                <a:gd name="connsiteY15" fmla="*/ 47367 h 233676"/>
                <a:gd name="connsiteX16" fmla="*/ 102203 w 200977"/>
                <a:gd name="connsiteY16" fmla="*/ 20602 h 233676"/>
                <a:gd name="connsiteX17" fmla="*/ 39719 w 200977"/>
                <a:gd name="connsiteY17" fmla="*/ 47082 h 233676"/>
                <a:gd name="connsiteX18" fmla="*/ 20098 w 200977"/>
                <a:gd name="connsiteY18" fmla="*/ 116805 h 233676"/>
                <a:gd name="connsiteX19" fmla="*/ 39719 w 200977"/>
                <a:gd name="connsiteY19" fmla="*/ 186623 h 233676"/>
                <a:gd name="connsiteX20" fmla="*/ 102203 w 200977"/>
                <a:gd name="connsiteY20" fmla="*/ 213102 h 233676"/>
                <a:gd name="connsiteX21" fmla="*/ 157543 w 200977"/>
                <a:gd name="connsiteY21" fmla="*/ 193195 h 233676"/>
                <a:gd name="connsiteX22" fmla="*/ 168021 w 200977"/>
                <a:gd name="connsiteY22" fmla="*/ 146427 h 233676"/>
                <a:gd name="connsiteX23" fmla="*/ 152400 w 200977"/>
                <a:gd name="connsiteY23" fmla="*/ 129473 h 233676"/>
                <a:gd name="connsiteX24" fmla="*/ 140303 w 200977"/>
                <a:gd name="connsiteY24" fmla="*/ 161001 h 233676"/>
                <a:gd name="connsiteX25" fmla="*/ 104870 w 200977"/>
                <a:gd name="connsiteY25" fmla="*/ 178241 h 233676"/>
                <a:gd name="connsiteX26" fmla="*/ 73628 w 200977"/>
                <a:gd name="connsiteY26" fmla="*/ 170430 h 233676"/>
                <a:gd name="connsiteX27" fmla="*/ 56864 w 200977"/>
                <a:gd name="connsiteY27" fmla="*/ 141855 h 233676"/>
                <a:gd name="connsiteX28" fmla="*/ 103632 w 200977"/>
                <a:gd name="connsiteY28" fmla="*/ 99374 h 233676"/>
                <a:gd name="connsiteX29" fmla="*/ 132207 w 200977"/>
                <a:gd name="connsiteY29" fmla="*/ 100707 h 233676"/>
                <a:gd name="connsiteX30" fmla="*/ 125063 w 200977"/>
                <a:gd name="connsiteY30" fmla="*/ 83562 h 233676"/>
                <a:gd name="connsiteX31" fmla="*/ 102584 w 200977"/>
                <a:gd name="connsiteY31" fmla="*/ 74895 h 233676"/>
                <a:gd name="connsiteX32" fmla="*/ 102584 w 200977"/>
                <a:gd name="connsiteY32" fmla="*/ 74895 h 233676"/>
                <a:gd name="connsiteX33" fmla="*/ 76676 w 200977"/>
                <a:gd name="connsiteY33" fmla="*/ 87753 h 233676"/>
                <a:gd name="connsiteX34" fmla="*/ 59912 w 200977"/>
                <a:gd name="connsiteY34" fmla="*/ 76228 h 233676"/>
                <a:gd name="connsiteX35" fmla="*/ 102203 w 200977"/>
                <a:gd name="connsiteY35" fmla="*/ 54321 h 233676"/>
                <a:gd name="connsiteX36" fmla="*/ 102203 w 200977"/>
                <a:gd name="connsiteY36" fmla="*/ 54321 h 233676"/>
                <a:gd name="connsiteX37" fmla="*/ 152686 w 200977"/>
                <a:gd name="connsiteY37" fmla="*/ 106803 h 233676"/>
                <a:gd name="connsiteX38" fmla="*/ 152686 w 200977"/>
                <a:gd name="connsiteY38" fmla="*/ 106803 h 233676"/>
                <a:gd name="connsiteX39" fmla="*/ 77248 w 200977"/>
                <a:gd name="connsiteY39" fmla="*/ 140427 h 233676"/>
                <a:gd name="connsiteX40" fmla="*/ 103823 w 200977"/>
                <a:gd name="connsiteY40" fmla="*/ 157572 h 233676"/>
                <a:gd name="connsiteX41" fmla="*/ 132398 w 200977"/>
                <a:gd name="connsiteY41" fmla="*/ 121948 h 233676"/>
                <a:gd name="connsiteX42" fmla="*/ 111728 w 200977"/>
                <a:gd name="connsiteY42" fmla="*/ 119853 h 233676"/>
                <a:gd name="connsiteX43" fmla="*/ 104680 w 200977"/>
                <a:gd name="connsiteY43" fmla="*/ 119853 h 233676"/>
                <a:gd name="connsiteX44" fmla="*/ 77343 w 200977"/>
                <a:gd name="connsiteY44" fmla="*/ 140141 h 233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00977" h="233676">
                  <a:moveTo>
                    <a:pt x="153448" y="106899"/>
                  </a:moveTo>
                  <a:lnTo>
                    <a:pt x="156496" y="108232"/>
                  </a:lnTo>
                  <a:cubicBezTo>
                    <a:pt x="169832" y="114211"/>
                    <a:pt x="180532" y="124844"/>
                    <a:pt x="186595" y="138141"/>
                  </a:cubicBezTo>
                  <a:cubicBezTo>
                    <a:pt x="196539" y="162201"/>
                    <a:pt x="190674" y="189900"/>
                    <a:pt x="171831" y="207864"/>
                  </a:cubicBezTo>
                  <a:cubicBezTo>
                    <a:pt x="154210" y="225580"/>
                    <a:pt x="132683" y="233486"/>
                    <a:pt x="102203" y="233676"/>
                  </a:cubicBezTo>
                  <a:lnTo>
                    <a:pt x="102203" y="233676"/>
                  </a:lnTo>
                  <a:cubicBezTo>
                    <a:pt x="68008" y="233676"/>
                    <a:pt x="41815" y="221961"/>
                    <a:pt x="24098" y="199577"/>
                  </a:cubicBezTo>
                  <a:cubicBezTo>
                    <a:pt x="8382" y="179574"/>
                    <a:pt x="286" y="151952"/>
                    <a:pt x="0" y="116900"/>
                  </a:cubicBezTo>
                  <a:lnTo>
                    <a:pt x="0" y="116900"/>
                  </a:lnTo>
                  <a:cubicBezTo>
                    <a:pt x="0" y="82038"/>
                    <a:pt x="8382" y="54225"/>
                    <a:pt x="24098" y="34318"/>
                  </a:cubicBezTo>
                  <a:cubicBezTo>
                    <a:pt x="41719" y="11839"/>
                    <a:pt x="68008" y="314"/>
                    <a:pt x="102203" y="123"/>
                  </a:cubicBezTo>
                  <a:lnTo>
                    <a:pt x="102203" y="123"/>
                  </a:lnTo>
                  <a:cubicBezTo>
                    <a:pt x="132399" y="-1395"/>
                    <a:pt x="161595" y="11163"/>
                    <a:pt x="181261" y="34128"/>
                  </a:cubicBezTo>
                  <a:cubicBezTo>
                    <a:pt x="190547" y="45873"/>
                    <a:pt x="197265" y="59437"/>
                    <a:pt x="200977" y="73942"/>
                  </a:cubicBezTo>
                  <a:lnTo>
                    <a:pt x="181356" y="79181"/>
                  </a:lnTo>
                  <a:cubicBezTo>
                    <a:pt x="178394" y="67597"/>
                    <a:pt x="173040" y="56760"/>
                    <a:pt x="165640" y="47367"/>
                  </a:cubicBezTo>
                  <a:cubicBezTo>
                    <a:pt x="151638" y="29746"/>
                    <a:pt x="130778" y="20793"/>
                    <a:pt x="102203" y="20602"/>
                  </a:cubicBezTo>
                  <a:cubicBezTo>
                    <a:pt x="73628" y="20412"/>
                    <a:pt x="53435" y="30127"/>
                    <a:pt x="39719" y="47082"/>
                  </a:cubicBezTo>
                  <a:cubicBezTo>
                    <a:pt x="26003" y="64036"/>
                    <a:pt x="20669" y="86706"/>
                    <a:pt x="20098" y="116805"/>
                  </a:cubicBezTo>
                  <a:cubicBezTo>
                    <a:pt x="19526" y="146904"/>
                    <a:pt x="26956" y="170335"/>
                    <a:pt x="39719" y="186623"/>
                  </a:cubicBezTo>
                  <a:cubicBezTo>
                    <a:pt x="52483" y="202911"/>
                    <a:pt x="74390" y="212817"/>
                    <a:pt x="102203" y="213102"/>
                  </a:cubicBezTo>
                  <a:cubicBezTo>
                    <a:pt x="127254" y="213102"/>
                    <a:pt x="143732" y="206911"/>
                    <a:pt x="157543" y="193195"/>
                  </a:cubicBezTo>
                  <a:cubicBezTo>
                    <a:pt x="170263" y="181211"/>
                    <a:pt x="174412" y="162693"/>
                    <a:pt x="168021" y="146427"/>
                  </a:cubicBezTo>
                  <a:cubicBezTo>
                    <a:pt x="164690" y="139298"/>
                    <a:pt x="159233" y="133375"/>
                    <a:pt x="152400" y="129473"/>
                  </a:cubicBezTo>
                  <a:cubicBezTo>
                    <a:pt x="151249" y="140872"/>
                    <a:pt x="147073" y="151757"/>
                    <a:pt x="140303" y="161001"/>
                  </a:cubicBezTo>
                  <a:cubicBezTo>
                    <a:pt x="131693" y="171792"/>
                    <a:pt x="118676" y="178127"/>
                    <a:pt x="104870" y="178241"/>
                  </a:cubicBezTo>
                  <a:cubicBezTo>
                    <a:pt x="93894" y="178995"/>
                    <a:pt x="82959" y="176262"/>
                    <a:pt x="73628" y="170430"/>
                  </a:cubicBezTo>
                  <a:cubicBezTo>
                    <a:pt x="63777" y="164150"/>
                    <a:pt x="57541" y="153520"/>
                    <a:pt x="56864" y="141855"/>
                  </a:cubicBezTo>
                  <a:cubicBezTo>
                    <a:pt x="56102" y="118424"/>
                    <a:pt x="74676" y="101088"/>
                    <a:pt x="103632" y="99374"/>
                  </a:cubicBezTo>
                  <a:cubicBezTo>
                    <a:pt x="113177" y="98761"/>
                    <a:pt x="122761" y="99208"/>
                    <a:pt x="132207" y="100707"/>
                  </a:cubicBezTo>
                  <a:cubicBezTo>
                    <a:pt x="131375" y="94464"/>
                    <a:pt x="128910" y="88550"/>
                    <a:pt x="125063" y="83562"/>
                  </a:cubicBezTo>
                  <a:cubicBezTo>
                    <a:pt x="119214" y="77502"/>
                    <a:pt x="110988" y="74330"/>
                    <a:pt x="102584" y="74895"/>
                  </a:cubicBezTo>
                  <a:lnTo>
                    <a:pt x="102584" y="74895"/>
                  </a:lnTo>
                  <a:cubicBezTo>
                    <a:pt x="92300" y="74387"/>
                    <a:pt x="82490" y="79256"/>
                    <a:pt x="76676" y="87753"/>
                  </a:cubicBezTo>
                  <a:lnTo>
                    <a:pt x="59912" y="76228"/>
                  </a:lnTo>
                  <a:cubicBezTo>
                    <a:pt x="69306" y="62141"/>
                    <a:pt x="85277" y="53867"/>
                    <a:pt x="102203" y="54321"/>
                  </a:cubicBezTo>
                  <a:lnTo>
                    <a:pt x="102203" y="54321"/>
                  </a:lnTo>
                  <a:cubicBezTo>
                    <a:pt x="132683" y="54321"/>
                    <a:pt x="150876" y="73371"/>
                    <a:pt x="152686" y="106803"/>
                  </a:cubicBezTo>
                  <a:lnTo>
                    <a:pt x="152686" y="106803"/>
                  </a:lnTo>
                  <a:close/>
                  <a:moveTo>
                    <a:pt x="77248" y="140427"/>
                  </a:moveTo>
                  <a:cubicBezTo>
                    <a:pt x="77915" y="152619"/>
                    <a:pt x="91059" y="158334"/>
                    <a:pt x="103823" y="157572"/>
                  </a:cubicBezTo>
                  <a:cubicBezTo>
                    <a:pt x="116586" y="156810"/>
                    <a:pt x="130397" y="152047"/>
                    <a:pt x="132398" y="121948"/>
                  </a:cubicBezTo>
                  <a:cubicBezTo>
                    <a:pt x="125602" y="120515"/>
                    <a:pt x="118673" y="119812"/>
                    <a:pt x="111728" y="119853"/>
                  </a:cubicBezTo>
                  <a:cubicBezTo>
                    <a:pt x="109347" y="119853"/>
                    <a:pt x="106966" y="119853"/>
                    <a:pt x="104680" y="119853"/>
                  </a:cubicBezTo>
                  <a:cubicBezTo>
                    <a:pt x="83820" y="120996"/>
                    <a:pt x="76771" y="131092"/>
                    <a:pt x="77343" y="14014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52" name="Graphic 16">
            <a:extLst>
              <a:ext uri="{FF2B5EF4-FFF2-40B4-BE49-F238E27FC236}">
                <a16:creationId xmlns:a16="http://schemas.microsoft.com/office/drawing/2014/main" id="{D85F3C26-19EF-3A9E-B9FD-D67539EA88CD}"/>
              </a:ext>
            </a:extLst>
          </p:cNvPr>
          <p:cNvGrpSpPr/>
          <p:nvPr/>
        </p:nvGrpSpPr>
        <p:grpSpPr>
          <a:xfrm>
            <a:off x="3321050" y="3365500"/>
            <a:ext cx="453961" cy="453961"/>
            <a:chOff x="3321050" y="3365500"/>
            <a:chExt cx="453961" cy="453961"/>
          </a:xfrm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5CCAE5E7-C401-945D-9ADC-5F5A536F311D}"/>
                </a:ext>
              </a:extLst>
            </p:cNvPr>
            <p:cNvSpPr/>
            <p:nvPr/>
          </p:nvSpPr>
          <p:spPr>
            <a:xfrm>
              <a:off x="3321050" y="33655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C479B0F0-9DAA-5B1D-13C6-BE74EC129E16}"/>
                </a:ext>
              </a:extLst>
            </p:cNvPr>
            <p:cNvSpPr/>
            <p:nvPr/>
          </p:nvSpPr>
          <p:spPr>
            <a:xfrm>
              <a:off x="3431825" y="3519895"/>
              <a:ext cx="117113" cy="145167"/>
            </a:xfrm>
            <a:custGeom>
              <a:avLst/>
              <a:gdLst>
                <a:gd name="connsiteX0" fmla="*/ 117062 w 117113"/>
                <a:gd name="connsiteY0" fmla="*/ 107732 h 145167"/>
                <a:gd name="connsiteX1" fmla="*/ 113348 w 117113"/>
                <a:gd name="connsiteY1" fmla="*/ 123925 h 145167"/>
                <a:gd name="connsiteX2" fmla="*/ 103251 w 117113"/>
                <a:gd name="connsiteY2" fmla="*/ 135545 h 145167"/>
                <a:gd name="connsiteX3" fmla="*/ 88297 w 117113"/>
                <a:gd name="connsiteY3" fmla="*/ 142784 h 145167"/>
                <a:gd name="connsiteX4" fmla="*/ 70199 w 117113"/>
                <a:gd name="connsiteY4" fmla="*/ 145165 h 145167"/>
                <a:gd name="connsiteX5" fmla="*/ 0 w 117113"/>
                <a:gd name="connsiteY5" fmla="*/ 145165 h 145167"/>
                <a:gd name="connsiteX6" fmla="*/ 0 w 117113"/>
                <a:gd name="connsiteY6" fmla="*/ 4 h 145167"/>
                <a:gd name="connsiteX7" fmla="*/ 77724 w 117113"/>
                <a:gd name="connsiteY7" fmla="*/ 4 h 145167"/>
                <a:gd name="connsiteX8" fmla="*/ 91440 w 117113"/>
                <a:gd name="connsiteY8" fmla="*/ 3243 h 145167"/>
                <a:gd name="connsiteX9" fmla="*/ 101918 w 117113"/>
                <a:gd name="connsiteY9" fmla="*/ 11720 h 145167"/>
                <a:gd name="connsiteX10" fmla="*/ 110871 w 117113"/>
                <a:gd name="connsiteY10" fmla="*/ 37057 h 145167"/>
                <a:gd name="connsiteX11" fmla="*/ 105537 w 117113"/>
                <a:gd name="connsiteY11" fmla="*/ 56964 h 145167"/>
                <a:gd name="connsiteX12" fmla="*/ 90011 w 117113"/>
                <a:gd name="connsiteY12" fmla="*/ 70775 h 145167"/>
                <a:gd name="connsiteX13" fmla="*/ 117062 w 117113"/>
                <a:gd name="connsiteY13" fmla="*/ 107732 h 145167"/>
                <a:gd name="connsiteX14" fmla="*/ 28289 w 117113"/>
                <a:gd name="connsiteY14" fmla="*/ 24103 h 145167"/>
                <a:gd name="connsiteX15" fmla="*/ 28289 w 117113"/>
                <a:gd name="connsiteY15" fmla="*/ 60774 h 145167"/>
                <a:gd name="connsiteX16" fmla="*/ 66389 w 117113"/>
                <a:gd name="connsiteY16" fmla="*/ 60774 h 145167"/>
                <a:gd name="connsiteX17" fmla="*/ 78486 w 117113"/>
                <a:gd name="connsiteY17" fmla="*/ 55821 h 145167"/>
                <a:gd name="connsiteX18" fmla="*/ 83534 w 117113"/>
                <a:gd name="connsiteY18" fmla="*/ 42295 h 145167"/>
                <a:gd name="connsiteX19" fmla="*/ 78962 w 117113"/>
                <a:gd name="connsiteY19" fmla="*/ 29056 h 145167"/>
                <a:gd name="connsiteX20" fmla="*/ 67627 w 117113"/>
                <a:gd name="connsiteY20" fmla="*/ 24103 h 145167"/>
                <a:gd name="connsiteX21" fmla="*/ 88583 w 117113"/>
                <a:gd name="connsiteY21" fmla="*/ 102779 h 145167"/>
                <a:gd name="connsiteX22" fmla="*/ 87249 w 117113"/>
                <a:gd name="connsiteY22" fmla="*/ 95254 h 145167"/>
                <a:gd name="connsiteX23" fmla="*/ 83725 w 117113"/>
                <a:gd name="connsiteY23" fmla="*/ 89063 h 145167"/>
                <a:gd name="connsiteX24" fmla="*/ 78391 w 117113"/>
                <a:gd name="connsiteY24" fmla="*/ 84872 h 145167"/>
                <a:gd name="connsiteX25" fmla="*/ 71628 w 117113"/>
                <a:gd name="connsiteY25" fmla="*/ 83348 h 145167"/>
                <a:gd name="connsiteX26" fmla="*/ 28289 w 117113"/>
                <a:gd name="connsiteY26" fmla="*/ 83348 h 145167"/>
                <a:gd name="connsiteX27" fmla="*/ 28289 w 117113"/>
                <a:gd name="connsiteY27" fmla="*/ 121448 h 145167"/>
                <a:gd name="connsiteX28" fmla="*/ 70199 w 117113"/>
                <a:gd name="connsiteY28" fmla="*/ 121448 h 145167"/>
                <a:gd name="connsiteX29" fmla="*/ 77438 w 117113"/>
                <a:gd name="connsiteY29" fmla="*/ 120019 h 145167"/>
                <a:gd name="connsiteX30" fmla="*/ 83249 w 117113"/>
                <a:gd name="connsiteY30" fmla="*/ 116019 h 145167"/>
                <a:gd name="connsiteX31" fmla="*/ 87154 w 117113"/>
                <a:gd name="connsiteY31" fmla="*/ 110018 h 145167"/>
                <a:gd name="connsiteX32" fmla="*/ 88583 w 117113"/>
                <a:gd name="connsiteY32" fmla="*/ 102779 h 145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17113" h="145167">
                  <a:moveTo>
                    <a:pt x="117062" y="107732"/>
                  </a:moveTo>
                  <a:cubicBezTo>
                    <a:pt x="117190" y="113355"/>
                    <a:pt x="115913" y="118920"/>
                    <a:pt x="113348" y="123925"/>
                  </a:cubicBezTo>
                  <a:cubicBezTo>
                    <a:pt x="110946" y="128540"/>
                    <a:pt x="107487" y="132523"/>
                    <a:pt x="103251" y="135545"/>
                  </a:cubicBezTo>
                  <a:cubicBezTo>
                    <a:pt x="98698" y="138765"/>
                    <a:pt x="93646" y="141211"/>
                    <a:pt x="88297" y="142784"/>
                  </a:cubicBezTo>
                  <a:cubicBezTo>
                    <a:pt x="82404" y="144413"/>
                    <a:pt x="76313" y="145215"/>
                    <a:pt x="70199" y="145165"/>
                  </a:cubicBezTo>
                  <a:lnTo>
                    <a:pt x="0" y="145165"/>
                  </a:lnTo>
                  <a:lnTo>
                    <a:pt x="0" y="4"/>
                  </a:lnTo>
                  <a:lnTo>
                    <a:pt x="77724" y="4"/>
                  </a:lnTo>
                  <a:cubicBezTo>
                    <a:pt x="82495" y="-79"/>
                    <a:pt x="87210" y="1035"/>
                    <a:pt x="91440" y="3243"/>
                  </a:cubicBezTo>
                  <a:cubicBezTo>
                    <a:pt x="95448" y="5364"/>
                    <a:pt x="99007" y="8243"/>
                    <a:pt x="101918" y="11720"/>
                  </a:cubicBezTo>
                  <a:cubicBezTo>
                    <a:pt x="107621" y="18944"/>
                    <a:pt x="110770" y="27854"/>
                    <a:pt x="110871" y="37057"/>
                  </a:cubicBezTo>
                  <a:cubicBezTo>
                    <a:pt x="110876" y="44046"/>
                    <a:pt x="109036" y="50913"/>
                    <a:pt x="105537" y="56964"/>
                  </a:cubicBezTo>
                  <a:cubicBezTo>
                    <a:pt x="102019" y="63148"/>
                    <a:pt x="96564" y="68001"/>
                    <a:pt x="90011" y="70775"/>
                  </a:cubicBezTo>
                  <a:cubicBezTo>
                    <a:pt x="106667" y="75098"/>
                    <a:pt x="117977" y="90549"/>
                    <a:pt x="117062" y="107732"/>
                  </a:cubicBezTo>
                  <a:close/>
                  <a:moveTo>
                    <a:pt x="28289" y="24103"/>
                  </a:moveTo>
                  <a:lnTo>
                    <a:pt x="28289" y="60774"/>
                  </a:lnTo>
                  <a:lnTo>
                    <a:pt x="66389" y="60774"/>
                  </a:lnTo>
                  <a:cubicBezTo>
                    <a:pt x="70926" y="60827"/>
                    <a:pt x="75290" y="59040"/>
                    <a:pt x="78486" y="55821"/>
                  </a:cubicBezTo>
                  <a:cubicBezTo>
                    <a:pt x="82024" y="52240"/>
                    <a:pt x="83860" y="47318"/>
                    <a:pt x="83534" y="42295"/>
                  </a:cubicBezTo>
                  <a:cubicBezTo>
                    <a:pt x="83747" y="37461"/>
                    <a:pt x="82112" y="32728"/>
                    <a:pt x="78962" y="29056"/>
                  </a:cubicBezTo>
                  <a:cubicBezTo>
                    <a:pt x="76069" y="25856"/>
                    <a:pt x="71941" y="24053"/>
                    <a:pt x="67627" y="24103"/>
                  </a:cubicBezTo>
                  <a:close/>
                  <a:moveTo>
                    <a:pt x="88583" y="102779"/>
                  </a:moveTo>
                  <a:cubicBezTo>
                    <a:pt x="88583" y="100212"/>
                    <a:pt x="88131" y="97665"/>
                    <a:pt x="87249" y="95254"/>
                  </a:cubicBezTo>
                  <a:cubicBezTo>
                    <a:pt x="86443" y="93002"/>
                    <a:pt x="85251" y="90906"/>
                    <a:pt x="83725" y="89063"/>
                  </a:cubicBezTo>
                  <a:cubicBezTo>
                    <a:pt x="82266" y="87301"/>
                    <a:pt x="80448" y="85872"/>
                    <a:pt x="78391" y="84872"/>
                  </a:cubicBezTo>
                  <a:cubicBezTo>
                    <a:pt x="76290" y="83831"/>
                    <a:pt x="73972" y="83308"/>
                    <a:pt x="71628" y="83348"/>
                  </a:cubicBezTo>
                  <a:lnTo>
                    <a:pt x="28289" y="83348"/>
                  </a:lnTo>
                  <a:lnTo>
                    <a:pt x="28289" y="121448"/>
                  </a:lnTo>
                  <a:lnTo>
                    <a:pt x="70199" y="121448"/>
                  </a:lnTo>
                  <a:cubicBezTo>
                    <a:pt x="72683" y="121463"/>
                    <a:pt x="75146" y="120978"/>
                    <a:pt x="77438" y="120019"/>
                  </a:cubicBezTo>
                  <a:cubicBezTo>
                    <a:pt x="79639" y="119115"/>
                    <a:pt x="81620" y="117751"/>
                    <a:pt x="83249" y="116019"/>
                  </a:cubicBezTo>
                  <a:cubicBezTo>
                    <a:pt x="84904" y="114272"/>
                    <a:pt x="86227" y="112239"/>
                    <a:pt x="87154" y="110018"/>
                  </a:cubicBezTo>
                  <a:cubicBezTo>
                    <a:pt x="88098" y="107722"/>
                    <a:pt x="88583" y="105262"/>
                    <a:pt x="88583" y="10277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E4E6E2E0-096A-777A-2E3B-F4FCCDD287DD}"/>
                </a:ext>
              </a:extLst>
            </p:cNvPr>
            <p:cNvSpPr/>
            <p:nvPr/>
          </p:nvSpPr>
          <p:spPr>
            <a:xfrm>
              <a:off x="3555268" y="3557514"/>
              <a:ext cx="108935" cy="107549"/>
            </a:xfrm>
            <a:custGeom>
              <a:avLst/>
              <a:gdLst>
                <a:gd name="connsiteX0" fmla="*/ 54675 w 108935"/>
                <a:gd name="connsiteY0" fmla="*/ 107546 h 107549"/>
                <a:gd name="connsiteX1" fmla="*/ 32482 w 108935"/>
                <a:gd name="connsiteY1" fmla="*/ 103260 h 107549"/>
                <a:gd name="connsiteX2" fmla="*/ 3907 w 108935"/>
                <a:gd name="connsiteY2" fmla="*/ 74685 h 107549"/>
                <a:gd name="connsiteX3" fmla="*/ 2 w 108935"/>
                <a:gd name="connsiteY3" fmla="*/ 54302 h 107549"/>
                <a:gd name="connsiteX4" fmla="*/ 3812 w 108935"/>
                <a:gd name="connsiteY4" fmla="*/ 33347 h 107549"/>
                <a:gd name="connsiteX5" fmla="*/ 32387 w 108935"/>
                <a:gd name="connsiteY5" fmla="*/ 4295 h 107549"/>
                <a:gd name="connsiteX6" fmla="*/ 55247 w 108935"/>
                <a:gd name="connsiteY6" fmla="*/ 9 h 107549"/>
                <a:gd name="connsiteX7" fmla="*/ 78011 w 108935"/>
                <a:gd name="connsiteY7" fmla="*/ 4295 h 107549"/>
                <a:gd name="connsiteX8" fmla="*/ 108682 w 108935"/>
                <a:gd name="connsiteY8" fmla="*/ 58207 h 107549"/>
                <a:gd name="connsiteX9" fmla="*/ 108206 w 108935"/>
                <a:gd name="connsiteY9" fmla="*/ 62207 h 107549"/>
                <a:gd name="connsiteX10" fmla="*/ 28196 w 108935"/>
                <a:gd name="connsiteY10" fmla="*/ 62207 h 107549"/>
                <a:gd name="connsiteX11" fmla="*/ 31148 w 108935"/>
                <a:gd name="connsiteY11" fmla="*/ 73066 h 107549"/>
                <a:gd name="connsiteX12" fmla="*/ 37244 w 108935"/>
                <a:gd name="connsiteY12" fmla="*/ 81257 h 107549"/>
                <a:gd name="connsiteX13" fmla="*/ 55723 w 108935"/>
                <a:gd name="connsiteY13" fmla="*/ 88115 h 107549"/>
                <a:gd name="connsiteX14" fmla="*/ 70582 w 108935"/>
                <a:gd name="connsiteY14" fmla="*/ 84210 h 107549"/>
                <a:gd name="connsiteX15" fmla="*/ 80107 w 108935"/>
                <a:gd name="connsiteY15" fmla="*/ 74018 h 107549"/>
                <a:gd name="connsiteX16" fmla="*/ 102872 w 108935"/>
                <a:gd name="connsiteY16" fmla="*/ 80305 h 107549"/>
                <a:gd name="connsiteX17" fmla="*/ 84488 w 108935"/>
                <a:gd name="connsiteY17" fmla="*/ 99355 h 107549"/>
                <a:gd name="connsiteX18" fmla="*/ 54675 w 108935"/>
                <a:gd name="connsiteY18" fmla="*/ 107546 h 107549"/>
                <a:gd name="connsiteX19" fmla="*/ 81631 w 108935"/>
                <a:gd name="connsiteY19" fmla="*/ 44967 h 107549"/>
                <a:gd name="connsiteX20" fmla="*/ 73058 w 108935"/>
                <a:gd name="connsiteY20" fmla="*/ 25917 h 107549"/>
                <a:gd name="connsiteX21" fmla="*/ 54485 w 108935"/>
                <a:gd name="connsiteY21" fmla="*/ 18964 h 107549"/>
                <a:gd name="connsiteX22" fmla="*/ 44960 w 108935"/>
                <a:gd name="connsiteY22" fmla="*/ 20774 h 107549"/>
                <a:gd name="connsiteX23" fmla="*/ 30863 w 108935"/>
                <a:gd name="connsiteY23" fmla="*/ 34204 h 107549"/>
                <a:gd name="connsiteX24" fmla="*/ 28196 w 108935"/>
                <a:gd name="connsiteY24" fmla="*/ 44681 h 107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8935" h="107549">
                  <a:moveTo>
                    <a:pt x="54675" y="107546"/>
                  </a:moveTo>
                  <a:cubicBezTo>
                    <a:pt x="47070" y="107558"/>
                    <a:pt x="39535" y="106102"/>
                    <a:pt x="32482" y="103260"/>
                  </a:cubicBezTo>
                  <a:cubicBezTo>
                    <a:pt x="19419" y="98090"/>
                    <a:pt x="9077" y="87748"/>
                    <a:pt x="3907" y="74685"/>
                  </a:cubicBezTo>
                  <a:cubicBezTo>
                    <a:pt x="1316" y="68203"/>
                    <a:pt x="-10" y="61284"/>
                    <a:pt x="2" y="54302"/>
                  </a:cubicBezTo>
                  <a:cubicBezTo>
                    <a:pt x="-53" y="47140"/>
                    <a:pt x="1240" y="40031"/>
                    <a:pt x="3812" y="33347"/>
                  </a:cubicBezTo>
                  <a:cubicBezTo>
                    <a:pt x="8882" y="20111"/>
                    <a:pt x="19235" y="9584"/>
                    <a:pt x="32387" y="4295"/>
                  </a:cubicBezTo>
                  <a:cubicBezTo>
                    <a:pt x="39646" y="1361"/>
                    <a:pt x="47417" y="-97"/>
                    <a:pt x="55247" y="9"/>
                  </a:cubicBezTo>
                  <a:cubicBezTo>
                    <a:pt x="63048" y="-131"/>
                    <a:pt x="70795" y="1327"/>
                    <a:pt x="78011" y="4295"/>
                  </a:cubicBezTo>
                  <a:cubicBezTo>
                    <a:pt x="98604" y="13975"/>
                    <a:pt x="110884" y="35559"/>
                    <a:pt x="108682" y="58207"/>
                  </a:cubicBezTo>
                  <a:cubicBezTo>
                    <a:pt x="108700" y="59556"/>
                    <a:pt x="108540" y="60901"/>
                    <a:pt x="108206" y="62207"/>
                  </a:cubicBezTo>
                  <a:lnTo>
                    <a:pt x="28196" y="62207"/>
                  </a:lnTo>
                  <a:cubicBezTo>
                    <a:pt x="28473" y="65983"/>
                    <a:pt x="29475" y="69670"/>
                    <a:pt x="31148" y="73066"/>
                  </a:cubicBezTo>
                  <a:cubicBezTo>
                    <a:pt x="32626" y="76168"/>
                    <a:pt x="34696" y="78951"/>
                    <a:pt x="37244" y="81257"/>
                  </a:cubicBezTo>
                  <a:cubicBezTo>
                    <a:pt x="42336" y="85762"/>
                    <a:pt x="48925" y="88207"/>
                    <a:pt x="55723" y="88115"/>
                  </a:cubicBezTo>
                  <a:cubicBezTo>
                    <a:pt x="60925" y="88087"/>
                    <a:pt x="66038" y="86744"/>
                    <a:pt x="70582" y="84210"/>
                  </a:cubicBezTo>
                  <a:cubicBezTo>
                    <a:pt x="74842" y="82019"/>
                    <a:pt x="78209" y="78417"/>
                    <a:pt x="80107" y="74018"/>
                  </a:cubicBezTo>
                  <a:lnTo>
                    <a:pt x="102872" y="80305"/>
                  </a:lnTo>
                  <a:cubicBezTo>
                    <a:pt x="98785" y="88349"/>
                    <a:pt x="92382" y="94985"/>
                    <a:pt x="84488" y="99355"/>
                  </a:cubicBezTo>
                  <a:cubicBezTo>
                    <a:pt x="75512" y="104819"/>
                    <a:pt x="65183" y="107657"/>
                    <a:pt x="54675" y="107546"/>
                  </a:cubicBezTo>
                  <a:close/>
                  <a:moveTo>
                    <a:pt x="81631" y="44967"/>
                  </a:moveTo>
                  <a:cubicBezTo>
                    <a:pt x="81338" y="37749"/>
                    <a:pt x="78266" y="30924"/>
                    <a:pt x="73058" y="25917"/>
                  </a:cubicBezTo>
                  <a:cubicBezTo>
                    <a:pt x="67991" y="21298"/>
                    <a:pt x="61340" y="18808"/>
                    <a:pt x="54485" y="18964"/>
                  </a:cubicBezTo>
                  <a:cubicBezTo>
                    <a:pt x="51226" y="18989"/>
                    <a:pt x="48000" y="19602"/>
                    <a:pt x="44960" y="20774"/>
                  </a:cubicBezTo>
                  <a:cubicBezTo>
                    <a:pt x="38726" y="23298"/>
                    <a:pt x="33686" y="28099"/>
                    <a:pt x="30863" y="34204"/>
                  </a:cubicBezTo>
                  <a:cubicBezTo>
                    <a:pt x="29315" y="37495"/>
                    <a:pt x="28410" y="41051"/>
                    <a:pt x="28196" y="4468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C86F3A40-B5F1-1CCB-94F5-359159EFC6B3}"/>
                </a:ext>
              </a:extLst>
            </p:cNvPr>
            <p:cNvSpPr/>
            <p:nvPr/>
          </p:nvSpPr>
          <p:spPr>
            <a:xfrm>
              <a:off x="3574986" y="3526758"/>
              <a:ext cx="69913" cy="17240"/>
            </a:xfrm>
            <a:custGeom>
              <a:avLst/>
              <a:gdLst>
                <a:gd name="connsiteX0" fmla="*/ 0 w 69913"/>
                <a:gd name="connsiteY0" fmla="*/ 0 h 17240"/>
                <a:gd name="connsiteX1" fmla="*/ 69914 w 69913"/>
                <a:gd name="connsiteY1" fmla="*/ 0 h 17240"/>
                <a:gd name="connsiteX2" fmla="*/ 69914 w 69913"/>
                <a:gd name="connsiteY2" fmla="*/ 17240 h 17240"/>
                <a:gd name="connsiteX3" fmla="*/ 381 w 69913"/>
                <a:gd name="connsiteY3" fmla="*/ 17240 h 1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913" h="17240">
                  <a:moveTo>
                    <a:pt x="0" y="0"/>
                  </a:moveTo>
                  <a:lnTo>
                    <a:pt x="69914" y="0"/>
                  </a:lnTo>
                  <a:lnTo>
                    <a:pt x="69914" y="17240"/>
                  </a:lnTo>
                  <a:lnTo>
                    <a:pt x="381" y="1724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62" name="Graphic 18">
            <a:extLst>
              <a:ext uri="{FF2B5EF4-FFF2-40B4-BE49-F238E27FC236}">
                <a16:creationId xmlns:a16="http://schemas.microsoft.com/office/drawing/2014/main" id="{68BFBB7D-FA35-F435-8F49-E2ED3FE6EE10}"/>
              </a:ext>
            </a:extLst>
          </p:cNvPr>
          <p:cNvGrpSpPr/>
          <p:nvPr/>
        </p:nvGrpSpPr>
        <p:grpSpPr>
          <a:xfrm>
            <a:off x="4235450" y="3365500"/>
            <a:ext cx="453961" cy="453961"/>
            <a:chOff x="4235450" y="3365500"/>
            <a:chExt cx="453961" cy="453961"/>
          </a:xfrm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453B91F5-00CD-28A2-42F3-ABC682F3A709}"/>
                </a:ext>
              </a:extLst>
            </p:cNvPr>
            <p:cNvSpPr/>
            <p:nvPr/>
          </p:nvSpPr>
          <p:spPr>
            <a:xfrm>
              <a:off x="4235450" y="33655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6D31740A-C842-49CF-FB39-A7EBD9197F84}"/>
                </a:ext>
              </a:extLst>
            </p:cNvPr>
            <p:cNvSpPr/>
            <p:nvPr/>
          </p:nvSpPr>
          <p:spPr>
            <a:xfrm>
              <a:off x="4352131" y="3515328"/>
              <a:ext cx="220599" cy="153924"/>
            </a:xfrm>
            <a:custGeom>
              <a:avLst/>
              <a:gdLst>
                <a:gd name="connsiteX0" fmla="*/ 220599 w 220599"/>
                <a:gd name="connsiteY0" fmla="*/ 48387 h 153924"/>
                <a:gd name="connsiteX1" fmla="*/ 172212 w 220599"/>
                <a:gd name="connsiteY1" fmla="*/ 0 h 153924"/>
                <a:gd name="connsiteX2" fmla="*/ 48387 w 220599"/>
                <a:gd name="connsiteY2" fmla="*/ 0 h 153924"/>
                <a:gd name="connsiteX3" fmla="*/ 0 w 220599"/>
                <a:gd name="connsiteY3" fmla="*/ 48197 h 153924"/>
                <a:gd name="connsiteX4" fmla="*/ 0 w 220599"/>
                <a:gd name="connsiteY4" fmla="*/ 48387 h 153924"/>
                <a:gd name="connsiteX5" fmla="*/ 0 w 220599"/>
                <a:gd name="connsiteY5" fmla="*/ 105537 h 153924"/>
                <a:gd name="connsiteX6" fmla="*/ 48197 w 220599"/>
                <a:gd name="connsiteY6" fmla="*/ 153924 h 153924"/>
                <a:gd name="connsiteX7" fmla="*/ 48387 w 220599"/>
                <a:gd name="connsiteY7" fmla="*/ 153924 h 153924"/>
                <a:gd name="connsiteX8" fmla="*/ 172212 w 220599"/>
                <a:gd name="connsiteY8" fmla="*/ 153924 h 153924"/>
                <a:gd name="connsiteX9" fmla="*/ 220599 w 220599"/>
                <a:gd name="connsiteY9" fmla="*/ 105537 h 153924"/>
                <a:gd name="connsiteX10" fmla="*/ 147828 w 220599"/>
                <a:gd name="connsiteY10" fmla="*/ 81439 h 153924"/>
                <a:gd name="connsiteX11" fmla="*/ 92297 w 220599"/>
                <a:gd name="connsiteY11" fmla="*/ 108966 h 153924"/>
                <a:gd name="connsiteX12" fmla="*/ 82772 w 220599"/>
                <a:gd name="connsiteY12" fmla="*/ 106013 h 153924"/>
                <a:gd name="connsiteX13" fmla="*/ 82772 w 220599"/>
                <a:gd name="connsiteY13" fmla="*/ 50197 h 153924"/>
                <a:gd name="connsiteX14" fmla="*/ 92297 w 220599"/>
                <a:gd name="connsiteY14" fmla="*/ 47339 h 153924"/>
                <a:gd name="connsiteX15" fmla="*/ 145352 w 220599"/>
                <a:gd name="connsiteY15" fmla="*/ 75914 h 153924"/>
                <a:gd name="connsiteX16" fmla="*/ 147828 w 220599"/>
                <a:gd name="connsiteY16" fmla="*/ 81439 h 153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0599" h="153924">
                  <a:moveTo>
                    <a:pt x="220599" y="48387"/>
                  </a:moveTo>
                  <a:cubicBezTo>
                    <a:pt x="220599" y="21664"/>
                    <a:pt x="198935" y="0"/>
                    <a:pt x="172212" y="0"/>
                  </a:cubicBezTo>
                  <a:lnTo>
                    <a:pt x="48387" y="0"/>
                  </a:lnTo>
                  <a:cubicBezTo>
                    <a:pt x="21716" y="-52"/>
                    <a:pt x="52" y="21526"/>
                    <a:pt x="0" y="48197"/>
                  </a:cubicBezTo>
                  <a:cubicBezTo>
                    <a:pt x="0" y="48260"/>
                    <a:pt x="0" y="48323"/>
                    <a:pt x="0" y="48387"/>
                  </a:cubicBezTo>
                  <a:lnTo>
                    <a:pt x="0" y="105537"/>
                  </a:lnTo>
                  <a:cubicBezTo>
                    <a:pt x="-52" y="132208"/>
                    <a:pt x="21526" y="153872"/>
                    <a:pt x="48197" y="153924"/>
                  </a:cubicBezTo>
                  <a:cubicBezTo>
                    <a:pt x="48260" y="153924"/>
                    <a:pt x="48323" y="153924"/>
                    <a:pt x="48387" y="153924"/>
                  </a:cubicBezTo>
                  <a:lnTo>
                    <a:pt x="172212" y="153924"/>
                  </a:lnTo>
                  <a:cubicBezTo>
                    <a:pt x="198935" y="153924"/>
                    <a:pt x="220599" y="132260"/>
                    <a:pt x="220599" y="105537"/>
                  </a:cubicBezTo>
                  <a:close/>
                  <a:moveTo>
                    <a:pt x="147828" y="81439"/>
                  </a:moveTo>
                  <a:lnTo>
                    <a:pt x="92297" y="108966"/>
                  </a:lnTo>
                  <a:cubicBezTo>
                    <a:pt x="90107" y="110109"/>
                    <a:pt x="82772" y="108490"/>
                    <a:pt x="82772" y="106013"/>
                  </a:cubicBezTo>
                  <a:lnTo>
                    <a:pt x="82772" y="50197"/>
                  </a:lnTo>
                  <a:cubicBezTo>
                    <a:pt x="82772" y="47720"/>
                    <a:pt x="90202" y="46101"/>
                    <a:pt x="92297" y="47339"/>
                  </a:cubicBezTo>
                  <a:lnTo>
                    <a:pt x="145352" y="75914"/>
                  </a:lnTo>
                  <a:cubicBezTo>
                    <a:pt x="147733" y="77057"/>
                    <a:pt x="150019" y="80296"/>
                    <a:pt x="147828" y="8143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66" name="Graphic 20">
            <a:extLst>
              <a:ext uri="{FF2B5EF4-FFF2-40B4-BE49-F238E27FC236}">
                <a16:creationId xmlns:a16="http://schemas.microsoft.com/office/drawing/2014/main" id="{23A633F5-4E95-1FA2-6782-AA023A876ADF}"/>
              </a:ext>
            </a:extLst>
          </p:cNvPr>
          <p:cNvGrpSpPr/>
          <p:nvPr/>
        </p:nvGrpSpPr>
        <p:grpSpPr>
          <a:xfrm>
            <a:off x="5149850" y="3365500"/>
            <a:ext cx="453961" cy="453961"/>
            <a:chOff x="5149850" y="3365500"/>
            <a:chExt cx="453961" cy="453961"/>
          </a:xfrm>
        </p:grpSpPr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DA035805-A8F8-F6BB-D49D-73843FCED50C}"/>
                </a:ext>
              </a:extLst>
            </p:cNvPr>
            <p:cNvSpPr/>
            <p:nvPr/>
          </p:nvSpPr>
          <p:spPr>
            <a:xfrm>
              <a:off x="5149850" y="33655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0A1ECE69-ECA7-9B04-721B-19EE2E3D1D3E}"/>
                </a:ext>
              </a:extLst>
            </p:cNvPr>
            <p:cNvSpPr/>
            <p:nvPr/>
          </p:nvSpPr>
          <p:spPr>
            <a:xfrm>
              <a:off x="5246814" y="3469743"/>
              <a:ext cx="260699" cy="245514"/>
            </a:xfrm>
            <a:custGeom>
              <a:avLst/>
              <a:gdLst>
                <a:gd name="connsiteX0" fmla="*/ 130016 w 260699"/>
                <a:gd name="connsiteY0" fmla="*/ 245514 h 245514"/>
                <a:gd name="connsiteX1" fmla="*/ 100203 w 260699"/>
                <a:gd name="connsiteY1" fmla="*/ 236942 h 245514"/>
                <a:gd name="connsiteX2" fmla="*/ 88773 w 260699"/>
                <a:gd name="connsiteY2" fmla="*/ 229703 h 245514"/>
                <a:gd name="connsiteX3" fmla="*/ 84487 w 260699"/>
                <a:gd name="connsiteY3" fmla="*/ 226845 h 245514"/>
                <a:gd name="connsiteX4" fmla="*/ 73247 w 260699"/>
                <a:gd name="connsiteY4" fmla="*/ 222749 h 245514"/>
                <a:gd name="connsiteX5" fmla="*/ 68485 w 260699"/>
                <a:gd name="connsiteY5" fmla="*/ 222749 h 245514"/>
                <a:gd name="connsiteX6" fmla="*/ 57055 w 260699"/>
                <a:gd name="connsiteY6" fmla="*/ 223892 h 245514"/>
                <a:gd name="connsiteX7" fmla="*/ 51054 w 260699"/>
                <a:gd name="connsiteY7" fmla="*/ 224654 h 245514"/>
                <a:gd name="connsiteX8" fmla="*/ 49149 w 260699"/>
                <a:gd name="connsiteY8" fmla="*/ 224654 h 245514"/>
                <a:gd name="connsiteX9" fmla="*/ 36394 w 260699"/>
                <a:gd name="connsiteY9" fmla="*/ 213458 h 245514"/>
                <a:gd name="connsiteX10" fmla="*/ 36385 w 260699"/>
                <a:gd name="connsiteY10" fmla="*/ 213320 h 245514"/>
                <a:gd name="connsiteX11" fmla="*/ 26860 w 260699"/>
                <a:gd name="connsiteY11" fmla="*/ 205985 h 245514"/>
                <a:gd name="connsiteX12" fmla="*/ 13621 w 260699"/>
                <a:gd name="connsiteY12" fmla="*/ 201985 h 245514"/>
                <a:gd name="connsiteX13" fmla="*/ 571 w 260699"/>
                <a:gd name="connsiteY13" fmla="*/ 190364 h 245514"/>
                <a:gd name="connsiteX14" fmla="*/ 0 w 260699"/>
                <a:gd name="connsiteY14" fmla="*/ 189031 h 245514"/>
                <a:gd name="connsiteX15" fmla="*/ 0 w 260699"/>
                <a:gd name="connsiteY15" fmla="*/ 181506 h 245514"/>
                <a:gd name="connsiteX16" fmla="*/ 1619 w 260699"/>
                <a:gd name="connsiteY16" fmla="*/ 179696 h 245514"/>
                <a:gd name="connsiteX17" fmla="*/ 11144 w 260699"/>
                <a:gd name="connsiteY17" fmla="*/ 173696 h 245514"/>
                <a:gd name="connsiteX18" fmla="*/ 50959 w 260699"/>
                <a:gd name="connsiteY18" fmla="*/ 142739 h 245514"/>
                <a:gd name="connsiteX19" fmla="*/ 55340 w 260699"/>
                <a:gd name="connsiteY19" fmla="*/ 133214 h 245514"/>
                <a:gd name="connsiteX20" fmla="*/ 45815 w 260699"/>
                <a:gd name="connsiteY20" fmla="*/ 128833 h 245514"/>
                <a:gd name="connsiteX21" fmla="*/ 42767 w 260699"/>
                <a:gd name="connsiteY21" fmla="*/ 127785 h 245514"/>
                <a:gd name="connsiteX22" fmla="*/ 31337 w 260699"/>
                <a:gd name="connsiteY22" fmla="*/ 121308 h 245514"/>
                <a:gd name="connsiteX23" fmla="*/ 25908 w 260699"/>
                <a:gd name="connsiteY23" fmla="*/ 105782 h 245514"/>
                <a:gd name="connsiteX24" fmla="*/ 39529 w 260699"/>
                <a:gd name="connsiteY24" fmla="*/ 93114 h 245514"/>
                <a:gd name="connsiteX25" fmla="*/ 43815 w 260699"/>
                <a:gd name="connsiteY25" fmla="*/ 92543 h 245514"/>
                <a:gd name="connsiteX26" fmla="*/ 54007 w 260699"/>
                <a:gd name="connsiteY26" fmla="*/ 94733 h 245514"/>
                <a:gd name="connsiteX27" fmla="*/ 56769 w 260699"/>
                <a:gd name="connsiteY27" fmla="*/ 95591 h 245514"/>
                <a:gd name="connsiteX28" fmla="*/ 56769 w 260699"/>
                <a:gd name="connsiteY28" fmla="*/ 64444 h 245514"/>
                <a:gd name="connsiteX29" fmla="*/ 88487 w 260699"/>
                <a:gd name="connsiteY29" fmla="*/ 12152 h 245514"/>
                <a:gd name="connsiteX30" fmla="*/ 172498 w 260699"/>
                <a:gd name="connsiteY30" fmla="*/ 12152 h 245514"/>
                <a:gd name="connsiteX31" fmla="*/ 204026 w 260699"/>
                <a:gd name="connsiteY31" fmla="*/ 59777 h 245514"/>
                <a:gd name="connsiteX32" fmla="*/ 204026 w 260699"/>
                <a:gd name="connsiteY32" fmla="*/ 95876 h 245514"/>
                <a:gd name="connsiteX33" fmla="*/ 206216 w 260699"/>
                <a:gd name="connsiteY33" fmla="*/ 95210 h 245514"/>
                <a:gd name="connsiteX34" fmla="*/ 216789 w 260699"/>
                <a:gd name="connsiteY34" fmla="*/ 93114 h 245514"/>
                <a:gd name="connsiteX35" fmla="*/ 224980 w 260699"/>
                <a:gd name="connsiteY35" fmla="*/ 94829 h 245514"/>
                <a:gd name="connsiteX36" fmla="*/ 235648 w 260699"/>
                <a:gd name="connsiteY36" fmla="*/ 110069 h 245514"/>
                <a:gd name="connsiteX37" fmla="*/ 229648 w 260699"/>
                <a:gd name="connsiteY37" fmla="*/ 121784 h 245514"/>
                <a:gd name="connsiteX38" fmla="*/ 217742 w 260699"/>
                <a:gd name="connsiteY38" fmla="*/ 128357 h 245514"/>
                <a:gd name="connsiteX39" fmla="*/ 212979 w 260699"/>
                <a:gd name="connsiteY39" fmla="*/ 130166 h 245514"/>
                <a:gd name="connsiteX40" fmla="*/ 208121 w 260699"/>
                <a:gd name="connsiteY40" fmla="*/ 132071 h 245514"/>
                <a:gd name="connsiteX41" fmla="*/ 205550 w 260699"/>
                <a:gd name="connsiteY41" fmla="*/ 133786 h 245514"/>
                <a:gd name="connsiteX42" fmla="*/ 206216 w 260699"/>
                <a:gd name="connsiteY42" fmla="*/ 135977 h 245514"/>
                <a:gd name="connsiteX43" fmla="*/ 248984 w 260699"/>
                <a:gd name="connsiteY43" fmla="*/ 174077 h 245514"/>
                <a:gd name="connsiteX44" fmla="*/ 259366 w 260699"/>
                <a:gd name="connsiteY44" fmla="*/ 180649 h 245514"/>
                <a:gd name="connsiteX45" fmla="*/ 260699 w 260699"/>
                <a:gd name="connsiteY45" fmla="*/ 182363 h 245514"/>
                <a:gd name="connsiteX46" fmla="*/ 260699 w 260699"/>
                <a:gd name="connsiteY46" fmla="*/ 189793 h 245514"/>
                <a:gd name="connsiteX47" fmla="*/ 260033 w 260699"/>
                <a:gd name="connsiteY47" fmla="*/ 191126 h 245514"/>
                <a:gd name="connsiteX48" fmla="*/ 245936 w 260699"/>
                <a:gd name="connsiteY48" fmla="*/ 202366 h 245514"/>
                <a:gd name="connsiteX49" fmla="*/ 230124 w 260699"/>
                <a:gd name="connsiteY49" fmla="*/ 206747 h 245514"/>
                <a:gd name="connsiteX50" fmla="*/ 224885 w 260699"/>
                <a:gd name="connsiteY50" fmla="*/ 211510 h 245514"/>
                <a:gd name="connsiteX51" fmla="*/ 211550 w 260699"/>
                <a:gd name="connsiteY51" fmla="*/ 224178 h 245514"/>
                <a:gd name="connsiteX52" fmla="*/ 208217 w 260699"/>
                <a:gd name="connsiteY52" fmla="*/ 224178 h 245514"/>
                <a:gd name="connsiteX53" fmla="*/ 203168 w 260699"/>
                <a:gd name="connsiteY53" fmla="*/ 223416 h 245514"/>
                <a:gd name="connsiteX54" fmla="*/ 193167 w 260699"/>
                <a:gd name="connsiteY54" fmla="*/ 222464 h 245514"/>
                <a:gd name="connsiteX55" fmla="*/ 171545 w 260699"/>
                <a:gd name="connsiteY55" fmla="*/ 229893 h 245514"/>
                <a:gd name="connsiteX56" fmla="*/ 165259 w 260699"/>
                <a:gd name="connsiteY56" fmla="*/ 234179 h 245514"/>
                <a:gd name="connsiteX57" fmla="*/ 130016 w 260699"/>
                <a:gd name="connsiteY57" fmla="*/ 245514 h 245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60699" h="245514">
                  <a:moveTo>
                    <a:pt x="130016" y="245514"/>
                  </a:moveTo>
                  <a:cubicBezTo>
                    <a:pt x="119491" y="245374"/>
                    <a:pt x="109196" y="242414"/>
                    <a:pt x="100203" y="236942"/>
                  </a:cubicBezTo>
                  <a:cubicBezTo>
                    <a:pt x="96298" y="234656"/>
                    <a:pt x="92583" y="232179"/>
                    <a:pt x="88773" y="229703"/>
                  </a:cubicBezTo>
                  <a:lnTo>
                    <a:pt x="84487" y="226845"/>
                  </a:lnTo>
                  <a:cubicBezTo>
                    <a:pt x="81102" y="224640"/>
                    <a:pt x="77257" y="223239"/>
                    <a:pt x="73247" y="222749"/>
                  </a:cubicBezTo>
                  <a:cubicBezTo>
                    <a:pt x="71662" y="222612"/>
                    <a:pt x="70070" y="222612"/>
                    <a:pt x="68485" y="222749"/>
                  </a:cubicBezTo>
                  <a:cubicBezTo>
                    <a:pt x="64652" y="222842"/>
                    <a:pt x="60830" y="223225"/>
                    <a:pt x="57055" y="223892"/>
                  </a:cubicBezTo>
                  <a:lnTo>
                    <a:pt x="51054" y="224654"/>
                  </a:lnTo>
                  <a:lnTo>
                    <a:pt x="49149" y="224654"/>
                  </a:lnTo>
                  <a:cubicBezTo>
                    <a:pt x="42535" y="225085"/>
                    <a:pt x="36824" y="220072"/>
                    <a:pt x="36394" y="213458"/>
                  </a:cubicBezTo>
                  <a:cubicBezTo>
                    <a:pt x="36390" y="213411"/>
                    <a:pt x="36388" y="213365"/>
                    <a:pt x="36385" y="213320"/>
                  </a:cubicBezTo>
                  <a:cubicBezTo>
                    <a:pt x="36385" y="208843"/>
                    <a:pt x="35243" y="206843"/>
                    <a:pt x="26860" y="205985"/>
                  </a:cubicBezTo>
                  <a:cubicBezTo>
                    <a:pt x="22284" y="205268"/>
                    <a:pt x="17829" y="203921"/>
                    <a:pt x="13621" y="201985"/>
                  </a:cubicBezTo>
                  <a:cubicBezTo>
                    <a:pt x="7931" y="199947"/>
                    <a:pt x="3252" y="195781"/>
                    <a:pt x="571" y="190364"/>
                  </a:cubicBezTo>
                  <a:lnTo>
                    <a:pt x="0" y="189031"/>
                  </a:lnTo>
                  <a:lnTo>
                    <a:pt x="0" y="181506"/>
                  </a:lnTo>
                  <a:lnTo>
                    <a:pt x="1619" y="179696"/>
                  </a:lnTo>
                  <a:cubicBezTo>
                    <a:pt x="3975" y="176622"/>
                    <a:pt x="7353" y="174492"/>
                    <a:pt x="11144" y="173696"/>
                  </a:cubicBezTo>
                  <a:cubicBezTo>
                    <a:pt x="28382" y="169860"/>
                    <a:pt x="42993" y="158500"/>
                    <a:pt x="50959" y="142739"/>
                  </a:cubicBezTo>
                  <a:cubicBezTo>
                    <a:pt x="55054" y="135977"/>
                    <a:pt x="55340" y="133976"/>
                    <a:pt x="55340" y="133214"/>
                  </a:cubicBezTo>
                  <a:cubicBezTo>
                    <a:pt x="52448" y="131204"/>
                    <a:pt x="49223" y="129721"/>
                    <a:pt x="45815" y="128833"/>
                  </a:cubicBezTo>
                  <a:lnTo>
                    <a:pt x="42767" y="127785"/>
                  </a:lnTo>
                  <a:cubicBezTo>
                    <a:pt x="38650" y="126221"/>
                    <a:pt x="34795" y="124037"/>
                    <a:pt x="31337" y="121308"/>
                  </a:cubicBezTo>
                  <a:cubicBezTo>
                    <a:pt x="26729" y="117582"/>
                    <a:pt x="24626" y="111569"/>
                    <a:pt x="25908" y="105782"/>
                  </a:cubicBezTo>
                  <a:cubicBezTo>
                    <a:pt x="27707" y="99336"/>
                    <a:pt x="32969" y="94443"/>
                    <a:pt x="39529" y="93114"/>
                  </a:cubicBezTo>
                  <a:cubicBezTo>
                    <a:pt x="40926" y="92737"/>
                    <a:pt x="42367" y="92545"/>
                    <a:pt x="43815" y="92543"/>
                  </a:cubicBezTo>
                  <a:cubicBezTo>
                    <a:pt x="47314" y="92666"/>
                    <a:pt x="50765" y="93408"/>
                    <a:pt x="54007" y="94733"/>
                  </a:cubicBezTo>
                  <a:lnTo>
                    <a:pt x="56769" y="95591"/>
                  </a:lnTo>
                  <a:cubicBezTo>
                    <a:pt x="56038" y="85221"/>
                    <a:pt x="56038" y="74814"/>
                    <a:pt x="56769" y="64444"/>
                  </a:cubicBezTo>
                  <a:cubicBezTo>
                    <a:pt x="57337" y="42626"/>
                    <a:pt x="69401" y="22736"/>
                    <a:pt x="88487" y="12152"/>
                  </a:cubicBezTo>
                  <a:cubicBezTo>
                    <a:pt x="114148" y="-4051"/>
                    <a:pt x="146837" y="-4051"/>
                    <a:pt x="172498" y="12152"/>
                  </a:cubicBezTo>
                  <a:cubicBezTo>
                    <a:pt x="190150" y="21929"/>
                    <a:pt x="201920" y="39707"/>
                    <a:pt x="204026" y="59777"/>
                  </a:cubicBezTo>
                  <a:cubicBezTo>
                    <a:pt x="205215" y="71780"/>
                    <a:pt x="205215" y="83873"/>
                    <a:pt x="204026" y="95876"/>
                  </a:cubicBezTo>
                  <a:lnTo>
                    <a:pt x="206216" y="95210"/>
                  </a:lnTo>
                  <a:cubicBezTo>
                    <a:pt x="209610" y="93965"/>
                    <a:pt x="213177" y="93257"/>
                    <a:pt x="216789" y="93114"/>
                  </a:cubicBezTo>
                  <a:cubicBezTo>
                    <a:pt x="219608" y="93113"/>
                    <a:pt x="222398" y="93697"/>
                    <a:pt x="224980" y="94829"/>
                  </a:cubicBezTo>
                  <a:cubicBezTo>
                    <a:pt x="231321" y="97246"/>
                    <a:pt x="235548" y="103284"/>
                    <a:pt x="235648" y="110069"/>
                  </a:cubicBezTo>
                  <a:cubicBezTo>
                    <a:pt x="235386" y="114644"/>
                    <a:pt x="233207" y="118897"/>
                    <a:pt x="229648" y="121784"/>
                  </a:cubicBezTo>
                  <a:cubicBezTo>
                    <a:pt x="226072" y="124622"/>
                    <a:pt x="222048" y="126843"/>
                    <a:pt x="217742" y="128357"/>
                  </a:cubicBezTo>
                  <a:lnTo>
                    <a:pt x="212979" y="130166"/>
                  </a:lnTo>
                  <a:cubicBezTo>
                    <a:pt x="211323" y="130702"/>
                    <a:pt x="209701" y="131338"/>
                    <a:pt x="208121" y="132071"/>
                  </a:cubicBezTo>
                  <a:cubicBezTo>
                    <a:pt x="206121" y="133024"/>
                    <a:pt x="205550" y="133691"/>
                    <a:pt x="205550" y="133786"/>
                  </a:cubicBezTo>
                  <a:cubicBezTo>
                    <a:pt x="205640" y="134550"/>
                    <a:pt x="205866" y="135292"/>
                    <a:pt x="206216" y="135977"/>
                  </a:cubicBezTo>
                  <a:cubicBezTo>
                    <a:pt x="213360" y="154923"/>
                    <a:pt x="229341" y="169161"/>
                    <a:pt x="248984" y="174077"/>
                  </a:cubicBezTo>
                  <a:cubicBezTo>
                    <a:pt x="253131" y="174926"/>
                    <a:pt x="256824" y="177264"/>
                    <a:pt x="259366" y="180649"/>
                  </a:cubicBezTo>
                  <a:lnTo>
                    <a:pt x="260699" y="182363"/>
                  </a:lnTo>
                  <a:lnTo>
                    <a:pt x="260699" y="189793"/>
                  </a:lnTo>
                  <a:lnTo>
                    <a:pt x="260033" y="191126"/>
                  </a:lnTo>
                  <a:cubicBezTo>
                    <a:pt x="256981" y="196569"/>
                    <a:pt x="251921" y="200603"/>
                    <a:pt x="245936" y="202366"/>
                  </a:cubicBezTo>
                  <a:cubicBezTo>
                    <a:pt x="240903" y="204579"/>
                    <a:pt x="235578" y="206055"/>
                    <a:pt x="230124" y="206747"/>
                  </a:cubicBezTo>
                  <a:cubicBezTo>
                    <a:pt x="226314" y="206747"/>
                    <a:pt x="225457" y="207795"/>
                    <a:pt x="224885" y="211510"/>
                  </a:cubicBezTo>
                  <a:cubicBezTo>
                    <a:pt x="224028" y="217415"/>
                    <a:pt x="221742" y="224178"/>
                    <a:pt x="211550" y="224178"/>
                  </a:cubicBezTo>
                  <a:lnTo>
                    <a:pt x="208217" y="224178"/>
                  </a:lnTo>
                  <a:cubicBezTo>
                    <a:pt x="206516" y="224057"/>
                    <a:pt x="204828" y="223803"/>
                    <a:pt x="203168" y="223416"/>
                  </a:cubicBezTo>
                  <a:cubicBezTo>
                    <a:pt x="199864" y="222838"/>
                    <a:pt x="196521" y="222520"/>
                    <a:pt x="193167" y="222464"/>
                  </a:cubicBezTo>
                  <a:cubicBezTo>
                    <a:pt x="185309" y="222314"/>
                    <a:pt x="177652" y="224946"/>
                    <a:pt x="171545" y="229893"/>
                  </a:cubicBezTo>
                  <a:cubicBezTo>
                    <a:pt x="169526" y="231430"/>
                    <a:pt x="167428" y="232861"/>
                    <a:pt x="165259" y="234179"/>
                  </a:cubicBezTo>
                  <a:cubicBezTo>
                    <a:pt x="154920" y="241420"/>
                    <a:pt x="142637" y="245370"/>
                    <a:pt x="130016" y="24551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D0F38D73-67C1-BC1C-2867-00E31C5F7D63}"/>
                </a:ext>
              </a:extLst>
            </p:cNvPr>
            <p:cNvSpPr/>
            <p:nvPr/>
          </p:nvSpPr>
          <p:spPr>
            <a:xfrm>
              <a:off x="5240337" y="3462940"/>
              <a:ext cx="272795" cy="258794"/>
            </a:xfrm>
            <a:custGeom>
              <a:avLst/>
              <a:gdLst>
                <a:gd name="connsiteX0" fmla="*/ 136493 w 272795"/>
                <a:gd name="connsiteY0" fmla="*/ 13145 h 258794"/>
                <a:gd name="connsiteX1" fmla="*/ 174593 w 272795"/>
                <a:gd name="connsiteY1" fmla="*/ 24289 h 258794"/>
                <a:gd name="connsiteX2" fmla="*/ 203168 w 272795"/>
                <a:gd name="connsiteY2" fmla="*/ 66866 h 258794"/>
                <a:gd name="connsiteX3" fmla="*/ 203168 w 272795"/>
                <a:gd name="connsiteY3" fmla="*/ 103918 h 258794"/>
                <a:gd name="connsiteX4" fmla="*/ 205931 w 272795"/>
                <a:gd name="connsiteY4" fmla="*/ 109538 h 258794"/>
                <a:gd name="connsiteX5" fmla="*/ 209169 w 272795"/>
                <a:gd name="connsiteY5" fmla="*/ 109061 h 258794"/>
                <a:gd name="connsiteX6" fmla="*/ 222504 w 272795"/>
                <a:gd name="connsiteY6" fmla="*/ 105918 h 258794"/>
                <a:gd name="connsiteX7" fmla="*/ 228124 w 272795"/>
                <a:gd name="connsiteY7" fmla="*/ 107061 h 258794"/>
                <a:gd name="connsiteX8" fmla="*/ 234887 w 272795"/>
                <a:gd name="connsiteY8" fmla="*/ 116586 h 258794"/>
                <a:gd name="connsiteX9" fmla="*/ 231172 w 272795"/>
                <a:gd name="connsiteY9" fmla="*/ 123634 h 258794"/>
                <a:gd name="connsiteX10" fmla="*/ 220027 w 272795"/>
                <a:gd name="connsiteY10" fmla="*/ 129445 h 258794"/>
                <a:gd name="connsiteX11" fmla="*/ 211074 w 272795"/>
                <a:gd name="connsiteY11" fmla="*/ 132969 h 258794"/>
                <a:gd name="connsiteX12" fmla="*/ 206121 w 272795"/>
                <a:gd name="connsiteY12" fmla="*/ 145447 h 258794"/>
                <a:gd name="connsiteX13" fmla="*/ 253175 w 272795"/>
                <a:gd name="connsiteY13" fmla="*/ 186881 h 258794"/>
                <a:gd name="connsiteX14" fmla="*/ 259937 w 272795"/>
                <a:gd name="connsiteY14" fmla="*/ 190976 h 258794"/>
                <a:gd name="connsiteX15" fmla="*/ 259937 w 272795"/>
                <a:gd name="connsiteY15" fmla="*/ 194882 h 258794"/>
                <a:gd name="connsiteX16" fmla="*/ 249460 w 272795"/>
                <a:gd name="connsiteY16" fmla="*/ 203549 h 258794"/>
                <a:gd name="connsiteX17" fmla="*/ 235553 w 272795"/>
                <a:gd name="connsiteY17" fmla="*/ 207454 h 258794"/>
                <a:gd name="connsiteX18" fmla="*/ 224332 w 272795"/>
                <a:gd name="connsiteY18" fmla="*/ 217336 h 258794"/>
                <a:gd name="connsiteX19" fmla="*/ 224314 w 272795"/>
                <a:gd name="connsiteY19" fmla="*/ 217742 h 258794"/>
                <a:gd name="connsiteX20" fmla="*/ 217361 w 272795"/>
                <a:gd name="connsiteY20" fmla="*/ 224885 h 258794"/>
                <a:gd name="connsiteX21" fmla="*/ 214598 w 272795"/>
                <a:gd name="connsiteY21" fmla="*/ 224885 h 258794"/>
                <a:gd name="connsiteX22" fmla="*/ 209836 w 272795"/>
                <a:gd name="connsiteY22" fmla="*/ 224123 h 258794"/>
                <a:gd name="connsiteX23" fmla="*/ 198977 w 272795"/>
                <a:gd name="connsiteY23" fmla="*/ 223171 h 258794"/>
                <a:gd name="connsiteX24" fmla="*/ 173355 w 272795"/>
                <a:gd name="connsiteY24" fmla="*/ 231934 h 258794"/>
                <a:gd name="connsiteX25" fmla="*/ 166592 w 272795"/>
                <a:gd name="connsiteY25" fmla="*/ 236601 h 258794"/>
                <a:gd name="connsiteX26" fmla="*/ 136303 w 272795"/>
                <a:gd name="connsiteY26" fmla="*/ 246126 h 258794"/>
                <a:gd name="connsiteX27" fmla="*/ 109538 w 272795"/>
                <a:gd name="connsiteY27" fmla="*/ 238220 h 258794"/>
                <a:gd name="connsiteX28" fmla="*/ 94107 w 272795"/>
                <a:gd name="connsiteY28" fmla="*/ 228219 h 258794"/>
                <a:gd name="connsiteX29" fmla="*/ 80963 w 272795"/>
                <a:gd name="connsiteY29" fmla="*/ 223171 h 258794"/>
                <a:gd name="connsiteX30" fmla="*/ 75248 w 272795"/>
                <a:gd name="connsiteY30" fmla="*/ 223171 h 258794"/>
                <a:gd name="connsiteX31" fmla="*/ 57436 w 272795"/>
                <a:gd name="connsiteY31" fmla="*/ 225076 h 258794"/>
                <a:gd name="connsiteX32" fmla="*/ 55912 w 272795"/>
                <a:gd name="connsiteY32" fmla="*/ 225076 h 258794"/>
                <a:gd name="connsiteX33" fmla="*/ 49340 w 272795"/>
                <a:gd name="connsiteY33" fmla="*/ 220123 h 258794"/>
                <a:gd name="connsiteX34" fmla="*/ 34290 w 272795"/>
                <a:gd name="connsiteY34" fmla="*/ 206788 h 258794"/>
                <a:gd name="connsiteX35" fmla="*/ 22765 w 272795"/>
                <a:gd name="connsiteY35" fmla="*/ 203168 h 258794"/>
                <a:gd name="connsiteX36" fmla="*/ 13240 w 272795"/>
                <a:gd name="connsiteY36" fmla="*/ 194882 h 258794"/>
                <a:gd name="connsiteX37" fmla="*/ 13240 w 272795"/>
                <a:gd name="connsiteY37" fmla="*/ 190976 h 258794"/>
                <a:gd name="connsiteX38" fmla="*/ 19050 w 272795"/>
                <a:gd name="connsiteY38" fmla="*/ 187071 h 258794"/>
                <a:gd name="connsiteX39" fmla="*/ 63151 w 272795"/>
                <a:gd name="connsiteY39" fmla="*/ 153162 h 258794"/>
                <a:gd name="connsiteX40" fmla="*/ 54483 w 272795"/>
                <a:gd name="connsiteY40" fmla="*/ 130016 h 258794"/>
                <a:gd name="connsiteX41" fmla="*/ 51816 w 272795"/>
                <a:gd name="connsiteY41" fmla="*/ 129064 h 258794"/>
                <a:gd name="connsiteX42" fmla="*/ 42291 w 272795"/>
                <a:gd name="connsiteY42" fmla="*/ 123730 h 258794"/>
                <a:gd name="connsiteX43" fmla="*/ 47720 w 272795"/>
                <a:gd name="connsiteY43" fmla="*/ 106585 h 258794"/>
                <a:gd name="connsiteX44" fmla="*/ 50483 w 272795"/>
                <a:gd name="connsiteY44" fmla="*/ 106585 h 258794"/>
                <a:gd name="connsiteX45" fmla="*/ 65151 w 272795"/>
                <a:gd name="connsiteY45" fmla="*/ 110109 h 258794"/>
                <a:gd name="connsiteX46" fmla="*/ 66580 w 272795"/>
                <a:gd name="connsiteY46" fmla="*/ 110109 h 258794"/>
                <a:gd name="connsiteX47" fmla="*/ 70199 w 272795"/>
                <a:gd name="connsiteY47" fmla="*/ 104966 h 258794"/>
                <a:gd name="connsiteX48" fmla="*/ 69437 w 272795"/>
                <a:gd name="connsiteY48" fmla="*/ 72200 h 258794"/>
                <a:gd name="connsiteX49" fmla="*/ 98012 w 272795"/>
                <a:gd name="connsiteY49" fmla="*/ 25146 h 258794"/>
                <a:gd name="connsiteX50" fmla="*/ 136874 w 272795"/>
                <a:gd name="connsiteY50" fmla="*/ 13716 h 258794"/>
                <a:gd name="connsiteX51" fmla="*/ 136874 w 272795"/>
                <a:gd name="connsiteY51" fmla="*/ 857 h 258794"/>
                <a:gd name="connsiteX52" fmla="*/ 91440 w 272795"/>
                <a:gd name="connsiteY52" fmla="*/ 14002 h 258794"/>
                <a:gd name="connsiteX53" fmla="*/ 56483 w 272795"/>
                <a:gd name="connsiteY53" fmla="*/ 71152 h 258794"/>
                <a:gd name="connsiteX54" fmla="*/ 56483 w 272795"/>
                <a:gd name="connsiteY54" fmla="*/ 93821 h 258794"/>
                <a:gd name="connsiteX55" fmla="*/ 50578 w 272795"/>
                <a:gd name="connsiteY55" fmla="*/ 93155 h 258794"/>
                <a:gd name="connsiteX56" fmla="*/ 44768 w 272795"/>
                <a:gd name="connsiteY56" fmla="*/ 93917 h 258794"/>
                <a:gd name="connsiteX57" fmla="*/ 26479 w 272795"/>
                <a:gd name="connsiteY57" fmla="*/ 111347 h 258794"/>
                <a:gd name="connsiteX58" fmla="*/ 33338 w 272795"/>
                <a:gd name="connsiteY58" fmla="*/ 133064 h 258794"/>
                <a:gd name="connsiteX59" fmla="*/ 46482 w 272795"/>
                <a:gd name="connsiteY59" fmla="*/ 140589 h 258794"/>
                <a:gd name="connsiteX60" fmla="*/ 49149 w 272795"/>
                <a:gd name="connsiteY60" fmla="*/ 141542 h 258794"/>
                <a:gd name="connsiteX61" fmla="*/ 53435 w 272795"/>
                <a:gd name="connsiteY61" fmla="*/ 143161 h 258794"/>
                <a:gd name="connsiteX62" fmla="*/ 51721 w 272795"/>
                <a:gd name="connsiteY62" fmla="*/ 146114 h 258794"/>
                <a:gd name="connsiteX63" fmla="*/ 16192 w 272795"/>
                <a:gd name="connsiteY63" fmla="*/ 174022 h 258794"/>
                <a:gd name="connsiteX64" fmla="*/ 3143 w 272795"/>
                <a:gd name="connsiteY64" fmla="*/ 182213 h 258794"/>
                <a:gd name="connsiteX65" fmla="*/ 0 w 272795"/>
                <a:gd name="connsiteY65" fmla="*/ 185833 h 258794"/>
                <a:gd name="connsiteX66" fmla="*/ 0 w 272795"/>
                <a:gd name="connsiteY66" fmla="*/ 197263 h 258794"/>
                <a:gd name="connsiteX67" fmla="*/ 1143 w 272795"/>
                <a:gd name="connsiteY67" fmla="*/ 199739 h 258794"/>
                <a:gd name="connsiteX68" fmla="*/ 17526 w 272795"/>
                <a:gd name="connsiteY68" fmla="*/ 214694 h 258794"/>
                <a:gd name="connsiteX69" fmla="*/ 32576 w 272795"/>
                <a:gd name="connsiteY69" fmla="*/ 219170 h 258794"/>
                <a:gd name="connsiteX70" fmla="*/ 36100 w 272795"/>
                <a:gd name="connsiteY70" fmla="*/ 219837 h 258794"/>
                <a:gd name="connsiteX71" fmla="*/ 36100 w 272795"/>
                <a:gd name="connsiteY71" fmla="*/ 220409 h 258794"/>
                <a:gd name="connsiteX72" fmla="*/ 55150 w 272795"/>
                <a:gd name="connsiteY72" fmla="*/ 237553 h 258794"/>
                <a:gd name="connsiteX73" fmla="*/ 58103 w 272795"/>
                <a:gd name="connsiteY73" fmla="*/ 237553 h 258794"/>
                <a:gd name="connsiteX74" fmla="*/ 64008 w 272795"/>
                <a:gd name="connsiteY74" fmla="*/ 236792 h 258794"/>
                <a:gd name="connsiteX75" fmla="*/ 74486 w 272795"/>
                <a:gd name="connsiteY75" fmla="*/ 235839 h 258794"/>
                <a:gd name="connsiteX76" fmla="*/ 78295 w 272795"/>
                <a:gd name="connsiteY76" fmla="*/ 235839 h 258794"/>
                <a:gd name="connsiteX77" fmla="*/ 86963 w 272795"/>
                <a:gd name="connsiteY77" fmla="*/ 238887 h 258794"/>
                <a:gd name="connsiteX78" fmla="*/ 91440 w 272795"/>
                <a:gd name="connsiteY78" fmla="*/ 241935 h 258794"/>
                <a:gd name="connsiteX79" fmla="*/ 102965 w 272795"/>
                <a:gd name="connsiteY79" fmla="*/ 249269 h 258794"/>
                <a:gd name="connsiteX80" fmla="*/ 136017 w 272795"/>
                <a:gd name="connsiteY80" fmla="*/ 258794 h 258794"/>
                <a:gd name="connsiteX81" fmla="*/ 173260 w 272795"/>
                <a:gd name="connsiteY81" fmla="*/ 246888 h 258794"/>
                <a:gd name="connsiteX82" fmla="*/ 174498 w 272795"/>
                <a:gd name="connsiteY82" fmla="*/ 246126 h 258794"/>
                <a:gd name="connsiteX83" fmla="*/ 181166 w 272795"/>
                <a:gd name="connsiteY83" fmla="*/ 241459 h 258794"/>
                <a:gd name="connsiteX84" fmla="*/ 199168 w 272795"/>
                <a:gd name="connsiteY84" fmla="*/ 235934 h 258794"/>
                <a:gd name="connsiteX85" fmla="*/ 207740 w 272795"/>
                <a:gd name="connsiteY85" fmla="*/ 236792 h 258794"/>
                <a:gd name="connsiteX86" fmla="*/ 213741 w 272795"/>
                <a:gd name="connsiteY86" fmla="*/ 237649 h 258794"/>
                <a:gd name="connsiteX87" fmla="*/ 217551 w 272795"/>
                <a:gd name="connsiteY87" fmla="*/ 237649 h 258794"/>
                <a:gd name="connsiteX88" fmla="*/ 237158 w 272795"/>
                <a:gd name="connsiteY88" fmla="*/ 220372 h 258794"/>
                <a:gd name="connsiteX89" fmla="*/ 237173 w 272795"/>
                <a:gd name="connsiteY89" fmla="*/ 220123 h 258794"/>
                <a:gd name="connsiteX90" fmla="*/ 252889 w 272795"/>
                <a:gd name="connsiteY90" fmla="*/ 215932 h 258794"/>
                <a:gd name="connsiteX91" fmla="*/ 254222 w 272795"/>
                <a:gd name="connsiteY91" fmla="*/ 215932 h 258794"/>
                <a:gd name="connsiteX92" fmla="*/ 271463 w 272795"/>
                <a:gd name="connsiteY92" fmla="*/ 200120 h 258794"/>
                <a:gd name="connsiteX93" fmla="*/ 272796 w 272795"/>
                <a:gd name="connsiteY93" fmla="*/ 197453 h 258794"/>
                <a:gd name="connsiteX94" fmla="*/ 272796 w 272795"/>
                <a:gd name="connsiteY94" fmla="*/ 186309 h 258794"/>
                <a:gd name="connsiteX95" fmla="*/ 270224 w 272795"/>
                <a:gd name="connsiteY95" fmla="*/ 182880 h 258794"/>
                <a:gd name="connsiteX96" fmla="*/ 256032 w 272795"/>
                <a:gd name="connsiteY96" fmla="*/ 173927 h 258794"/>
                <a:gd name="connsiteX97" fmla="*/ 219456 w 272795"/>
                <a:gd name="connsiteY97" fmla="*/ 143066 h 258794"/>
                <a:gd name="connsiteX98" fmla="*/ 220885 w 272795"/>
                <a:gd name="connsiteY98" fmla="*/ 142494 h 258794"/>
                <a:gd name="connsiteX99" fmla="*/ 224790 w 272795"/>
                <a:gd name="connsiteY99" fmla="*/ 141065 h 258794"/>
                <a:gd name="connsiteX100" fmla="*/ 225647 w 272795"/>
                <a:gd name="connsiteY100" fmla="*/ 141065 h 258794"/>
                <a:gd name="connsiteX101" fmla="*/ 239554 w 272795"/>
                <a:gd name="connsiteY101" fmla="*/ 133350 h 258794"/>
                <a:gd name="connsiteX102" fmla="*/ 247650 w 272795"/>
                <a:gd name="connsiteY102" fmla="*/ 116872 h 258794"/>
                <a:gd name="connsiteX103" fmla="*/ 233363 w 272795"/>
                <a:gd name="connsiteY103" fmla="*/ 95250 h 258794"/>
                <a:gd name="connsiteX104" fmla="*/ 222695 w 272795"/>
                <a:gd name="connsiteY104" fmla="*/ 93059 h 258794"/>
                <a:gd name="connsiteX105" fmla="*/ 216979 w 272795"/>
                <a:gd name="connsiteY105" fmla="*/ 93631 h 258794"/>
                <a:gd name="connsiteX106" fmla="*/ 216313 w 272795"/>
                <a:gd name="connsiteY106" fmla="*/ 65056 h 258794"/>
                <a:gd name="connsiteX107" fmla="*/ 181547 w 272795"/>
                <a:gd name="connsiteY107" fmla="*/ 12954 h 258794"/>
                <a:gd name="connsiteX108" fmla="*/ 136493 w 272795"/>
                <a:gd name="connsiteY108" fmla="*/ 0 h 258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272795" h="258794">
                  <a:moveTo>
                    <a:pt x="136493" y="13145"/>
                  </a:moveTo>
                  <a:cubicBezTo>
                    <a:pt x="149961" y="13391"/>
                    <a:pt x="163116" y="17239"/>
                    <a:pt x="174593" y="24289"/>
                  </a:cubicBezTo>
                  <a:cubicBezTo>
                    <a:pt x="190538" y="32921"/>
                    <a:pt x="201221" y="48838"/>
                    <a:pt x="203168" y="66866"/>
                  </a:cubicBezTo>
                  <a:cubicBezTo>
                    <a:pt x="204406" y="79185"/>
                    <a:pt x="204406" y="91598"/>
                    <a:pt x="203168" y="103918"/>
                  </a:cubicBezTo>
                  <a:cubicBezTo>
                    <a:pt x="203168" y="107918"/>
                    <a:pt x="203168" y="109538"/>
                    <a:pt x="205931" y="109538"/>
                  </a:cubicBezTo>
                  <a:cubicBezTo>
                    <a:pt x="207023" y="109486"/>
                    <a:pt x="208108" y="109326"/>
                    <a:pt x="209169" y="109061"/>
                  </a:cubicBezTo>
                  <a:cubicBezTo>
                    <a:pt x="213476" y="107496"/>
                    <a:pt x="217951" y="106442"/>
                    <a:pt x="222504" y="105918"/>
                  </a:cubicBezTo>
                  <a:cubicBezTo>
                    <a:pt x="224437" y="105902"/>
                    <a:pt x="226351" y="106291"/>
                    <a:pt x="228124" y="107061"/>
                  </a:cubicBezTo>
                  <a:cubicBezTo>
                    <a:pt x="232103" y="108568"/>
                    <a:pt x="234775" y="112332"/>
                    <a:pt x="234887" y="116586"/>
                  </a:cubicBezTo>
                  <a:cubicBezTo>
                    <a:pt x="234656" y="119343"/>
                    <a:pt x="233315" y="121887"/>
                    <a:pt x="231172" y="123634"/>
                  </a:cubicBezTo>
                  <a:cubicBezTo>
                    <a:pt x="227805" y="126175"/>
                    <a:pt x="224038" y="128138"/>
                    <a:pt x="220027" y="129445"/>
                  </a:cubicBezTo>
                  <a:cubicBezTo>
                    <a:pt x="217075" y="130683"/>
                    <a:pt x="213931" y="131636"/>
                    <a:pt x="211074" y="132969"/>
                  </a:cubicBezTo>
                  <a:cubicBezTo>
                    <a:pt x="205073" y="135731"/>
                    <a:pt x="203359" y="139446"/>
                    <a:pt x="206121" y="145447"/>
                  </a:cubicBezTo>
                  <a:cubicBezTo>
                    <a:pt x="214257" y="166002"/>
                    <a:pt x="231756" y="181409"/>
                    <a:pt x="253175" y="186881"/>
                  </a:cubicBezTo>
                  <a:cubicBezTo>
                    <a:pt x="255860" y="187356"/>
                    <a:pt x="258271" y="188817"/>
                    <a:pt x="259937" y="190976"/>
                  </a:cubicBezTo>
                  <a:lnTo>
                    <a:pt x="259937" y="194882"/>
                  </a:lnTo>
                  <a:cubicBezTo>
                    <a:pt x="257696" y="199016"/>
                    <a:pt x="253941" y="202123"/>
                    <a:pt x="249460" y="203549"/>
                  </a:cubicBezTo>
                  <a:cubicBezTo>
                    <a:pt x="245047" y="205544"/>
                    <a:pt x="240359" y="206860"/>
                    <a:pt x="235553" y="207454"/>
                  </a:cubicBezTo>
                  <a:cubicBezTo>
                    <a:pt x="229726" y="207084"/>
                    <a:pt x="224701" y="211508"/>
                    <a:pt x="224332" y="217336"/>
                  </a:cubicBezTo>
                  <a:cubicBezTo>
                    <a:pt x="224323" y="217471"/>
                    <a:pt x="224318" y="217606"/>
                    <a:pt x="224314" y="217742"/>
                  </a:cubicBezTo>
                  <a:cubicBezTo>
                    <a:pt x="223456" y="223361"/>
                    <a:pt x="221933" y="224885"/>
                    <a:pt x="217361" y="224885"/>
                  </a:cubicBezTo>
                  <a:lnTo>
                    <a:pt x="214598" y="224885"/>
                  </a:lnTo>
                  <a:lnTo>
                    <a:pt x="209836" y="224123"/>
                  </a:lnTo>
                  <a:cubicBezTo>
                    <a:pt x="206251" y="223483"/>
                    <a:pt x="202618" y="223165"/>
                    <a:pt x="198977" y="223171"/>
                  </a:cubicBezTo>
                  <a:cubicBezTo>
                    <a:pt x="189664" y="222934"/>
                    <a:pt x="180573" y="226043"/>
                    <a:pt x="173355" y="231934"/>
                  </a:cubicBezTo>
                  <a:cubicBezTo>
                    <a:pt x="171164" y="233648"/>
                    <a:pt x="168878" y="235077"/>
                    <a:pt x="166592" y="236601"/>
                  </a:cubicBezTo>
                  <a:cubicBezTo>
                    <a:pt x="157622" y="242622"/>
                    <a:pt x="147105" y="245929"/>
                    <a:pt x="136303" y="246126"/>
                  </a:cubicBezTo>
                  <a:cubicBezTo>
                    <a:pt x="126835" y="245927"/>
                    <a:pt x="117594" y="243197"/>
                    <a:pt x="109538" y="238220"/>
                  </a:cubicBezTo>
                  <a:cubicBezTo>
                    <a:pt x="104299" y="235077"/>
                    <a:pt x="99251" y="231553"/>
                    <a:pt x="94107" y="228219"/>
                  </a:cubicBezTo>
                  <a:cubicBezTo>
                    <a:pt x="90131" y="225627"/>
                    <a:pt x="85652" y="223907"/>
                    <a:pt x="80963" y="223171"/>
                  </a:cubicBezTo>
                  <a:cubicBezTo>
                    <a:pt x="79060" y="223028"/>
                    <a:pt x="77150" y="223028"/>
                    <a:pt x="75248" y="223171"/>
                  </a:cubicBezTo>
                  <a:cubicBezTo>
                    <a:pt x="69279" y="223471"/>
                    <a:pt x="63333" y="224107"/>
                    <a:pt x="57436" y="225076"/>
                  </a:cubicBezTo>
                  <a:lnTo>
                    <a:pt x="55912" y="225076"/>
                  </a:lnTo>
                  <a:cubicBezTo>
                    <a:pt x="52483" y="225076"/>
                    <a:pt x="49530" y="223742"/>
                    <a:pt x="49340" y="220123"/>
                  </a:cubicBezTo>
                  <a:cubicBezTo>
                    <a:pt x="48768" y="210598"/>
                    <a:pt x="42672" y="207645"/>
                    <a:pt x="34290" y="206788"/>
                  </a:cubicBezTo>
                  <a:cubicBezTo>
                    <a:pt x="30303" y="206104"/>
                    <a:pt x="26426" y="204887"/>
                    <a:pt x="22765" y="203168"/>
                  </a:cubicBezTo>
                  <a:cubicBezTo>
                    <a:pt x="18637" y="201744"/>
                    <a:pt x="15222" y="198773"/>
                    <a:pt x="13240" y="194882"/>
                  </a:cubicBezTo>
                  <a:lnTo>
                    <a:pt x="13240" y="190976"/>
                  </a:lnTo>
                  <a:cubicBezTo>
                    <a:pt x="14688" y="189064"/>
                    <a:pt x="16733" y="187689"/>
                    <a:pt x="19050" y="187071"/>
                  </a:cubicBezTo>
                  <a:cubicBezTo>
                    <a:pt x="38033" y="182830"/>
                    <a:pt x="54174" y="170418"/>
                    <a:pt x="63151" y="153162"/>
                  </a:cubicBezTo>
                  <a:cubicBezTo>
                    <a:pt x="71723" y="138875"/>
                    <a:pt x="70390" y="135636"/>
                    <a:pt x="54483" y="130016"/>
                  </a:cubicBezTo>
                  <a:lnTo>
                    <a:pt x="51816" y="129064"/>
                  </a:lnTo>
                  <a:cubicBezTo>
                    <a:pt x="48382" y="127794"/>
                    <a:pt x="45168" y="125994"/>
                    <a:pt x="42291" y="123730"/>
                  </a:cubicBezTo>
                  <a:cubicBezTo>
                    <a:pt x="35147" y="117539"/>
                    <a:pt x="39338" y="108585"/>
                    <a:pt x="47720" y="106585"/>
                  </a:cubicBezTo>
                  <a:lnTo>
                    <a:pt x="50483" y="106585"/>
                  </a:lnTo>
                  <a:cubicBezTo>
                    <a:pt x="55442" y="107443"/>
                    <a:pt x="60342" y="108620"/>
                    <a:pt x="65151" y="110109"/>
                  </a:cubicBezTo>
                  <a:lnTo>
                    <a:pt x="66580" y="110109"/>
                  </a:lnTo>
                  <a:cubicBezTo>
                    <a:pt x="69437" y="110109"/>
                    <a:pt x="70580" y="108585"/>
                    <a:pt x="70199" y="104966"/>
                  </a:cubicBezTo>
                  <a:cubicBezTo>
                    <a:pt x="69091" y="94080"/>
                    <a:pt x="68835" y="83125"/>
                    <a:pt x="69437" y="72200"/>
                  </a:cubicBezTo>
                  <a:cubicBezTo>
                    <a:pt x="69971" y="52566"/>
                    <a:pt x="80836" y="34673"/>
                    <a:pt x="98012" y="25146"/>
                  </a:cubicBezTo>
                  <a:cubicBezTo>
                    <a:pt x="109680" y="17859"/>
                    <a:pt x="123120" y="13907"/>
                    <a:pt x="136874" y="13716"/>
                  </a:cubicBezTo>
                  <a:moveTo>
                    <a:pt x="136874" y="857"/>
                  </a:moveTo>
                  <a:cubicBezTo>
                    <a:pt x="120820" y="1054"/>
                    <a:pt x="105120" y="5597"/>
                    <a:pt x="91440" y="14002"/>
                  </a:cubicBezTo>
                  <a:cubicBezTo>
                    <a:pt x="70562" y="25594"/>
                    <a:pt x="57294" y="47286"/>
                    <a:pt x="56483" y="71152"/>
                  </a:cubicBezTo>
                  <a:cubicBezTo>
                    <a:pt x="56483" y="79534"/>
                    <a:pt x="56007" y="86963"/>
                    <a:pt x="56483" y="93821"/>
                  </a:cubicBezTo>
                  <a:cubicBezTo>
                    <a:pt x="54544" y="93390"/>
                    <a:pt x="52565" y="93167"/>
                    <a:pt x="50578" y="93155"/>
                  </a:cubicBezTo>
                  <a:cubicBezTo>
                    <a:pt x="48618" y="93174"/>
                    <a:pt x="46667" y="93429"/>
                    <a:pt x="44768" y="93917"/>
                  </a:cubicBezTo>
                  <a:cubicBezTo>
                    <a:pt x="35870" y="95809"/>
                    <a:pt x="28797" y="102551"/>
                    <a:pt x="26479" y="111347"/>
                  </a:cubicBezTo>
                  <a:cubicBezTo>
                    <a:pt x="24482" y="119301"/>
                    <a:pt x="27135" y="127701"/>
                    <a:pt x="33338" y="133064"/>
                  </a:cubicBezTo>
                  <a:cubicBezTo>
                    <a:pt x="37281" y="136270"/>
                    <a:pt x="41720" y="138812"/>
                    <a:pt x="46482" y="140589"/>
                  </a:cubicBezTo>
                  <a:lnTo>
                    <a:pt x="49149" y="141542"/>
                  </a:lnTo>
                  <a:lnTo>
                    <a:pt x="53435" y="143161"/>
                  </a:lnTo>
                  <a:cubicBezTo>
                    <a:pt x="52925" y="144179"/>
                    <a:pt x="52352" y="145166"/>
                    <a:pt x="51721" y="146114"/>
                  </a:cubicBezTo>
                  <a:cubicBezTo>
                    <a:pt x="44639" y="160254"/>
                    <a:pt x="31609" y="170491"/>
                    <a:pt x="16192" y="174022"/>
                  </a:cubicBezTo>
                  <a:cubicBezTo>
                    <a:pt x="11035" y="175182"/>
                    <a:pt x="6430" y="178073"/>
                    <a:pt x="3143" y="182213"/>
                  </a:cubicBezTo>
                  <a:lnTo>
                    <a:pt x="0" y="185833"/>
                  </a:lnTo>
                  <a:lnTo>
                    <a:pt x="0" y="197263"/>
                  </a:lnTo>
                  <a:lnTo>
                    <a:pt x="1143" y="199739"/>
                  </a:lnTo>
                  <a:cubicBezTo>
                    <a:pt x="4368" y="206727"/>
                    <a:pt x="10274" y="212118"/>
                    <a:pt x="17526" y="214694"/>
                  </a:cubicBezTo>
                  <a:cubicBezTo>
                    <a:pt x="22298" y="216910"/>
                    <a:pt x="27368" y="218418"/>
                    <a:pt x="32576" y="219170"/>
                  </a:cubicBezTo>
                  <a:cubicBezTo>
                    <a:pt x="33770" y="219270"/>
                    <a:pt x="34951" y="219494"/>
                    <a:pt x="36100" y="219837"/>
                  </a:cubicBezTo>
                  <a:cubicBezTo>
                    <a:pt x="36100" y="219837"/>
                    <a:pt x="36100" y="219837"/>
                    <a:pt x="36100" y="220409"/>
                  </a:cubicBezTo>
                  <a:cubicBezTo>
                    <a:pt x="36664" y="230385"/>
                    <a:pt x="45169" y="238040"/>
                    <a:pt x="55150" y="237553"/>
                  </a:cubicBezTo>
                  <a:cubicBezTo>
                    <a:pt x="56132" y="237645"/>
                    <a:pt x="57120" y="237645"/>
                    <a:pt x="58103" y="237553"/>
                  </a:cubicBezTo>
                  <a:lnTo>
                    <a:pt x="64008" y="236792"/>
                  </a:lnTo>
                  <a:cubicBezTo>
                    <a:pt x="67478" y="236260"/>
                    <a:pt x="70976" y="235942"/>
                    <a:pt x="74486" y="235839"/>
                  </a:cubicBezTo>
                  <a:lnTo>
                    <a:pt x="78295" y="235839"/>
                  </a:lnTo>
                  <a:cubicBezTo>
                    <a:pt x="81372" y="236210"/>
                    <a:pt x="84331" y="237251"/>
                    <a:pt x="86963" y="238887"/>
                  </a:cubicBezTo>
                  <a:lnTo>
                    <a:pt x="91440" y="241935"/>
                  </a:lnTo>
                  <a:cubicBezTo>
                    <a:pt x="95250" y="244412"/>
                    <a:pt x="99060" y="246983"/>
                    <a:pt x="102965" y="249269"/>
                  </a:cubicBezTo>
                  <a:cubicBezTo>
                    <a:pt x="112930" y="255348"/>
                    <a:pt x="124345" y="258637"/>
                    <a:pt x="136017" y="258794"/>
                  </a:cubicBezTo>
                  <a:cubicBezTo>
                    <a:pt x="149329" y="258557"/>
                    <a:pt x="162278" y="254417"/>
                    <a:pt x="173260" y="246888"/>
                  </a:cubicBezTo>
                  <a:lnTo>
                    <a:pt x="174498" y="246126"/>
                  </a:lnTo>
                  <a:cubicBezTo>
                    <a:pt x="176816" y="244713"/>
                    <a:pt x="179043" y="243153"/>
                    <a:pt x="181166" y="241459"/>
                  </a:cubicBezTo>
                  <a:cubicBezTo>
                    <a:pt x="186291" y="237482"/>
                    <a:pt x="192694" y="235517"/>
                    <a:pt x="199168" y="235934"/>
                  </a:cubicBezTo>
                  <a:cubicBezTo>
                    <a:pt x="202045" y="235955"/>
                    <a:pt x="204915" y="236242"/>
                    <a:pt x="207740" y="236792"/>
                  </a:cubicBezTo>
                  <a:lnTo>
                    <a:pt x="213741" y="237649"/>
                  </a:lnTo>
                  <a:lnTo>
                    <a:pt x="217551" y="237649"/>
                  </a:lnTo>
                  <a:cubicBezTo>
                    <a:pt x="227736" y="238293"/>
                    <a:pt x="236514" y="230557"/>
                    <a:pt x="237158" y="220372"/>
                  </a:cubicBezTo>
                  <a:cubicBezTo>
                    <a:pt x="237164" y="220289"/>
                    <a:pt x="237169" y="220207"/>
                    <a:pt x="237173" y="220123"/>
                  </a:cubicBezTo>
                  <a:cubicBezTo>
                    <a:pt x="242594" y="219536"/>
                    <a:pt x="247895" y="218123"/>
                    <a:pt x="252889" y="215932"/>
                  </a:cubicBezTo>
                  <a:lnTo>
                    <a:pt x="254222" y="215932"/>
                  </a:lnTo>
                  <a:cubicBezTo>
                    <a:pt x="261860" y="213192"/>
                    <a:pt x="268074" y="207494"/>
                    <a:pt x="271463" y="200120"/>
                  </a:cubicBezTo>
                  <a:lnTo>
                    <a:pt x="272796" y="197453"/>
                  </a:lnTo>
                  <a:lnTo>
                    <a:pt x="272796" y="186309"/>
                  </a:lnTo>
                  <a:lnTo>
                    <a:pt x="270224" y="182880"/>
                  </a:lnTo>
                  <a:cubicBezTo>
                    <a:pt x="266696" y="178317"/>
                    <a:pt x="261670" y="175146"/>
                    <a:pt x="256032" y="173927"/>
                  </a:cubicBezTo>
                  <a:cubicBezTo>
                    <a:pt x="239706" y="169884"/>
                    <a:pt x="226188" y="158479"/>
                    <a:pt x="219456" y="143066"/>
                  </a:cubicBezTo>
                  <a:lnTo>
                    <a:pt x="220885" y="142494"/>
                  </a:lnTo>
                  <a:lnTo>
                    <a:pt x="224790" y="141065"/>
                  </a:lnTo>
                  <a:lnTo>
                    <a:pt x="225647" y="141065"/>
                  </a:lnTo>
                  <a:cubicBezTo>
                    <a:pt x="230691" y="139310"/>
                    <a:pt x="235395" y="136700"/>
                    <a:pt x="239554" y="133350"/>
                  </a:cubicBezTo>
                  <a:cubicBezTo>
                    <a:pt x="244465" y="129252"/>
                    <a:pt x="247408" y="123263"/>
                    <a:pt x="247650" y="116872"/>
                  </a:cubicBezTo>
                  <a:cubicBezTo>
                    <a:pt x="247801" y="107409"/>
                    <a:pt x="242127" y="98823"/>
                    <a:pt x="233363" y="95250"/>
                  </a:cubicBezTo>
                  <a:cubicBezTo>
                    <a:pt x="229991" y="93807"/>
                    <a:pt x="226362" y="93061"/>
                    <a:pt x="222695" y="93059"/>
                  </a:cubicBezTo>
                  <a:cubicBezTo>
                    <a:pt x="220777" y="93098"/>
                    <a:pt x="218866" y="93290"/>
                    <a:pt x="216979" y="93631"/>
                  </a:cubicBezTo>
                  <a:cubicBezTo>
                    <a:pt x="217537" y="84104"/>
                    <a:pt x="217314" y="74546"/>
                    <a:pt x="216313" y="65056"/>
                  </a:cubicBezTo>
                  <a:cubicBezTo>
                    <a:pt x="213856" y="43079"/>
                    <a:pt x="200897" y="23657"/>
                    <a:pt x="181547" y="12954"/>
                  </a:cubicBezTo>
                  <a:cubicBezTo>
                    <a:pt x="167967" y="4664"/>
                    <a:pt x="152403" y="190"/>
                    <a:pt x="136493" y="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70" name="Graphic 22">
            <a:extLst>
              <a:ext uri="{FF2B5EF4-FFF2-40B4-BE49-F238E27FC236}">
                <a16:creationId xmlns:a16="http://schemas.microsoft.com/office/drawing/2014/main" id="{5EDAE5A4-EF15-4465-D4FE-031268B596BD}"/>
              </a:ext>
            </a:extLst>
          </p:cNvPr>
          <p:cNvGrpSpPr/>
          <p:nvPr/>
        </p:nvGrpSpPr>
        <p:grpSpPr>
          <a:xfrm>
            <a:off x="1492250" y="4279900"/>
            <a:ext cx="453961" cy="453961"/>
            <a:chOff x="1492250" y="4279900"/>
            <a:chExt cx="453961" cy="453961"/>
          </a:xfrm>
        </p:grpSpPr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A1137A2-4771-AE9E-E499-87010FDD25F1}"/>
                </a:ext>
              </a:extLst>
            </p:cNvPr>
            <p:cNvSpPr/>
            <p:nvPr/>
          </p:nvSpPr>
          <p:spPr>
            <a:xfrm>
              <a:off x="1492250" y="42799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F2C9D4B-7F33-1D31-1380-4DAC34AF6DCA}"/>
                </a:ext>
              </a:extLst>
            </p:cNvPr>
            <p:cNvSpPr/>
            <p:nvPr/>
          </p:nvSpPr>
          <p:spPr>
            <a:xfrm>
              <a:off x="1602359" y="4388761"/>
              <a:ext cx="234603" cy="235276"/>
            </a:xfrm>
            <a:custGeom>
              <a:avLst/>
              <a:gdLst>
                <a:gd name="connsiteX0" fmla="*/ 0 w 234603"/>
                <a:gd name="connsiteY0" fmla="*/ 235277 h 235276"/>
                <a:gd name="connsiteX1" fmla="*/ 16764 w 234603"/>
                <a:gd name="connsiteY1" fmla="*/ 172602 h 235276"/>
                <a:gd name="connsiteX2" fmla="*/ 62002 w 234603"/>
                <a:gd name="connsiteY2" fmla="*/ 14613 h 235276"/>
                <a:gd name="connsiteX3" fmla="*/ 219991 w 234603"/>
                <a:gd name="connsiteY3" fmla="*/ 59850 h 235276"/>
                <a:gd name="connsiteX4" fmla="*/ 174753 w 234603"/>
                <a:gd name="connsiteY4" fmla="*/ 217840 h 235276"/>
                <a:gd name="connsiteX5" fmla="*/ 63056 w 234603"/>
                <a:gd name="connsiteY5" fmla="*/ 218417 h 235276"/>
                <a:gd name="connsiteX6" fmla="*/ 66103 w 234603"/>
                <a:gd name="connsiteY6" fmla="*/ 194891 h 235276"/>
                <a:gd name="connsiteX7" fmla="*/ 70104 w 234603"/>
                <a:gd name="connsiteY7" fmla="*/ 197272 h 235276"/>
                <a:gd name="connsiteX8" fmla="*/ 199130 w 234603"/>
                <a:gd name="connsiteY8" fmla="*/ 164644 h 235276"/>
                <a:gd name="connsiteX9" fmla="*/ 166503 w 234603"/>
                <a:gd name="connsiteY9" fmla="*/ 35618 h 235276"/>
                <a:gd name="connsiteX10" fmla="*/ 37477 w 234603"/>
                <a:gd name="connsiteY10" fmla="*/ 68246 h 235276"/>
                <a:gd name="connsiteX11" fmla="*/ 37909 w 234603"/>
                <a:gd name="connsiteY11" fmla="*/ 165363 h 235276"/>
                <a:gd name="connsiteX12" fmla="*/ 40291 w 234603"/>
                <a:gd name="connsiteY12" fmla="*/ 169364 h 235276"/>
                <a:gd name="connsiteX13" fmla="*/ 30766 w 234603"/>
                <a:gd name="connsiteY13" fmla="*/ 204320 h 235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4603" h="235276">
                  <a:moveTo>
                    <a:pt x="0" y="235277"/>
                  </a:moveTo>
                  <a:lnTo>
                    <a:pt x="16764" y="172602"/>
                  </a:lnTo>
                  <a:cubicBezTo>
                    <a:pt x="-14371" y="116483"/>
                    <a:pt x="5882" y="45748"/>
                    <a:pt x="62002" y="14613"/>
                  </a:cubicBezTo>
                  <a:cubicBezTo>
                    <a:pt x="118121" y="-16523"/>
                    <a:pt x="188856" y="3730"/>
                    <a:pt x="219991" y="59850"/>
                  </a:cubicBezTo>
                  <a:cubicBezTo>
                    <a:pt x="251127" y="115969"/>
                    <a:pt x="230874" y="186704"/>
                    <a:pt x="174753" y="217840"/>
                  </a:cubicBezTo>
                  <a:cubicBezTo>
                    <a:pt x="140061" y="237087"/>
                    <a:pt x="97946" y="237305"/>
                    <a:pt x="63056" y="218417"/>
                  </a:cubicBezTo>
                  <a:close/>
                  <a:moveTo>
                    <a:pt x="66103" y="194891"/>
                  </a:moveTo>
                  <a:lnTo>
                    <a:pt x="70104" y="197272"/>
                  </a:lnTo>
                  <a:cubicBezTo>
                    <a:pt x="114743" y="223891"/>
                    <a:pt x="172510" y="209284"/>
                    <a:pt x="199130" y="164644"/>
                  </a:cubicBezTo>
                  <a:cubicBezTo>
                    <a:pt x="225750" y="120005"/>
                    <a:pt x="211142" y="62238"/>
                    <a:pt x="166503" y="35618"/>
                  </a:cubicBezTo>
                  <a:cubicBezTo>
                    <a:pt x="121863" y="8999"/>
                    <a:pt x="64097" y="23606"/>
                    <a:pt x="37477" y="68246"/>
                  </a:cubicBezTo>
                  <a:cubicBezTo>
                    <a:pt x="19616" y="98198"/>
                    <a:pt x="19782" y="135572"/>
                    <a:pt x="37909" y="165363"/>
                  </a:cubicBezTo>
                  <a:lnTo>
                    <a:pt x="40291" y="169364"/>
                  </a:lnTo>
                  <a:lnTo>
                    <a:pt x="30766" y="20432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DA72475A-373C-820E-4961-FC4E434519CC}"/>
                </a:ext>
              </a:extLst>
            </p:cNvPr>
            <p:cNvSpPr/>
            <p:nvPr/>
          </p:nvSpPr>
          <p:spPr>
            <a:xfrm>
              <a:off x="1664716" y="4452663"/>
              <a:ext cx="111700" cy="104225"/>
            </a:xfrm>
            <a:custGeom>
              <a:avLst/>
              <a:gdLst>
                <a:gd name="connsiteX0" fmla="*/ 98710 w 111700"/>
                <a:gd name="connsiteY0" fmla="*/ 68886 h 104225"/>
                <a:gd name="connsiteX1" fmla="*/ 82136 w 111700"/>
                <a:gd name="connsiteY1" fmla="*/ 65362 h 104225"/>
                <a:gd name="connsiteX2" fmla="*/ 72611 w 111700"/>
                <a:gd name="connsiteY2" fmla="*/ 77268 h 104225"/>
                <a:gd name="connsiteX3" fmla="*/ 67277 w 111700"/>
                <a:gd name="connsiteY3" fmla="*/ 78411 h 104225"/>
                <a:gd name="connsiteX4" fmla="*/ 29463 w 111700"/>
                <a:gd name="connsiteY4" fmla="*/ 46312 h 104225"/>
                <a:gd name="connsiteX5" fmla="*/ 30035 w 111700"/>
                <a:gd name="connsiteY5" fmla="*/ 40025 h 104225"/>
                <a:gd name="connsiteX6" fmla="*/ 37083 w 111700"/>
                <a:gd name="connsiteY6" fmla="*/ 28881 h 104225"/>
                <a:gd name="connsiteX7" fmla="*/ 34035 w 111700"/>
                <a:gd name="connsiteY7" fmla="*/ 15737 h 104225"/>
                <a:gd name="connsiteX8" fmla="*/ 24510 w 111700"/>
                <a:gd name="connsiteY8" fmla="*/ 1259 h 104225"/>
                <a:gd name="connsiteX9" fmla="*/ 10127 w 111700"/>
                <a:gd name="connsiteY9" fmla="*/ 3354 h 104225"/>
                <a:gd name="connsiteX10" fmla="*/ 31 w 111700"/>
                <a:gd name="connsiteY10" fmla="*/ 26500 h 104225"/>
                <a:gd name="connsiteX11" fmla="*/ 888 w 111700"/>
                <a:gd name="connsiteY11" fmla="*/ 33834 h 104225"/>
                <a:gd name="connsiteX12" fmla="*/ 7937 w 111700"/>
                <a:gd name="connsiteY12" fmla="*/ 50027 h 104225"/>
                <a:gd name="connsiteX13" fmla="*/ 15271 w 111700"/>
                <a:gd name="connsiteY13" fmla="*/ 61171 h 104225"/>
                <a:gd name="connsiteX14" fmla="*/ 46608 w 111700"/>
                <a:gd name="connsiteY14" fmla="*/ 90794 h 104225"/>
                <a:gd name="connsiteX15" fmla="*/ 66420 w 111700"/>
                <a:gd name="connsiteY15" fmla="*/ 100319 h 104225"/>
                <a:gd name="connsiteX16" fmla="*/ 89566 w 111700"/>
                <a:gd name="connsiteY16" fmla="*/ 103938 h 104225"/>
                <a:gd name="connsiteX17" fmla="*/ 110521 w 111700"/>
                <a:gd name="connsiteY17" fmla="*/ 88317 h 104225"/>
                <a:gd name="connsiteX18" fmla="*/ 111473 w 111700"/>
                <a:gd name="connsiteY18" fmla="*/ 80411 h 104225"/>
                <a:gd name="connsiteX19" fmla="*/ 98710 w 111700"/>
                <a:gd name="connsiteY19" fmla="*/ 68886 h 104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1700" h="104225">
                  <a:moveTo>
                    <a:pt x="98710" y="68886"/>
                  </a:moveTo>
                  <a:cubicBezTo>
                    <a:pt x="94041" y="65184"/>
                    <a:pt x="87907" y="63880"/>
                    <a:pt x="82136" y="65362"/>
                  </a:cubicBezTo>
                  <a:cubicBezTo>
                    <a:pt x="77850" y="67076"/>
                    <a:pt x="75088" y="73839"/>
                    <a:pt x="72611" y="77268"/>
                  </a:cubicBezTo>
                  <a:cubicBezTo>
                    <a:pt x="71409" y="78990"/>
                    <a:pt x="69079" y="79489"/>
                    <a:pt x="67277" y="78411"/>
                  </a:cubicBezTo>
                  <a:cubicBezTo>
                    <a:pt x="51391" y="72319"/>
                    <a:pt x="38055" y="60997"/>
                    <a:pt x="29463" y="46312"/>
                  </a:cubicBezTo>
                  <a:cubicBezTo>
                    <a:pt x="27992" y="44386"/>
                    <a:pt x="28241" y="41655"/>
                    <a:pt x="30035" y="40025"/>
                  </a:cubicBezTo>
                  <a:cubicBezTo>
                    <a:pt x="33323" y="36994"/>
                    <a:pt x="35754" y="33151"/>
                    <a:pt x="37083" y="28881"/>
                  </a:cubicBezTo>
                  <a:cubicBezTo>
                    <a:pt x="37361" y="24297"/>
                    <a:pt x="36302" y="19730"/>
                    <a:pt x="34035" y="15737"/>
                  </a:cubicBezTo>
                  <a:cubicBezTo>
                    <a:pt x="31749" y="10879"/>
                    <a:pt x="29273" y="3926"/>
                    <a:pt x="24510" y="1259"/>
                  </a:cubicBezTo>
                  <a:cubicBezTo>
                    <a:pt x="19730" y="-998"/>
                    <a:pt x="14064" y="-173"/>
                    <a:pt x="10127" y="3354"/>
                  </a:cubicBezTo>
                  <a:cubicBezTo>
                    <a:pt x="3350" y="9083"/>
                    <a:pt x="-381" y="17635"/>
                    <a:pt x="31" y="26500"/>
                  </a:cubicBezTo>
                  <a:cubicBezTo>
                    <a:pt x="28" y="28970"/>
                    <a:pt x="316" y="31431"/>
                    <a:pt x="888" y="33834"/>
                  </a:cubicBezTo>
                  <a:cubicBezTo>
                    <a:pt x="2482" y="39530"/>
                    <a:pt x="4853" y="44979"/>
                    <a:pt x="7937" y="50027"/>
                  </a:cubicBezTo>
                  <a:cubicBezTo>
                    <a:pt x="10223" y="53837"/>
                    <a:pt x="12604" y="57551"/>
                    <a:pt x="15271" y="61171"/>
                  </a:cubicBezTo>
                  <a:cubicBezTo>
                    <a:pt x="23763" y="72926"/>
                    <a:pt x="34394" y="82975"/>
                    <a:pt x="46608" y="90794"/>
                  </a:cubicBezTo>
                  <a:cubicBezTo>
                    <a:pt x="52819" y="94728"/>
                    <a:pt x="59468" y="97925"/>
                    <a:pt x="66420" y="100319"/>
                  </a:cubicBezTo>
                  <a:cubicBezTo>
                    <a:pt x="73667" y="103594"/>
                    <a:pt x="81665" y="104845"/>
                    <a:pt x="89566" y="103938"/>
                  </a:cubicBezTo>
                  <a:cubicBezTo>
                    <a:pt x="98701" y="102510"/>
                    <a:pt x="106543" y="96665"/>
                    <a:pt x="110521" y="88317"/>
                  </a:cubicBezTo>
                  <a:cubicBezTo>
                    <a:pt x="111642" y="85842"/>
                    <a:pt x="111974" y="83082"/>
                    <a:pt x="111473" y="80411"/>
                  </a:cubicBezTo>
                  <a:cubicBezTo>
                    <a:pt x="110616" y="74887"/>
                    <a:pt x="103187" y="71553"/>
                    <a:pt x="98710" y="6888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74" name="Graphic 24">
            <a:extLst>
              <a:ext uri="{FF2B5EF4-FFF2-40B4-BE49-F238E27FC236}">
                <a16:creationId xmlns:a16="http://schemas.microsoft.com/office/drawing/2014/main" id="{C9013657-F0D0-02C1-FB00-2F95D05AA083}"/>
              </a:ext>
            </a:extLst>
          </p:cNvPr>
          <p:cNvGrpSpPr/>
          <p:nvPr/>
        </p:nvGrpSpPr>
        <p:grpSpPr>
          <a:xfrm>
            <a:off x="2406650" y="4279900"/>
            <a:ext cx="453961" cy="453961"/>
            <a:chOff x="2406650" y="4279900"/>
            <a:chExt cx="453961" cy="453961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B6789A3C-2CAB-CE32-72CA-23E8FC1913CE}"/>
                </a:ext>
              </a:extLst>
            </p:cNvPr>
            <p:cNvSpPr/>
            <p:nvPr/>
          </p:nvSpPr>
          <p:spPr>
            <a:xfrm>
              <a:off x="2406650" y="42799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DF94811-9719-79DA-8D51-9B1641A91046}"/>
                </a:ext>
              </a:extLst>
            </p:cNvPr>
            <p:cNvSpPr/>
            <p:nvPr/>
          </p:nvSpPr>
          <p:spPr>
            <a:xfrm>
              <a:off x="2539366" y="4388998"/>
              <a:ext cx="188964" cy="244898"/>
            </a:xfrm>
            <a:custGeom>
              <a:avLst/>
              <a:gdLst>
                <a:gd name="connsiteX0" fmla="*/ 78739 w 188964"/>
                <a:gd name="connsiteY0" fmla="*/ 160268 h 244898"/>
                <a:gd name="connsiteX1" fmla="*/ 78263 w 188964"/>
                <a:gd name="connsiteY1" fmla="*/ 162173 h 244898"/>
                <a:gd name="connsiteX2" fmla="*/ 59213 w 188964"/>
                <a:gd name="connsiteY2" fmla="*/ 221514 h 244898"/>
                <a:gd name="connsiteX3" fmla="*/ 44163 w 188964"/>
                <a:gd name="connsiteY3" fmla="*/ 243326 h 244898"/>
                <a:gd name="connsiteX4" fmla="*/ 41782 w 188964"/>
                <a:gd name="connsiteY4" fmla="*/ 244850 h 244898"/>
                <a:gd name="connsiteX5" fmla="*/ 40163 w 188964"/>
                <a:gd name="connsiteY5" fmla="*/ 242278 h 244898"/>
                <a:gd name="connsiteX6" fmla="*/ 38162 w 188964"/>
                <a:gd name="connsiteY6" fmla="*/ 210084 h 244898"/>
                <a:gd name="connsiteX7" fmla="*/ 58546 w 188964"/>
                <a:gd name="connsiteY7" fmla="*/ 114834 h 244898"/>
                <a:gd name="connsiteX8" fmla="*/ 58546 w 188964"/>
                <a:gd name="connsiteY8" fmla="*/ 111691 h 244898"/>
                <a:gd name="connsiteX9" fmla="*/ 57212 w 188964"/>
                <a:gd name="connsiteY9" fmla="*/ 76067 h 244898"/>
                <a:gd name="connsiteX10" fmla="*/ 99980 w 188964"/>
                <a:gd name="connsiteY10" fmla="*/ 69495 h 244898"/>
                <a:gd name="connsiteX11" fmla="*/ 88359 w 188964"/>
                <a:gd name="connsiteY11" fmla="*/ 125788 h 244898"/>
                <a:gd name="connsiteX12" fmla="*/ 129221 w 188964"/>
                <a:gd name="connsiteY12" fmla="*/ 146552 h 244898"/>
                <a:gd name="connsiteX13" fmla="*/ 155034 w 188964"/>
                <a:gd name="connsiteY13" fmla="*/ 73972 h 244898"/>
                <a:gd name="connsiteX14" fmla="*/ 65690 w 188964"/>
                <a:gd name="connsiteY14" fmla="*/ 30823 h 244898"/>
                <a:gd name="connsiteX15" fmla="*/ 35781 w 188964"/>
                <a:gd name="connsiteY15" fmla="*/ 118168 h 244898"/>
                <a:gd name="connsiteX16" fmla="*/ 39020 w 188964"/>
                <a:gd name="connsiteY16" fmla="*/ 125407 h 244898"/>
                <a:gd name="connsiteX17" fmla="*/ 35686 w 188964"/>
                <a:gd name="connsiteY17" fmla="*/ 138551 h 244898"/>
                <a:gd name="connsiteX18" fmla="*/ 30118 w 188964"/>
                <a:gd name="connsiteY18" fmla="*/ 142095 h 244898"/>
                <a:gd name="connsiteX19" fmla="*/ 28828 w 188964"/>
                <a:gd name="connsiteY19" fmla="*/ 141599 h 244898"/>
                <a:gd name="connsiteX20" fmla="*/ 12731 w 188964"/>
                <a:gd name="connsiteY20" fmla="*/ 129598 h 244898"/>
                <a:gd name="connsiteX21" fmla="*/ 12731 w 188964"/>
                <a:gd name="connsiteY21" fmla="*/ 44539 h 244898"/>
                <a:gd name="connsiteX22" fmla="*/ 111314 w 188964"/>
                <a:gd name="connsiteY22" fmla="*/ 1010 h 244898"/>
                <a:gd name="connsiteX23" fmla="*/ 188181 w 188964"/>
                <a:gd name="connsiteY23" fmla="*/ 69971 h 244898"/>
                <a:gd name="connsiteX24" fmla="*/ 167036 w 188964"/>
                <a:gd name="connsiteY24" fmla="*/ 150648 h 244898"/>
                <a:gd name="connsiteX25" fmla="*/ 82835 w 188964"/>
                <a:gd name="connsiteY25" fmla="*/ 164745 h 244898"/>
                <a:gd name="connsiteX26" fmla="*/ 78739 w 188964"/>
                <a:gd name="connsiteY26" fmla="*/ 160268 h 244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88964" h="244898">
                  <a:moveTo>
                    <a:pt x="78739" y="160268"/>
                  </a:moveTo>
                  <a:cubicBezTo>
                    <a:pt x="78739" y="161030"/>
                    <a:pt x="78739" y="161602"/>
                    <a:pt x="78263" y="162173"/>
                  </a:cubicBezTo>
                  <a:cubicBezTo>
                    <a:pt x="69214" y="197320"/>
                    <a:pt x="68738" y="205226"/>
                    <a:pt x="59213" y="221514"/>
                  </a:cubicBezTo>
                  <a:cubicBezTo>
                    <a:pt x="54760" y="229158"/>
                    <a:pt x="49729" y="236450"/>
                    <a:pt x="44163" y="243326"/>
                  </a:cubicBezTo>
                  <a:cubicBezTo>
                    <a:pt x="43592" y="244088"/>
                    <a:pt x="43020" y="245136"/>
                    <a:pt x="41782" y="244850"/>
                  </a:cubicBezTo>
                  <a:cubicBezTo>
                    <a:pt x="40544" y="244564"/>
                    <a:pt x="40258" y="243421"/>
                    <a:pt x="40163" y="242278"/>
                  </a:cubicBezTo>
                  <a:cubicBezTo>
                    <a:pt x="38593" y="231622"/>
                    <a:pt x="37923" y="220853"/>
                    <a:pt x="38162" y="210084"/>
                  </a:cubicBezTo>
                  <a:cubicBezTo>
                    <a:pt x="38162" y="195987"/>
                    <a:pt x="40353" y="191034"/>
                    <a:pt x="58546" y="114834"/>
                  </a:cubicBezTo>
                  <a:cubicBezTo>
                    <a:pt x="58874" y="113812"/>
                    <a:pt x="58874" y="112713"/>
                    <a:pt x="58546" y="111691"/>
                  </a:cubicBezTo>
                  <a:cubicBezTo>
                    <a:pt x="54067" y="100312"/>
                    <a:pt x="53597" y="87749"/>
                    <a:pt x="57212" y="76067"/>
                  </a:cubicBezTo>
                  <a:cubicBezTo>
                    <a:pt x="65404" y="50064"/>
                    <a:pt x="94836" y="48064"/>
                    <a:pt x="99980" y="69495"/>
                  </a:cubicBezTo>
                  <a:cubicBezTo>
                    <a:pt x="103218" y="82830"/>
                    <a:pt x="94836" y="100165"/>
                    <a:pt x="88359" y="125788"/>
                  </a:cubicBezTo>
                  <a:cubicBezTo>
                    <a:pt x="83025" y="147028"/>
                    <a:pt x="107885" y="162078"/>
                    <a:pt x="129221" y="146552"/>
                  </a:cubicBezTo>
                  <a:cubicBezTo>
                    <a:pt x="148938" y="132360"/>
                    <a:pt x="156558" y="98165"/>
                    <a:pt x="155034" y="73972"/>
                  </a:cubicBezTo>
                  <a:cubicBezTo>
                    <a:pt x="152177" y="25680"/>
                    <a:pt x="99313" y="15202"/>
                    <a:pt x="65690" y="30823"/>
                  </a:cubicBezTo>
                  <a:cubicBezTo>
                    <a:pt x="27590" y="48540"/>
                    <a:pt x="18065" y="96355"/>
                    <a:pt x="35781" y="118168"/>
                  </a:cubicBezTo>
                  <a:cubicBezTo>
                    <a:pt x="37972" y="120930"/>
                    <a:pt x="39686" y="122644"/>
                    <a:pt x="39020" y="125407"/>
                  </a:cubicBezTo>
                  <a:cubicBezTo>
                    <a:pt x="37877" y="129788"/>
                    <a:pt x="36829" y="134170"/>
                    <a:pt x="35686" y="138551"/>
                  </a:cubicBezTo>
                  <a:cubicBezTo>
                    <a:pt x="35127" y="141068"/>
                    <a:pt x="32634" y="142655"/>
                    <a:pt x="30118" y="142095"/>
                  </a:cubicBezTo>
                  <a:cubicBezTo>
                    <a:pt x="29665" y="141994"/>
                    <a:pt x="29231" y="141828"/>
                    <a:pt x="28828" y="141599"/>
                  </a:cubicBezTo>
                  <a:cubicBezTo>
                    <a:pt x="22501" y="139082"/>
                    <a:pt x="16949" y="134942"/>
                    <a:pt x="12731" y="129598"/>
                  </a:cubicBezTo>
                  <a:cubicBezTo>
                    <a:pt x="-2033" y="111310"/>
                    <a:pt x="-6319" y="75115"/>
                    <a:pt x="12731" y="44539"/>
                  </a:cubicBezTo>
                  <a:cubicBezTo>
                    <a:pt x="34621" y="12440"/>
                    <a:pt x="72845" y="-4437"/>
                    <a:pt x="111314" y="1010"/>
                  </a:cubicBezTo>
                  <a:cubicBezTo>
                    <a:pt x="149778" y="3510"/>
                    <a:pt x="181538" y="32003"/>
                    <a:pt x="188181" y="69971"/>
                  </a:cubicBezTo>
                  <a:cubicBezTo>
                    <a:pt x="191545" y="98567"/>
                    <a:pt x="183994" y="127379"/>
                    <a:pt x="167036" y="150648"/>
                  </a:cubicBezTo>
                  <a:cubicBezTo>
                    <a:pt x="142080" y="181699"/>
                    <a:pt x="101504" y="183795"/>
                    <a:pt x="82835" y="164745"/>
                  </a:cubicBezTo>
                  <a:cubicBezTo>
                    <a:pt x="81311" y="163697"/>
                    <a:pt x="80168" y="161983"/>
                    <a:pt x="78739" y="16026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77" name="Graphic 26">
            <a:extLst>
              <a:ext uri="{FF2B5EF4-FFF2-40B4-BE49-F238E27FC236}">
                <a16:creationId xmlns:a16="http://schemas.microsoft.com/office/drawing/2014/main" id="{BDC13D79-DF38-C841-0821-469C40B1202F}"/>
              </a:ext>
            </a:extLst>
          </p:cNvPr>
          <p:cNvGrpSpPr/>
          <p:nvPr/>
        </p:nvGrpSpPr>
        <p:grpSpPr>
          <a:xfrm>
            <a:off x="3321050" y="4279900"/>
            <a:ext cx="453961" cy="453961"/>
            <a:chOff x="3321050" y="4279900"/>
            <a:chExt cx="453961" cy="453961"/>
          </a:xfrm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1FE50194-5FD4-705D-1F44-FEE4699E3C5D}"/>
                </a:ext>
              </a:extLst>
            </p:cNvPr>
            <p:cNvSpPr/>
            <p:nvPr/>
          </p:nvSpPr>
          <p:spPr>
            <a:xfrm>
              <a:off x="3321050" y="42799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F7A975DD-63A7-B548-3541-927357DC5B3B}"/>
                </a:ext>
              </a:extLst>
            </p:cNvPr>
            <p:cNvSpPr/>
            <p:nvPr/>
          </p:nvSpPr>
          <p:spPr>
            <a:xfrm>
              <a:off x="3434873" y="4394200"/>
              <a:ext cx="226504" cy="226504"/>
            </a:xfrm>
            <a:custGeom>
              <a:avLst/>
              <a:gdLst>
                <a:gd name="connsiteX0" fmla="*/ 113157 w 226504"/>
                <a:gd name="connsiteY0" fmla="*/ 0 h 226504"/>
                <a:gd name="connsiteX1" fmla="*/ 0 w 226504"/>
                <a:gd name="connsiteY1" fmla="*/ 113348 h 226504"/>
                <a:gd name="connsiteX2" fmla="*/ 113348 w 226504"/>
                <a:gd name="connsiteY2" fmla="*/ 226504 h 226504"/>
                <a:gd name="connsiteX3" fmla="*/ 226505 w 226504"/>
                <a:gd name="connsiteY3" fmla="*/ 113157 h 226504"/>
                <a:gd name="connsiteX4" fmla="*/ 113157 w 226504"/>
                <a:gd name="connsiteY4" fmla="*/ 0 h 226504"/>
                <a:gd name="connsiteX5" fmla="*/ 187738 w 226504"/>
                <a:gd name="connsiteY5" fmla="*/ 53435 h 226504"/>
                <a:gd name="connsiteX6" fmla="*/ 208883 w 226504"/>
                <a:gd name="connsiteY6" fmla="*/ 111728 h 226504"/>
                <a:gd name="connsiteX7" fmla="*/ 164592 w 226504"/>
                <a:gd name="connsiteY7" fmla="*/ 107442 h 226504"/>
                <a:gd name="connsiteX8" fmla="*/ 142780 w 226504"/>
                <a:gd name="connsiteY8" fmla="*/ 108680 h 226504"/>
                <a:gd name="connsiteX9" fmla="*/ 140875 w 226504"/>
                <a:gd name="connsiteY9" fmla="*/ 104108 h 226504"/>
                <a:gd name="connsiteX10" fmla="*/ 134684 w 226504"/>
                <a:gd name="connsiteY10" fmla="*/ 90678 h 226504"/>
                <a:gd name="connsiteX11" fmla="*/ 187738 w 226504"/>
                <a:gd name="connsiteY11" fmla="*/ 53435 h 226504"/>
                <a:gd name="connsiteX12" fmla="*/ 113157 w 226504"/>
                <a:gd name="connsiteY12" fmla="*/ 17716 h 226504"/>
                <a:gd name="connsiteX13" fmla="*/ 176308 w 226504"/>
                <a:gd name="connsiteY13" fmla="*/ 41434 h 226504"/>
                <a:gd name="connsiteX14" fmla="*/ 126778 w 226504"/>
                <a:gd name="connsiteY14" fmla="*/ 75343 h 226504"/>
                <a:gd name="connsiteX15" fmla="*/ 91535 w 226504"/>
                <a:gd name="connsiteY15" fmla="*/ 20193 h 226504"/>
                <a:gd name="connsiteX16" fmla="*/ 113157 w 226504"/>
                <a:gd name="connsiteY16" fmla="*/ 17716 h 226504"/>
                <a:gd name="connsiteX17" fmla="*/ 72009 w 226504"/>
                <a:gd name="connsiteY17" fmla="*/ 27241 h 226504"/>
                <a:gd name="connsiteX18" fmla="*/ 107061 w 226504"/>
                <a:gd name="connsiteY18" fmla="*/ 81820 h 226504"/>
                <a:gd name="connsiteX19" fmla="*/ 20479 w 226504"/>
                <a:gd name="connsiteY19" fmla="*/ 93345 h 226504"/>
                <a:gd name="connsiteX20" fmla="*/ 19526 w 226504"/>
                <a:gd name="connsiteY20" fmla="*/ 93345 h 226504"/>
                <a:gd name="connsiteX21" fmla="*/ 71914 w 226504"/>
                <a:gd name="connsiteY21" fmla="*/ 27241 h 226504"/>
                <a:gd name="connsiteX22" fmla="*/ 17431 w 226504"/>
                <a:gd name="connsiteY22" fmla="*/ 113633 h 226504"/>
                <a:gd name="connsiteX23" fmla="*/ 17431 w 226504"/>
                <a:gd name="connsiteY23" fmla="*/ 110490 h 226504"/>
                <a:gd name="connsiteX24" fmla="*/ 20003 w 226504"/>
                <a:gd name="connsiteY24" fmla="*/ 110490 h 226504"/>
                <a:gd name="connsiteX25" fmla="*/ 115253 w 226504"/>
                <a:gd name="connsiteY25" fmla="*/ 96869 h 226504"/>
                <a:gd name="connsiteX26" fmla="*/ 122587 w 226504"/>
                <a:gd name="connsiteY26" fmla="*/ 112205 h 226504"/>
                <a:gd name="connsiteX27" fmla="*/ 119348 w 226504"/>
                <a:gd name="connsiteY27" fmla="*/ 113157 h 226504"/>
                <a:gd name="connsiteX28" fmla="*/ 41148 w 226504"/>
                <a:gd name="connsiteY28" fmla="*/ 176213 h 226504"/>
                <a:gd name="connsiteX29" fmla="*/ 17050 w 226504"/>
                <a:gd name="connsiteY29" fmla="*/ 112871 h 226504"/>
                <a:gd name="connsiteX30" fmla="*/ 112681 w 226504"/>
                <a:gd name="connsiteY30" fmla="*/ 208883 h 226504"/>
                <a:gd name="connsiteX31" fmla="*/ 54769 w 226504"/>
                <a:gd name="connsiteY31" fmla="*/ 188595 h 226504"/>
                <a:gd name="connsiteX32" fmla="*/ 129826 w 226504"/>
                <a:gd name="connsiteY32" fmla="*/ 129159 h 226504"/>
                <a:gd name="connsiteX33" fmla="*/ 129826 w 226504"/>
                <a:gd name="connsiteY33" fmla="*/ 129159 h 226504"/>
                <a:gd name="connsiteX34" fmla="*/ 150019 w 226504"/>
                <a:gd name="connsiteY34" fmla="*/ 201073 h 226504"/>
                <a:gd name="connsiteX35" fmla="*/ 113062 w 226504"/>
                <a:gd name="connsiteY35" fmla="*/ 208502 h 226504"/>
                <a:gd name="connsiteX36" fmla="*/ 166973 w 226504"/>
                <a:gd name="connsiteY36" fmla="*/ 192024 h 226504"/>
                <a:gd name="connsiteX37" fmla="*/ 148590 w 226504"/>
                <a:gd name="connsiteY37" fmla="*/ 125349 h 226504"/>
                <a:gd name="connsiteX38" fmla="*/ 167640 w 226504"/>
                <a:gd name="connsiteY38" fmla="*/ 123920 h 226504"/>
                <a:gd name="connsiteX39" fmla="*/ 206978 w 226504"/>
                <a:gd name="connsiteY39" fmla="*/ 129350 h 226504"/>
                <a:gd name="connsiteX40" fmla="*/ 166783 w 226504"/>
                <a:gd name="connsiteY40" fmla="*/ 192500 h 226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26504" h="226504">
                  <a:moveTo>
                    <a:pt x="113157" y="0"/>
                  </a:moveTo>
                  <a:cubicBezTo>
                    <a:pt x="50609" y="52"/>
                    <a:pt x="-52" y="50800"/>
                    <a:pt x="0" y="113348"/>
                  </a:cubicBezTo>
                  <a:cubicBezTo>
                    <a:pt x="52" y="175895"/>
                    <a:pt x="50800" y="226557"/>
                    <a:pt x="113348" y="226504"/>
                  </a:cubicBezTo>
                  <a:cubicBezTo>
                    <a:pt x="175895" y="226452"/>
                    <a:pt x="226557" y="175705"/>
                    <a:pt x="226505" y="113157"/>
                  </a:cubicBezTo>
                  <a:cubicBezTo>
                    <a:pt x="226400" y="50631"/>
                    <a:pt x="175683" y="0"/>
                    <a:pt x="113157" y="0"/>
                  </a:cubicBezTo>
                  <a:close/>
                  <a:moveTo>
                    <a:pt x="187738" y="53435"/>
                  </a:moveTo>
                  <a:cubicBezTo>
                    <a:pt x="201091" y="69964"/>
                    <a:pt x="208534" y="90483"/>
                    <a:pt x="208883" y="111728"/>
                  </a:cubicBezTo>
                  <a:cubicBezTo>
                    <a:pt x="194285" y="108920"/>
                    <a:pt x="179457" y="107485"/>
                    <a:pt x="164592" y="107442"/>
                  </a:cubicBezTo>
                  <a:cubicBezTo>
                    <a:pt x="157304" y="107437"/>
                    <a:pt x="150021" y="107851"/>
                    <a:pt x="142780" y="108680"/>
                  </a:cubicBezTo>
                  <a:lnTo>
                    <a:pt x="140875" y="104108"/>
                  </a:lnTo>
                  <a:cubicBezTo>
                    <a:pt x="138970" y="99631"/>
                    <a:pt x="136874" y="95155"/>
                    <a:pt x="134684" y="90678"/>
                  </a:cubicBezTo>
                  <a:cubicBezTo>
                    <a:pt x="155208" y="82902"/>
                    <a:pt x="173450" y="70095"/>
                    <a:pt x="187738" y="53435"/>
                  </a:cubicBezTo>
                  <a:close/>
                  <a:moveTo>
                    <a:pt x="113157" y="17716"/>
                  </a:moveTo>
                  <a:cubicBezTo>
                    <a:pt x="136396" y="17654"/>
                    <a:pt x="158855" y="26089"/>
                    <a:pt x="176308" y="41434"/>
                  </a:cubicBezTo>
                  <a:cubicBezTo>
                    <a:pt x="163260" y="57109"/>
                    <a:pt x="146112" y="68850"/>
                    <a:pt x="126778" y="75343"/>
                  </a:cubicBezTo>
                  <a:cubicBezTo>
                    <a:pt x="116227" y="56221"/>
                    <a:pt x="104455" y="37800"/>
                    <a:pt x="91535" y="20193"/>
                  </a:cubicBezTo>
                  <a:cubicBezTo>
                    <a:pt x="98624" y="18544"/>
                    <a:pt x="105879" y="17714"/>
                    <a:pt x="113157" y="17716"/>
                  </a:cubicBezTo>
                  <a:close/>
                  <a:moveTo>
                    <a:pt x="72009" y="27241"/>
                  </a:moveTo>
                  <a:cubicBezTo>
                    <a:pt x="84653" y="44800"/>
                    <a:pt x="96353" y="63018"/>
                    <a:pt x="107061" y="81820"/>
                  </a:cubicBezTo>
                  <a:cubicBezTo>
                    <a:pt x="78764" y="89108"/>
                    <a:pt x="49697" y="92977"/>
                    <a:pt x="20479" y="93345"/>
                  </a:cubicBezTo>
                  <a:lnTo>
                    <a:pt x="19526" y="93345"/>
                  </a:lnTo>
                  <a:cubicBezTo>
                    <a:pt x="25818" y="64390"/>
                    <a:pt x="45162" y="39980"/>
                    <a:pt x="71914" y="27241"/>
                  </a:cubicBezTo>
                  <a:close/>
                  <a:moveTo>
                    <a:pt x="17431" y="113633"/>
                  </a:moveTo>
                  <a:lnTo>
                    <a:pt x="17431" y="110490"/>
                  </a:lnTo>
                  <a:lnTo>
                    <a:pt x="20003" y="110490"/>
                  </a:lnTo>
                  <a:cubicBezTo>
                    <a:pt x="52222" y="110268"/>
                    <a:pt x="84262" y="105686"/>
                    <a:pt x="115253" y="96869"/>
                  </a:cubicBezTo>
                  <a:cubicBezTo>
                    <a:pt x="117824" y="101918"/>
                    <a:pt x="120301" y="107061"/>
                    <a:pt x="122587" y="112205"/>
                  </a:cubicBezTo>
                  <a:lnTo>
                    <a:pt x="119348" y="113157"/>
                  </a:lnTo>
                  <a:cubicBezTo>
                    <a:pt x="86930" y="124779"/>
                    <a:pt x="59379" y="146996"/>
                    <a:pt x="41148" y="176213"/>
                  </a:cubicBezTo>
                  <a:cubicBezTo>
                    <a:pt x="25621" y="158767"/>
                    <a:pt x="17046" y="136226"/>
                    <a:pt x="17050" y="112871"/>
                  </a:cubicBezTo>
                  <a:close/>
                  <a:moveTo>
                    <a:pt x="112681" y="208883"/>
                  </a:moveTo>
                  <a:cubicBezTo>
                    <a:pt x="91668" y="208694"/>
                    <a:pt x="71306" y="201561"/>
                    <a:pt x="54769" y="188595"/>
                  </a:cubicBezTo>
                  <a:cubicBezTo>
                    <a:pt x="71483" y="160102"/>
                    <a:pt x="98260" y="138898"/>
                    <a:pt x="129826" y="129159"/>
                  </a:cubicBezTo>
                  <a:lnTo>
                    <a:pt x="129826" y="129159"/>
                  </a:lnTo>
                  <a:cubicBezTo>
                    <a:pt x="138815" y="152438"/>
                    <a:pt x="145576" y="176517"/>
                    <a:pt x="150019" y="201073"/>
                  </a:cubicBezTo>
                  <a:cubicBezTo>
                    <a:pt x="138317" y="205987"/>
                    <a:pt x="125753" y="208513"/>
                    <a:pt x="113062" y="208502"/>
                  </a:cubicBezTo>
                  <a:close/>
                  <a:moveTo>
                    <a:pt x="166973" y="192024"/>
                  </a:moveTo>
                  <a:cubicBezTo>
                    <a:pt x="162669" y="169336"/>
                    <a:pt x="156521" y="147037"/>
                    <a:pt x="148590" y="125349"/>
                  </a:cubicBezTo>
                  <a:cubicBezTo>
                    <a:pt x="154894" y="124383"/>
                    <a:pt x="161263" y="123905"/>
                    <a:pt x="167640" y="123920"/>
                  </a:cubicBezTo>
                  <a:cubicBezTo>
                    <a:pt x="180939" y="123934"/>
                    <a:pt x="194173" y="125760"/>
                    <a:pt x="206978" y="129350"/>
                  </a:cubicBezTo>
                  <a:cubicBezTo>
                    <a:pt x="202655" y="154963"/>
                    <a:pt x="188158" y="177740"/>
                    <a:pt x="166783" y="19250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80" name="Graphic 28">
            <a:extLst>
              <a:ext uri="{FF2B5EF4-FFF2-40B4-BE49-F238E27FC236}">
                <a16:creationId xmlns:a16="http://schemas.microsoft.com/office/drawing/2014/main" id="{82EF13C2-FECA-35B4-7F30-2692EF6CFAA9}"/>
              </a:ext>
            </a:extLst>
          </p:cNvPr>
          <p:cNvGrpSpPr/>
          <p:nvPr/>
        </p:nvGrpSpPr>
        <p:grpSpPr>
          <a:xfrm>
            <a:off x="4235450" y="4279900"/>
            <a:ext cx="453961" cy="453961"/>
            <a:chOff x="4235450" y="4279900"/>
            <a:chExt cx="453961" cy="453961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ABCB202-E2DB-59D5-FCE9-96E6A905AA82}"/>
                </a:ext>
              </a:extLst>
            </p:cNvPr>
            <p:cNvSpPr/>
            <p:nvPr/>
          </p:nvSpPr>
          <p:spPr>
            <a:xfrm>
              <a:off x="4235450" y="42799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C0E37D66-B460-E899-E48A-2D4619CD32E4}"/>
                </a:ext>
              </a:extLst>
            </p:cNvPr>
            <p:cNvSpPr/>
            <p:nvPr/>
          </p:nvSpPr>
          <p:spPr>
            <a:xfrm>
              <a:off x="4368800" y="4391421"/>
              <a:ext cx="45148" cy="187659"/>
            </a:xfrm>
            <a:custGeom>
              <a:avLst/>
              <a:gdLst>
                <a:gd name="connsiteX0" fmla="*/ 2667 w 45148"/>
                <a:gd name="connsiteY0" fmla="*/ 62310 h 187659"/>
                <a:gd name="connsiteX1" fmla="*/ 41719 w 45148"/>
                <a:gd name="connsiteY1" fmla="*/ 62310 h 187659"/>
                <a:gd name="connsiteX2" fmla="*/ 41719 w 45148"/>
                <a:gd name="connsiteY2" fmla="*/ 187659 h 187659"/>
                <a:gd name="connsiteX3" fmla="*/ 2667 w 45148"/>
                <a:gd name="connsiteY3" fmla="*/ 187659 h 187659"/>
                <a:gd name="connsiteX4" fmla="*/ 21717 w 45148"/>
                <a:gd name="connsiteY4" fmla="*/ 17 h 187659"/>
                <a:gd name="connsiteX5" fmla="*/ 45132 w 45148"/>
                <a:gd name="connsiteY5" fmla="*/ 21717 h 187659"/>
                <a:gd name="connsiteX6" fmla="*/ 23431 w 45148"/>
                <a:gd name="connsiteY6" fmla="*/ 45133 h 187659"/>
                <a:gd name="connsiteX7" fmla="*/ 16 w 45148"/>
                <a:gd name="connsiteY7" fmla="*/ 23432 h 187659"/>
                <a:gd name="connsiteX8" fmla="*/ 0 w 45148"/>
                <a:gd name="connsiteY8" fmla="*/ 22591 h 187659"/>
                <a:gd name="connsiteX9" fmla="*/ 22574 w 45148"/>
                <a:gd name="connsiteY9" fmla="*/ 17 h 187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148" h="187659">
                  <a:moveTo>
                    <a:pt x="2667" y="62310"/>
                  </a:moveTo>
                  <a:lnTo>
                    <a:pt x="41719" y="62310"/>
                  </a:lnTo>
                  <a:lnTo>
                    <a:pt x="41719" y="187659"/>
                  </a:lnTo>
                  <a:lnTo>
                    <a:pt x="2667" y="187659"/>
                  </a:lnTo>
                  <a:close/>
                  <a:moveTo>
                    <a:pt x="21717" y="17"/>
                  </a:moveTo>
                  <a:cubicBezTo>
                    <a:pt x="34176" y="-457"/>
                    <a:pt x="44659" y="9259"/>
                    <a:pt x="45132" y="21717"/>
                  </a:cubicBezTo>
                  <a:cubicBezTo>
                    <a:pt x="45606" y="34176"/>
                    <a:pt x="35890" y="44659"/>
                    <a:pt x="23431" y="45133"/>
                  </a:cubicBezTo>
                  <a:cubicBezTo>
                    <a:pt x="10973" y="45606"/>
                    <a:pt x="490" y="35891"/>
                    <a:pt x="16" y="23432"/>
                  </a:cubicBezTo>
                  <a:cubicBezTo>
                    <a:pt x="6" y="23152"/>
                    <a:pt x="0" y="22871"/>
                    <a:pt x="0" y="22591"/>
                  </a:cubicBezTo>
                  <a:cubicBezTo>
                    <a:pt x="0" y="10124"/>
                    <a:pt x="10107" y="17"/>
                    <a:pt x="22574" y="17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DA8C53CB-B76F-E8C5-FB40-B0F8FA698CA0}"/>
                </a:ext>
              </a:extLst>
            </p:cNvPr>
            <p:cNvSpPr/>
            <p:nvPr/>
          </p:nvSpPr>
          <p:spPr>
            <a:xfrm>
              <a:off x="4435475" y="4450560"/>
              <a:ext cx="121538" cy="128519"/>
            </a:xfrm>
            <a:custGeom>
              <a:avLst/>
              <a:gdLst>
                <a:gd name="connsiteX0" fmla="*/ 0 w 121538"/>
                <a:gd name="connsiteY0" fmla="*/ 3170 h 128519"/>
                <a:gd name="connsiteX1" fmla="*/ 37338 w 121538"/>
                <a:gd name="connsiteY1" fmla="*/ 3170 h 128519"/>
                <a:gd name="connsiteX2" fmla="*/ 37338 w 121538"/>
                <a:gd name="connsiteY2" fmla="*/ 20315 h 128519"/>
                <a:gd name="connsiteX3" fmla="*/ 37909 w 121538"/>
                <a:gd name="connsiteY3" fmla="*/ 20315 h 128519"/>
                <a:gd name="connsiteX4" fmla="*/ 74771 w 121538"/>
                <a:gd name="connsiteY4" fmla="*/ 27 h 128519"/>
                <a:gd name="connsiteX5" fmla="*/ 121539 w 121538"/>
                <a:gd name="connsiteY5" fmla="*/ 59749 h 128519"/>
                <a:gd name="connsiteX6" fmla="*/ 121539 w 121538"/>
                <a:gd name="connsiteY6" fmla="*/ 128519 h 128519"/>
                <a:gd name="connsiteX7" fmla="*/ 82106 w 121538"/>
                <a:gd name="connsiteY7" fmla="*/ 128519 h 128519"/>
                <a:gd name="connsiteX8" fmla="*/ 82106 w 121538"/>
                <a:gd name="connsiteY8" fmla="*/ 67464 h 128519"/>
                <a:gd name="connsiteX9" fmla="*/ 61817 w 121538"/>
                <a:gd name="connsiteY9" fmla="*/ 34222 h 128519"/>
                <a:gd name="connsiteX10" fmla="*/ 38100 w 121538"/>
                <a:gd name="connsiteY10" fmla="*/ 66512 h 128519"/>
                <a:gd name="connsiteX11" fmla="*/ 38100 w 121538"/>
                <a:gd name="connsiteY11" fmla="*/ 128519 h 128519"/>
                <a:gd name="connsiteX12" fmla="*/ 0 w 121538"/>
                <a:gd name="connsiteY12" fmla="*/ 128519 h 128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1538" h="128519">
                  <a:moveTo>
                    <a:pt x="0" y="3170"/>
                  </a:moveTo>
                  <a:lnTo>
                    <a:pt x="37338" y="3170"/>
                  </a:lnTo>
                  <a:lnTo>
                    <a:pt x="37338" y="20315"/>
                  </a:lnTo>
                  <a:lnTo>
                    <a:pt x="37909" y="20315"/>
                  </a:lnTo>
                  <a:cubicBezTo>
                    <a:pt x="45518" y="7276"/>
                    <a:pt x="59684" y="-521"/>
                    <a:pt x="74771" y="27"/>
                  </a:cubicBezTo>
                  <a:cubicBezTo>
                    <a:pt x="114205" y="27"/>
                    <a:pt x="121539" y="26030"/>
                    <a:pt x="121539" y="59749"/>
                  </a:cubicBezTo>
                  <a:lnTo>
                    <a:pt x="121539" y="128519"/>
                  </a:lnTo>
                  <a:lnTo>
                    <a:pt x="82106" y="128519"/>
                  </a:lnTo>
                  <a:lnTo>
                    <a:pt x="82106" y="67464"/>
                  </a:lnTo>
                  <a:cubicBezTo>
                    <a:pt x="82106" y="52986"/>
                    <a:pt x="82106" y="34222"/>
                    <a:pt x="61817" y="34222"/>
                  </a:cubicBezTo>
                  <a:cubicBezTo>
                    <a:pt x="41529" y="34222"/>
                    <a:pt x="38100" y="50224"/>
                    <a:pt x="38100" y="66512"/>
                  </a:cubicBezTo>
                  <a:lnTo>
                    <a:pt x="38100" y="128519"/>
                  </a:lnTo>
                  <a:lnTo>
                    <a:pt x="0" y="12851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84" name="Graphic 60">
            <a:extLst>
              <a:ext uri="{FF2B5EF4-FFF2-40B4-BE49-F238E27FC236}">
                <a16:creationId xmlns:a16="http://schemas.microsoft.com/office/drawing/2014/main" id="{BC9A68C7-BB2C-5653-C331-DE1EE6E3A550}"/>
              </a:ext>
            </a:extLst>
          </p:cNvPr>
          <p:cNvGrpSpPr/>
          <p:nvPr/>
        </p:nvGrpSpPr>
        <p:grpSpPr>
          <a:xfrm>
            <a:off x="5149850" y="4279900"/>
            <a:ext cx="453961" cy="453961"/>
            <a:chOff x="5149850" y="4279900"/>
            <a:chExt cx="453961" cy="453961"/>
          </a:xfrm>
        </p:grpSpPr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66BD281-53AA-96D6-8019-43449F320883}"/>
                </a:ext>
              </a:extLst>
            </p:cNvPr>
            <p:cNvSpPr/>
            <p:nvPr/>
          </p:nvSpPr>
          <p:spPr>
            <a:xfrm>
              <a:off x="5149850" y="42799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7BC9149A-B8DB-DD74-2831-DCDF179CF814}"/>
                </a:ext>
              </a:extLst>
            </p:cNvPr>
            <p:cNvSpPr/>
            <p:nvPr/>
          </p:nvSpPr>
          <p:spPr>
            <a:xfrm>
              <a:off x="5230967" y="4408978"/>
              <a:ext cx="257140" cy="212845"/>
            </a:xfrm>
            <a:custGeom>
              <a:avLst/>
              <a:gdLst>
                <a:gd name="connsiteX0" fmla="*/ 15752 w 257140"/>
                <a:gd name="connsiteY0" fmla="*/ 92569 h 212845"/>
                <a:gd name="connsiteX1" fmla="*/ 168724 w 257140"/>
                <a:gd name="connsiteY1" fmla="*/ 29513 h 212845"/>
                <a:gd name="connsiteX2" fmla="*/ 235399 w 257140"/>
                <a:gd name="connsiteY2" fmla="*/ 1986 h 212845"/>
                <a:gd name="connsiteX3" fmla="*/ 257020 w 257140"/>
                <a:gd name="connsiteY3" fmla="*/ 15130 h 212845"/>
                <a:gd name="connsiteX4" fmla="*/ 245876 w 257140"/>
                <a:gd name="connsiteY4" fmla="*/ 91330 h 212845"/>
                <a:gd name="connsiteX5" fmla="*/ 229112 w 257140"/>
                <a:gd name="connsiteY5" fmla="*/ 194772 h 212845"/>
                <a:gd name="connsiteX6" fmla="*/ 216634 w 257140"/>
                <a:gd name="connsiteY6" fmla="*/ 212488 h 212845"/>
                <a:gd name="connsiteX7" fmla="*/ 183773 w 257140"/>
                <a:gd name="connsiteY7" fmla="*/ 200677 h 212845"/>
                <a:gd name="connsiteX8" fmla="*/ 117098 w 257140"/>
                <a:gd name="connsiteY8" fmla="*/ 154767 h 212845"/>
                <a:gd name="connsiteX9" fmla="*/ 113808 w 257140"/>
                <a:gd name="connsiteY9" fmla="*/ 137431 h 212845"/>
                <a:gd name="connsiteX10" fmla="*/ 117765 w 257140"/>
                <a:gd name="connsiteY10" fmla="*/ 133717 h 212845"/>
                <a:gd name="connsiteX11" fmla="*/ 186726 w 257140"/>
                <a:gd name="connsiteY11" fmla="*/ 68089 h 212845"/>
                <a:gd name="connsiteX12" fmla="*/ 169581 w 257140"/>
                <a:gd name="connsiteY12" fmla="*/ 64184 h 212845"/>
                <a:gd name="connsiteX13" fmla="*/ 77093 w 257140"/>
                <a:gd name="connsiteY13" fmla="*/ 126478 h 212845"/>
                <a:gd name="connsiteX14" fmla="*/ 46899 w 257140"/>
                <a:gd name="connsiteY14" fmla="*/ 127144 h 212845"/>
                <a:gd name="connsiteX15" fmla="*/ 4608 w 257140"/>
                <a:gd name="connsiteY15" fmla="*/ 112857 h 212845"/>
                <a:gd name="connsiteX16" fmla="*/ 15752 w 257140"/>
                <a:gd name="connsiteY16" fmla="*/ 92569 h 212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7140" h="212845">
                  <a:moveTo>
                    <a:pt x="15752" y="92569"/>
                  </a:moveTo>
                  <a:cubicBezTo>
                    <a:pt x="15752" y="92569"/>
                    <a:pt x="129290" y="45991"/>
                    <a:pt x="168724" y="29513"/>
                  </a:cubicBezTo>
                  <a:cubicBezTo>
                    <a:pt x="183773" y="22941"/>
                    <a:pt x="235399" y="1986"/>
                    <a:pt x="235399" y="1986"/>
                  </a:cubicBezTo>
                  <a:cubicBezTo>
                    <a:pt x="235399" y="1986"/>
                    <a:pt x="259021" y="-7539"/>
                    <a:pt x="257020" y="15130"/>
                  </a:cubicBezTo>
                  <a:cubicBezTo>
                    <a:pt x="256354" y="24655"/>
                    <a:pt x="251115" y="56469"/>
                    <a:pt x="245876" y="91330"/>
                  </a:cubicBezTo>
                  <a:cubicBezTo>
                    <a:pt x="237589" y="140479"/>
                    <a:pt x="229112" y="194772"/>
                    <a:pt x="229112" y="194772"/>
                  </a:cubicBezTo>
                  <a:cubicBezTo>
                    <a:pt x="229112" y="194772"/>
                    <a:pt x="227779" y="209917"/>
                    <a:pt x="216634" y="212488"/>
                  </a:cubicBezTo>
                  <a:cubicBezTo>
                    <a:pt x="205490" y="215060"/>
                    <a:pt x="187107" y="202963"/>
                    <a:pt x="183773" y="200677"/>
                  </a:cubicBezTo>
                  <a:cubicBezTo>
                    <a:pt x="180439" y="198392"/>
                    <a:pt x="134529" y="169150"/>
                    <a:pt x="117098" y="154767"/>
                  </a:cubicBezTo>
                  <a:cubicBezTo>
                    <a:pt x="111402" y="150887"/>
                    <a:pt x="109930" y="143126"/>
                    <a:pt x="113808" y="137431"/>
                  </a:cubicBezTo>
                  <a:cubicBezTo>
                    <a:pt x="114839" y="135917"/>
                    <a:pt x="116189" y="134649"/>
                    <a:pt x="117765" y="133717"/>
                  </a:cubicBezTo>
                  <a:cubicBezTo>
                    <a:pt x="141387" y="112095"/>
                    <a:pt x="169581" y="85139"/>
                    <a:pt x="186726" y="68089"/>
                  </a:cubicBezTo>
                  <a:cubicBezTo>
                    <a:pt x="194536" y="60184"/>
                    <a:pt x="202442" y="41800"/>
                    <a:pt x="169581" y="64184"/>
                  </a:cubicBezTo>
                  <a:cubicBezTo>
                    <a:pt x="123004" y="96283"/>
                    <a:pt x="77093" y="126478"/>
                    <a:pt x="77093" y="126478"/>
                  </a:cubicBezTo>
                  <a:cubicBezTo>
                    <a:pt x="67550" y="130850"/>
                    <a:pt x="56626" y="131092"/>
                    <a:pt x="46899" y="127144"/>
                  </a:cubicBezTo>
                  <a:cubicBezTo>
                    <a:pt x="27563" y="120763"/>
                    <a:pt x="4608" y="112857"/>
                    <a:pt x="4608" y="112857"/>
                  </a:cubicBezTo>
                  <a:cubicBezTo>
                    <a:pt x="4608" y="112857"/>
                    <a:pt x="-11204" y="103332"/>
                    <a:pt x="15752" y="92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87" name="Graphic 32">
            <a:extLst>
              <a:ext uri="{FF2B5EF4-FFF2-40B4-BE49-F238E27FC236}">
                <a16:creationId xmlns:a16="http://schemas.microsoft.com/office/drawing/2014/main" id="{89225055-2EBA-A232-4CBE-0F3160788C6B}"/>
              </a:ext>
            </a:extLst>
          </p:cNvPr>
          <p:cNvGrpSpPr/>
          <p:nvPr/>
        </p:nvGrpSpPr>
        <p:grpSpPr>
          <a:xfrm>
            <a:off x="6584952" y="2451100"/>
            <a:ext cx="453961" cy="453961"/>
            <a:chOff x="6584952" y="2451100"/>
            <a:chExt cx="453961" cy="453961"/>
          </a:xfrm>
        </p:grpSpPr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34C51F02-225C-6D70-2E9D-9345A0E72E24}"/>
                </a:ext>
              </a:extLst>
            </p:cNvPr>
            <p:cNvSpPr/>
            <p:nvPr/>
          </p:nvSpPr>
          <p:spPr>
            <a:xfrm>
              <a:off x="6584952" y="24511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gradFill>
              <a:gsLst>
                <a:gs pos="0">
                  <a:srgbClr val="5865F2"/>
                </a:gs>
                <a:gs pos="71000">
                  <a:srgbClr val="651EE2"/>
                </a:gs>
                <a:gs pos="100000">
                  <a:srgbClr val="6A00D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7E500255-CA98-F398-5358-6EF9443A0BA3}"/>
                </a:ext>
              </a:extLst>
            </p:cNvPr>
            <p:cNvSpPr/>
            <p:nvPr/>
          </p:nvSpPr>
          <p:spPr>
            <a:xfrm>
              <a:off x="6668534" y="2568924"/>
              <a:ext cx="286778" cy="218408"/>
            </a:xfrm>
            <a:custGeom>
              <a:avLst/>
              <a:gdLst>
                <a:gd name="connsiteX0" fmla="*/ 242935 w 286778"/>
                <a:gd name="connsiteY0" fmla="*/ 18193 h 218408"/>
                <a:gd name="connsiteX1" fmla="*/ 183785 w 286778"/>
                <a:gd name="connsiteY1" fmla="*/ 0 h 218408"/>
                <a:gd name="connsiteX2" fmla="*/ 176165 w 286778"/>
                <a:gd name="connsiteY2" fmla="*/ 15526 h 218408"/>
                <a:gd name="connsiteX3" fmla="*/ 110633 w 286778"/>
                <a:gd name="connsiteY3" fmla="*/ 15526 h 218408"/>
                <a:gd name="connsiteX4" fmla="*/ 102917 w 286778"/>
                <a:gd name="connsiteY4" fmla="*/ 0 h 218408"/>
                <a:gd name="connsiteX5" fmla="*/ 43672 w 286778"/>
                <a:gd name="connsiteY5" fmla="*/ 18288 h 218408"/>
                <a:gd name="connsiteX6" fmla="*/ 1286 w 286778"/>
                <a:gd name="connsiteY6" fmla="*/ 181737 h 218408"/>
                <a:gd name="connsiteX7" fmla="*/ 73866 w 286778"/>
                <a:gd name="connsiteY7" fmla="*/ 218408 h 218408"/>
                <a:gd name="connsiteX8" fmla="*/ 89392 w 286778"/>
                <a:gd name="connsiteY8" fmla="*/ 193167 h 218408"/>
                <a:gd name="connsiteX9" fmla="*/ 64913 w 286778"/>
                <a:gd name="connsiteY9" fmla="*/ 181451 h 218408"/>
                <a:gd name="connsiteX10" fmla="*/ 70818 w 286778"/>
                <a:gd name="connsiteY10" fmla="*/ 176784 h 218408"/>
                <a:gd name="connsiteX11" fmla="*/ 215979 w 286778"/>
                <a:gd name="connsiteY11" fmla="*/ 176784 h 218408"/>
                <a:gd name="connsiteX12" fmla="*/ 221980 w 286778"/>
                <a:gd name="connsiteY12" fmla="*/ 181451 h 218408"/>
                <a:gd name="connsiteX13" fmla="*/ 197405 w 286778"/>
                <a:gd name="connsiteY13" fmla="*/ 193262 h 218408"/>
                <a:gd name="connsiteX14" fmla="*/ 213026 w 286778"/>
                <a:gd name="connsiteY14" fmla="*/ 218408 h 218408"/>
                <a:gd name="connsiteX15" fmla="*/ 285512 w 286778"/>
                <a:gd name="connsiteY15" fmla="*/ 181737 h 218408"/>
                <a:gd name="connsiteX16" fmla="*/ 242935 w 286778"/>
                <a:gd name="connsiteY16" fmla="*/ 18193 h 218408"/>
                <a:gd name="connsiteX17" fmla="*/ 95774 w 286778"/>
                <a:gd name="connsiteY17" fmla="*/ 148876 h 218408"/>
                <a:gd name="connsiteX18" fmla="*/ 70056 w 286778"/>
                <a:gd name="connsiteY18" fmla="*/ 120301 h 218408"/>
                <a:gd name="connsiteX19" fmla="*/ 95774 w 286778"/>
                <a:gd name="connsiteY19" fmla="*/ 91726 h 218408"/>
                <a:gd name="connsiteX20" fmla="*/ 121586 w 286778"/>
                <a:gd name="connsiteY20" fmla="*/ 120301 h 218408"/>
                <a:gd name="connsiteX21" fmla="*/ 95774 w 286778"/>
                <a:gd name="connsiteY21" fmla="*/ 148876 h 218408"/>
                <a:gd name="connsiteX22" fmla="*/ 191024 w 286778"/>
                <a:gd name="connsiteY22" fmla="*/ 148876 h 218408"/>
                <a:gd name="connsiteX23" fmla="*/ 165211 w 286778"/>
                <a:gd name="connsiteY23" fmla="*/ 120301 h 218408"/>
                <a:gd name="connsiteX24" fmla="*/ 191024 w 286778"/>
                <a:gd name="connsiteY24" fmla="*/ 91726 h 218408"/>
                <a:gd name="connsiteX25" fmla="*/ 216741 w 286778"/>
                <a:gd name="connsiteY25" fmla="*/ 120301 h 218408"/>
                <a:gd name="connsiteX26" fmla="*/ 191024 w 286778"/>
                <a:gd name="connsiteY26" fmla="*/ 148876 h 218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86778" h="218408">
                  <a:moveTo>
                    <a:pt x="242935" y="18193"/>
                  </a:moveTo>
                  <a:cubicBezTo>
                    <a:pt x="224106" y="9549"/>
                    <a:pt x="204217" y="3431"/>
                    <a:pt x="183785" y="0"/>
                  </a:cubicBezTo>
                  <a:cubicBezTo>
                    <a:pt x="180922" y="5011"/>
                    <a:pt x="178377" y="10197"/>
                    <a:pt x="176165" y="15526"/>
                  </a:cubicBezTo>
                  <a:cubicBezTo>
                    <a:pt x="154441" y="12287"/>
                    <a:pt x="132356" y="12287"/>
                    <a:pt x="110633" y="15526"/>
                  </a:cubicBezTo>
                  <a:cubicBezTo>
                    <a:pt x="108368" y="10203"/>
                    <a:pt x="105792" y="5019"/>
                    <a:pt x="102917" y="0"/>
                  </a:cubicBezTo>
                  <a:cubicBezTo>
                    <a:pt x="82447" y="3449"/>
                    <a:pt x="62525" y="9598"/>
                    <a:pt x="43672" y="18288"/>
                  </a:cubicBezTo>
                  <a:cubicBezTo>
                    <a:pt x="10348" y="65902"/>
                    <a:pt x="-4700" y="123930"/>
                    <a:pt x="1286" y="181737"/>
                  </a:cubicBezTo>
                  <a:cubicBezTo>
                    <a:pt x="23207" y="198016"/>
                    <a:pt x="47756" y="210419"/>
                    <a:pt x="73866" y="218408"/>
                  </a:cubicBezTo>
                  <a:cubicBezTo>
                    <a:pt x="79688" y="210409"/>
                    <a:pt x="84878" y="201970"/>
                    <a:pt x="89392" y="193167"/>
                  </a:cubicBezTo>
                  <a:cubicBezTo>
                    <a:pt x="80907" y="189980"/>
                    <a:pt x="72716" y="186060"/>
                    <a:pt x="64913" y="181451"/>
                  </a:cubicBezTo>
                  <a:cubicBezTo>
                    <a:pt x="67008" y="179927"/>
                    <a:pt x="68913" y="178403"/>
                    <a:pt x="70818" y="176784"/>
                  </a:cubicBezTo>
                  <a:cubicBezTo>
                    <a:pt x="116768" y="198505"/>
                    <a:pt x="170030" y="198505"/>
                    <a:pt x="215979" y="176784"/>
                  </a:cubicBezTo>
                  <a:cubicBezTo>
                    <a:pt x="217895" y="178444"/>
                    <a:pt x="219899" y="180003"/>
                    <a:pt x="221980" y="181451"/>
                  </a:cubicBezTo>
                  <a:cubicBezTo>
                    <a:pt x="214155" y="186110"/>
                    <a:pt x="205931" y="190062"/>
                    <a:pt x="197405" y="193262"/>
                  </a:cubicBezTo>
                  <a:cubicBezTo>
                    <a:pt x="201917" y="202057"/>
                    <a:pt x="207142" y="210467"/>
                    <a:pt x="213026" y="218408"/>
                  </a:cubicBezTo>
                  <a:cubicBezTo>
                    <a:pt x="239146" y="210516"/>
                    <a:pt x="263679" y="198105"/>
                    <a:pt x="285512" y="181737"/>
                  </a:cubicBezTo>
                  <a:cubicBezTo>
                    <a:pt x="291457" y="123875"/>
                    <a:pt x="276340" y="65810"/>
                    <a:pt x="242935" y="18193"/>
                  </a:cubicBezTo>
                  <a:close/>
                  <a:moveTo>
                    <a:pt x="95774" y="148876"/>
                  </a:moveTo>
                  <a:cubicBezTo>
                    <a:pt x="80844" y="147955"/>
                    <a:pt x="69405" y="135245"/>
                    <a:pt x="70056" y="120301"/>
                  </a:cubicBezTo>
                  <a:cubicBezTo>
                    <a:pt x="69405" y="105357"/>
                    <a:pt x="80844" y="92647"/>
                    <a:pt x="95774" y="91726"/>
                  </a:cubicBezTo>
                  <a:cubicBezTo>
                    <a:pt x="110765" y="92546"/>
                    <a:pt x="122289" y="105304"/>
                    <a:pt x="121586" y="120301"/>
                  </a:cubicBezTo>
                  <a:cubicBezTo>
                    <a:pt x="122184" y="135261"/>
                    <a:pt x="110716" y="147956"/>
                    <a:pt x="95774" y="148876"/>
                  </a:cubicBezTo>
                  <a:close/>
                  <a:moveTo>
                    <a:pt x="191024" y="148876"/>
                  </a:moveTo>
                  <a:cubicBezTo>
                    <a:pt x="176080" y="147956"/>
                    <a:pt x="164613" y="135261"/>
                    <a:pt x="165211" y="120301"/>
                  </a:cubicBezTo>
                  <a:cubicBezTo>
                    <a:pt x="164613" y="105341"/>
                    <a:pt x="176081" y="92646"/>
                    <a:pt x="191024" y="91726"/>
                  </a:cubicBezTo>
                  <a:cubicBezTo>
                    <a:pt x="206002" y="92546"/>
                    <a:pt x="217497" y="105320"/>
                    <a:pt x="216741" y="120301"/>
                  </a:cubicBezTo>
                  <a:cubicBezTo>
                    <a:pt x="217393" y="135245"/>
                    <a:pt x="205953" y="147955"/>
                    <a:pt x="191024" y="14887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90" name="Graphic 34">
            <a:extLst>
              <a:ext uri="{FF2B5EF4-FFF2-40B4-BE49-F238E27FC236}">
                <a16:creationId xmlns:a16="http://schemas.microsoft.com/office/drawing/2014/main" id="{C471E801-74B0-6570-B203-B46BA2284057}"/>
              </a:ext>
            </a:extLst>
          </p:cNvPr>
          <p:cNvGrpSpPr/>
          <p:nvPr/>
        </p:nvGrpSpPr>
        <p:grpSpPr>
          <a:xfrm>
            <a:off x="7499352" y="2451100"/>
            <a:ext cx="453961" cy="453961"/>
            <a:chOff x="7499352" y="2451100"/>
            <a:chExt cx="453961" cy="453961"/>
          </a:xfrm>
        </p:grpSpPr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453E4669-DC7F-E440-F005-67180440B5E4}"/>
                </a:ext>
              </a:extLst>
            </p:cNvPr>
            <p:cNvSpPr/>
            <p:nvPr/>
          </p:nvSpPr>
          <p:spPr>
            <a:xfrm>
              <a:off x="7499352" y="24511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gradFill>
              <a:gsLst>
                <a:gs pos="0">
                  <a:srgbClr val="23004A"/>
                </a:gs>
                <a:gs pos="96000">
                  <a:srgbClr val="020003"/>
                </a:gs>
                <a:gs pos="100000">
                  <a:srgbClr val="000000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C787230C-AA9D-2A30-8407-8F81B1F23507}"/>
                </a:ext>
              </a:extLst>
            </p:cNvPr>
            <p:cNvSpPr/>
            <p:nvPr/>
          </p:nvSpPr>
          <p:spPr>
            <a:xfrm>
              <a:off x="7625272" y="2574925"/>
              <a:ext cx="202215" cy="206120"/>
            </a:xfrm>
            <a:custGeom>
              <a:avLst/>
              <a:gdLst>
                <a:gd name="connsiteX0" fmla="*/ 120301 w 202215"/>
                <a:gd name="connsiteY0" fmla="*/ 87249 h 206120"/>
                <a:gd name="connsiteX1" fmla="*/ 195643 w 202215"/>
                <a:gd name="connsiteY1" fmla="*/ 0 h 206120"/>
                <a:gd name="connsiteX2" fmla="*/ 177736 w 202215"/>
                <a:gd name="connsiteY2" fmla="*/ 0 h 206120"/>
                <a:gd name="connsiteX3" fmla="*/ 112205 w 202215"/>
                <a:gd name="connsiteY3" fmla="*/ 76200 h 206120"/>
                <a:gd name="connsiteX4" fmla="*/ 60008 w 202215"/>
                <a:gd name="connsiteY4" fmla="*/ 0 h 206120"/>
                <a:gd name="connsiteX5" fmla="*/ 0 w 202215"/>
                <a:gd name="connsiteY5" fmla="*/ 0 h 206120"/>
                <a:gd name="connsiteX6" fmla="*/ 78867 w 202215"/>
                <a:gd name="connsiteY6" fmla="*/ 114300 h 206120"/>
                <a:gd name="connsiteX7" fmla="*/ 0 w 202215"/>
                <a:gd name="connsiteY7" fmla="*/ 206121 h 206120"/>
                <a:gd name="connsiteX8" fmla="*/ 17812 w 202215"/>
                <a:gd name="connsiteY8" fmla="*/ 206121 h 206120"/>
                <a:gd name="connsiteX9" fmla="*/ 86868 w 202215"/>
                <a:gd name="connsiteY9" fmla="*/ 125825 h 206120"/>
                <a:gd name="connsiteX10" fmla="*/ 142018 w 202215"/>
                <a:gd name="connsiteY10" fmla="*/ 206121 h 206120"/>
                <a:gd name="connsiteX11" fmla="*/ 202216 w 202215"/>
                <a:gd name="connsiteY11" fmla="*/ 206121 h 206120"/>
                <a:gd name="connsiteX12" fmla="*/ 120301 w 202215"/>
                <a:gd name="connsiteY12" fmla="*/ 86963 h 206120"/>
                <a:gd name="connsiteX13" fmla="*/ 95917 w 202215"/>
                <a:gd name="connsiteY13" fmla="*/ 115824 h 206120"/>
                <a:gd name="connsiteX14" fmla="*/ 87916 w 202215"/>
                <a:gd name="connsiteY14" fmla="*/ 104394 h 206120"/>
                <a:gd name="connsiteX15" fmla="*/ 24194 w 202215"/>
                <a:gd name="connsiteY15" fmla="*/ 13335 h 206120"/>
                <a:gd name="connsiteX16" fmla="*/ 51625 w 202215"/>
                <a:gd name="connsiteY16" fmla="*/ 13335 h 206120"/>
                <a:gd name="connsiteX17" fmla="*/ 102680 w 202215"/>
                <a:gd name="connsiteY17" fmla="*/ 86582 h 206120"/>
                <a:gd name="connsiteX18" fmla="*/ 110681 w 202215"/>
                <a:gd name="connsiteY18" fmla="*/ 98107 h 206120"/>
                <a:gd name="connsiteX19" fmla="*/ 177356 w 202215"/>
                <a:gd name="connsiteY19" fmla="*/ 193358 h 206120"/>
                <a:gd name="connsiteX20" fmla="*/ 150305 w 202215"/>
                <a:gd name="connsiteY20" fmla="*/ 193358 h 206120"/>
                <a:gd name="connsiteX21" fmla="*/ 95822 w 202215"/>
                <a:gd name="connsiteY21" fmla="*/ 115443 h 20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2215" h="206120">
                  <a:moveTo>
                    <a:pt x="120301" y="87249"/>
                  </a:moveTo>
                  <a:lnTo>
                    <a:pt x="195643" y="0"/>
                  </a:lnTo>
                  <a:lnTo>
                    <a:pt x="177736" y="0"/>
                  </a:lnTo>
                  <a:lnTo>
                    <a:pt x="112205" y="76200"/>
                  </a:lnTo>
                  <a:lnTo>
                    <a:pt x="60008" y="0"/>
                  </a:lnTo>
                  <a:lnTo>
                    <a:pt x="0" y="0"/>
                  </a:lnTo>
                  <a:lnTo>
                    <a:pt x="78867" y="114300"/>
                  </a:lnTo>
                  <a:lnTo>
                    <a:pt x="0" y="206121"/>
                  </a:lnTo>
                  <a:lnTo>
                    <a:pt x="17812" y="206121"/>
                  </a:lnTo>
                  <a:lnTo>
                    <a:pt x="86868" y="125825"/>
                  </a:lnTo>
                  <a:lnTo>
                    <a:pt x="142018" y="206121"/>
                  </a:lnTo>
                  <a:lnTo>
                    <a:pt x="202216" y="206121"/>
                  </a:lnTo>
                  <a:lnTo>
                    <a:pt x="120301" y="86963"/>
                  </a:lnTo>
                  <a:close/>
                  <a:moveTo>
                    <a:pt x="95917" y="115824"/>
                  </a:moveTo>
                  <a:lnTo>
                    <a:pt x="87916" y="104394"/>
                  </a:lnTo>
                  <a:lnTo>
                    <a:pt x="24194" y="13335"/>
                  </a:lnTo>
                  <a:lnTo>
                    <a:pt x="51625" y="13335"/>
                  </a:lnTo>
                  <a:lnTo>
                    <a:pt x="102680" y="86582"/>
                  </a:lnTo>
                  <a:lnTo>
                    <a:pt x="110681" y="98107"/>
                  </a:lnTo>
                  <a:lnTo>
                    <a:pt x="177356" y="193358"/>
                  </a:lnTo>
                  <a:lnTo>
                    <a:pt x="150305" y="193358"/>
                  </a:lnTo>
                  <a:lnTo>
                    <a:pt x="95822" y="11544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93" name="Graphic 36">
            <a:extLst>
              <a:ext uri="{FF2B5EF4-FFF2-40B4-BE49-F238E27FC236}">
                <a16:creationId xmlns:a16="http://schemas.microsoft.com/office/drawing/2014/main" id="{C9B94DA8-13FE-1D4D-FA30-EC03A43F691B}"/>
              </a:ext>
            </a:extLst>
          </p:cNvPr>
          <p:cNvGrpSpPr/>
          <p:nvPr/>
        </p:nvGrpSpPr>
        <p:grpSpPr>
          <a:xfrm>
            <a:off x="8413752" y="2451100"/>
            <a:ext cx="453961" cy="453961"/>
            <a:chOff x="8413752" y="2451100"/>
            <a:chExt cx="453961" cy="453961"/>
          </a:xfrm>
        </p:grpSpPr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F6E69E42-6F67-0231-8FCE-86D55CBC708A}"/>
                </a:ext>
              </a:extLst>
            </p:cNvPr>
            <p:cNvSpPr/>
            <p:nvPr/>
          </p:nvSpPr>
          <p:spPr>
            <a:xfrm>
              <a:off x="8413752" y="24511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gradFill>
              <a:gsLst>
                <a:gs pos="0">
                  <a:srgbClr val="23004A"/>
                </a:gs>
                <a:gs pos="96000">
                  <a:srgbClr val="020003"/>
                </a:gs>
                <a:gs pos="100000">
                  <a:srgbClr val="000000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5DE4D45E-4735-F41F-C250-433DA4BD18FF}"/>
                </a:ext>
              </a:extLst>
            </p:cNvPr>
            <p:cNvSpPr/>
            <p:nvPr/>
          </p:nvSpPr>
          <p:spPr>
            <a:xfrm>
              <a:off x="8555198" y="2560637"/>
              <a:ext cx="191547" cy="245130"/>
            </a:xfrm>
            <a:custGeom>
              <a:avLst/>
              <a:gdLst>
                <a:gd name="connsiteX0" fmla="*/ 133064 w 191547"/>
                <a:gd name="connsiteY0" fmla="*/ 82010 h 245130"/>
                <a:gd name="connsiteX1" fmla="*/ 191548 w 191547"/>
                <a:gd name="connsiteY1" fmla="*/ 101060 h 245130"/>
                <a:gd name="connsiteX2" fmla="*/ 191548 w 191547"/>
                <a:gd name="connsiteY2" fmla="*/ 59150 h 245130"/>
                <a:gd name="connsiteX3" fmla="*/ 179356 w 191547"/>
                <a:gd name="connsiteY3" fmla="*/ 57817 h 245130"/>
                <a:gd name="connsiteX4" fmla="*/ 179356 w 191547"/>
                <a:gd name="connsiteY4" fmla="*/ 90488 h 245130"/>
                <a:gd name="connsiteX5" fmla="*/ 120777 w 191547"/>
                <a:gd name="connsiteY5" fmla="*/ 71438 h 245130"/>
                <a:gd name="connsiteX6" fmla="*/ 120777 w 191547"/>
                <a:gd name="connsiteY6" fmla="*/ 157163 h 245130"/>
                <a:gd name="connsiteX7" fmla="*/ 43279 w 191547"/>
                <a:gd name="connsiteY7" fmla="*/ 234731 h 245130"/>
                <a:gd name="connsiteX8" fmla="*/ 0 w 191547"/>
                <a:gd name="connsiteY8" fmla="*/ 221551 h 245130"/>
                <a:gd name="connsiteX9" fmla="*/ 109771 w 191547"/>
                <a:gd name="connsiteY9" fmla="*/ 223223 h 245130"/>
                <a:gd name="connsiteX10" fmla="*/ 133350 w 191547"/>
                <a:gd name="connsiteY10" fmla="*/ 167354 h 245130"/>
                <a:gd name="connsiteX11" fmla="*/ 133350 w 191547"/>
                <a:gd name="connsiteY11" fmla="*/ 81629 h 245130"/>
                <a:gd name="connsiteX12" fmla="*/ 148209 w 191547"/>
                <a:gd name="connsiteY12" fmla="*/ 39624 h 245130"/>
                <a:gd name="connsiteX13" fmla="*/ 133064 w 191547"/>
                <a:gd name="connsiteY13" fmla="*/ 5429 h 245130"/>
                <a:gd name="connsiteX14" fmla="*/ 133064 w 191547"/>
                <a:gd name="connsiteY14" fmla="*/ 0 h 245130"/>
                <a:gd name="connsiteX15" fmla="*/ 121444 w 191547"/>
                <a:gd name="connsiteY15" fmla="*/ 0 h 245130"/>
                <a:gd name="connsiteX16" fmla="*/ 148209 w 191547"/>
                <a:gd name="connsiteY16" fmla="*/ 39624 h 245130"/>
                <a:gd name="connsiteX17" fmla="*/ 27146 w 191547"/>
                <a:gd name="connsiteY17" fmla="*/ 188976 h 245130"/>
                <a:gd name="connsiteX18" fmla="*/ 19907 w 191547"/>
                <a:gd name="connsiteY18" fmla="*/ 167545 h 245130"/>
                <a:gd name="connsiteX19" fmla="*/ 55245 w 191547"/>
                <a:gd name="connsiteY19" fmla="*/ 132017 h 245130"/>
                <a:gd name="connsiteX20" fmla="*/ 55340 w 191547"/>
                <a:gd name="connsiteY20" fmla="*/ 132017 h 245130"/>
                <a:gd name="connsiteX21" fmla="*/ 66104 w 191547"/>
                <a:gd name="connsiteY21" fmla="*/ 133731 h 245130"/>
                <a:gd name="connsiteX22" fmla="*/ 66104 w 191547"/>
                <a:gd name="connsiteY22" fmla="*/ 90488 h 245130"/>
                <a:gd name="connsiteX23" fmla="*/ 53816 w 191547"/>
                <a:gd name="connsiteY23" fmla="*/ 90488 h 245130"/>
                <a:gd name="connsiteX24" fmla="*/ 53816 w 191547"/>
                <a:gd name="connsiteY24" fmla="*/ 123825 h 245130"/>
                <a:gd name="connsiteX25" fmla="*/ 43053 w 191547"/>
                <a:gd name="connsiteY25" fmla="*/ 122206 h 245130"/>
                <a:gd name="connsiteX26" fmla="*/ 7507 w 191547"/>
                <a:gd name="connsiteY26" fmla="*/ 157525 h 245130"/>
                <a:gd name="connsiteX27" fmla="*/ 27146 w 191547"/>
                <a:gd name="connsiteY27" fmla="*/ 189357 h 245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91547" h="245130">
                  <a:moveTo>
                    <a:pt x="133064" y="82010"/>
                  </a:moveTo>
                  <a:cubicBezTo>
                    <a:pt x="150094" y="94305"/>
                    <a:pt x="170543" y="100966"/>
                    <a:pt x="191548" y="101060"/>
                  </a:cubicBezTo>
                  <a:lnTo>
                    <a:pt x="191548" y="59150"/>
                  </a:lnTo>
                  <a:cubicBezTo>
                    <a:pt x="187448" y="59136"/>
                    <a:pt x="183362" y="58688"/>
                    <a:pt x="179356" y="57817"/>
                  </a:cubicBezTo>
                  <a:lnTo>
                    <a:pt x="179356" y="90488"/>
                  </a:lnTo>
                  <a:cubicBezTo>
                    <a:pt x="158319" y="90413"/>
                    <a:pt x="137833" y="83751"/>
                    <a:pt x="120777" y="71438"/>
                  </a:cubicBezTo>
                  <a:lnTo>
                    <a:pt x="120777" y="157163"/>
                  </a:lnTo>
                  <a:cubicBezTo>
                    <a:pt x="120796" y="199983"/>
                    <a:pt x="86099" y="234711"/>
                    <a:pt x="43279" y="234731"/>
                  </a:cubicBezTo>
                  <a:cubicBezTo>
                    <a:pt x="27863" y="234738"/>
                    <a:pt x="12795" y="230150"/>
                    <a:pt x="0" y="221551"/>
                  </a:cubicBezTo>
                  <a:cubicBezTo>
                    <a:pt x="29850" y="252326"/>
                    <a:pt x="78997" y="253074"/>
                    <a:pt x="109771" y="223223"/>
                  </a:cubicBezTo>
                  <a:cubicBezTo>
                    <a:pt x="124880" y="208567"/>
                    <a:pt x="133390" y="188404"/>
                    <a:pt x="133350" y="167354"/>
                  </a:cubicBezTo>
                  <a:lnTo>
                    <a:pt x="133350" y="81629"/>
                  </a:lnTo>
                  <a:close/>
                  <a:moveTo>
                    <a:pt x="148209" y="39624"/>
                  </a:moveTo>
                  <a:cubicBezTo>
                    <a:pt x="139566" y="30183"/>
                    <a:pt x="134247" y="18175"/>
                    <a:pt x="133064" y="5429"/>
                  </a:cubicBezTo>
                  <a:lnTo>
                    <a:pt x="133064" y="0"/>
                  </a:lnTo>
                  <a:lnTo>
                    <a:pt x="121444" y="0"/>
                  </a:lnTo>
                  <a:cubicBezTo>
                    <a:pt x="124335" y="16410"/>
                    <a:pt x="134066" y="30815"/>
                    <a:pt x="148209" y="39624"/>
                  </a:cubicBezTo>
                  <a:close/>
                  <a:moveTo>
                    <a:pt x="27146" y="188976"/>
                  </a:moveTo>
                  <a:cubicBezTo>
                    <a:pt x="22392" y="182850"/>
                    <a:pt x="19842" y="175299"/>
                    <a:pt x="19907" y="167545"/>
                  </a:cubicBezTo>
                  <a:cubicBezTo>
                    <a:pt x="19855" y="147976"/>
                    <a:pt x="35676" y="132069"/>
                    <a:pt x="55245" y="132017"/>
                  </a:cubicBezTo>
                  <a:cubicBezTo>
                    <a:pt x="55276" y="132017"/>
                    <a:pt x="55309" y="132017"/>
                    <a:pt x="55340" y="132017"/>
                  </a:cubicBezTo>
                  <a:cubicBezTo>
                    <a:pt x="58997" y="132004"/>
                    <a:pt x="62632" y="132583"/>
                    <a:pt x="66104" y="133731"/>
                  </a:cubicBezTo>
                  <a:lnTo>
                    <a:pt x="66104" y="90488"/>
                  </a:lnTo>
                  <a:cubicBezTo>
                    <a:pt x="62014" y="90153"/>
                    <a:pt x="57905" y="90153"/>
                    <a:pt x="53816" y="90488"/>
                  </a:cubicBezTo>
                  <a:lnTo>
                    <a:pt x="53816" y="123825"/>
                  </a:lnTo>
                  <a:cubicBezTo>
                    <a:pt x="50329" y="122754"/>
                    <a:pt x="46701" y="122209"/>
                    <a:pt x="43053" y="122206"/>
                  </a:cubicBezTo>
                  <a:cubicBezTo>
                    <a:pt x="23484" y="122143"/>
                    <a:pt x="7570" y="137956"/>
                    <a:pt x="7507" y="157525"/>
                  </a:cubicBezTo>
                  <a:cubicBezTo>
                    <a:pt x="7464" y="171008"/>
                    <a:pt x="15077" y="183348"/>
                    <a:pt x="27146" y="189357"/>
                  </a:cubicBezTo>
                  <a:close/>
                </a:path>
              </a:pathLst>
            </a:custGeom>
            <a:solidFill>
              <a:srgbClr val="FF175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F3455800-3BF3-FE75-19A5-F8616516BDC3}"/>
                </a:ext>
              </a:extLst>
            </p:cNvPr>
            <p:cNvSpPr/>
            <p:nvPr/>
          </p:nvSpPr>
          <p:spPr>
            <a:xfrm>
              <a:off x="8533092" y="2560637"/>
              <a:ext cx="201461" cy="235407"/>
            </a:xfrm>
            <a:custGeom>
              <a:avLst/>
              <a:gdLst>
                <a:gd name="connsiteX0" fmla="*/ 142883 w 201461"/>
                <a:gd name="connsiteY0" fmla="*/ 71438 h 235407"/>
                <a:gd name="connsiteX1" fmla="*/ 201461 w 201461"/>
                <a:gd name="connsiteY1" fmla="*/ 90488 h 235407"/>
                <a:gd name="connsiteX2" fmla="*/ 201461 w 201461"/>
                <a:gd name="connsiteY2" fmla="*/ 57436 h 235407"/>
                <a:gd name="connsiteX3" fmla="*/ 170315 w 201461"/>
                <a:gd name="connsiteY3" fmla="*/ 39624 h 235407"/>
                <a:gd name="connsiteX4" fmla="*/ 143549 w 201461"/>
                <a:gd name="connsiteY4" fmla="*/ 0 h 235407"/>
                <a:gd name="connsiteX5" fmla="*/ 112974 w 201461"/>
                <a:gd name="connsiteY5" fmla="*/ 0 h 235407"/>
                <a:gd name="connsiteX6" fmla="*/ 112974 w 201461"/>
                <a:gd name="connsiteY6" fmla="*/ 167640 h 235407"/>
                <a:gd name="connsiteX7" fmla="*/ 77166 w 201461"/>
                <a:gd name="connsiteY7" fmla="*/ 202886 h 235407"/>
                <a:gd name="connsiteX8" fmla="*/ 49252 w 201461"/>
                <a:gd name="connsiteY8" fmla="*/ 188976 h 235407"/>
                <a:gd name="connsiteX9" fmla="*/ 34700 w 201461"/>
                <a:gd name="connsiteY9" fmla="*/ 141025 h 235407"/>
                <a:gd name="connsiteX10" fmla="*/ 65159 w 201461"/>
                <a:gd name="connsiteY10" fmla="*/ 122301 h 235407"/>
                <a:gd name="connsiteX11" fmla="*/ 75922 w 201461"/>
                <a:gd name="connsiteY11" fmla="*/ 123920 h 235407"/>
                <a:gd name="connsiteX12" fmla="*/ 75922 w 201461"/>
                <a:gd name="connsiteY12" fmla="*/ 90488 h 235407"/>
                <a:gd name="connsiteX13" fmla="*/ 17 w 201461"/>
                <a:gd name="connsiteY13" fmla="*/ 169616 h 235407"/>
                <a:gd name="connsiteX14" fmla="*/ 22106 w 201461"/>
                <a:gd name="connsiteY14" fmla="*/ 222218 h 235407"/>
                <a:gd name="connsiteX15" fmla="*/ 129704 w 201461"/>
                <a:gd name="connsiteY15" fmla="*/ 201113 h 235407"/>
                <a:gd name="connsiteX16" fmla="*/ 142883 w 201461"/>
                <a:gd name="connsiteY16" fmla="*/ 157163 h 235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1461" h="235407">
                  <a:moveTo>
                    <a:pt x="142883" y="71438"/>
                  </a:moveTo>
                  <a:cubicBezTo>
                    <a:pt x="159939" y="83751"/>
                    <a:pt x="180424" y="90413"/>
                    <a:pt x="201461" y="90488"/>
                  </a:cubicBezTo>
                  <a:lnTo>
                    <a:pt x="201461" y="57436"/>
                  </a:lnTo>
                  <a:cubicBezTo>
                    <a:pt x="189474" y="54896"/>
                    <a:pt x="178582" y="48668"/>
                    <a:pt x="170315" y="39624"/>
                  </a:cubicBezTo>
                  <a:cubicBezTo>
                    <a:pt x="156172" y="30815"/>
                    <a:pt x="146440" y="16410"/>
                    <a:pt x="143549" y="0"/>
                  </a:cubicBezTo>
                  <a:lnTo>
                    <a:pt x="112974" y="0"/>
                  </a:lnTo>
                  <a:lnTo>
                    <a:pt x="112974" y="167640"/>
                  </a:lnTo>
                  <a:cubicBezTo>
                    <a:pt x="112819" y="187262"/>
                    <a:pt x="96787" y="203042"/>
                    <a:pt x="77166" y="202886"/>
                  </a:cubicBezTo>
                  <a:cubicBezTo>
                    <a:pt x="66215" y="202800"/>
                    <a:pt x="55916" y="197668"/>
                    <a:pt x="49252" y="188976"/>
                  </a:cubicBezTo>
                  <a:cubicBezTo>
                    <a:pt x="31993" y="179753"/>
                    <a:pt x="25477" y="158285"/>
                    <a:pt x="34700" y="141025"/>
                  </a:cubicBezTo>
                  <a:cubicBezTo>
                    <a:pt x="40729" y="129744"/>
                    <a:pt x="52370" y="122588"/>
                    <a:pt x="65159" y="122301"/>
                  </a:cubicBezTo>
                  <a:cubicBezTo>
                    <a:pt x="68808" y="122291"/>
                    <a:pt x="72438" y="122836"/>
                    <a:pt x="75922" y="123920"/>
                  </a:cubicBezTo>
                  <a:lnTo>
                    <a:pt x="75922" y="90488"/>
                  </a:lnTo>
                  <a:cubicBezTo>
                    <a:pt x="33111" y="91378"/>
                    <a:pt x="-873" y="126804"/>
                    <a:pt x="17" y="169616"/>
                  </a:cubicBezTo>
                  <a:cubicBezTo>
                    <a:pt x="427" y="189320"/>
                    <a:pt x="8325" y="208129"/>
                    <a:pt x="22106" y="222218"/>
                  </a:cubicBezTo>
                  <a:cubicBezTo>
                    <a:pt x="57646" y="246103"/>
                    <a:pt x="105820" y="236653"/>
                    <a:pt x="129704" y="201113"/>
                  </a:cubicBezTo>
                  <a:cubicBezTo>
                    <a:pt x="138431" y="188128"/>
                    <a:pt x="143025" y="172806"/>
                    <a:pt x="142883" y="15716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0B3C983C-06BA-10DE-3C63-4ED00E07AAA1}"/>
                </a:ext>
              </a:extLst>
            </p:cNvPr>
            <p:cNvSpPr/>
            <p:nvPr/>
          </p:nvSpPr>
          <p:spPr>
            <a:xfrm>
              <a:off x="8520713" y="2550731"/>
              <a:ext cx="213840" cy="232124"/>
            </a:xfrm>
            <a:custGeom>
              <a:avLst/>
              <a:gdLst>
                <a:gd name="connsiteX0" fmla="*/ 213840 w 213840"/>
                <a:gd name="connsiteY0" fmla="*/ 67342 h 232124"/>
                <a:gd name="connsiteX1" fmla="*/ 213840 w 213840"/>
                <a:gd name="connsiteY1" fmla="*/ 58388 h 232124"/>
                <a:gd name="connsiteX2" fmla="*/ 182694 w 213840"/>
                <a:gd name="connsiteY2" fmla="*/ 49530 h 232124"/>
                <a:gd name="connsiteX3" fmla="*/ 213840 w 213840"/>
                <a:gd name="connsiteY3" fmla="*/ 67342 h 232124"/>
                <a:gd name="connsiteX4" fmla="*/ 155928 w 213840"/>
                <a:gd name="connsiteY4" fmla="*/ 10192 h 232124"/>
                <a:gd name="connsiteX5" fmla="*/ 155262 w 213840"/>
                <a:gd name="connsiteY5" fmla="*/ 5429 h 232124"/>
                <a:gd name="connsiteX6" fmla="*/ 155262 w 213840"/>
                <a:gd name="connsiteY6" fmla="*/ 0 h 232124"/>
                <a:gd name="connsiteX7" fmla="*/ 113066 w 213840"/>
                <a:gd name="connsiteY7" fmla="*/ 0 h 232124"/>
                <a:gd name="connsiteX8" fmla="*/ 113066 w 213840"/>
                <a:gd name="connsiteY8" fmla="*/ 167069 h 232124"/>
                <a:gd name="connsiteX9" fmla="*/ 77547 w 213840"/>
                <a:gd name="connsiteY9" fmla="*/ 202416 h 232124"/>
                <a:gd name="connsiteX10" fmla="*/ 61631 w 213840"/>
                <a:gd name="connsiteY10" fmla="*/ 198596 h 232124"/>
                <a:gd name="connsiteX11" fmla="*/ 111443 w 213840"/>
                <a:gd name="connsiteY11" fmla="*/ 205174 h 232124"/>
                <a:gd name="connsiteX12" fmla="*/ 125353 w 213840"/>
                <a:gd name="connsiteY12" fmla="*/ 177260 h 232124"/>
                <a:gd name="connsiteX13" fmla="*/ 125353 w 213840"/>
                <a:gd name="connsiteY13" fmla="*/ 9906 h 232124"/>
                <a:gd name="connsiteX14" fmla="*/ 88301 w 213840"/>
                <a:gd name="connsiteY14" fmla="*/ 100394 h 232124"/>
                <a:gd name="connsiteX15" fmla="*/ 88301 w 213840"/>
                <a:gd name="connsiteY15" fmla="*/ 90869 h 232124"/>
                <a:gd name="connsiteX16" fmla="*/ 77728 w 213840"/>
                <a:gd name="connsiteY16" fmla="*/ 90107 h 232124"/>
                <a:gd name="connsiteX17" fmla="*/ 0 w 213840"/>
                <a:gd name="connsiteY17" fmla="*/ 167445 h 232124"/>
                <a:gd name="connsiteX18" fmla="*/ 34485 w 213840"/>
                <a:gd name="connsiteY18" fmla="*/ 232124 h 232124"/>
                <a:gd name="connsiteX19" fmla="*/ 35699 w 213840"/>
                <a:gd name="connsiteY19" fmla="*/ 122482 h 232124"/>
                <a:gd name="connsiteX20" fmla="*/ 88301 w 213840"/>
                <a:gd name="connsiteY20" fmla="*/ 100394 h 23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13840" h="232124">
                  <a:moveTo>
                    <a:pt x="213840" y="67342"/>
                  </a:moveTo>
                  <a:lnTo>
                    <a:pt x="213840" y="58388"/>
                  </a:lnTo>
                  <a:cubicBezTo>
                    <a:pt x="202828" y="58452"/>
                    <a:pt x="192024" y="55379"/>
                    <a:pt x="182694" y="49530"/>
                  </a:cubicBezTo>
                  <a:cubicBezTo>
                    <a:pt x="190969" y="58564"/>
                    <a:pt x="201858" y="64790"/>
                    <a:pt x="213840" y="67342"/>
                  </a:cubicBezTo>
                  <a:close/>
                  <a:moveTo>
                    <a:pt x="155928" y="10192"/>
                  </a:moveTo>
                  <a:cubicBezTo>
                    <a:pt x="155928" y="8572"/>
                    <a:pt x="155452" y="7048"/>
                    <a:pt x="155262" y="5429"/>
                  </a:cubicBezTo>
                  <a:lnTo>
                    <a:pt x="155262" y="0"/>
                  </a:lnTo>
                  <a:lnTo>
                    <a:pt x="113066" y="0"/>
                  </a:lnTo>
                  <a:lnTo>
                    <a:pt x="113066" y="167069"/>
                  </a:lnTo>
                  <a:cubicBezTo>
                    <a:pt x="113018" y="186638"/>
                    <a:pt x="97116" y="202462"/>
                    <a:pt x="77547" y="202416"/>
                  </a:cubicBezTo>
                  <a:cubicBezTo>
                    <a:pt x="72016" y="202401"/>
                    <a:pt x="66566" y="201094"/>
                    <a:pt x="61631" y="198596"/>
                  </a:cubicBezTo>
                  <a:cubicBezTo>
                    <a:pt x="73569" y="214168"/>
                    <a:pt x="95871" y="217113"/>
                    <a:pt x="111443" y="205174"/>
                  </a:cubicBezTo>
                  <a:cubicBezTo>
                    <a:pt x="120134" y="198511"/>
                    <a:pt x="125266" y="188211"/>
                    <a:pt x="125353" y="177260"/>
                  </a:cubicBezTo>
                  <a:lnTo>
                    <a:pt x="125353" y="9906"/>
                  </a:lnTo>
                  <a:close/>
                  <a:moveTo>
                    <a:pt x="88301" y="100394"/>
                  </a:moveTo>
                  <a:lnTo>
                    <a:pt x="88301" y="90869"/>
                  </a:lnTo>
                  <a:cubicBezTo>
                    <a:pt x="84798" y="90378"/>
                    <a:pt x="81266" y="90124"/>
                    <a:pt x="77728" y="90107"/>
                  </a:cubicBezTo>
                  <a:cubicBezTo>
                    <a:pt x="34907" y="89999"/>
                    <a:pt x="108" y="124624"/>
                    <a:pt x="0" y="167445"/>
                  </a:cubicBezTo>
                  <a:cubicBezTo>
                    <a:pt x="-65" y="193420"/>
                    <a:pt x="12881" y="217702"/>
                    <a:pt x="34485" y="232124"/>
                  </a:cubicBezTo>
                  <a:cubicBezTo>
                    <a:pt x="4543" y="201512"/>
                    <a:pt x="5087" y="152424"/>
                    <a:pt x="35699" y="122482"/>
                  </a:cubicBezTo>
                  <a:cubicBezTo>
                    <a:pt x="49788" y="108701"/>
                    <a:pt x="68596" y="100803"/>
                    <a:pt x="88301" y="100394"/>
                  </a:cubicBezTo>
                  <a:close/>
                </a:path>
              </a:pathLst>
            </a:custGeom>
            <a:solidFill>
              <a:srgbClr val="00C9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98" name="Graphic 38">
            <a:extLst>
              <a:ext uri="{FF2B5EF4-FFF2-40B4-BE49-F238E27FC236}">
                <a16:creationId xmlns:a16="http://schemas.microsoft.com/office/drawing/2014/main" id="{4A35BAC5-E7DC-123E-4B51-2C5C3E17B948}"/>
              </a:ext>
            </a:extLst>
          </p:cNvPr>
          <p:cNvGrpSpPr/>
          <p:nvPr/>
        </p:nvGrpSpPr>
        <p:grpSpPr>
          <a:xfrm>
            <a:off x="9328152" y="2451100"/>
            <a:ext cx="453961" cy="453961"/>
            <a:chOff x="9328152" y="2451100"/>
            <a:chExt cx="453961" cy="453961"/>
          </a:xfrm>
        </p:grpSpPr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CEF673EB-F77A-DD8A-07B5-05966CE90AAF}"/>
                </a:ext>
              </a:extLst>
            </p:cNvPr>
            <p:cNvSpPr/>
            <p:nvPr/>
          </p:nvSpPr>
          <p:spPr>
            <a:xfrm>
              <a:off x="9328152" y="24511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gradFill>
              <a:gsLst>
                <a:gs pos="0">
                  <a:srgbClr val="1677F1"/>
                </a:gs>
                <a:gs pos="18000">
                  <a:srgbClr val="186EE9"/>
                </a:gs>
                <a:gs pos="46000">
                  <a:srgbClr val="1D56D3"/>
                </a:gs>
                <a:gs pos="82000">
                  <a:srgbClr val="262FB0"/>
                </a:gs>
                <a:gs pos="100000">
                  <a:srgbClr val="2B189C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6CD2FFEB-2CBB-A08F-4643-38CD78A83B7C}"/>
                </a:ext>
              </a:extLst>
            </p:cNvPr>
            <p:cNvSpPr/>
            <p:nvPr/>
          </p:nvSpPr>
          <p:spPr>
            <a:xfrm>
              <a:off x="9477694" y="2533300"/>
              <a:ext cx="155257" cy="289274"/>
            </a:xfrm>
            <a:custGeom>
              <a:avLst/>
              <a:gdLst>
                <a:gd name="connsiteX0" fmla="*/ 102584 w 155257"/>
                <a:gd name="connsiteY0" fmla="*/ 289274 h 289274"/>
                <a:gd name="connsiteX1" fmla="*/ 102584 w 155257"/>
                <a:gd name="connsiteY1" fmla="*/ 162878 h 289274"/>
                <a:gd name="connsiteX2" fmla="*/ 144780 w 155257"/>
                <a:gd name="connsiteY2" fmla="*/ 162878 h 289274"/>
                <a:gd name="connsiteX3" fmla="*/ 152781 w 155257"/>
                <a:gd name="connsiteY3" fmla="*/ 110490 h 289274"/>
                <a:gd name="connsiteX4" fmla="*/ 102584 w 155257"/>
                <a:gd name="connsiteY4" fmla="*/ 110490 h 289274"/>
                <a:gd name="connsiteX5" fmla="*/ 102584 w 155257"/>
                <a:gd name="connsiteY5" fmla="*/ 76581 h 289274"/>
                <a:gd name="connsiteX6" fmla="*/ 125833 w 155257"/>
                <a:gd name="connsiteY6" fmla="*/ 47915 h 289274"/>
                <a:gd name="connsiteX7" fmla="*/ 132017 w 155257"/>
                <a:gd name="connsiteY7" fmla="*/ 48006 h 289274"/>
                <a:gd name="connsiteX8" fmla="*/ 155258 w 155257"/>
                <a:gd name="connsiteY8" fmla="*/ 48006 h 289274"/>
                <a:gd name="connsiteX9" fmla="*/ 155258 w 155257"/>
                <a:gd name="connsiteY9" fmla="*/ 3524 h 289274"/>
                <a:gd name="connsiteX10" fmla="*/ 114776 w 155257"/>
                <a:gd name="connsiteY10" fmla="*/ 0 h 289274"/>
                <a:gd name="connsiteX11" fmla="*/ 46387 w 155257"/>
                <a:gd name="connsiteY11" fmla="*/ 70485 h 289274"/>
                <a:gd name="connsiteX12" fmla="*/ 46387 w 155257"/>
                <a:gd name="connsiteY12" fmla="*/ 110299 h 289274"/>
                <a:gd name="connsiteX13" fmla="*/ 0 w 155257"/>
                <a:gd name="connsiteY13" fmla="*/ 110299 h 289274"/>
                <a:gd name="connsiteX14" fmla="*/ 0 w 155257"/>
                <a:gd name="connsiteY14" fmla="*/ 162687 h 289274"/>
                <a:gd name="connsiteX15" fmla="*/ 46006 w 155257"/>
                <a:gd name="connsiteY15" fmla="*/ 162687 h 289274"/>
                <a:gd name="connsiteX16" fmla="*/ 46006 w 155257"/>
                <a:gd name="connsiteY16" fmla="*/ 289274 h 289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5257" h="289274">
                  <a:moveTo>
                    <a:pt x="102584" y="289274"/>
                  </a:moveTo>
                  <a:lnTo>
                    <a:pt x="102584" y="162878"/>
                  </a:lnTo>
                  <a:lnTo>
                    <a:pt x="144780" y="162878"/>
                  </a:lnTo>
                  <a:lnTo>
                    <a:pt x="152781" y="110490"/>
                  </a:lnTo>
                  <a:lnTo>
                    <a:pt x="102584" y="110490"/>
                  </a:lnTo>
                  <a:lnTo>
                    <a:pt x="102584" y="76581"/>
                  </a:lnTo>
                  <a:cubicBezTo>
                    <a:pt x="101088" y="62245"/>
                    <a:pt x="111497" y="49411"/>
                    <a:pt x="125833" y="47915"/>
                  </a:cubicBezTo>
                  <a:cubicBezTo>
                    <a:pt x="127890" y="47700"/>
                    <a:pt x="129966" y="47731"/>
                    <a:pt x="132017" y="48006"/>
                  </a:cubicBezTo>
                  <a:lnTo>
                    <a:pt x="155258" y="48006"/>
                  </a:lnTo>
                  <a:lnTo>
                    <a:pt x="155258" y="3524"/>
                  </a:lnTo>
                  <a:cubicBezTo>
                    <a:pt x="141867" y="1364"/>
                    <a:pt x="128338" y="186"/>
                    <a:pt x="114776" y="0"/>
                  </a:cubicBezTo>
                  <a:cubicBezTo>
                    <a:pt x="73438" y="0"/>
                    <a:pt x="46387" y="25051"/>
                    <a:pt x="46387" y="70485"/>
                  </a:cubicBezTo>
                  <a:lnTo>
                    <a:pt x="46387" y="110299"/>
                  </a:lnTo>
                  <a:lnTo>
                    <a:pt x="0" y="110299"/>
                  </a:lnTo>
                  <a:lnTo>
                    <a:pt x="0" y="162687"/>
                  </a:lnTo>
                  <a:lnTo>
                    <a:pt x="46006" y="162687"/>
                  </a:lnTo>
                  <a:lnTo>
                    <a:pt x="46006" y="28927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01" name="Graphic 40">
            <a:extLst>
              <a:ext uri="{FF2B5EF4-FFF2-40B4-BE49-F238E27FC236}">
                <a16:creationId xmlns:a16="http://schemas.microsoft.com/office/drawing/2014/main" id="{78066E31-C759-59DF-906B-9879826ACC39}"/>
              </a:ext>
            </a:extLst>
          </p:cNvPr>
          <p:cNvGrpSpPr/>
          <p:nvPr/>
        </p:nvGrpSpPr>
        <p:grpSpPr>
          <a:xfrm>
            <a:off x="10242552" y="2451100"/>
            <a:ext cx="453961" cy="453961"/>
            <a:chOff x="10242552" y="2451100"/>
            <a:chExt cx="453961" cy="453961"/>
          </a:xfrm>
        </p:grpSpPr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62EF81D7-4327-D53F-E21A-46A80DB2FC9E}"/>
                </a:ext>
              </a:extLst>
            </p:cNvPr>
            <p:cNvSpPr/>
            <p:nvPr/>
          </p:nvSpPr>
          <p:spPr>
            <a:xfrm>
              <a:off x="10242552" y="24511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gradFill>
              <a:gsLst>
                <a:gs pos="0">
                  <a:srgbClr val="FFE185"/>
                </a:gs>
                <a:gs pos="21000">
                  <a:srgbClr val="FFBB36"/>
                </a:gs>
                <a:gs pos="38000">
                  <a:srgbClr val="FF5176"/>
                </a:gs>
                <a:gs pos="52000">
                  <a:srgbClr val="F63395"/>
                </a:gs>
                <a:gs pos="74000">
                  <a:srgbClr val="A436D2"/>
                </a:gs>
                <a:gs pos="100000">
                  <a:srgbClr val="5F4EED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3E525D11-3138-590C-04BC-61AD5C1A42A5}"/>
                </a:ext>
              </a:extLst>
            </p:cNvPr>
            <p:cNvSpPr/>
            <p:nvPr/>
          </p:nvSpPr>
          <p:spPr>
            <a:xfrm>
              <a:off x="10518110" y="2602166"/>
              <a:ext cx="27812" cy="27812"/>
            </a:xfrm>
            <a:custGeom>
              <a:avLst/>
              <a:gdLst>
                <a:gd name="connsiteX0" fmla="*/ 14001 w 27812"/>
                <a:gd name="connsiteY0" fmla="*/ 0 h 27812"/>
                <a:gd name="connsiteX1" fmla="*/ 0 w 27812"/>
                <a:gd name="connsiteY1" fmla="*/ 13812 h 27812"/>
                <a:gd name="connsiteX2" fmla="*/ 13812 w 27812"/>
                <a:gd name="connsiteY2" fmla="*/ 27812 h 27812"/>
                <a:gd name="connsiteX3" fmla="*/ 27812 w 27812"/>
                <a:gd name="connsiteY3" fmla="*/ 14001 h 27812"/>
                <a:gd name="connsiteX4" fmla="*/ 27812 w 27812"/>
                <a:gd name="connsiteY4" fmla="*/ 13812 h 27812"/>
                <a:gd name="connsiteX5" fmla="*/ 14001 w 27812"/>
                <a:gd name="connsiteY5" fmla="*/ 0 h 2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12" h="27812">
                  <a:moveTo>
                    <a:pt x="14001" y="0"/>
                  </a:moveTo>
                  <a:cubicBezTo>
                    <a:pt x="6321" y="-52"/>
                    <a:pt x="53" y="6132"/>
                    <a:pt x="0" y="13812"/>
                  </a:cubicBezTo>
                  <a:cubicBezTo>
                    <a:pt x="-52" y="21492"/>
                    <a:pt x="6131" y="27760"/>
                    <a:pt x="13812" y="27812"/>
                  </a:cubicBezTo>
                  <a:cubicBezTo>
                    <a:pt x="21492" y="27865"/>
                    <a:pt x="27760" y="21681"/>
                    <a:pt x="27812" y="14001"/>
                  </a:cubicBezTo>
                  <a:cubicBezTo>
                    <a:pt x="27812" y="13938"/>
                    <a:pt x="27812" y="13874"/>
                    <a:pt x="27812" y="13812"/>
                  </a:cubicBezTo>
                  <a:cubicBezTo>
                    <a:pt x="27760" y="6206"/>
                    <a:pt x="21607" y="53"/>
                    <a:pt x="14001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2C581FA8-99B5-4672-F758-676AEE4760F7}"/>
                </a:ext>
              </a:extLst>
            </p:cNvPr>
            <p:cNvSpPr/>
            <p:nvPr/>
          </p:nvSpPr>
          <p:spPr>
            <a:xfrm>
              <a:off x="10411906" y="2619881"/>
              <a:ext cx="116395" cy="116395"/>
            </a:xfrm>
            <a:custGeom>
              <a:avLst/>
              <a:gdLst>
                <a:gd name="connsiteX0" fmla="*/ 58579 w 116395"/>
                <a:gd name="connsiteY0" fmla="*/ 1 h 116395"/>
                <a:gd name="connsiteX1" fmla="*/ 1 w 116395"/>
                <a:gd name="connsiteY1" fmla="*/ 57817 h 116395"/>
                <a:gd name="connsiteX2" fmla="*/ 57817 w 116395"/>
                <a:gd name="connsiteY2" fmla="*/ 116394 h 116395"/>
                <a:gd name="connsiteX3" fmla="*/ 116395 w 116395"/>
                <a:gd name="connsiteY3" fmla="*/ 58579 h 116395"/>
                <a:gd name="connsiteX4" fmla="*/ 116396 w 116395"/>
                <a:gd name="connsiteY4" fmla="*/ 58199 h 116395"/>
                <a:gd name="connsiteX5" fmla="*/ 58579 w 116395"/>
                <a:gd name="connsiteY5" fmla="*/ 1 h 116395"/>
                <a:gd name="connsiteX6" fmla="*/ 58579 w 116395"/>
                <a:gd name="connsiteY6" fmla="*/ 95251 h 116395"/>
                <a:gd name="connsiteX7" fmla="*/ 21432 w 116395"/>
                <a:gd name="connsiteY7" fmla="*/ 57913 h 116395"/>
                <a:gd name="connsiteX8" fmla="*/ 58770 w 116395"/>
                <a:gd name="connsiteY8" fmla="*/ 20766 h 116395"/>
                <a:gd name="connsiteX9" fmla="*/ 95917 w 116395"/>
                <a:gd name="connsiteY9" fmla="*/ 58009 h 116395"/>
                <a:gd name="connsiteX10" fmla="*/ 58674 w 116395"/>
                <a:gd name="connsiteY10" fmla="*/ 95442 h 116395"/>
                <a:gd name="connsiteX11" fmla="*/ 58579 w 116395"/>
                <a:gd name="connsiteY11" fmla="*/ 95442 h 11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395" h="116395">
                  <a:moveTo>
                    <a:pt x="58579" y="1"/>
                  </a:moveTo>
                  <a:cubicBezTo>
                    <a:pt x="26438" y="-209"/>
                    <a:pt x="212" y="25676"/>
                    <a:pt x="1" y="57817"/>
                  </a:cubicBezTo>
                  <a:cubicBezTo>
                    <a:pt x="-209" y="89958"/>
                    <a:pt x="25676" y="116183"/>
                    <a:pt x="57817" y="116394"/>
                  </a:cubicBezTo>
                  <a:cubicBezTo>
                    <a:pt x="89958" y="116604"/>
                    <a:pt x="116184" y="90720"/>
                    <a:pt x="116395" y="58579"/>
                  </a:cubicBezTo>
                  <a:cubicBezTo>
                    <a:pt x="116396" y="58452"/>
                    <a:pt x="116396" y="58326"/>
                    <a:pt x="116396" y="58199"/>
                  </a:cubicBezTo>
                  <a:cubicBezTo>
                    <a:pt x="116344" y="26226"/>
                    <a:pt x="90550" y="262"/>
                    <a:pt x="58579" y="1"/>
                  </a:cubicBezTo>
                  <a:close/>
                  <a:moveTo>
                    <a:pt x="58579" y="95251"/>
                  </a:moveTo>
                  <a:cubicBezTo>
                    <a:pt x="38011" y="95199"/>
                    <a:pt x="21379" y="78482"/>
                    <a:pt x="21432" y="57913"/>
                  </a:cubicBezTo>
                  <a:cubicBezTo>
                    <a:pt x="21484" y="37345"/>
                    <a:pt x="38201" y="20713"/>
                    <a:pt x="58770" y="20766"/>
                  </a:cubicBezTo>
                  <a:cubicBezTo>
                    <a:pt x="79301" y="20818"/>
                    <a:pt x="95917" y="37477"/>
                    <a:pt x="95917" y="58009"/>
                  </a:cubicBezTo>
                  <a:cubicBezTo>
                    <a:pt x="95969" y="78630"/>
                    <a:pt x="79296" y="95389"/>
                    <a:pt x="58674" y="95442"/>
                  </a:cubicBezTo>
                  <a:cubicBezTo>
                    <a:pt x="58643" y="95442"/>
                    <a:pt x="58611" y="95442"/>
                    <a:pt x="58579" y="95442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DFB38CE9-53E5-665D-E9F6-E7AE682ECA10}"/>
                </a:ext>
              </a:extLst>
            </p:cNvPr>
            <p:cNvSpPr/>
            <p:nvPr/>
          </p:nvSpPr>
          <p:spPr>
            <a:xfrm>
              <a:off x="10351422" y="2559970"/>
              <a:ext cx="236219" cy="236219"/>
            </a:xfrm>
            <a:custGeom>
              <a:avLst/>
              <a:gdLst>
                <a:gd name="connsiteX0" fmla="*/ 165259 w 236219"/>
                <a:gd name="connsiteY0" fmla="*/ 236220 h 236219"/>
                <a:gd name="connsiteX1" fmla="*/ 70961 w 236219"/>
                <a:gd name="connsiteY1" fmla="*/ 236220 h 236219"/>
                <a:gd name="connsiteX2" fmla="*/ 0 w 236219"/>
                <a:gd name="connsiteY2" fmla="*/ 165259 h 236219"/>
                <a:gd name="connsiteX3" fmla="*/ 0 w 236219"/>
                <a:gd name="connsiteY3" fmla="*/ 70961 h 236219"/>
                <a:gd name="connsiteX4" fmla="*/ 70961 w 236219"/>
                <a:gd name="connsiteY4" fmla="*/ 0 h 236219"/>
                <a:gd name="connsiteX5" fmla="*/ 165259 w 236219"/>
                <a:gd name="connsiteY5" fmla="*/ 0 h 236219"/>
                <a:gd name="connsiteX6" fmla="*/ 236220 w 236219"/>
                <a:gd name="connsiteY6" fmla="*/ 70961 h 236219"/>
                <a:gd name="connsiteX7" fmla="*/ 236220 w 236219"/>
                <a:gd name="connsiteY7" fmla="*/ 165259 h 236219"/>
                <a:gd name="connsiteX8" fmla="*/ 165259 w 236219"/>
                <a:gd name="connsiteY8" fmla="*/ 236220 h 236219"/>
                <a:gd name="connsiteX9" fmla="*/ 70961 w 236219"/>
                <a:gd name="connsiteY9" fmla="*/ 22193 h 236219"/>
                <a:gd name="connsiteX10" fmla="*/ 22193 w 236219"/>
                <a:gd name="connsiteY10" fmla="*/ 70961 h 236219"/>
                <a:gd name="connsiteX11" fmla="*/ 22193 w 236219"/>
                <a:gd name="connsiteY11" fmla="*/ 165259 h 236219"/>
                <a:gd name="connsiteX12" fmla="*/ 70961 w 236219"/>
                <a:gd name="connsiteY12" fmla="*/ 214027 h 236219"/>
                <a:gd name="connsiteX13" fmla="*/ 165259 w 236219"/>
                <a:gd name="connsiteY13" fmla="*/ 214027 h 236219"/>
                <a:gd name="connsiteX14" fmla="*/ 214027 w 236219"/>
                <a:gd name="connsiteY14" fmla="*/ 165259 h 236219"/>
                <a:gd name="connsiteX15" fmla="*/ 214027 w 236219"/>
                <a:gd name="connsiteY15" fmla="*/ 70961 h 236219"/>
                <a:gd name="connsiteX16" fmla="*/ 165259 w 236219"/>
                <a:gd name="connsiteY16" fmla="*/ 22193 h 236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6219" h="236219">
                  <a:moveTo>
                    <a:pt x="165259" y="236220"/>
                  </a:moveTo>
                  <a:lnTo>
                    <a:pt x="70961" y="236220"/>
                  </a:lnTo>
                  <a:cubicBezTo>
                    <a:pt x="31793" y="236168"/>
                    <a:pt x="52" y="204427"/>
                    <a:pt x="0" y="165259"/>
                  </a:cubicBezTo>
                  <a:lnTo>
                    <a:pt x="0" y="70961"/>
                  </a:lnTo>
                  <a:cubicBezTo>
                    <a:pt x="52" y="31793"/>
                    <a:pt x="31793" y="52"/>
                    <a:pt x="70961" y="0"/>
                  </a:cubicBezTo>
                  <a:lnTo>
                    <a:pt x="165259" y="0"/>
                  </a:lnTo>
                  <a:cubicBezTo>
                    <a:pt x="204427" y="52"/>
                    <a:pt x="236168" y="31793"/>
                    <a:pt x="236220" y="70961"/>
                  </a:cubicBezTo>
                  <a:lnTo>
                    <a:pt x="236220" y="165259"/>
                  </a:lnTo>
                  <a:cubicBezTo>
                    <a:pt x="236168" y="204427"/>
                    <a:pt x="204427" y="236168"/>
                    <a:pt x="165259" y="236220"/>
                  </a:cubicBezTo>
                  <a:close/>
                  <a:moveTo>
                    <a:pt x="70961" y="22193"/>
                  </a:moveTo>
                  <a:cubicBezTo>
                    <a:pt x="44049" y="22246"/>
                    <a:pt x="22246" y="44049"/>
                    <a:pt x="22193" y="70961"/>
                  </a:cubicBezTo>
                  <a:lnTo>
                    <a:pt x="22193" y="165259"/>
                  </a:lnTo>
                  <a:cubicBezTo>
                    <a:pt x="22246" y="192171"/>
                    <a:pt x="44049" y="213974"/>
                    <a:pt x="70961" y="214027"/>
                  </a:cubicBezTo>
                  <a:lnTo>
                    <a:pt x="165259" y="214027"/>
                  </a:lnTo>
                  <a:cubicBezTo>
                    <a:pt x="192171" y="213974"/>
                    <a:pt x="213974" y="192171"/>
                    <a:pt x="214027" y="165259"/>
                  </a:cubicBezTo>
                  <a:lnTo>
                    <a:pt x="214027" y="70961"/>
                  </a:lnTo>
                  <a:cubicBezTo>
                    <a:pt x="213974" y="44049"/>
                    <a:pt x="192171" y="22246"/>
                    <a:pt x="165259" y="2219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06" name="Graphic 42">
            <a:extLst>
              <a:ext uri="{FF2B5EF4-FFF2-40B4-BE49-F238E27FC236}">
                <a16:creationId xmlns:a16="http://schemas.microsoft.com/office/drawing/2014/main" id="{1081241D-5BB5-2883-F302-96381DF87948}"/>
              </a:ext>
            </a:extLst>
          </p:cNvPr>
          <p:cNvGrpSpPr/>
          <p:nvPr/>
        </p:nvGrpSpPr>
        <p:grpSpPr>
          <a:xfrm>
            <a:off x="6584952" y="3365500"/>
            <a:ext cx="453961" cy="453961"/>
            <a:chOff x="6584952" y="3365500"/>
            <a:chExt cx="453961" cy="453961"/>
          </a:xfrm>
        </p:grpSpPr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0EE6CB6F-2666-60A2-881B-376AB57D8F00}"/>
                </a:ext>
              </a:extLst>
            </p:cNvPr>
            <p:cNvSpPr/>
            <p:nvPr/>
          </p:nvSpPr>
          <p:spPr>
            <a:xfrm>
              <a:off x="6584952" y="33655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gradFill>
              <a:gsLst>
                <a:gs pos="0">
                  <a:srgbClr val="A436D2"/>
                </a:gs>
                <a:gs pos="50000">
                  <a:srgbClr val="9A3EE8"/>
                </a:gs>
                <a:gs pos="100000">
                  <a:srgbClr val="9146FF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B85AD36E-3666-1A74-C0B2-64596BF3F64D}"/>
                </a:ext>
              </a:extLst>
            </p:cNvPr>
            <p:cNvSpPr/>
            <p:nvPr/>
          </p:nvSpPr>
          <p:spPr>
            <a:xfrm>
              <a:off x="6724874" y="3489325"/>
              <a:ext cx="194691" cy="226980"/>
            </a:xfrm>
            <a:custGeom>
              <a:avLst/>
              <a:gdLst>
                <a:gd name="connsiteX0" fmla="*/ 40481 w 194691"/>
                <a:gd name="connsiteY0" fmla="*/ 0 h 226980"/>
                <a:gd name="connsiteX1" fmla="*/ 0 w 194691"/>
                <a:gd name="connsiteY1" fmla="*/ 40577 h 226980"/>
                <a:gd name="connsiteX2" fmla="*/ 0 w 194691"/>
                <a:gd name="connsiteY2" fmla="*/ 186404 h 226980"/>
                <a:gd name="connsiteX3" fmla="*/ 48673 w 194691"/>
                <a:gd name="connsiteY3" fmla="*/ 186404 h 226980"/>
                <a:gd name="connsiteX4" fmla="*/ 48673 w 194691"/>
                <a:gd name="connsiteY4" fmla="*/ 226981 h 226980"/>
                <a:gd name="connsiteX5" fmla="*/ 89249 w 194691"/>
                <a:gd name="connsiteY5" fmla="*/ 186404 h 226980"/>
                <a:gd name="connsiteX6" fmla="*/ 121634 w 194691"/>
                <a:gd name="connsiteY6" fmla="*/ 186404 h 226980"/>
                <a:gd name="connsiteX7" fmla="*/ 194691 w 194691"/>
                <a:gd name="connsiteY7" fmla="*/ 113443 h 226980"/>
                <a:gd name="connsiteX8" fmla="*/ 194691 w 194691"/>
                <a:gd name="connsiteY8" fmla="*/ 0 h 226980"/>
                <a:gd name="connsiteX9" fmla="*/ 178499 w 194691"/>
                <a:gd name="connsiteY9" fmla="*/ 105346 h 226980"/>
                <a:gd name="connsiteX10" fmla="*/ 145828 w 194691"/>
                <a:gd name="connsiteY10" fmla="*/ 137731 h 226980"/>
                <a:gd name="connsiteX11" fmla="*/ 113538 w 194691"/>
                <a:gd name="connsiteY11" fmla="*/ 137731 h 226980"/>
                <a:gd name="connsiteX12" fmla="*/ 84963 w 194691"/>
                <a:gd name="connsiteY12" fmla="*/ 166306 h 226980"/>
                <a:gd name="connsiteX13" fmla="*/ 84963 w 194691"/>
                <a:gd name="connsiteY13" fmla="*/ 137731 h 226980"/>
                <a:gd name="connsiteX14" fmla="*/ 48673 w 194691"/>
                <a:gd name="connsiteY14" fmla="*/ 137731 h 226980"/>
                <a:gd name="connsiteX15" fmla="*/ 48673 w 194691"/>
                <a:gd name="connsiteY15" fmla="*/ 16097 h 226980"/>
                <a:gd name="connsiteX16" fmla="*/ 178499 w 194691"/>
                <a:gd name="connsiteY16" fmla="*/ 16097 h 2269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4691" h="226980">
                  <a:moveTo>
                    <a:pt x="40481" y="0"/>
                  </a:moveTo>
                  <a:lnTo>
                    <a:pt x="0" y="40577"/>
                  </a:lnTo>
                  <a:lnTo>
                    <a:pt x="0" y="186404"/>
                  </a:lnTo>
                  <a:lnTo>
                    <a:pt x="48673" y="186404"/>
                  </a:lnTo>
                  <a:lnTo>
                    <a:pt x="48673" y="226981"/>
                  </a:lnTo>
                  <a:lnTo>
                    <a:pt x="89249" y="186404"/>
                  </a:lnTo>
                  <a:lnTo>
                    <a:pt x="121634" y="186404"/>
                  </a:lnTo>
                  <a:lnTo>
                    <a:pt x="194691" y="113443"/>
                  </a:lnTo>
                  <a:lnTo>
                    <a:pt x="194691" y="0"/>
                  </a:lnTo>
                  <a:close/>
                  <a:moveTo>
                    <a:pt x="178499" y="105346"/>
                  </a:moveTo>
                  <a:lnTo>
                    <a:pt x="145828" y="137731"/>
                  </a:lnTo>
                  <a:lnTo>
                    <a:pt x="113538" y="137731"/>
                  </a:lnTo>
                  <a:lnTo>
                    <a:pt x="84963" y="166306"/>
                  </a:lnTo>
                  <a:lnTo>
                    <a:pt x="84963" y="137731"/>
                  </a:lnTo>
                  <a:lnTo>
                    <a:pt x="48673" y="137731"/>
                  </a:lnTo>
                  <a:lnTo>
                    <a:pt x="48673" y="16097"/>
                  </a:lnTo>
                  <a:lnTo>
                    <a:pt x="178499" y="16097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C98A9879-ADE5-9E6A-5C42-A1869E480EDC}"/>
                </a:ext>
              </a:extLst>
            </p:cNvPr>
            <p:cNvSpPr/>
            <p:nvPr/>
          </p:nvSpPr>
          <p:spPr>
            <a:xfrm>
              <a:off x="6862796" y="3533806"/>
              <a:ext cx="16192" cy="48672"/>
            </a:xfrm>
            <a:custGeom>
              <a:avLst/>
              <a:gdLst>
                <a:gd name="connsiteX0" fmla="*/ 0 w 16192"/>
                <a:gd name="connsiteY0" fmla="*/ 0 h 48672"/>
                <a:gd name="connsiteX1" fmla="*/ 16193 w 16192"/>
                <a:gd name="connsiteY1" fmla="*/ 0 h 48672"/>
                <a:gd name="connsiteX2" fmla="*/ 16193 w 16192"/>
                <a:gd name="connsiteY2" fmla="*/ 48673 h 48672"/>
                <a:gd name="connsiteX3" fmla="*/ 0 w 16192"/>
                <a:gd name="connsiteY3" fmla="*/ 48673 h 48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92" h="48672">
                  <a:moveTo>
                    <a:pt x="0" y="0"/>
                  </a:moveTo>
                  <a:lnTo>
                    <a:pt x="16193" y="0"/>
                  </a:lnTo>
                  <a:lnTo>
                    <a:pt x="16193" y="48673"/>
                  </a:lnTo>
                  <a:lnTo>
                    <a:pt x="0" y="4867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B7A25A49-17F7-CED8-3496-149BAF8E859C}"/>
                </a:ext>
              </a:extLst>
            </p:cNvPr>
            <p:cNvSpPr/>
            <p:nvPr/>
          </p:nvSpPr>
          <p:spPr>
            <a:xfrm>
              <a:off x="6818124" y="3533806"/>
              <a:ext cx="16192" cy="48672"/>
            </a:xfrm>
            <a:custGeom>
              <a:avLst/>
              <a:gdLst>
                <a:gd name="connsiteX0" fmla="*/ 0 w 16192"/>
                <a:gd name="connsiteY0" fmla="*/ 0 h 48672"/>
                <a:gd name="connsiteX1" fmla="*/ 16193 w 16192"/>
                <a:gd name="connsiteY1" fmla="*/ 0 h 48672"/>
                <a:gd name="connsiteX2" fmla="*/ 16193 w 16192"/>
                <a:gd name="connsiteY2" fmla="*/ 48673 h 48672"/>
                <a:gd name="connsiteX3" fmla="*/ 0 w 16192"/>
                <a:gd name="connsiteY3" fmla="*/ 48673 h 48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92" h="48672">
                  <a:moveTo>
                    <a:pt x="0" y="0"/>
                  </a:moveTo>
                  <a:lnTo>
                    <a:pt x="16193" y="0"/>
                  </a:lnTo>
                  <a:lnTo>
                    <a:pt x="16193" y="48673"/>
                  </a:lnTo>
                  <a:lnTo>
                    <a:pt x="0" y="4867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11" name="Graphic 44">
            <a:extLst>
              <a:ext uri="{FF2B5EF4-FFF2-40B4-BE49-F238E27FC236}">
                <a16:creationId xmlns:a16="http://schemas.microsoft.com/office/drawing/2014/main" id="{3C6F114E-3123-E3F6-758A-9A494E90E8A1}"/>
              </a:ext>
            </a:extLst>
          </p:cNvPr>
          <p:cNvGrpSpPr/>
          <p:nvPr/>
        </p:nvGrpSpPr>
        <p:grpSpPr>
          <a:xfrm>
            <a:off x="7499352" y="3365500"/>
            <a:ext cx="453961" cy="453961"/>
            <a:chOff x="7499352" y="3365500"/>
            <a:chExt cx="453961" cy="453961"/>
          </a:xfrm>
        </p:grpSpPr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6E79920B-65D5-C2C2-2D28-3365A5332DDB}"/>
                </a:ext>
              </a:extLst>
            </p:cNvPr>
            <p:cNvSpPr/>
            <p:nvPr/>
          </p:nvSpPr>
          <p:spPr>
            <a:xfrm>
              <a:off x="7499352" y="33655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gradFill>
              <a:gsLst>
                <a:gs pos="0">
                  <a:srgbClr val="23004A"/>
                </a:gs>
                <a:gs pos="96000">
                  <a:srgbClr val="020003"/>
                </a:gs>
                <a:gs pos="100000">
                  <a:srgbClr val="000000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56B568D8-994D-2E9D-60E6-A14EAE9D7B92}"/>
                </a:ext>
              </a:extLst>
            </p:cNvPr>
            <p:cNvSpPr/>
            <p:nvPr/>
          </p:nvSpPr>
          <p:spPr>
            <a:xfrm>
              <a:off x="7625748" y="3475676"/>
              <a:ext cx="200977" cy="233676"/>
            </a:xfrm>
            <a:custGeom>
              <a:avLst/>
              <a:gdLst>
                <a:gd name="connsiteX0" fmla="*/ 153448 w 200977"/>
                <a:gd name="connsiteY0" fmla="*/ 106899 h 233676"/>
                <a:gd name="connsiteX1" fmla="*/ 156496 w 200977"/>
                <a:gd name="connsiteY1" fmla="*/ 108232 h 233676"/>
                <a:gd name="connsiteX2" fmla="*/ 186595 w 200977"/>
                <a:gd name="connsiteY2" fmla="*/ 138141 h 233676"/>
                <a:gd name="connsiteX3" fmla="*/ 171831 w 200977"/>
                <a:gd name="connsiteY3" fmla="*/ 207864 h 233676"/>
                <a:gd name="connsiteX4" fmla="*/ 102203 w 200977"/>
                <a:gd name="connsiteY4" fmla="*/ 233676 h 233676"/>
                <a:gd name="connsiteX5" fmla="*/ 102203 w 200977"/>
                <a:gd name="connsiteY5" fmla="*/ 233676 h 233676"/>
                <a:gd name="connsiteX6" fmla="*/ 24098 w 200977"/>
                <a:gd name="connsiteY6" fmla="*/ 199577 h 233676"/>
                <a:gd name="connsiteX7" fmla="*/ 0 w 200977"/>
                <a:gd name="connsiteY7" fmla="*/ 116900 h 233676"/>
                <a:gd name="connsiteX8" fmla="*/ 0 w 200977"/>
                <a:gd name="connsiteY8" fmla="*/ 116900 h 233676"/>
                <a:gd name="connsiteX9" fmla="*/ 24098 w 200977"/>
                <a:gd name="connsiteY9" fmla="*/ 34318 h 233676"/>
                <a:gd name="connsiteX10" fmla="*/ 102203 w 200977"/>
                <a:gd name="connsiteY10" fmla="*/ 123 h 233676"/>
                <a:gd name="connsiteX11" fmla="*/ 102203 w 200977"/>
                <a:gd name="connsiteY11" fmla="*/ 123 h 233676"/>
                <a:gd name="connsiteX12" fmla="*/ 181261 w 200977"/>
                <a:gd name="connsiteY12" fmla="*/ 34128 h 233676"/>
                <a:gd name="connsiteX13" fmla="*/ 200977 w 200977"/>
                <a:gd name="connsiteY13" fmla="*/ 73942 h 233676"/>
                <a:gd name="connsiteX14" fmla="*/ 181356 w 200977"/>
                <a:gd name="connsiteY14" fmla="*/ 79181 h 233676"/>
                <a:gd name="connsiteX15" fmla="*/ 165640 w 200977"/>
                <a:gd name="connsiteY15" fmla="*/ 47367 h 233676"/>
                <a:gd name="connsiteX16" fmla="*/ 102203 w 200977"/>
                <a:gd name="connsiteY16" fmla="*/ 20602 h 233676"/>
                <a:gd name="connsiteX17" fmla="*/ 39719 w 200977"/>
                <a:gd name="connsiteY17" fmla="*/ 47082 h 233676"/>
                <a:gd name="connsiteX18" fmla="*/ 20098 w 200977"/>
                <a:gd name="connsiteY18" fmla="*/ 116805 h 233676"/>
                <a:gd name="connsiteX19" fmla="*/ 39719 w 200977"/>
                <a:gd name="connsiteY19" fmla="*/ 186623 h 233676"/>
                <a:gd name="connsiteX20" fmla="*/ 102203 w 200977"/>
                <a:gd name="connsiteY20" fmla="*/ 213102 h 233676"/>
                <a:gd name="connsiteX21" fmla="*/ 157543 w 200977"/>
                <a:gd name="connsiteY21" fmla="*/ 193195 h 233676"/>
                <a:gd name="connsiteX22" fmla="*/ 168021 w 200977"/>
                <a:gd name="connsiteY22" fmla="*/ 146427 h 233676"/>
                <a:gd name="connsiteX23" fmla="*/ 152400 w 200977"/>
                <a:gd name="connsiteY23" fmla="*/ 129473 h 233676"/>
                <a:gd name="connsiteX24" fmla="*/ 140303 w 200977"/>
                <a:gd name="connsiteY24" fmla="*/ 161001 h 233676"/>
                <a:gd name="connsiteX25" fmla="*/ 104870 w 200977"/>
                <a:gd name="connsiteY25" fmla="*/ 178241 h 233676"/>
                <a:gd name="connsiteX26" fmla="*/ 73628 w 200977"/>
                <a:gd name="connsiteY26" fmla="*/ 170430 h 233676"/>
                <a:gd name="connsiteX27" fmla="*/ 56864 w 200977"/>
                <a:gd name="connsiteY27" fmla="*/ 141855 h 233676"/>
                <a:gd name="connsiteX28" fmla="*/ 103632 w 200977"/>
                <a:gd name="connsiteY28" fmla="*/ 99374 h 233676"/>
                <a:gd name="connsiteX29" fmla="*/ 132207 w 200977"/>
                <a:gd name="connsiteY29" fmla="*/ 100707 h 233676"/>
                <a:gd name="connsiteX30" fmla="*/ 125063 w 200977"/>
                <a:gd name="connsiteY30" fmla="*/ 83562 h 233676"/>
                <a:gd name="connsiteX31" fmla="*/ 102584 w 200977"/>
                <a:gd name="connsiteY31" fmla="*/ 74895 h 233676"/>
                <a:gd name="connsiteX32" fmla="*/ 102584 w 200977"/>
                <a:gd name="connsiteY32" fmla="*/ 74895 h 233676"/>
                <a:gd name="connsiteX33" fmla="*/ 76676 w 200977"/>
                <a:gd name="connsiteY33" fmla="*/ 87753 h 233676"/>
                <a:gd name="connsiteX34" fmla="*/ 59912 w 200977"/>
                <a:gd name="connsiteY34" fmla="*/ 76228 h 233676"/>
                <a:gd name="connsiteX35" fmla="*/ 102203 w 200977"/>
                <a:gd name="connsiteY35" fmla="*/ 54321 h 233676"/>
                <a:gd name="connsiteX36" fmla="*/ 102203 w 200977"/>
                <a:gd name="connsiteY36" fmla="*/ 54321 h 233676"/>
                <a:gd name="connsiteX37" fmla="*/ 152686 w 200977"/>
                <a:gd name="connsiteY37" fmla="*/ 106803 h 233676"/>
                <a:gd name="connsiteX38" fmla="*/ 152686 w 200977"/>
                <a:gd name="connsiteY38" fmla="*/ 106803 h 233676"/>
                <a:gd name="connsiteX39" fmla="*/ 77248 w 200977"/>
                <a:gd name="connsiteY39" fmla="*/ 140427 h 233676"/>
                <a:gd name="connsiteX40" fmla="*/ 103823 w 200977"/>
                <a:gd name="connsiteY40" fmla="*/ 157572 h 233676"/>
                <a:gd name="connsiteX41" fmla="*/ 132398 w 200977"/>
                <a:gd name="connsiteY41" fmla="*/ 121948 h 233676"/>
                <a:gd name="connsiteX42" fmla="*/ 111728 w 200977"/>
                <a:gd name="connsiteY42" fmla="*/ 119853 h 233676"/>
                <a:gd name="connsiteX43" fmla="*/ 104680 w 200977"/>
                <a:gd name="connsiteY43" fmla="*/ 119853 h 233676"/>
                <a:gd name="connsiteX44" fmla="*/ 77343 w 200977"/>
                <a:gd name="connsiteY44" fmla="*/ 140141 h 233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00977" h="233676">
                  <a:moveTo>
                    <a:pt x="153448" y="106899"/>
                  </a:moveTo>
                  <a:lnTo>
                    <a:pt x="156496" y="108232"/>
                  </a:lnTo>
                  <a:cubicBezTo>
                    <a:pt x="169832" y="114211"/>
                    <a:pt x="180532" y="124844"/>
                    <a:pt x="186595" y="138141"/>
                  </a:cubicBezTo>
                  <a:cubicBezTo>
                    <a:pt x="196539" y="162201"/>
                    <a:pt x="190674" y="189900"/>
                    <a:pt x="171831" y="207864"/>
                  </a:cubicBezTo>
                  <a:cubicBezTo>
                    <a:pt x="154210" y="225580"/>
                    <a:pt x="132683" y="233486"/>
                    <a:pt x="102203" y="233676"/>
                  </a:cubicBezTo>
                  <a:lnTo>
                    <a:pt x="102203" y="233676"/>
                  </a:lnTo>
                  <a:cubicBezTo>
                    <a:pt x="68008" y="233676"/>
                    <a:pt x="41815" y="221961"/>
                    <a:pt x="24098" y="199577"/>
                  </a:cubicBezTo>
                  <a:cubicBezTo>
                    <a:pt x="8382" y="179574"/>
                    <a:pt x="286" y="151952"/>
                    <a:pt x="0" y="116900"/>
                  </a:cubicBezTo>
                  <a:lnTo>
                    <a:pt x="0" y="116900"/>
                  </a:lnTo>
                  <a:cubicBezTo>
                    <a:pt x="0" y="82038"/>
                    <a:pt x="8382" y="54225"/>
                    <a:pt x="24098" y="34318"/>
                  </a:cubicBezTo>
                  <a:cubicBezTo>
                    <a:pt x="41719" y="11839"/>
                    <a:pt x="68008" y="314"/>
                    <a:pt x="102203" y="123"/>
                  </a:cubicBezTo>
                  <a:lnTo>
                    <a:pt x="102203" y="123"/>
                  </a:lnTo>
                  <a:cubicBezTo>
                    <a:pt x="132399" y="-1395"/>
                    <a:pt x="161595" y="11163"/>
                    <a:pt x="181261" y="34128"/>
                  </a:cubicBezTo>
                  <a:cubicBezTo>
                    <a:pt x="190547" y="45873"/>
                    <a:pt x="197265" y="59437"/>
                    <a:pt x="200977" y="73942"/>
                  </a:cubicBezTo>
                  <a:lnTo>
                    <a:pt x="181356" y="79181"/>
                  </a:lnTo>
                  <a:cubicBezTo>
                    <a:pt x="178394" y="67597"/>
                    <a:pt x="173040" y="56760"/>
                    <a:pt x="165640" y="47367"/>
                  </a:cubicBezTo>
                  <a:cubicBezTo>
                    <a:pt x="151638" y="29746"/>
                    <a:pt x="130778" y="20793"/>
                    <a:pt x="102203" y="20602"/>
                  </a:cubicBezTo>
                  <a:cubicBezTo>
                    <a:pt x="73628" y="20412"/>
                    <a:pt x="53435" y="30127"/>
                    <a:pt x="39719" y="47082"/>
                  </a:cubicBezTo>
                  <a:cubicBezTo>
                    <a:pt x="26003" y="64036"/>
                    <a:pt x="20669" y="86706"/>
                    <a:pt x="20098" y="116805"/>
                  </a:cubicBezTo>
                  <a:cubicBezTo>
                    <a:pt x="19526" y="146904"/>
                    <a:pt x="26956" y="170335"/>
                    <a:pt x="39719" y="186623"/>
                  </a:cubicBezTo>
                  <a:cubicBezTo>
                    <a:pt x="52483" y="202911"/>
                    <a:pt x="74390" y="212817"/>
                    <a:pt x="102203" y="213102"/>
                  </a:cubicBezTo>
                  <a:cubicBezTo>
                    <a:pt x="127254" y="213102"/>
                    <a:pt x="143732" y="206911"/>
                    <a:pt x="157543" y="193195"/>
                  </a:cubicBezTo>
                  <a:cubicBezTo>
                    <a:pt x="170263" y="181211"/>
                    <a:pt x="174412" y="162693"/>
                    <a:pt x="168021" y="146427"/>
                  </a:cubicBezTo>
                  <a:cubicBezTo>
                    <a:pt x="164690" y="139298"/>
                    <a:pt x="159233" y="133375"/>
                    <a:pt x="152400" y="129473"/>
                  </a:cubicBezTo>
                  <a:cubicBezTo>
                    <a:pt x="151249" y="140872"/>
                    <a:pt x="147073" y="151757"/>
                    <a:pt x="140303" y="161001"/>
                  </a:cubicBezTo>
                  <a:cubicBezTo>
                    <a:pt x="131693" y="171792"/>
                    <a:pt x="118676" y="178127"/>
                    <a:pt x="104870" y="178241"/>
                  </a:cubicBezTo>
                  <a:cubicBezTo>
                    <a:pt x="93894" y="178995"/>
                    <a:pt x="82959" y="176262"/>
                    <a:pt x="73628" y="170430"/>
                  </a:cubicBezTo>
                  <a:cubicBezTo>
                    <a:pt x="63777" y="164150"/>
                    <a:pt x="57541" y="153520"/>
                    <a:pt x="56864" y="141855"/>
                  </a:cubicBezTo>
                  <a:cubicBezTo>
                    <a:pt x="56102" y="118424"/>
                    <a:pt x="74676" y="101088"/>
                    <a:pt x="103632" y="99374"/>
                  </a:cubicBezTo>
                  <a:cubicBezTo>
                    <a:pt x="113177" y="98761"/>
                    <a:pt x="122761" y="99208"/>
                    <a:pt x="132207" y="100707"/>
                  </a:cubicBezTo>
                  <a:cubicBezTo>
                    <a:pt x="131375" y="94464"/>
                    <a:pt x="128910" y="88550"/>
                    <a:pt x="125063" y="83562"/>
                  </a:cubicBezTo>
                  <a:cubicBezTo>
                    <a:pt x="119214" y="77502"/>
                    <a:pt x="110988" y="74330"/>
                    <a:pt x="102584" y="74895"/>
                  </a:cubicBezTo>
                  <a:lnTo>
                    <a:pt x="102584" y="74895"/>
                  </a:lnTo>
                  <a:cubicBezTo>
                    <a:pt x="92300" y="74387"/>
                    <a:pt x="82490" y="79256"/>
                    <a:pt x="76676" y="87753"/>
                  </a:cubicBezTo>
                  <a:lnTo>
                    <a:pt x="59912" y="76228"/>
                  </a:lnTo>
                  <a:cubicBezTo>
                    <a:pt x="69306" y="62141"/>
                    <a:pt x="85277" y="53867"/>
                    <a:pt x="102203" y="54321"/>
                  </a:cubicBezTo>
                  <a:lnTo>
                    <a:pt x="102203" y="54321"/>
                  </a:lnTo>
                  <a:cubicBezTo>
                    <a:pt x="132683" y="54321"/>
                    <a:pt x="150876" y="73371"/>
                    <a:pt x="152686" y="106803"/>
                  </a:cubicBezTo>
                  <a:lnTo>
                    <a:pt x="152686" y="106803"/>
                  </a:lnTo>
                  <a:close/>
                  <a:moveTo>
                    <a:pt x="77248" y="140427"/>
                  </a:moveTo>
                  <a:cubicBezTo>
                    <a:pt x="77915" y="152619"/>
                    <a:pt x="91059" y="158334"/>
                    <a:pt x="103823" y="157572"/>
                  </a:cubicBezTo>
                  <a:cubicBezTo>
                    <a:pt x="116586" y="156810"/>
                    <a:pt x="130397" y="152047"/>
                    <a:pt x="132398" y="121948"/>
                  </a:cubicBezTo>
                  <a:cubicBezTo>
                    <a:pt x="125602" y="120515"/>
                    <a:pt x="118673" y="119812"/>
                    <a:pt x="111728" y="119853"/>
                  </a:cubicBezTo>
                  <a:cubicBezTo>
                    <a:pt x="109347" y="119853"/>
                    <a:pt x="106966" y="119853"/>
                    <a:pt x="104680" y="119853"/>
                  </a:cubicBezTo>
                  <a:cubicBezTo>
                    <a:pt x="83820" y="120996"/>
                    <a:pt x="76771" y="131092"/>
                    <a:pt x="77343" y="14014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14" name="Graphic 46">
            <a:extLst>
              <a:ext uri="{FF2B5EF4-FFF2-40B4-BE49-F238E27FC236}">
                <a16:creationId xmlns:a16="http://schemas.microsoft.com/office/drawing/2014/main" id="{14D14213-78D9-9837-1A50-4AF2EB3CCDE8}"/>
              </a:ext>
            </a:extLst>
          </p:cNvPr>
          <p:cNvGrpSpPr/>
          <p:nvPr/>
        </p:nvGrpSpPr>
        <p:grpSpPr>
          <a:xfrm>
            <a:off x="8413752" y="3365500"/>
            <a:ext cx="453961" cy="453961"/>
            <a:chOff x="8413752" y="3365500"/>
            <a:chExt cx="453961" cy="453961"/>
          </a:xfrm>
        </p:grpSpPr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A7F30E8A-A6E7-6B8D-1F36-9D902ED1B842}"/>
                </a:ext>
              </a:extLst>
            </p:cNvPr>
            <p:cNvSpPr/>
            <p:nvPr/>
          </p:nvSpPr>
          <p:spPr>
            <a:xfrm>
              <a:off x="8413752" y="33655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gradFill>
              <a:gsLst>
                <a:gs pos="0">
                  <a:srgbClr val="006EF8"/>
                </a:gs>
                <a:gs pos="78000">
                  <a:srgbClr val="212CB1"/>
                </a:gs>
                <a:gs pos="100000">
                  <a:srgbClr val="2B189C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23AAA6AF-9C93-3B9E-ABB7-3F7DAE68A8E0}"/>
                </a:ext>
              </a:extLst>
            </p:cNvPr>
            <p:cNvSpPr/>
            <p:nvPr/>
          </p:nvSpPr>
          <p:spPr>
            <a:xfrm>
              <a:off x="8524527" y="3519895"/>
              <a:ext cx="117113" cy="145167"/>
            </a:xfrm>
            <a:custGeom>
              <a:avLst/>
              <a:gdLst>
                <a:gd name="connsiteX0" fmla="*/ 117062 w 117113"/>
                <a:gd name="connsiteY0" fmla="*/ 107732 h 145167"/>
                <a:gd name="connsiteX1" fmla="*/ 113348 w 117113"/>
                <a:gd name="connsiteY1" fmla="*/ 123925 h 145167"/>
                <a:gd name="connsiteX2" fmla="*/ 103251 w 117113"/>
                <a:gd name="connsiteY2" fmla="*/ 135545 h 145167"/>
                <a:gd name="connsiteX3" fmla="*/ 88297 w 117113"/>
                <a:gd name="connsiteY3" fmla="*/ 142784 h 145167"/>
                <a:gd name="connsiteX4" fmla="*/ 70199 w 117113"/>
                <a:gd name="connsiteY4" fmla="*/ 145165 h 145167"/>
                <a:gd name="connsiteX5" fmla="*/ 0 w 117113"/>
                <a:gd name="connsiteY5" fmla="*/ 145165 h 145167"/>
                <a:gd name="connsiteX6" fmla="*/ 0 w 117113"/>
                <a:gd name="connsiteY6" fmla="*/ 4 h 145167"/>
                <a:gd name="connsiteX7" fmla="*/ 77724 w 117113"/>
                <a:gd name="connsiteY7" fmla="*/ 4 h 145167"/>
                <a:gd name="connsiteX8" fmla="*/ 91440 w 117113"/>
                <a:gd name="connsiteY8" fmla="*/ 3243 h 145167"/>
                <a:gd name="connsiteX9" fmla="*/ 101918 w 117113"/>
                <a:gd name="connsiteY9" fmla="*/ 11720 h 145167"/>
                <a:gd name="connsiteX10" fmla="*/ 110871 w 117113"/>
                <a:gd name="connsiteY10" fmla="*/ 37057 h 145167"/>
                <a:gd name="connsiteX11" fmla="*/ 105537 w 117113"/>
                <a:gd name="connsiteY11" fmla="*/ 56964 h 145167"/>
                <a:gd name="connsiteX12" fmla="*/ 90011 w 117113"/>
                <a:gd name="connsiteY12" fmla="*/ 70775 h 145167"/>
                <a:gd name="connsiteX13" fmla="*/ 117062 w 117113"/>
                <a:gd name="connsiteY13" fmla="*/ 107732 h 145167"/>
                <a:gd name="connsiteX14" fmla="*/ 28289 w 117113"/>
                <a:gd name="connsiteY14" fmla="*/ 24103 h 145167"/>
                <a:gd name="connsiteX15" fmla="*/ 28289 w 117113"/>
                <a:gd name="connsiteY15" fmla="*/ 60774 h 145167"/>
                <a:gd name="connsiteX16" fmla="*/ 66389 w 117113"/>
                <a:gd name="connsiteY16" fmla="*/ 60774 h 145167"/>
                <a:gd name="connsiteX17" fmla="*/ 78486 w 117113"/>
                <a:gd name="connsiteY17" fmla="*/ 55821 h 145167"/>
                <a:gd name="connsiteX18" fmla="*/ 83534 w 117113"/>
                <a:gd name="connsiteY18" fmla="*/ 42295 h 145167"/>
                <a:gd name="connsiteX19" fmla="*/ 78962 w 117113"/>
                <a:gd name="connsiteY19" fmla="*/ 29056 h 145167"/>
                <a:gd name="connsiteX20" fmla="*/ 67627 w 117113"/>
                <a:gd name="connsiteY20" fmla="*/ 24103 h 145167"/>
                <a:gd name="connsiteX21" fmla="*/ 88583 w 117113"/>
                <a:gd name="connsiteY21" fmla="*/ 102779 h 145167"/>
                <a:gd name="connsiteX22" fmla="*/ 87249 w 117113"/>
                <a:gd name="connsiteY22" fmla="*/ 95254 h 145167"/>
                <a:gd name="connsiteX23" fmla="*/ 83725 w 117113"/>
                <a:gd name="connsiteY23" fmla="*/ 89063 h 145167"/>
                <a:gd name="connsiteX24" fmla="*/ 78391 w 117113"/>
                <a:gd name="connsiteY24" fmla="*/ 84872 h 145167"/>
                <a:gd name="connsiteX25" fmla="*/ 71628 w 117113"/>
                <a:gd name="connsiteY25" fmla="*/ 83348 h 145167"/>
                <a:gd name="connsiteX26" fmla="*/ 28289 w 117113"/>
                <a:gd name="connsiteY26" fmla="*/ 83348 h 145167"/>
                <a:gd name="connsiteX27" fmla="*/ 28289 w 117113"/>
                <a:gd name="connsiteY27" fmla="*/ 121448 h 145167"/>
                <a:gd name="connsiteX28" fmla="*/ 70199 w 117113"/>
                <a:gd name="connsiteY28" fmla="*/ 121448 h 145167"/>
                <a:gd name="connsiteX29" fmla="*/ 77438 w 117113"/>
                <a:gd name="connsiteY29" fmla="*/ 120019 h 145167"/>
                <a:gd name="connsiteX30" fmla="*/ 83249 w 117113"/>
                <a:gd name="connsiteY30" fmla="*/ 116019 h 145167"/>
                <a:gd name="connsiteX31" fmla="*/ 87154 w 117113"/>
                <a:gd name="connsiteY31" fmla="*/ 110018 h 145167"/>
                <a:gd name="connsiteX32" fmla="*/ 88583 w 117113"/>
                <a:gd name="connsiteY32" fmla="*/ 102779 h 145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17113" h="145167">
                  <a:moveTo>
                    <a:pt x="117062" y="107732"/>
                  </a:moveTo>
                  <a:cubicBezTo>
                    <a:pt x="117190" y="113355"/>
                    <a:pt x="115913" y="118920"/>
                    <a:pt x="113348" y="123925"/>
                  </a:cubicBezTo>
                  <a:cubicBezTo>
                    <a:pt x="110946" y="128540"/>
                    <a:pt x="107487" y="132523"/>
                    <a:pt x="103251" y="135545"/>
                  </a:cubicBezTo>
                  <a:cubicBezTo>
                    <a:pt x="98698" y="138765"/>
                    <a:pt x="93646" y="141211"/>
                    <a:pt x="88297" y="142784"/>
                  </a:cubicBezTo>
                  <a:cubicBezTo>
                    <a:pt x="82404" y="144413"/>
                    <a:pt x="76313" y="145215"/>
                    <a:pt x="70199" y="145165"/>
                  </a:cubicBezTo>
                  <a:lnTo>
                    <a:pt x="0" y="145165"/>
                  </a:lnTo>
                  <a:lnTo>
                    <a:pt x="0" y="4"/>
                  </a:lnTo>
                  <a:lnTo>
                    <a:pt x="77724" y="4"/>
                  </a:lnTo>
                  <a:cubicBezTo>
                    <a:pt x="82495" y="-79"/>
                    <a:pt x="87210" y="1035"/>
                    <a:pt x="91440" y="3243"/>
                  </a:cubicBezTo>
                  <a:cubicBezTo>
                    <a:pt x="95448" y="5364"/>
                    <a:pt x="99007" y="8243"/>
                    <a:pt x="101918" y="11720"/>
                  </a:cubicBezTo>
                  <a:cubicBezTo>
                    <a:pt x="107621" y="18944"/>
                    <a:pt x="110770" y="27854"/>
                    <a:pt x="110871" y="37057"/>
                  </a:cubicBezTo>
                  <a:cubicBezTo>
                    <a:pt x="110876" y="44046"/>
                    <a:pt x="109036" y="50913"/>
                    <a:pt x="105537" y="56964"/>
                  </a:cubicBezTo>
                  <a:cubicBezTo>
                    <a:pt x="102019" y="63148"/>
                    <a:pt x="96564" y="68001"/>
                    <a:pt x="90011" y="70775"/>
                  </a:cubicBezTo>
                  <a:cubicBezTo>
                    <a:pt x="106667" y="75098"/>
                    <a:pt x="117977" y="90549"/>
                    <a:pt x="117062" y="107732"/>
                  </a:cubicBezTo>
                  <a:close/>
                  <a:moveTo>
                    <a:pt x="28289" y="24103"/>
                  </a:moveTo>
                  <a:lnTo>
                    <a:pt x="28289" y="60774"/>
                  </a:lnTo>
                  <a:lnTo>
                    <a:pt x="66389" y="60774"/>
                  </a:lnTo>
                  <a:cubicBezTo>
                    <a:pt x="70926" y="60827"/>
                    <a:pt x="75290" y="59040"/>
                    <a:pt x="78486" y="55821"/>
                  </a:cubicBezTo>
                  <a:cubicBezTo>
                    <a:pt x="82024" y="52240"/>
                    <a:pt x="83860" y="47318"/>
                    <a:pt x="83534" y="42295"/>
                  </a:cubicBezTo>
                  <a:cubicBezTo>
                    <a:pt x="83747" y="37461"/>
                    <a:pt x="82112" y="32728"/>
                    <a:pt x="78962" y="29056"/>
                  </a:cubicBezTo>
                  <a:cubicBezTo>
                    <a:pt x="76069" y="25856"/>
                    <a:pt x="71941" y="24053"/>
                    <a:pt x="67627" y="24103"/>
                  </a:cubicBezTo>
                  <a:close/>
                  <a:moveTo>
                    <a:pt x="88583" y="102779"/>
                  </a:moveTo>
                  <a:cubicBezTo>
                    <a:pt x="88583" y="100212"/>
                    <a:pt x="88131" y="97665"/>
                    <a:pt x="87249" y="95254"/>
                  </a:cubicBezTo>
                  <a:cubicBezTo>
                    <a:pt x="86443" y="93002"/>
                    <a:pt x="85251" y="90906"/>
                    <a:pt x="83725" y="89063"/>
                  </a:cubicBezTo>
                  <a:cubicBezTo>
                    <a:pt x="82266" y="87301"/>
                    <a:pt x="80448" y="85872"/>
                    <a:pt x="78391" y="84872"/>
                  </a:cubicBezTo>
                  <a:cubicBezTo>
                    <a:pt x="76290" y="83831"/>
                    <a:pt x="73972" y="83308"/>
                    <a:pt x="71628" y="83348"/>
                  </a:cubicBezTo>
                  <a:lnTo>
                    <a:pt x="28289" y="83348"/>
                  </a:lnTo>
                  <a:lnTo>
                    <a:pt x="28289" y="121448"/>
                  </a:lnTo>
                  <a:lnTo>
                    <a:pt x="70199" y="121448"/>
                  </a:lnTo>
                  <a:cubicBezTo>
                    <a:pt x="72683" y="121463"/>
                    <a:pt x="75146" y="120978"/>
                    <a:pt x="77438" y="120019"/>
                  </a:cubicBezTo>
                  <a:cubicBezTo>
                    <a:pt x="79639" y="119115"/>
                    <a:pt x="81620" y="117751"/>
                    <a:pt x="83249" y="116019"/>
                  </a:cubicBezTo>
                  <a:cubicBezTo>
                    <a:pt x="84904" y="114272"/>
                    <a:pt x="86227" y="112239"/>
                    <a:pt x="87154" y="110018"/>
                  </a:cubicBezTo>
                  <a:cubicBezTo>
                    <a:pt x="88098" y="107722"/>
                    <a:pt x="88583" y="105262"/>
                    <a:pt x="88583" y="10277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BD9C6D65-90E7-53A0-D825-AFACCED2EF0F}"/>
                </a:ext>
              </a:extLst>
            </p:cNvPr>
            <p:cNvSpPr/>
            <p:nvPr/>
          </p:nvSpPr>
          <p:spPr>
            <a:xfrm>
              <a:off x="8647970" y="3557514"/>
              <a:ext cx="108935" cy="107549"/>
            </a:xfrm>
            <a:custGeom>
              <a:avLst/>
              <a:gdLst>
                <a:gd name="connsiteX0" fmla="*/ 54675 w 108935"/>
                <a:gd name="connsiteY0" fmla="*/ 107546 h 107549"/>
                <a:gd name="connsiteX1" fmla="*/ 32482 w 108935"/>
                <a:gd name="connsiteY1" fmla="*/ 103260 h 107549"/>
                <a:gd name="connsiteX2" fmla="*/ 3907 w 108935"/>
                <a:gd name="connsiteY2" fmla="*/ 74685 h 107549"/>
                <a:gd name="connsiteX3" fmla="*/ 2 w 108935"/>
                <a:gd name="connsiteY3" fmla="*/ 54302 h 107549"/>
                <a:gd name="connsiteX4" fmla="*/ 3812 w 108935"/>
                <a:gd name="connsiteY4" fmla="*/ 33347 h 107549"/>
                <a:gd name="connsiteX5" fmla="*/ 32387 w 108935"/>
                <a:gd name="connsiteY5" fmla="*/ 4295 h 107549"/>
                <a:gd name="connsiteX6" fmla="*/ 55247 w 108935"/>
                <a:gd name="connsiteY6" fmla="*/ 9 h 107549"/>
                <a:gd name="connsiteX7" fmla="*/ 78011 w 108935"/>
                <a:gd name="connsiteY7" fmla="*/ 4295 h 107549"/>
                <a:gd name="connsiteX8" fmla="*/ 108682 w 108935"/>
                <a:gd name="connsiteY8" fmla="*/ 58207 h 107549"/>
                <a:gd name="connsiteX9" fmla="*/ 108206 w 108935"/>
                <a:gd name="connsiteY9" fmla="*/ 62207 h 107549"/>
                <a:gd name="connsiteX10" fmla="*/ 28196 w 108935"/>
                <a:gd name="connsiteY10" fmla="*/ 62207 h 107549"/>
                <a:gd name="connsiteX11" fmla="*/ 31148 w 108935"/>
                <a:gd name="connsiteY11" fmla="*/ 73066 h 107549"/>
                <a:gd name="connsiteX12" fmla="*/ 37244 w 108935"/>
                <a:gd name="connsiteY12" fmla="*/ 81257 h 107549"/>
                <a:gd name="connsiteX13" fmla="*/ 55723 w 108935"/>
                <a:gd name="connsiteY13" fmla="*/ 88115 h 107549"/>
                <a:gd name="connsiteX14" fmla="*/ 70582 w 108935"/>
                <a:gd name="connsiteY14" fmla="*/ 84210 h 107549"/>
                <a:gd name="connsiteX15" fmla="*/ 80107 w 108935"/>
                <a:gd name="connsiteY15" fmla="*/ 74018 h 107549"/>
                <a:gd name="connsiteX16" fmla="*/ 102872 w 108935"/>
                <a:gd name="connsiteY16" fmla="*/ 80305 h 107549"/>
                <a:gd name="connsiteX17" fmla="*/ 84488 w 108935"/>
                <a:gd name="connsiteY17" fmla="*/ 99355 h 107549"/>
                <a:gd name="connsiteX18" fmla="*/ 54675 w 108935"/>
                <a:gd name="connsiteY18" fmla="*/ 107546 h 107549"/>
                <a:gd name="connsiteX19" fmla="*/ 81631 w 108935"/>
                <a:gd name="connsiteY19" fmla="*/ 44967 h 107549"/>
                <a:gd name="connsiteX20" fmla="*/ 73058 w 108935"/>
                <a:gd name="connsiteY20" fmla="*/ 25917 h 107549"/>
                <a:gd name="connsiteX21" fmla="*/ 54485 w 108935"/>
                <a:gd name="connsiteY21" fmla="*/ 18964 h 107549"/>
                <a:gd name="connsiteX22" fmla="*/ 44960 w 108935"/>
                <a:gd name="connsiteY22" fmla="*/ 20774 h 107549"/>
                <a:gd name="connsiteX23" fmla="*/ 30863 w 108935"/>
                <a:gd name="connsiteY23" fmla="*/ 34204 h 107549"/>
                <a:gd name="connsiteX24" fmla="*/ 28196 w 108935"/>
                <a:gd name="connsiteY24" fmla="*/ 44681 h 107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8935" h="107549">
                  <a:moveTo>
                    <a:pt x="54675" y="107546"/>
                  </a:moveTo>
                  <a:cubicBezTo>
                    <a:pt x="47070" y="107558"/>
                    <a:pt x="39535" y="106102"/>
                    <a:pt x="32482" y="103260"/>
                  </a:cubicBezTo>
                  <a:cubicBezTo>
                    <a:pt x="19419" y="98090"/>
                    <a:pt x="9077" y="87748"/>
                    <a:pt x="3907" y="74685"/>
                  </a:cubicBezTo>
                  <a:cubicBezTo>
                    <a:pt x="1316" y="68203"/>
                    <a:pt x="-10" y="61284"/>
                    <a:pt x="2" y="54302"/>
                  </a:cubicBezTo>
                  <a:cubicBezTo>
                    <a:pt x="-53" y="47140"/>
                    <a:pt x="1240" y="40031"/>
                    <a:pt x="3812" y="33347"/>
                  </a:cubicBezTo>
                  <a:cubicBezTo>
                    <a:pt x="8882" y="20111"/>
                    <a:pt x="19235" y="9584"/>
                    <a:pt x="32387" y="4295"/>
                  </a:cubicBezTo>
                  <a:cubicBezTo>
                    <a:pt x="39646" y="1361"/>
                    <a:pt x="47417" y="-97"/>
                    <a:pt x="55247" y="9"/>
                  </a:cubicBezTo>
                  <a:cubicBezTo>
                    <a:pt x="63048" y="-131"/>
                    <a:pt x="70795" y="1327"/>
                    <a:pt x="78011" y="4295"/>
                  </a:cubicBezTo>
                  <a:cubicBezTo>
                    <a:pt x="98604" y="13975"/>
                    <a:pt x="110884" y="35559"/>
                    <a:pt x="108682" y="58207"/>
                  </a:cubicBezTo>
                  <a:cubicBezTo>
                    <a:pt x="108700" y="59556"/>
                    <a:pt x="108540" y="60901"/>
                    <a:pt x="108206" y="62207"/>
                  </a:cubicBezTo>
                  <a:lnTo>
                    <a:pt x="28196" y="62207"/>
                  </a:lnTo>
                  <a:cubicBezTo>
                    <a:pt x="28473" y="65983"/>
                    <a:pt x="29475" y="69670"/>
                    <a:pt x="31148" y="73066"/>
                  </a:cubicBezTo>
                  <a:cubicBezTo>
                    <a:pt x="32626" y="76168"/>
                    <a:pt x="34696" y="78951"/>
                    <a:pt x="37244" y="81257"/>
                  </a:cubicBezTo>
                  <a:cubicBezTo>
                    <a:pt x="42336" y="85762"/>
                    <a:pt x="48925" y="88207"/>
                    <a:pt x="55723" y="88115"/>
                  </a:cubicBezTo>
                  <a:cubicBezTo>
                    <a:pt x="60925" y="88087"/>
                    <a:pt x="66038" y="86744"/>
                    <a:pt x="70582" y="84210"/>
                  </a:cubicBezTo>
                  <a:cubicBezTo>
                    <a:pt x="74842" y="82019"/>
                    <a:pt x="78209" y="78417"/>
                    <a:pt x="80107" y="74018"/>
                  </a:cubicBezTo>
                  <a:lnTo>
                    <a:pt x="102872" y="80305"/>
                  </a:lnTo>
                  <a:cubicBezTo>
                    <a:pt x="98785" y="88349"/>
                    <a:pt x="92382" y="94985"/>
                    <a:pt x="84488" y="99355"/>
                  </a:cubicBezTo>
                  <a:cubicBezTo>
                    <a:pt x="75512" y="104819"/>
                    <a:pt x="65183" y="107657"/>
                    <a:pt x="54675" y="107546"/>
                  </a:cubicBezTo>
                  <a:close/>
                  <a:moveTo>
                    <a:pt x="81631" y="44967"/>
                  </a:moveTo>
                  <a:cubicBezTo>
                    <a:pt x="81338" y="37749"/>
                    <a:pt x="78266" y="30924"/>
                    <a:pt x="73058" y="25917"/>
                  </a:cubicBezTo>
                  <a:cubicBezTo>
                    <a:pt x="67991" y="21298"/>
                    <a:pt x="61340" y="18808"/>
                    <a:pt x="54485" y="18964"/>
                  </a:cubicBezTo>
                  <a:cubicBezTo>
                    <a:pt x="51226" y="18989"/>
                    <a:pt x="48000" y="19602"/>
                    <a:pt x="44960" y="20774"/>
                  </a:cubicBezTo>
                  <a:cubicBezTo>
                    <a:pt x="38726" y="23298"/>
                    <a:pt x="33686" y="28099"/>
                    <a:pt x="30863" y="34204"/>
                  </a:cubicBezTo>
                  <a:cubicBezTo>
                    <a:pt x="29315" y="37495"/>
                    <a:pt x="28410" y="41051"/>
                    <a:pt x="28196" y="4468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76740690-482C-392D-3F08-D723DD04FCF9}"/>
                </a:ext>
              </a:extLst>
            </p:cNvPr>
            <p:cNvSpPr/>
            <p:nvPr/>
          </p:nvSpPr>
          <p:spPr>
            <a:xfrm>
              <a:off x="8667688" y="3526758"/>
              <a:ext cx="69913" cy="17240"/>
            </a:xfrm>
            <a:custGeom>
              <a:avLst/>
              <a:gdLst>
                <a:gd name="connsiteX0" fmla="*/ 0 w 69913"/>
                <a:gd name="connsiteY0" fmla="*/ 0 h 17240"/>
                <a:gd name="connsiteX1" fmla="*/ 69914 w 69913"/>
                <a:gd name="connsiteY1" fmla="*/ 0 h 17240"/>
                <a:gd name="connsiteX2" fmla="*/ 69914 w 69913"/>
                <a:gd name="connsiteY2" fmla="*/ 17240 h 17240"/>
                <a:gd name="connsiteX3" fmla="*/ 381 w 69913"/>
                <a:gd name="connsiteY3" fmla="*/ 17240 h 1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9913" h="17240">
                  <a:moveTo>
                    <a:pt x="0" y="0"/>
                  </a:moveTo>
                  <a:lnTo>
                    <a:pt x="69914" y="0"/>
                  </a:lnTo>
                  <a:lnTo>
                    <a:pt x="69914" y="17240"/>
                  </a:lnTo>
                  <a:lnTo>
                    <a:pt x="381" y="1724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19" name="Graphic 48">
            <a:extLst>
              <a:ext uri="{FF2B5EF4-FFF2-40B4-BE49-F238E27FC236}">
                <a16:creationId xmlns:a16="http://schemas.microsoft.com/office/drawing/2014/main" id="{58B88E99-8404-9773-8323-EE2384D87044}"/>
              </a:ext>
            </a:extLst>
          </p:cNvPr>
          <p:cNvGrpSpPr/>
          <p:nvPr/>
        </p:nvGrpSpPr>
        <p:grpSpPr>
          <a:xfrm>
            <a:off x="9328152" y="3365500"/>
            <a:ext cx="453961" cy="453961"/>
            <a:chOff x="9328152" y="3365500"/>
            <a:chExt cx="453961" cy="453961"/>
          </a:xfrm>
        </p:grpSpPr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49DF7648-378D-C595-59E2-2B88C735C8F9}"/>
                </a:ext>
              </a:extLst>
            </p:cNvPr>
            <p:cNvSpPr/>
            <p:nvPr/>
          </p:nvSpPr>
          <p:spPr>
            <a:xfrm>
              <a:off x="9328152" y="33655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gradFill>
              <a:gsLst>
                <a:gs pos="0">
                  <a:srgbClr val="FF0000"/>
                </a:gs>
                <a:gs pos="50000">
                  <a:srgbClr val="CD0000"/>
                </a:gs>
                <a:gs pos="100000">
                  <a:srgbClr val="9B0000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C16F6C22-653E-5EB6-B5DA-2C46922C8D82}"/>
                </a:ext>
              </a:extLst>
            </p:cNvPr>
            <p:cNvSpPr/>
            <p:nvPr/>
          </p:nvSpPr>
          <p:spPr>
            <a:xfrm>
              <a:off x="9444833" y="3515328"/>
              <a:ext cx="220599" cy="153924"/>
            </a:xfrm>
            <a:custGeom>
              <a:avLst/>
              <a:gdLst>
                <a:gd name="connsiteX0" fmla="*/ 220599 w 220599"/>
                <a:gd name="connsiteY0" fmla="*/ 48387 h 153924"/>
                <a:gd name="connsiteX1" fmla="*/ 172212 w 220599"/>
                <a:gd name="connsiteY1" fmla="*/ 0 h 153924"/>
                <a:gd name="connsiteX2" fmla="*/ 48387 w 220599"/>
                <a:gd name="connsiteY2" fmla="*/ 0 h 153924"/>
                <a:gd name="connsiteX3" fmla="*/ 0 w 220599"/>
                <a:gd name="connsiteY3" fmla="*/ 48197 h 153924"/>
                <a:gd name="connsiteX4" fmla="*/ 0 w 220599"/>
                <a:gd name="connsiteY4" fmla="*/ 48387 h 153924"/>
                <a:gd name="connsiteX5" fmla="*/ 0 w 220599"/>
                <a:gd name="connsiteY5" fmla="*/ 105537 h 153924"/>
                <a:gd name="connsiteX6" fmla="*/ 48197 w 220599"/>
                <a:gd name="connsiteY6" fmla="*/ 153924 h 153924"/>
                <a:gd name="connsiteX7" fmla="*/ 48387 w 220599"/>
                <a:gd name="connsiteY7" fmla="*/ 153924 h 153924"/>
                <a:gd name="connsiteX8" fmla="*/ 172212 w 220599"/>
                <a:gd name="connsiteY8" fmla="*/ 153924 h 153924"/>
                <a:gd name="connsiteX9" fmla="*/ 220599 w 220599"/>
                <a:gd name="connsiteY9" fmla="*/ 105537 h 153924"/>
                <a:gd name="connsiteX10" fmla="*/ 147828 w 220599"/>
                <a:gd name="connsiteY10" fmla="*/ 81439 h 153924"/>
                <a:gd name="connsiteX11" fmla="*/ 92297 w 220599"/>
                <a:gd name="connsiteY11" fmla="*/ 108966 h 153924"/>
                <a:gd name="connsiteX12" fmla="*/ 82772 w 220599"/>
                <a:gd name="connsiteY12" fmla="*/ 106013 h 153924"/>
                <a:gd name="connsiteX13" fmla="*/ 82772 w 220599"/>
                <a:gd name="connsiteY13" fmla="*/ 50197 h 153924"/>
                <a:gd name="connsiteX14" fmla="*/ 92297 w 220599"/>
                <a:gd name="connsiteY14" fmla="*/ 47339 h 153924"/>
                <a:gd name="connsiteX15" fmla="*/ 145352 w 220599"/>
                <a:gd name="connsiteY15" fmla="*/ 75914 h 153924"/>
                <a:gd name="connsiteX16" fmla="*/ 147828 w 220599"/>
                <a:gd name="connsiteY16" fmla="*/ 81439 h 153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0599" h="153924">
                  <a:moveTo>
                    <a:pt x="220599" y="48387"/>
                  </a:moveTo>
                  <a:cubicBezTo>
                    <a:pt x="220599" y="21664"/>
                    <a:pt x="198935" y="0"/>
                    <a:pt x="172212" y="0"/>
                  </a:cubicBezTo>
                  <a:lnTo>
                    <a:pt x="48387" y="0"/>
                  </a:lnTo>
                  <a:cubicBezTo>
                    <a:pt x="21716" y="-52"/>
                    <a:pt x="52" y="21526"/>
                    <a:pt x="0" y="48197"/>
                  </a:cubicBezTo>
                  <a:cubicBezTo>
                    <a:pt x="0" y="48260"/>
                    <a:pt x="0" y="48323"/>
                    <a:pt x="0" y="48387"/>
                  </a:cubicBezTo>
                  <a:lnTo>
                    <a:pt x="0" y="105537"/>
                  </a:lnTo>
                  <a:cubicBezTo>
                    <a:pt x="-52" y="132208"/>
                    <a:pt x="21526" y="153872"/>
                    <a:pt x="48197" y="153924"/>
                  </a:cubicBezTo>
                  <a:cubicBezTo>
                    <a:pt x="48260" y="153924"/>
                    <a:pt x="48323" y="153924"/>
                    <a:pt x="48387" y="153924"/>
                  </a:cubicBezTo>
                  <a:lnTo>
                    <a:pt x="172212" y="153924"/>
                  </a:lnTo>
                  <a:cubicBezTo>
                    <a:pt x="198935" y="153924"/>
                    <a:pt x="220599" y="132260"/>
                    <a:pt x="220599" y="105537"/>
                  </a:cubicBezTo>
                  <a:close/>
                  <a:moveTo>
                    <a:pt x="147828" y="81439"/>
                  </a:moveTo>
                  <a:lnTo>
                    <a:pt x="92297" y="108966"/>
                  </a:lnTo>
                  <a:cubicBezTo>
                    <a:pt x="90107" y="110109"/>
                    <a:pt x="82772" y="108490"/>
                    <a:pt x="82772" y="106013"/>
                  </a:cubicBezTo>
                  <a:lnTo>
                    <a:pt x="82772" y="50197"/>
                  </a:lnTo>
                  <a:cubicBezTo>
                    <a:pt x="82772" y="47720"/>
                    <a:pt x="90202" y="46101"/>
                    <a:pt x="92297" y="47339"/>
                  </a:cubicBezTo>
                  <a:lnTo>
                    <a:pt x="145352" y="75914"/>
                  </a:lnTo>
                  <a:cubicBezTo>
                    <a:pt x="147733" y="77057"/>
                    <a:pt x="150019" y="80296"/>
                    <a:pt x="147828" y="8143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22" name="Graphic 50">
            <a:extLst>
              <a:ext uri="{FF2B5EF4-FFF2-40B4-BE49-F238E27FC236}">
                <a16:creationId xmlns:a16="http://schemas.microsoft.com/office/drawing/2014/main" id="{09C9C44A-E7D2-380D-FDC3-D540F2FDCA7A}"/>
              </a:ext>
            </a:extLst>
          </p:cNvPr>
          <p:cNvGrpSpPr/>
          <p:nvPr/>
        </p:nvGrpSpPr>
        <p:grpSpPr>
          <a:xfrm>
            <a:off x="10242552" y="3365500"/>
            <a:ext cx="453961" cy="453961"/>
            <a:chOff x="10242552" y="3365500"/>
            <a:chExt cx="453961" cy="453961"/>
          </a:xfrm>
        </p:grpSpPr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116D3AE3-C38C-035C-CF86-6D16A081025C}"/>
                </a:ext>
              </a:extLst>
            </p:cNvPr>
            <p:cNvSpPr/>
            <p:nvPr/>
          </p:nvSpPr>
          <p:spPr>
            <a:xfrm>
              <a:off x="10242552" y="33655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gradFill>
              <a:gsLst>
                <a:gs pos="0">
                  <a:srgbClr val="FFFA00"/>
                </a:gs>
                <a:gs pos="50000">
                  <a:srgbClr val="FFDA1B"/>
                </a:gs>
                <a:gs pos="100000">
                  <a:srgbClr val="FFBB36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70D025F1-AF24-4FD5-35E6-A63F1E7F3878}"/>
                </a:ext>
              </a:extLst>
            </p:cNvPr>
            <p:cNvSpPr/>
            <p:nvPr/>
          </p:nvSpPr>
          <p:spPr>
            <a:xfrm>
              <a:off x="10339516" y="3469743"/>
              <a:ext cx="260699" cy="245514"/>
            </a:xfrm>
            <a:custGeom>
              <a:avLst/>
              <a:gdLst>
                <a:gd name="connsiteX0" fmla="*/ 130016 w 260699"/>
                <a:gd name="connsiteY0" fmla="*/ 245514 h 245514"/>
                <a:gd name="connsiteX1" fmla="*/ 100203 w 260699"/>
                <a:gd name="connsiteY1" fmla="*/ 236942 h 245514"/>
                <a:gd name="connsiteX2" fmla="*/ 88773 w 260699"/>
                <a:gd name="connsiteY2" fmla="*/ 229703 h 245514"/>
                <a:gd name="connsiteX3" fmla="*/ 84487 w 260699"/>
                <a:gd name="connsiteY3" fmla="*/ 226845 h 245514"/>
                <a:gd name="connsiteX4" fmla="*/ 73247 w 260699"/>
                <a:gd name="connsiteY4" fmla="*/ 222749 h 245514"/>
                <a:gd name="connsiteX5" fmla="*/ 68485 w 260699"/>
                <a:gd name="connsiteY5" fmla="*/ 222749 h 245514"/>
                <a:gd name="connsiteX6" fmla="*/ 57055 w 260699"/>
                <a:gd name="connsiteY6" fmla="*/ 223892 h 245514"/>
                <a:gd name="connsiteX7" fmla="*/ 51054 w 260699"/>
                <a:gd name="connsiteY7" fmla="*/ 224654 h 245514"/>
                <a:gd name="connsiteX8" fmla="*/ 49149 w 260699"/>
                <a:gd name="connsiteY8" fmla="*/ 224654 h 245514"/>
                <a:gd name="connsiteX9" fmla="*/ 36394 w 260699"/>
                <a:gd name="connsiteY9" fmla="*/ 213458 h 245514"/>
                <a:gd name="connsiteX10" fmla="*/ 36385 w 260699"/>
                <a:gd name="connsiteY10" fmla="*/ 213320 h 245514"/>
                <a:gd name="connsiteX11" fmla="*/ 26860 w 260699"/>
                <a:gd name="connsiteY11" fmla="*/ 205985 h 245514"/>
                <a:gd name="connsiteX12" fmla="*/ 13621 w 260699"/>
                <a:gd name="connsiteY12" fmla="*/ 201985 h 245514"/>
                <a:gd name="connsiteX13" fmla="*/ 571 w 260699"/>
                <a:gd name="connsiteY13" fmla="*/ 190364 h 245514"/>
                <a:gd name="connsiteX14" fmla="*/ 0 w 260699"/>
                <a:gd name="connsiteY14" fmla="*/ 189031 h 245514"/>
                <a:gd name="connsiteX15" fmla="*/ 0 w 260699"/>
                <a:gd name="connsiteY15" fmla="*/ 181506 h 245514"/>
                <a:gd name="connsiteX16" fmla="*/ 1619 w 260699"/>
                <a:gd name="connsiteY16" fmla="*/ 179696 h 245514"/>
                <a:gd name="connsiteX17" fmla="*/ 11144 w 260699"/>
                <a:gd name="connsiteY17" fmla="*/ 173696 h 245514"/>
                <a:gd name="connsiteX18" fmla="*/ 50959 w 260699"/>
                <a:gd name="connsiteY18" fmla="*/ 142739 h 245514"/>
                <a:gd name="connsiteX19" fmla="*/ 55340 w 260699"/>
                <a:gd name="connsiteY19" fmla="*/ 133214 h 245514"/>
                <a:gd name="connsiteX20" fmla="*/ 45815 w 260699"/>
                <a:gd name="connsiteY20" fmla="*/ 128833 h 245514"/>
                <a:gd name="connsiteX21" fmla="*/ 42767 w 260699"/>
                <a:gd name="connsiteY21" fmla="*/ 127785 h 245514"/>
                <a:gd name="connsiteX22" fmla="*/ 31337 w 260699"/>
                <a:gd name="connsiteY22" fmla="*/ 121308 h 245514"/>
                <a:gd name="connsiteX23" fmla="*/ 25908 w 260699"/>
                <a:gd name="connsiteY23" fmla="*/ 105782 h 245514"/>
                <a:gd name="connsiteX24" fmla="*/ 39529 w 260699"/>
                <a:gd name="connsiteY24" fmla="*/ 93114 h 245514"/>
                <a:gd name="connsiteX25" fmla="*/ 43815 w 260699"/>
                <a:gd name="connsiteY25" fmla="*/ 92543 h 245514"/>
                <a:gd name="connsiteX26" fmla="*/ 54007 w 260699"/>
                <a:gd name="connsiteY26" fmla="*/ 94733 h 245514"/>
                <a:gd name="connsiteX27" fmla="*/ 56769 w 260699"/>
                <a:gd name="connsiteY27" fmla="*/ 95591 h 245514"/>
                <a:gd name="connsiteX28" fmla="*/ 56769 w 260699"/>
                <a:gd name="connsiteY28" fmla="*/ 64444 h 245514"/>
                <a:gd name="connsiteX29" fmla="*/ 88487 w 260699"/>
                <a:gd name="connsiteY29" fmla="*/ 12152 h 245514"/>
                <a:gd name="connsiteX30" fmla="*/ 172498 w 260699"/>
                <a:gd name="connsiteY30" fmla="*/ 12152 h 245514"/>
                <a:gd name="connsiteX31" fmla="*/ 204026 w 260699"/>
                <a:gd name="connsiteY31" fmla="*/ 59777 h 245514"/>
                <a:gd name="connsiteX32" fmla="*/ 204026 w 260699"/>
                <a:gd name="connsiteY32" fmla="*/ 95876 h 245514"/>
                <a:gd name="connsiteX33" fmla="*/ 206216 w 260699"/>
                <a:gd name="connsiteY33" fmla="*/ 95210 h 245514"/>
                <a:gd name="connsiteX34" fmla="*/ 216789 w 260699"/>
                <a:gd name="connsiteY34" fmla="*/ 93114 h 245514"/>
                <a:gd name="connsiteX35" fmla="*/ 224980 w 260699"/>
                <a:gd name="connsiteY35" fmla="*/ 94829 h 245514"/>
                <a:gd name="connsiteX36" fmla="*/ 235648 w 260699"/>
                <a:gd name="connsiteY36" fmla="*/ 110069 h 245514"/>
                <a:gd name="connsiteX37" fmla="*/ 229648 w 260699"/>
                <a:gd name="connsiteY37" fmla="*/ 121784 h 245514"/>
                <a:gd name="connsiteX38" fmla="*/ 217742 w 260699"/>
                <a:gd name="connsiteY38" fmla="*/ 128357 h 245514"/>
                <a:gd name="connsiteX39" fmla="*/ 212979 w 260699"/>
                <a:gd name="connsiteY39" fmla="*/ 130166 h 245514"/>
                <a:gd name="connsiteX40" fmla="*/ 208121 w 260699"/>
                <a:gd name="connsiteY40" fmla="*/ 132071 h 245514"/>
                <a:gd name="connsiteX41" fmla="*/ 205550 w 260699"/>
                <a:gd name="connsiteY41" fmla="*/ 133786 h 245514"/>
                <a:gd name="connsiteX42" fmla="*/ 206216 w 260699"/>
                <a:gd name="connsiteY42" fmla="*/ 135977 h 245514"/>
                <a:gd name="connsiteX43" fmla="*/ 248984 w 260699"/>
                <a:gd name="connsiteY43" fmla="*/ 174077 h 245514"/>
                <a:gd name="connsiteX44" fmla="*/ 259366 w 260699"/>
                <a:gd name="connsiteY44" fmla="*/ 180649 h 245514"/>
                <a:gd name="connsiteX45" fmla="*/ 260699 w 260699"/>
                <a:gd name="connsiteY45" fmla="*/ 182363 h 245514"/>
                <a:gd name="connsiteX46" fmla="*/ 260699 w 260699"/>
                <a:gd name="connsiteY46" fmla="*/ 189793 h 245514"/>
                <a:gd name="connsiteX47" fmla="*/ 260033 w 260699"/>
                <a:gd name="connsiteY47" fmla="*/ 191126 h 245514"/>
                <a:gd name="connsiteX48" fmla="*/ 245936 w 260699"/>
                <a:gd name="connsiteY48" fmla="*/ 202366 h 245514"/>
                <a:gd name="connsiteX49" fmla="*/ 230124 w 260699"/>
                <a:gd name="connsiteY49" fmla="*/ 206747 h 245514"/>
                <a:gd name="connsiteX50" fmla="*/ 224885 w 260699"/>
                <a:gd name="connsiteY50" fmla="*/ 211510 h 245514"/>
                <a:gd name="connsiteX51" fmla="*/ 211550 w 260699"/>
                <a:gd name="connsiteY51" fmla="*/ 224178 h 245514"/>
                <a:gd name="connsiteX52" fmla="*/ 208217 w 260699"/>
                <a:gd name="connsiteY52" fmla="*/ 224178 h 245514"/>
                <a:gd name="connsiteX53" fmla="*/ 203168 w 260699"/>
                <a:gd name="connsiteY53" fmla="*/ 223416 h 245514"/>
                <a:gd name="connsiteX54" fmla="*/ 193167 w 260699"/>
                <a:gd name="connsiteY54" fmla="*/ 222464 h 245514"/>
                <a:gd name="connsiteX55" fmla="*/ 171545 w 260699"/>
                <a:gd name="connsiteY55" fmla="*/ 229893 h 245514"/>
                <a:gd name="connsiteX56" fmla="*/ 165259 w 260699"/>
                <a:gd name="connsiteY56" fmla="*/ 234179 h 245514"/>
                <a:gd name="connsiteX57" fmla="*/ 130016 w 260699"/>
                <a:gd name="connsiteY57" fmla="*/ 245514 h 245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60699" h="245514">
                  <a:moveTo>
                    <a:pt x="130016" y="245514"/>
                  </a:moveTo>
                  <a:cubicBezTo>
                    <a:pt x="119491" y="245374"/>
                    <a:pt x="109196" y="242414"/>
                    <a:pt x="100203" y="236942"/>
                  </a:cubicBezTo>
                  <a:cubicBezTo>
                    <a:pt x="96298" y="234656"/>
                    <a:pt x="92583" y="232179"/>
                    <a:pt x="88773" y="229703"/>
                  </a:cubicBezTo>
                  <a:lnTo>
                    <a:pt x="84487" y="226845"/>
                  </a:lnTo>
                  <a:cubicBezTo>
                    <a:pt x="81102" y="224640"/>
                    <a:pt x="77257" y="223239"/>
                    <a:pt x="73247" y="222749"/>
                  </a:cubicBezTo>
                  <a:cubicBezTo>
                    <a:pt x="71662" y="222612"/>
                    <a:pt x="70070" y="222612"/>
                    <a:pt x="68485" y="222749"/>
                  </a:cubicBezTo>
                  <a:cubicBezTo>
                    <a:pt x="64652" y="222842"/>
                    <a:pt x="60830" y="223225"/>
                    <a:pt x="57055" y="223892"/>
                  </a:cubicBezTo>
                  <a:lnTo>
                    <a:pt x="51054" y="224654"/>
                  </a:lnTo>
                  <a:lnTo>
                    <a:pt x="49149" y="224654"/>
                  </a:lnTo>
                  <a:cubicBezTo>
                    <a:pt x="42535" y="225085"/>
                    <a:pt x="36824" y="220072"/>
                    <a:pt x="36394" y="213458"/>
                  </a:cubicBezTo>
                  <a:cubicBezTo>
                    <a:pt x="36390" y="213411"/>
                    <a:pt x="36388" y="213365"/>
                    <a:pt x="36385" y="213320"/>
                  </a:cubicBezTo>
                  <a:cubicBezTo>
                    <a:pt x="36385" y="208843"/>
                    <a:pt x="35243" y="206843"/>
                    <a:pt x="26860" y="205985"/>
                  </a:cubicBezTo>
                  <a:cubicBezTo>
                    <a:pt x="22284" y="205268"/>
                    <a:pt x="17829" y="203921"/>
                    <a:pt x="13621" y="201985"/>
                  </a:cubicBezTo>
                  <a:cubicBezTo>
                    <a:pt x="7931" y="199947"/>
                    <a:pt x="3252" y="195781"/>
                    <a:pt x="571" y="190364"/>
                  </a:cubicBezTo>
                  <a:lnTo>
                    <a:pt x="0" y="189031"/>
                  </a:lnTo>
                  <a:lnTo>
                    <a:pt x="0" y="181506"/>
                  </a:lnTo>
                  <a:lnTo>
                    <a:pt x="1619" y="179696"/>
                  </a:lnTo>
                  <a:cubicBezTo>
                    <a:pt x="3975" y="176622"/>
                    <a:pt x="7353" y="174492"/>
                    <a:pt x="11144" y="173696"/>
                  </a:cubicBezTo>
                  <a:cubicBezTo>
                    <a:pt x="28382" y="169860"/>
                    <a:pt x="42993" y="158500"/>
                    <a:pt x="50959" y="142739"/>
                  </a:cubicBezTo>
                  <a:cubicBezTo>
                    <a:pt x="55054" y="135977"/>
                    <a:pt x="55340" y="133976"/>
                    <a:pt x="55340" y="133214"/>
                  </a:cubicBezTo>
                  <a:cubicBezTo>
                    <a:pt x="52448" y="131204"/>
                    <a:pt x="49223" y="129721"/>
                    <a:pt x="45815" y="128833"/>
                  </a:cubicBezTo>
                  <a:lnTo>
                    <a:pt x="42767" y="127785"/>
                  </a:lnTo>
                  <a:cubicBezTo>
                    <a:pt x="38650" y="126221"/>
                    <a:pt x="34795" y="124037"/>
                    <a:pt x="31337" y="121308"/>
                  </a:cubicBezTo>
                  <a:cubicBezTo>
                    <a:pt x="26729" y="117582"/>
                    <a:pt x="24626" y="111569"/>
                    <a:pt x="25908" y="105782"/>
                  </a:cubicBezTo>
                  <a:cubicBezTo>
                    <a:pt x="27707" y="99336"/>
                    <a:pt x="32969" y="94443"/>
                    <a:pt x="39529" y="93114"/>
                  </a:cubicBezTo>
                  <a:cubicBezTo>
                    <a:pt x="40926" y="92737"/>
                    <a:pt x="42367" y="92545"/>
                    <a:pt x="43815" y="92543"/>
                  </a:cubicBezTo>
                  <a:cubicBezTo>
                    <a:pt x="47314" y="92666"/>
                    <a:pt x="50765" y="93408"/>
                    <a:pt x="54007" y="94733"/>
                  </a:cubicBezTo>
                  <a:lnTo>
                    <a:pt x="56769" y="95591"/>
                  </a:lnTo>
                  <a:cubicBezTo>
                    <a:pt x="56038" y="85221"/>
                    <a:pt x="56038" y="74814"/>
                    <a:pt x="56769" y="64444"/>
                  </a:cubicBezTo>
                  <a:cubicBezTo>
                    <a:pt x="57337" y="42626"/>
                    <a:pt x="69401" y="22736"/>
                    <a:pt x="88487" y="12152"/>
                  </a:cubicBezTo>
                  <a:cubicBezTo>
                    <a:pt x="114148" y="-4051"/>
                    <a:pt x="146837" y="-4051"/>
                    <a:pt x="172498" y="12152"/>
                  </a:cubicBezTo>
                  <a:cubicBezTo>
                    <a:pt x="190150" y="21929"/>
                    <a:pt x="201920" y="39707"/>
                    <a:pt x="204026" y="59777"/>
                  </a:cubicBezTo>
                  <a:cubicBezTo>
                    <a:pt x="205215" y="71780"/>
                    <a:pt x="205215" y="83873"/>
                    <a:pt x="204026" y="95876"/>
                  </a:cubicBezTo>
                  <a:lnTo>
                    <a:pt x="206216" y="95210"/>
                  </a:lnTo>
                  <a:cubicBezTo>
                    <a:pt x="209610" y="93965"/>
                    <a:pt x="213177" y="93257"/>
                    <a:pt x="216789" y="93114"/>
                  </a:cubicBezTo>
                  <a:cubicBezTo>
                    <a:pt x="219608" y="93113"/>
                    <a:pt x="222398" y="93697"/>
                    <a:pt x="224980" y="94829"/>
                  </a:cubicBezTo>
                  <a:cubicBezTo>
                    <a:pt x="231321" y="97246"/>
                    <a:pt x="235548" y="103284"/>
                    <a:pt x="235648" y="110069"/>
                  </a:cubicBezTo>
                  <a:cubicBezTo>
                    <a:pt x="235386" y="114644"/>
                    <a:pt x="233207" y="118897"/>
                    <a:pt x="229648" y="121784"/>
                  </a:cubicBezTo>
                  <a:cubicBezTo>
                    <a:pt x="226072" y="124622"/>
                    <a:pt x="222048" y="126843"/>
                    <a:pt x="217742" y="128357"/>
                  </a:cubicBezTo>
                  <a:lnTo>
                    <a:pt x="212979" y="130166"/>
                  </a:lnTo>
                  <a:cubicBezTo>
                    <a:pt x="211323" y="130702"/>
                    <a:pt x="209701" y="131338"/>
                    <a:pt x="208121" y="132071"/>
                  </a:cubicBezTo>
                  <a:cubicBezTo>
                    <a:pt x="206121" y="133024"/>
                    <a:pt x="205550" y="133691"/>
                    <a:pt x="205550" y="133786"/>
                  </a:cubicBezTo>
                  <a:cubicBezTo>
                    <a:pt x="205640" y="134550"/>
                    <a:pt x="205866" y="135292"/>
                    <a:pt x="206216" y="135977"/>
                  </a:cubicBezTo>
                  <a:cubicBezTo>
                    <a:pt x="213360" y="154923"/>
                    <a:pt x="229341" y="169161"/>
                    <a:pt x="248984" y="174077"/>
                  </a:cubicBezTo>
                  <a:cubicBezTo>
                    <a:pt x="253131" y="174926"/>
                    <a:pt x="256824" y="177264"/>
                    <a:pt x="259366" y="180649"/>
                  </a:cubicBezTo>
                  <a:lnTo>
                    <a:pt x="260699" y="182363"/>
                  </a:lnTo>
                  <a:lnTo>
                    <a:pt x="260699" y="189793"/>
                  </a:lnTo>
                  <a:lnTo>
                    <a:pt x="260033" y="191126"/>
                  </a:lnTo>
                  <a:cubicBezTo>
                    <a:pt x="256981" y="196569"/>
                    <a:pt x="251921" y="200603"/>
                    <a:pt x="245936" y="202366"/>
                  </a:cubicBezTo>
                  <a:cubicBezTo>
                    <a:pt x="240903" y="204579"/>
                    <a:pt x="235578" y="206055"/>
                    <a:pt x="230124" y="206747"/>
                  </a:cubicBezTo>
                  <a:cubicBezTo>
                    <a:pt x="226314" y="206747"/>
                    <a:pt x="225457" y="207795"/>
                    <a:pt x="224885" y="211510"/>
                  </a:cubicBezTo>
                  <a:cubicBezTo>
                    <a:pt x="224028" y="217415"/>
                    <a:pt x="221742" y="224178"/>
                    <a:pt x="211550" y="224178"/>
                  </a:cubicBezTo>
                  <a:lnTo>
                    <a:pt x="208217" y="224178"/>
                  </a:lnTo>
                  <a:cubicBezTo>
                    <a:pt x="206516" y="224057"/>
                    <a:pt x="204828" y="223803"/>
                    <a:pt x="203168" y="223416"/>
                  </a:cubicBezTo>
                  <a:cubicBezTo>
                    <a:pt x="199864" y="222838"/>
                    <a:pt x="196521" y="222520"/>
                    <a:pt x="193167" y="222464"/>
                  </a:cubicBezTo>
                  <a:cubicBezTo>
                    <a:pt x="185309" y="222314"/>
                    <a:pt x="177652" y="224946"/>
                    <a:pt x="171545" y="229893"/>
                  </a:cubicBezTo>
                  <a:cubicBezTo>
                    <a:pt x="169526" y="231430"/>
                    <a:pt x="167428" y="232861"/>
                    <a:pt x="165259" y="234179"/>
                  </a:cubicBezTo>
                  <a:cubicBezTo>
                    <a:pt x="154920" y="241420"/>
                    <a:pt x="142637" y="245370"/>
                    <a:pt x="130016" y="24551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2D2688D0-8437-941D-E087-3B8493AF1845}"/>
                </a:ext>
              </a:extLst>
            </p:cNvPr>
            <p:cNvSpPr/>
            <p:nvPr/>
          </p:nvSpPr>
          <p:spPr>
            <a:xfrm>
              <a:off x="10333039" y="3462940"/>
              <a:ext cx="272795" cy="258794"/>
            </a:xfrm>
            <a:custGeom>
              <a:avLst/>
              <a:gdLst>
                <a:gd name="connsiteX0" fmla="*/ 136493 w 272795"/>
                <a:gd name="connsiteY0" fmla="*/ 13145 h 258794"/>
                <a:gd name="connsiteX1" fmla="*/ 174593 w 272795"/>
                <a:gd name="connsiteY1" fmla="*/ 24289 h 258794"/>
                <a:gd name="connsiteX2" fmla="*/ 203168 w 272795"/>
                <a:gd name="connsiteY2" fmla="*/ 66866 h 258794"/>
                <a:gd name="connsiteX3" fmla="*/ 203168 w 272795"/>
                <a:gd name="connsiteY3" fmla="*/ 103918 h 258794"/>
                <a:gd name="connsiteX4" fmla="*/ 205931 w 272795"/>
                <a:gd name="connsiteY4" fmla="*/ 109538 h 258794"/>
                <a:gd name="connsiteX5" fmla="*/ 209169 w 272795"/>
                <a:gd name="connsiteY5" fmla="*/ 109061 h 258794"/>
                <a:gd name="connsiteX6" fmla="*/ 222504 w 272795"/>
                <a:gd name="connsiteY6" fmla="*/ 105918 h 258794"/>
                <a:gd name="connsiteX7" fmla="*/ 228124 w 272795"/>
                <a:gd name="connsiteY7" fmla="*/ 107061 h 258794"/>
                <a:gd name="connsiteX8" fmla="*/ 234887 w 272795"/>
                <a:gd name="connsiteY8" fmla="*/ 116586 h 258794"/>
                <a:gd name="connsiteX9" fmla="*/ 231172 w 272795"/>
                <a:gd name="connsiteY9" fmla="*/ 123634 h 258794"/>
                <a:gd name="connsiteX10" fmla="*/ 220027 w 272795"/>
                <a:gd name="connsiteY10" fmla="*/ 129445 h 258794"/>
                <a:gd name="connsiteX11" fmla="*/ 211074 w 272795"/>
                <a:gd name="connsiteY11" fmla="*/ 132969 h 258794"/>
                <a:gd name="connsiteX12" fmla="*/ 206121 w 272795"/>
                <a:gd name="connsiteY12" fmla="*/ 145447 h 258794"/>
                <a:gd name="connsiteX13" fmla="*/ 253175 w 272795"/>
                <a:gd name="connsiteY13" fmla="*/ 186881 h 258794"/>
                <a:gd name="connsiteX14" fmla="*/ 259937 w 272795"/>
                <a:gd name="connsiteY14" fmla="*/ 190976 h 258794"/>
                <a:gd name="connsiteX15" fmla="*/ 259937 w 272795"/>
                <a:gd name="connsiteY15" fmla="*/ 194882 h 258794"/>
                <a:gd name="connsiteX16" fmla="*/ 249460 w 272795"/>
                <a:gd name="connsiteY16" fmla="*/ 203549 h 258794"/>
                <a:gd name="connsiteX17" fmla="*/ 235553 w 272795"/>
                <a:gd name="connsiteY17" fmla="*/ 207454 h 258794"/>
                <a:gd name="connsiteX18" fmla="*/ 224332 w 272795"/>
                <a:gd name="connsiteY18" fmla="*/ 217336 h 258794"/>
                <a:gd name="connsiteX19" fmla="*/ 224314 w 272795"/>
                <a:gd name="connsiteY19" fmla="*/ 217742 h 258794"/>
                <a:gd name="connsiteX20" fmla="*/ 217361 w 272795"/>
                <a:gd name="connsiteY20" fmla="*/ 224885 h 258794"/>
                <a:gd name="connsiteX21" fmla="*/ 214598 w 272795"/>
                <a:gd name="connsiteY21" fmla="*/ 224885 h 258794"/>
                <a:gd name="connsiteX22" fmla="*/ 209836 w 272795"/>
                <a:gd name="connsiteY22" fmla="*/ 224123 h 258794"/>
                <a:gd name="connsiteX23" fmla="*/ 198977 w 272795"/>
                <a:gd name="connsiteY23" fmla="*/ 223171 h 258794"/>
                <a:gd name="connsiteX24" fmla="*/ 173355 w 272795"/>
                <a:gd name="connsiteY24" fmla="*/ 231934 h 258794"/>
                <a:gd name="connsiteX25" fmla="*/ 166592 w 272795"/>
                <a:gd name="connsiteY25" fmla="*/ 236601 h 258794"/>
                <a:gd name="connsiteX26" fmla="*/ 136303 w 272795"/>
                <a:gd name="connsiteY26" fmla="*/ 246126 h 258794"/>
                <a:gd name="connsiteX27" fmla="*/ 109538 w 272795"/>
                <a:gd name="connsiteY27" fmla="*/ 238220 h 258794"/>
                <a:gd name="connsiteX28" fmla="*/ 94107 w 272795"/>
                <a:gd name="connsiteY28" fmla="*/ 228219 h 258794"/>
                <a:gd name="connsiteX29" fmla="*/ 80963 w 272795"/>
                <a:gd name="connsiteY29" fmla="*/ 223171 h 258794"/>
                <a:gd name="connsiteX30" fmla="*/ 75248 w 272795"/>
                <a:gd name="connsiteY30" fmla="*/ 223171 h 258794"/>
                <a:gd name="connsiteX31" fmla="*/ 57436 w 272795"/>
                <a:gd name="connsiteY31" fmla="*/ 225076 h 258794"/>
                <a:gd name="connsiteX32" fmla="*/ 55912 w 272795"/>
                <a:gd name="connsiteY32" fmla="*/ 225076 h 258794"/>
                <a:gd name="connsiteX33" fmla="*/ 49340 w 272795"/>
                <a:gd name="connsiteY33" fmla="*/ 220123 h 258794"/>
                <a:gd name="connsiteX34" fmla="*/ 34290 w 272795"/>
                <a:gd name="connsiteY34" fmla="*/ 206788 h 258794"/>
                <a:gd name="connsiteX35" fmla="*/ 22765 w 272795"/>
                <a:gd name="connsiteY35" fmla="*/ 203168 h 258794"/>
                <a:gd name="connsiteX36" fmla="*/ 13240 w 272795"/>
                <a:gd name="connsiteY36" fmla="*/ 194882 h 258794"/>
                <a:gd name="connsiteX37" fmla="*/ 13240 w 272795"/>
                <a:gd name="connsiteY37" fmla="*/ 190976 h 258794"/>
                <a:gd name="connsiteX38" fmla="*/ 19050 w 272795"/>
                <a:gd name="connsiteY38" fmla="*/ 187071 h 258794"/>
                <a:gd name="connsiteX39" fmla="*/ 63151 w 272795"/>
                <a:gd name="connsiteY39" fmla="*/ 153162 h 258794"/>
                <a:gd name="connsiteX40" fmla="*/ 54483 w 272795"/>
                <a:gd name="connsiteY40" fmla="*/ 130016 h 258794"/>
                <a:gd name="connsiteX41" fmla="*/ 51816 w 272795"/>
                <a:gd name="connsiteY41" fmla="*/ 129064 h 258794"/>
                <a:gd name="connsiteX42" fmla="*/ 42291 w 272795"/>
                <a:gd name="connsiteY42" fmla="*/ 123730 h 258794"/>
                <a:gd name="connsiteX43" fmla="*/ 47720 w 272795"/>
                <a:gd name="connsiteY43" fmla="*/ 106585 h 258794"/>
                <a:gd name="connsiteX44" fmla="*/ 50483 w 272795"/>
                <a:gd name="connsiteY44" fmla="*/ 106585 h 258794"/>
                <a:gd name="connsiteX45" fmla="*/ 65151 w 272795"/>
                <a:gd name="connsiteY45" fmla="*/ 110109 h 258794"/>
                <a:gd name="connsiteX46" fmla="*/ 66580 w 272795"/>
                <a:gd name="connsiteY46" fmla="*/ 110109 h 258794"/>
                <a:gd name="connsiteX47" fmla="*/ 70199 w 272795"/>
                <a:gd name="connsiteY47" fmla="*/ 104966 h 258794"/>
                <a:gd name="connsiteX48" fmla="*/ 69437 w 272795"/>
                <a:gd name="connsiteY48" fmla="*/ 72200 h 258794"/>
                <a:gd name="connsiteX49" fmla="*/ 98012 w 272795"/>
                <a:gd name="connsiteY49" fmla="*/ 25146 h 258794"/>
                <a:gd name="connsiteX50" fmla="*/ 136874 w 272795"/>
                <a:gd name="connsiteY50" fmla="*/ 13716 h 258794"/>
                <a:gd name="connsiteX51" fmla="*/ 136874 w 272795"/>
                <a:gd name="connsiteY51" fmla="*/ 857 h 258794"/>
                <a:gd name="connsiteX52" fmla="*/ 91440 w 272795"/>
                <a:gd name="connsiteY52" fmla="*/ 14002 h 258794"/>
                <a:gd name="connsiteX53" fmla="*/ 56483 w 272795"/>
                <a:gd name="connsiteY53" fmla="*/ 71152 h 258794"/>
                <a:gd name="connsiteX54" fmla="*/ 56483 w 272795"/>
                <a:gd name="connsiteY54" fmla="*/ 93821 h 258794"/>
                <a:gd name="connsiteX55" fmla="*/ 50578 w 272795"/>
                <a:gd name="connsiteY55" fmla="*/ 93155 h 258794"/>
                <a:gd name="connsiteX56" fmla="*/ 44768 w 272795"/>
                <a:gd name="connsiteY56" fmla="*/ 93917 h 258794"/>
                <a:gd name="connsiteX57" fmla="*/ 26479 w 272795"/>
                <a:gd name="connsiteY57" fmla="*/ 111347 h 258794"/>
                <a:gd name="connsiteX58" fmla="*/ 33338 w 272795"/>
                <a:gd name="connsiteY58" fmla="*/ 133064 h 258794"/>
                <a:gd name="connsiteX59" fmla="*/ 46482 w 272795"/>
                <a:gd name="connsiteY59" fmla="*/ 140589 h 258794"/>
                <a:gd name="connsiteX60" fmla="*/ 49149 w 272795"/>
                <a:gd name="connsiteY60" fmla="*/ 141542 h 258794"/>
                <a:gd name="connsiteX61" fmla="*/ 53435 w 272795"/>
                <a:gd name="connsiteY61" fmla="*/ 143161 h 258794"/>
                <a:gd name="connsiteX62" fmla="*/ 51721 w 272795"/>
                <a:gd name="connsiteY62" fmla="*/ 146114 h 258794"/>
                <a:gd name="connsiteX63" fmla="*/ 16192 w 272795"/>
                <a:gd name="connsiteY63" fmla="*/ 174022 h 258794"/>
                <a:gd name="connsiteX64" fmla="*/ 3143 w 272795"/>
                <a:gd name="connsiteY64" fmla="*/ 182213 h 258794"/>
                <a:gd name="connsiteX65" fmla="*/ 0 w 272795"/>
                <a:gd name="connsiteY65" fmla="*/ 185833 h 258794"/>
                <a:gd name="connsiteX66" fmla="*/ 0 w 272795"/>
                <a:gd name="connsiteY66" fmla="*/ 197263 h 258794"/>
                <a:gd name="connsiteX67" fmla="*/ 1143 w 272795"/>
                <a:gd name="connsiteY67" fmla="*/ 199739 h 258794"/>
                <a:gd name="connsiteX68" fmla="*/ 17526 w 272795"/>
                <a:gd name="connsiteY68" fmla="*/ 214694 h 258794"/>
                <a:gd name="connsiteX69" fmla="*/ 32576 w 272795"/>
                <a:gd name="connsiteY69" fmla="*/ 219170 h 258794"/>
                <a:gd name="connsiteX70" fmla="*/ 36100 w 272795"/>
                <a:gd name="connsiteY70" fmla="*/ 219837 h 258794"/>
                <a:gd name="connsiteX71" fmla="*/ 36100 w 272795"/>
                <a:gd name="connsiteY71" fmla="*/ 220409 h 258794"/>
                <a:gd name="connsiteX72" fmla="*/ 55150 w 272795"/>
                <a:gd name="connsiteY72" fmla="*/ 237553 h 258794"/>
                <a:gd name="connsiteX73" fmla="*/ 58103 w 272795"/>
                <a:gd name="connsiteY73" fmla="*/ 237553 h 258794"/>
                <a:gd name="connsiteX74" fmla="*/ 64008 w 272795"/>
                <a:gd name="connsiteY74" fmla="*/ 236792 h 258794"/>
                <a:gd name="connsiteX75" fmla="*/ 74486 w 272795"/>
                <a:gd name="connsiteY75" fmla="*/ 235839 h 258794"/>
                <a:gd name="connsiteX76" fmla="*/ 78295 w 272795"/>
                <a:gd name="connsiteY76" fmla="*/ 235839 h 258794"/>
                <a:gd name="connsiteX77" fmla="*/ 86963 w 272795"/>
                <a:gd name="connsiteY77" fmla="*/ 238887 h 258794"/>
                <a:gd name="connsiteX78" fmla="*/ 91440 w 272795"/>
                <a:gd name="connsiteY78" fmla="*/ 241935 h 258794"/>
                <a:gd name="connsiteX79" fmla="*/ 102965 w 272795"/>
                <a:gd name="connsiteY79" fmla="*/ 249269 h 258794"/>
                <a:gd name="connsiteX80" fmla="*/ 136017 w 272795"/>
                <a:gd name="connsiteY80" fmla="*/ 258794 h 258794"/>
                <a:gd name="connsiteX81" fmla="*/ 173260 w 272795"/>
                <a:gd name="connsiteY81" fmla="*/ 246888 h 258794"/>
                <a:gd name="connsiteX82" fmla="*/ 174498 w 272795"/>
                <a:gd name="connsiteY82" fmla="*/ 246126 h 258794"/>
                <a:gd name="connsiteX83" fmla="*/ 181166 w 272795"/>
                <a:gd name="connsiteY83" fmla="*/ 241459 h 258794"/>
                <a:gd name="connsiteX84" fmla="*/ 199168 w 272795"/>
                <a:gd name="connsiteY84" fmla="*/ 235934 h 258794"/>
                <a:gd name="connsiteX85" fmla="*/ 207740 w 272795"/>
                <a:gd name="connsiteY85" fmla="*/ 236792 h 258794"/>
                <a:gd name="connsiteX86" fmla="*/ 213741 w 272795"/>
                <a:gd name="connsiteY86" fmla="*/ 237649 h 258794"/>
                <a:gd name="connsiteX87" fmla="*/ 217551 w 272795"/>
                <a:gd name="connsiteY87" fmla="*/ 237649 h 258794"/>
                <a:gd name="connsiteX88" fmla="*/ 237158 w 272795"/>
                <a:gd name="connsiteY88" fmla="*/ 220372 h 258794"/>
                <a:gd name="connsiteX89" fmla="*/ 237173 w 272795"/>
                <a:gd name="connsiteY89" fmla="*/ 220123 h 258794"/>
                <a:gd name="connsiteX90" fmla="*/ 252889 w 272795"/>
                <a:gd name="connsiteY90" fmla="*/ 215932 h 258794"/>
                <a:gd name="connsiteX91" fmla="*/ 254222 w 272795"/>
                <a:gd name="connsiteY91" fmla="*/ 215932 h 258794"/>
                <a:gd name="connsiteX92" fmla="*/ 271463 w 272795"/>
                <a:gd name="connsiteY92" fmla="*/ 200120 h 258794"/>
                <a:gd name="connsiteX93" fmla="*/ 272796 w 272795"/>
                <a:gd name="connsiteY93" fmla="*/ 197453 h 258794"/>
                <a:gd name="connsiteX94" fmla="*/ 272796 w 272795"/>
                <a:gd name="connsiteY94" fmla="*/ 186309 h 258794"/>
                <a:gd name="connsiteX95" fmla="*/ 270224 w 272795"/>
                <a:gd name="connsiteY95" fmla="*/ 182880 h 258794"/>
                <a:gd name="connsiteX96" fmla="*/ 256032 w 272795"/>
                <a:gd name="connsiteY96" fmla="*/ 173927 h 258794"/>
                <a:gd name="connsiteX97" fmla="*/ 219456 w 272795"/>
                <a:gd name="connsiteY97" fmla="*/ 143066 h 258794"/>
                <a:gd name="connsiteX98" fmla="*/ 220885 w 272795"/>
                <a:gd name="connsiteY98" fmla="*/ 142494 h 258794"/>
                <a:gd name="connsiteX99" fmla="*/ 224790 w 272795"/>
                <a:gd name="connsiteY99" fmla="*/ 141065 h 258794"/>
                <a:gd name="connsiteX100" fmla="*/ 225647 w 272795"/>
                <a:gd name="connsiteY100" fmla="*/ 141065 h 258794"/>
                <a:gd name="connsiteX101" fmla="*/ 239554 w 272795"/>
                <a:gd name="connsiteY101" fmla="*/ 133350 h 258794"/>
                <a:gd name="connsiteX102" fmla="*/ 247650 w 272795"/>
                <a:gd name="connsiteY102" fmla="*/ 116872 h 258794"/>
                <a:gd name="connsiteX103" fmla="*/ 233363 w 272795"/>
                <a:gd name="connsiteY103" fmla="*/ 95250 h 258794"/>
                <a:gd name="connsiteX104" fmla="*/ 222695 w 272795"/>
                <a:gd name="connsiteY104" fmla="*/ 93059 h 258794"/>
                <a:gd name="connsiteX105" fmla="*/ 216979 w 272795"/>
                <a:gd name="connsiteY105" fmla="*/ 93631 h 258794"/>
                <a:gd name="connsiteX106" fmla="*/ 216313 w 272795"/>
                <a:gd name="connsiteY106" fmla="*/ 65056 h 258794"/>
                <a:gd name="connsiteX107" fmla="*/ 181547 w 272795"/>
                <a:gd name="connsiteY107" fmla="*/ 12954 h 258794"/>
                <a:gd name="connsiteX108" fmla="*/ 136493 w 272795"/>
                <a:gd name="connsiteY108" fmla="*/ 0 h 258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272795" h="258794">
                  <a:moveTo>
                    <a:pt x="136493" y="13145"/>
                  </a:moveTo>
                  <a:cubicBezTo>
                    <a:pt x="149961" y="13391"/>
                    <a:pt x="163116" y="17239"/>
                    <a:pt x="174593" y="24289"/>
                  </a:cubicBezTo>
                  <a:cubicBezTo>
                    <a:pt x="190538" y="32921"/>
                    <a:pt x="201221" y="48838"/>
                    <a:pt x="203168" y="66866"/>
                  </a:cubicBezTo>
                  <a:cubicBezTo>
                    <a:pt x="204406" y="79185"/>
                    <a:pt x="204406" y="91598"/>
                    <a:pt x="203168" y="103918"/>
                  </a:cubicBezTo>
                  <a:cubicBezTo>
                    <a:pt x="203168" y="107918"/>
                    <a:pt x="203168" y="109538"/>
                    <a:pt x="205931" y="109538"/>
                  </a:cubicBezTo>
                  <a:cubicBezTo>
                    <a:pt x="207023" y="109486"/>
                    <a:pt x="208108" y="109326"/>
                    <a:pt x="209169" y="109061"/>
                  </a:cubicBezTo>
                  <a:cubicBezTo>
                    <a:pt x="213476" y="107496"/>
                    <a:pt x="217951" y="106442"/>
                    <a:pt x="222504" y="105918"/>
                  </a:cubicBezTo>
                  <a:cubicBezTo>
                    <a:pt x="224437" y="105902"/>
                    <a:pt x="226351" y="106291"/>
                    <a:pt x="228124" y="107061"/>
                  </a:cubicBezTo>
                  <a:cubicBezTo>
                    <a:pt x="232103" y="108568"/>
                    <a:pt x="234775" y="112332"/>
                    <a:pt x="234887" y="116586"/>
                  </a:cubicBezTo>
                  <a:cubicBezTo>
                    <a:pt x="234656" y="119343"/>
                    <a:pt x="233315" y="121887"/>
                    <a:pt x="231172" y="123634"/>
                  </a:cubicBezTo>
                  <a:cubicBezTo>
                    <a:pt x="227805" y="126175"/>
                    <a:pt x="224038" y="128138"/>
                    <a:pt x="220027" y="129445"/>
                  </a:cubicBezTo>
                  <a:cubicBezTo>
                    <a:pt x="217075" y="130683"/>
                    <a:pt x="213931" y="131636"/>
                    <a:pt x="211074" y="132969"/>
                  </a:cubicBezTo>
                  <a:cubicBezTo>
                    <a:pt x="205073" y="135731"/>
                    <a:pt x="203359" y="139446"/>
                    <a:pt x="206121" y="145447"/>
                  </a:cubicBezTo>
                  <a:cubicBezTo>
                    <a:pt x="214257" y="166002"/>
                    <a:pt x="231756" y="181409"/>
                    <a:pt x="253175" y="186881"/>
                  </a:cubicBezTo>
                  <a:cubicBezTo>
                    <a:pt x="255860" y="187356"/>
                    <a:pt x="258271" y="188817"/>
                    <a:pt x="259937" y="190976"/>
                  </a:cubicBezTo>
                  <a:lnTo>
                    <a:pt x="259937" y="194882"/>
                  </a:lnTo>
                  <a:cubicBezTo>
                    <a:pt x="257696" y="199016"/>
                    <a:pt x="253941" y="202123"/>
                    <a:pt x="249460" y="203549"/>
                  </a:cubicBezTo>
                  <a:cubicBezTo>
                    <a:pt x="245047" y="205544"/>
                    <a:pt x="240359" y="206860"/>
                    <a:pt x="235553" y="207454"/>
                  </a:cubicBezTo>
                  <a:cubicBezTo>
                    <a:pt x="229726" y="207084"/>
                    <a:pt x="224701" y="211508"/>
                    <a:pt x="224332" y="217336"/>
                  </a:cubicBezTo>
                  <a:cubicBezTo>
                    <a:pt x="224323" y="217471"/>
                    <a:pt x="224318" y="217606"/>
                    <a:pt x="224314" y="217742"/>
                  </a:cubicBezTo>
                  <a:cubicBezTo>
                    <a:pt x="223456" y="223361"/>
                    <a:pt x="221933" y="224885"/>
                    <a:pt x="217361" y="224885"/>
                  </a:cubicBezTo>
                  <a:lnTo>
                    <a:pt x="214598" y="224885"/>
                  </a:lnTo>
                  <a:lnTo>
                    <a:pt x="209836" y="224123"/>
                  </a:lnTo>
                  <a:cubicBezTo>
                    <a:pt x="206251" y="223483"/>
                    <a:pt x="202618" y="223165"/>
                    <a:pt x="198977" y="223171"/>
                  </a:cubicBezTo>
                  <a:cubicBezTo>
                    <a:pt x="189664" y="222934"/>
                    <a:pt x="180573" y="226043"/>
                    <a:pt x="173355" y="231934"/>
                  </a:cubicBezTo>
                  <a:cubicBezTo>
                    <a:pt x="171164" y="233648"/>
                    <a:pt x="168878" y="235077"/>
                    <a:pt x="166592" y="236601"/>
                  </a:cubicBezTo>
                  <a:cubicBezTo>
                    <a:pt x="157622" y="242622"/>
                    <a:pt x="147105" y="245929"/>
                    <a:pt x="136303" y="246126"/>
                  </a:cubicBezTo>
                  <a:cubicBezTo>
                    <a:pt x="126835" y="245927"/>
                    <a:pt x="117594" y="243197"/>
                    <a:pt x="109538" y="238220"/>
                  </a:cubicBezTo>
                  <a:cubicBezTo>
                    <a:pt x="104299" y="235077"/>
                    <a:pt x="99251" y="231553"/>
                    <a:pt x="94107" y="228219"/>
                  </a:cubicBezTo>
                  <a:cubicBezTo>
                    <a:pt x="90131" y="225627"/>
                    <a:pt x="85652" y="223907"/>
                    <a:pt x="80963" y="223171"/>
                  </a:cubicBezTo>
                  <a:cubicBezTo>
                    <a:pt x="79060" y="223028"/>
                    <a:pt x="77150" y="223028"/>
                    <a:pt x="75248" y="223171"/>
                  </a:cubicBezTo>
                  <a:cubicBezTo>
                    <a:pt x="69279" y="223471"/>
                    <a:pt x="63333" y="224107"/>
                    <a:pt x="57436" y="225076"/>
                  </a:cubicBezTo>
                  <a:lnTo>
                    <a:pt x="55912" y="225076"/>
                  </a:lnTo>
                  <a:cubicBezTo>
                    <a:pt x="52483" y="225076"/>
                    <a:pt x="49530" y="223742"/>
                    <a:pt x="49340" y="220123"/>
                  </a:cubicBezTo>
                  <a:cubicBezTo>
                    <a:pt x="48768" y="210598"/>
                    <a:pt x="42672" y="207645"/>
                    <a:pt x="34290" y="206788"/>
                  </a:cubicBezTo>
                  <a:cubicBezTo>
                    <a:pt x="30303" y="206104"/>
                    <a:pt x="26426" y="204887"/>
                    <a:pt x="22765" y="203168"/>
                  </a:cubicBezTo>
                  <a:cubicBezTo>
                    <a:pt x="18637" y="201744"/>
                    <a:pt x="15222" y="198773"/>
                    <a:pt x="13240" y="194882"/>
                  </a:cubicBezTo>
                  <a:lnTo>
                    <a:pt x="13240" y="190976"/>
                  </a:lnTo>
                  <a:cubicBezTo>
                    <a:pt x="14688" y="189064"/>
                    <a:pt x="16733" y="187689"/>
                    <a:pt x="19050" y="187071"/>
                  </a:cubicBezTo>
                  <a:cubicBezTo>
                    <a:pt x="38033" y="182830"/>
                    <a:pt x="54174" y="170418"/>
                    <a:pt x="63151" y="153162"/>
                  </a:cubicBezTo>
                  <a:cubicBezTo>
                    <a:pt x="71723" y="138875"/>
                    <a:pt x="70390" y="135636"/>
                    <a:pt x="54483" y="130016"/>
                  </a:cubicBezTo>
                  <a:lnTo>
                    <a:pt x="51816" y="129064"/>
                  </a:lnTo>
                  <a:cubicBezTo>
                    <a:pt x="48382" y="127794"/>
                    <a:pt x="45168" y="125994"/>
                    <a:pt x="42291" y="123730"/>
                  </a:cubicBezTo>
                  <a:cubicBezTo>
                    <a:pt x="35147" y="117539"/>
                    <a:pt x="39338" y="108585"/>
                    <a:pt x="47720" y="106585"/>
                  </a:cubicBezTo>
                  <a:lnTo>
                    <a:pt x="50483" y="106585"/>
                  </a:lnTo>
                  <a:cubicBezTo>
                    <a:pt x="55442" y="107443"/>
                    <a:pt x="60342" y="108620"/>
                    <a:pt x="65151" y="110109"/>
                  </a:cubicBezTo>
                  <a:lnTo>
                    <a:pt x="66580" y="110109"/>
                  </a:lnTo>
                  <a:cubicBezTo>
                    <a:pt x="69437" y="110109"/>
                    <a:pt x="70580" y="108585"/>
                    <a:pt x="70199" y="104966"/>
                  </a:cubicBezTo>
                  <a:cubicBezTo>
                    <a:pt x="69091" y="94080"/>
                    <a:pt x="68835" y="83125"/>
                    <a:pt x="69437" y="72200"/>
                  </a:cubicBezTo>
                  <a:cubicBezTo>
                    <a:pt x="69971" y="52566"/>
                    <a:pt x="80836" y="34673"/>
                    <a:pt x="98012" y="25146"/>
                  </a:cubicBezTo>
                  <a:cubicBezTo>
                    <a:pt x="109680" y="17859"/>
                    <a:pt x="123120" y="13907"/>
                    <a:pt x="136874" y="13716"/>
                  </a:cubicBezTo>
                  <a:moveTo>
                    <a:pt x="136874" y="857"/>
                  </a:moveTo>
                  <a:cubicBezTo>
                    <a:pt x="120820" y="1054"/>
                    <a:pt x="105120" y="5597"/>
                    <a:pt x="91440" y="14002"/>
                  </a:cubicBezTo>
                  <a:cubicBezTo>
                    <a:pt x="70562" y="25594"/>
                    <a:pt x="57294" y="47286"/>
                    <a:pt x="56483" y="71152"/>
                  </a:cubicBezTo>
                  <a:cubicBezTo>
                    <a:pt x="56483" y="79534"/>
                    <a:pt x="56007" y="86963"/>
                    <a:pt x="56483" y="93821"/>
                  </a:cubicBezTo>
                  <a:cubicBezTo>
                    <a:pt x="54544" y="93390"/>
                    <a:pt x="52565" y="93167"/>
                    <a:pt x="50578" y="93155"/>
                  </a:cubicBezTo>
                  <a:cubicBezTo>
                    <a:pt x="48618" y="93174"/>
                    <a:pt x="46667" y="93429"/>
                    <a:pt x="44768" y="93917"/>
                  </a:cubicBezTo>
                  <a:cubicBezTo>
                    <a:pt x="35870" y="95809"/>
                    <a:pt x="28797" y="102551"/>
                    <a:pt x="26479" y="111347"/>
                  </a:cubicBezTo>
                  <a:cubicBezTo>
                    <a:pt x="24482" y="119301"/>
                    <a:pt x="27135" y="127701"/>
                    <a:pt x="33338" y="133064"/>
                  </a:cubicBezTo>
                  <a:cubicBezTo>
                    <a:pt x="37281" y="136270"/>
                    <a:pt x="41720" y="138812"/>
                    <a:pt x="46482" y="140589"/>
                  </a:cubicBezTo>
                  <a:lnTo>
                    <a:pt x="49149" y="141542"/>
                  </a:lnTo>
                  <a:lnTo>
                    <a:pt x="53435" y="143161"/>
                  </a:lnTo>
                  <a:cubicBezTo>
                    <a:pt x="52925" y="144179"/>
                    <a:pt x="52352" y="145166"/>
                    <a:pt x="51721" y="146114"/>
                  </a:cubicBezTo>
                  <a:cubicBezTo>
                    <a:pt x="44639" y="160254"/>
                    <a:pt x="31609" y="170491"/>
                    <a:pt x="16192" y="174022"/>
                  </a:cubicBezTo>
                  <a:cubicBezTo>
                    <a:pt x="11035" y="175182"/>
                    <a:pt x="6430" y="178073"/>
                    <a:pt x="3143" y="182213"/>
                  </a:cubicBezTo>
                  <a:lnTo>
                    <a:pt x="0" y="185833"/>
                  </a:lnTo>
                  <a:lnTo>
                    <a:pt x="0" y="197263"/>
                  </a:lnTo>
                  <a:lnTo>
                    <a:pt x="1143" y="199739"/>
                  </a:lnTo>
                  <a:cubicBezTo>
                    <a:pt x="4368" y="206727"/>
                    <a:pt x="10274" y="212118"/>
                    <a:pt x="17526" y="214694"/>
                  </a:cubicBezTo>
                  <a:cubicBezTo>
                    <a:pt x="22298" y="216910"/>
                    <a:pt x="27368" y="218418"/>
                    <a:pt x="32576" y="219170"/>
                  </a:cubicBezTo>
                  <a:cubicBezTo>
                    <a:pt x="33770" y="219270"/>
                    <a:pt x="34951" y="219494"/>
                    <a:pt x="36100" y="219837"/>
                  </a:cubicBezTo>
                  <a:cubicBezTo>
                    <a:pt x="36100" y="219837"/>
                    <a:pt x="36100" y="219837"/>
                    <a:pt x="36100" y="220409"/>
                  </a:cubicBezTo>
                  <a:cubicBezTo>
                    <a:pt x="36664" y="230385"/>
                    <a:pt x="45169" y="238040"/>
                    <a:pt x="55150" y="237553"/>
                  </a:cubicBezTo>
                  <a:cubicBezTo>
                    <a:pt x="56132" y="237645"/>
                    <a:pt x="57120" y="237645"/>
                    <a:pt x="58103" y="237553"/>
                  </a:cubicBezTo>
                  <a:lnTo>
                    <a:pt x="64008" y="236792"/>
                  </a:lnTo>
                  <a:cubicBezTo>
                    <a:pt x="67478" y="236260"/>
                    <a:pt x="70976" y="235942"/>
                    <a:pt x="74486" y="235839"/>
                  </a:cubicBezTo>
                  <a:lnTo>
                    <a:pt x="78295" y="235839"/>
                  </a:lnTo>
                  <a:cubicBezTo>
                    <a:pt x="81372" y="236210"/>
                    <a:pt x="84331" y="237251"/>
                    <a:pt x="86963" y="238887"/>
                  </a:cubicBezTo>
                  <a:lnTo>
                    <a:pt x="91440" y="241935"/>
                  </a:lnTo>
                  <a:cubicBezTo>
                    <a:pt x="95250" y="244412"/>
                    <a:pt x="99060" y="246983"/>
                    <a:pt x="102965" y="249269"/>
                  </a:cubicBezTo>
                  <a:cubicBezTo>
                    <a:pt x="112930" y="255348"/>
                    <a:pt x="124345" y="258637"/>
                    <a:pt x="136017" y="258794"/>
                  </a:cubicBezTo>
                  <a:cubicBezTo>
                    <a:pt x="149329" y="258557"/>
                    <a:pt x="162278" y="254417"/>
                    <a:pt x="173260" y="246888"/>
                  </a:cubicBezTo>
                  <a:lnTo>
                    <a:pt x="174498" y="246126"/>
                  </a:lnTo>
                  <a:cubicBezTo>
                    <a:pt x="176816" y="244713"/>
                    <a:pt x="179043" y="243153"/>
                    <a:pt x="181166" y="241459"/>
                  </a:cubicBezTo>
                  <a:cubicBezTo>
                    <a:pt x="186291" y="237482"/>
                    <a:pt x="192694" y="235517"/>
                    <a:pt x="199168" y="235934"/>
                  </a:cubicBezTo>
                  <a:cubicBezTo>
                    <a:pt x="202045" y="235955"/>
                    <a:pt x="204915" y="236242"/>
                    <a:pt x="207740" y="236792"/>
                  </a:cubicBezTo>
                  <a:lnTo>
                    <a:pt x="213741" y="237649"/>
                  </a:lnTo>
                  <a:lnTo>
                    <a:pt x="217551" y="237649"/>
                  </a:lnTo>
                  <a:cubicBezTo>
                    <a:pt x="227736" y="238293"/>
                    <a:pt x="236514" y="230557"/>
                    <a:pt x="237158" y="220372"/>
                  </a:cubicBezTo>
                  <a:cubicBezTo>
                    <a:pt x="237164" y="220289"/>
                    <a:pt x="237169" y="220207"/>
                    <a:pt x="237173" y="220123"/>
                  </a:cubicBezTo>
                  <a:cubicBezTo>
                    <a:pt x="242594" y="219536"/>
                    <a:pt x="247895" y="218123"/>
                    <a:pt x="252889" y="215932"/>
                  </a:cubicBezTo>
                  <a:lnTo>
                    <a:pt x="254222" y="215932"/>
                  </a:lnTo>
                  <a:cubicBezTo>
                    <a:pt x="261860" y="213192"/>
                    <a:pt x="268074" y="207494"/>
                    <a:pt x="271463" y="200120"/>
                  </a:cubicBezTo>
                  <a:lnTo>
                    <a:pt x="272796" y="197453"/>
                  </a:lnTo>
                  <a:lnTo>
                    <a:pt x="272796" y="186309"/>
                  </a:lnTo>
                  <a:lnTo>
                    <a:pt x="270224" y="182880"/>
                  </a:lnTo>
                  <a:cubicBezTo>
                    <a:pt x="266696" y="178317"/>
                    <a:pt x="261670" y="175146"/>
                    <a:pt x="256032" y="173927"/>
                  </a:cubicBezTo>
                  <a:cubicBezTo>
                    <a:pt x="239706" y="169884"/>
                    <a:pt x="226188" y="158479"/>
                    <a:pt x="219456" y="143066"/>
                  </a:cubicBezTo>
                  <a:lnTo>
                    <a:pt x="220885" y="142494"/>
                  </a:lnTo>
                  <a:lnTo>
                    <a:pt x="224790" y="141065"/>
                  </a:lnTo>
                  <a:lnTo>
                    <a:pt x="225647" y="141065"/>
                  </a:lnTo>
                  <a:cubicBezTo>
                    <a:pt x="230691" y="139310"/>
                    <a:pt x="235395" y="136700"/>
                    <a:pt x="239554" y="133350"/>
                  </a:cubicBezTo>
                  <a:cubicBezTo>
                    <a:pt x="244465" y="129252"/>
                    <a:pt x="247408" y="123263"/>
                    <a:pt x="247650" y="116872"/>
                  </a:cubicBezTo>
                  <a:cubicBezTo>
                    <a:pt x="247801" y="107409"/>
                    <a:pt x="242127" y="98823"/>
                    <a:pt x="233363" y="95250"/>
                  </a:cubicBezTo>
                  <a:cubicBezTo>
                    <a:pt x="229991" y="93807"/>
                    <a:pt x="226362" y="93061"/>
                    <a:pt x="222695" y="93059"/>
                  </a:cubicBezTo>
                  <a:cubicBezTo>
                    <a:pt x="220777" y="93098"/>
                    <a:pt x="218866" y="93290"/>
                    <a:pt x="216979" y="93631"/>
                  </a:cubicBezTo>
                  <a:cubicBezTo>
                    <a:pt x="217537" y="84104"/>
                    <a:pt x="217314" y="74546"/>
                    <a:pt x="216313" y="65056"/>
                  </a:cubicBezTo>
                  <a:cubicBezTo>
                    <a:pt x="213856" y="43079"/>
                    <a:pt x="200897" y="23657"/>
                    <a:pt x="181547" y="12954"/>
                  </a:cubicBezTo>
                  <a:cubicBezTo>
                    <a:pt x="167967" y="4664"/>
                    <a:pt x="152403" y="190"/>
                    <a:pt x="136493" y="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26" name="Graphic 52">
            <a:extLst>
              <a:ext uri="{FF2B5EF4-FFF2-40B4-BE49-F238E27FC236}">
                <a16:creationId xmlns:a16="http://schemas.microsoft.com/office/drawing/2014/main" id="{38E16A35-C1FC-F99E-E4FA-C72B7C10A2DC}"/>
              </a:ext>
            </a:extLst>
          </p:cNvPr>
          <p:cNvGrpSpPr/>
          <p:nvPr/>
        </p:nvGrpSpPr>
        <p:grpSpPr>
          <a:xfrm>
            <a:off x="6584952" y="4279900"/>
            <a:ext cx="453961" cy="453961"/>
            <a:chOff x="6584952" y="4279900"/>
            <a:chExt cx="453961" cy="453961"/>
          </a:xfrm>
        </p:grpSpPr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574F317F-E2EF-0817-C217-5A2E6570973F}"/>
                </a:ext>
              </a:extLst>
            </p:cNvPr>
            <p:cNvSpPr/>
            <p:nvPr/>
          </p:nvSpPr>
          <p:spPr>
            <a:xfrm>
              <a:off x="6584952" y="42799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gradFill>
              <a:gsLst>
                <a:gs pos="0">
                  <a:srgbClr val="00FB73"/>
                </a:gs>
                <a:gs pos="50000">
                  <a:srgbClr val="00D667"/>
                </a:gs>
                <a:gs pos="100000">
                  <a:srgbClr val="00B25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A8787582-E948-4205-D888-8E6ADA962CF3}"/>
                </a:ext>
              </a:extLst>
            </p:cNvPr>
            <p:cNvSpPr/>
            <p:nvPr/>
          </p:nvSpPr>
          <p:spPr>
            <a:xfrm>
              <a:off x="6695061" y="4388761"/>
              <a:ext cx="234603" cy="235276"/>
            </a:xfrm>
            <a:custGeom>
              <a:avLst/>
              <a:gdLst>
                <a:gd name="connsiteX0" fmla="*/ 0 w 234603"/>
                <a:gd name="connsiteY0" fmla="*/ 235277 h 235276"/>
                <a:gd name="connsiteX1" fmla="*/ 16764 w 234603"/>
                <a:gd name="connsiteY1" fmla="*/ 172602 h 235276"/>
                <a:gd name="connsiteX2" fmla="*/ 62002 w 234603"/>
                <a:gd name="connsiteY2" fmla="*/ 14613 h 235276"/>
                <a:gd name="connsiteX3" fmla="*/ 219991 w 234603"/>
                <a:gd name="connsiteY3" fmla="*/ 59850 h 235276"/>
                <a:gd name="connsiteX4" fmla="*/ 174753 w 234603"/>
                <a:gd name="connsiteY4" fmla="*/ 217840 h 235276"/>
                <a:gd name="connsiteX5" fmla="*/ 63056 w 234603"/>
                <a:gd name="connsiteY5" fmla="*/ 218417 h 235276"/>
                <a:gd name="connsiteX6" fmla="*/ 66103 w 234603"/>
                <a:gd name="connsiteY6" fmla="*/ 194891 h 235276"/>
                <a:gd name="connsiteX7" fmla="*/ 70104 w 234603"/>
                <a:gd name="connsiteY7" fmla="*/ 197272 h 235276"/>
                <a:gd name="connsiteX8" fmla="*/ 199130 w 234603"/>
                <a:gd name="connsiteY8" fmla="*/ 164644 h 235276"/>
                <a:gd name="connsiteX9" fmla="*/ 166503 w 234603"/>
                <a:gd name="connsiteY9" fmla="*/ 35618 h 235276"/>
                <a:gd name="connsiteX10" fmla="*/ 37477 w 234603"/>
                <a:gd name="connsiteY10" fmla="*/ 68246 h 235276"/>
                <a:gd name="connsiteX11" fmla="*/ 37909 w 234603"/>
                <a:gd name="connsiteY11" fmla="*/ 165363 h 235276"/>
                <a:gd name="connsiteX12" fmla="*/ 40291 w 234603"/>
                <a:gd name="connsiteY12" fmla="*/ 169364 h 235276"/>
                <a:gd name="connsiteX13" fmla="*/ 30766 w 234603"/>
                <a:gd name="connsiteY13" fmla="*/ 204320 h 2352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4603" h="235276">
                  <a:moveTo>
                    <a:pt x="0" y="235277"/>
                  </a:moveTo>
                  <a:lnTo>
                    <a:pt x="16764" y="172602"/>
                  </a:lnTo>
                  <a:cubicBezTo>
                    <a:pt x="-14371" y="116483"/>
                    <a:pt x="5882" y="45748"/>
                    <a:pt x="62002" y="14613"/>
                  </a:cubicBezTo>
                  <a:cubicBezTo>
                    <a:pt x="118121" y="-16523"/>
                    <a:pt x="188856" y="3730"/>
                    <a:pt x="219991" y="59850"/>
                  </a:cubicBezTo>
                  <a:cubicBezTo>
                    <a:pt x="251127" y="115969"/>
                    <a:pt x="230874" y="186704"/>
                    <a:pt x="174753" y="217840"/>
                  </a:cubicBezTo>
                  <a:cubicBezTo>
                    <a:pt x="140061" y="237087"/>
                    <a:pt x="97946" y="237305"/>
                    <a:pt x="63056" y="218417"/>
                  </a:cubicBezTo>
                  <a:close/>
                  <a:moveTo>
                    <a:pt x="66103" y="194891"/>
                  </a:moveTo>
                  <a:lnTo>
                    <a:pt x="70104" y="197272"/>
                  </a:lnTo>
                  <a:cubicBezTo>
                    <a:pt x="114743" y="223891"/>
                    <a:pt x="172510" y="209284"/>
                    <a:pt x="199130" y="164644"/>
                  </a:cubicBezTo>
                  <a:cubicBezTo>
                    <a:pt x="225750" y="120005"/>
                    <a:pt x="211142" y="62238"/>
                    <a:pt x="166503" y="35618"/>
                  </a:cubicBezTo>
                  <a:cubicBezTo>
                    <a:pt x="121863" y="8999"/>
                    <a:pt x="64097" y="23606"/>
                    <a:pt x="37477" y="68246"/>
                  </a:cubicBezTo>
                  <a:cubicBezTo>
                    <a:pt x="19616" y="98198"/>
                    <a:pt x="19782" y="135572"/>
                    <a:pt x="37909" y="165363"/>
                  </a:cubicBezTo>
                  <a:lnTo>
                    <a:pt x="40291" y="169364"/>
                  </a:lnTo>
                  <a:lnTo>
                    <a:pt x="30766" y="20432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67115A73-33EA-1AD6-9255-06E5ACB6FC9B}"/>
                </a:ext>
              </a:extLst>
            </p:cNvPr>
            <p:cNvSpPr/>
            <p:nvPr/>
          </p:nvSpPr>
          <p:spPr>
            <a:xfrm>
              <a:off x="6757418" y="4452663"/>
              <a:ext cx="111700" cy="104225"/>
            </a:xfrm>
            <a:custGeom>
              <a:avLst/>
              <a:gdLst>
                <a:gd name="connsiteX0" fmla="*/ 98710 w 111700"/>
                <a:gd name="connsiteY0" fmla="*/ 68886 h 104225"/>
                <a:gd name="connsiteX1" fmla="*/ 82136 w 111700"/>
                <a:gd name="connsiteY1" fmla="*/ 65362 h 104225"/>
                <a:gd name="connsiteX2" fmla="*/ 72611 w 111700"/>
                <a:gd name="connsiteY2" fmla="*/ 77268 h 104225"/>
                <a:gd name="connsiteX3" fmla="*/ 67277 w 111700"/>
                <a:gd name="connsiteY3" fmla="*/ 78411 h 104225"/>
                <a:gd name="connsiteX4" fmla="*/ 29463 w 111700"/>
                <a:gd name="connsiteY4" fmla="*/ 46312 h 104225"/>
                <a:gd name="connsiteX5" fmla="*/ 30035 w 111700"/>
                <a:gd name="connsiteY5" fmla="*/ 40025 h 104225"/>
                <a:gd name="connsiteX6" fmla="*/ 37083 w 111700"/>
                <a:gd name="connsiteY6" fmla="*/ 28881 h 104225"/>
                <a:gd name="connsiteX7" fmla="*/ 34035 w 111700"/>
                <a:gd name="connsiteY7" fmla="*/ 15737 h 104225"/>
                <a:gd name="connsiteX8" fmla="*/ 24510 w 111700"/>
                <a:gd name="connsiteY8" fmla="*/ 1259 h 104225"/>
                <a:gd name="connsiteX9" fmla="*/ 10127 w 111700"/>
                <a:gd name="connsiteY9" fmla="*/ 3354 h 104225"/>
                <a:gd name="connsiteX10" fmla="*/ 31 w 111700"/>
                <a:gd name="connsiteY10" fmla="*/ 26500 h 104225"/>
                <a:gd name="connsiteX11" fmla="*/ 888 w 111700"/>
                <a:gd name="connsiteY11" fmla="*/ 33834 h 104225"/>
                <a:gd name="connsiteX12" fmla="*/ 7937 w 111700"/>
                <a:gd name="connsiteY12" fmla="*/ 50027 h 104225"/>
                <a:gd name="connsiteX13" fmla="*/ 15271 w 111700"/>
                <a:gd name="connsiteY13" fmla="*/ 61171 h 104225"/>
                <a:gd name="connsiteX14" fmla="*/ 46608 w 111700"/>
                <a:gd name="connsiteY14" fmla="*/ 90794 h 104225"/>
                <a:gd name="connsiteX15" fmla="*/ 66420 w 111700"/>
                <a:gd name="connsiteY15" fmla="*/ 100319 h 104225"/>
                <a:gd name="connsiteX16" fmla="*/ 89566 w 111700"/>
                <a:gd name="connsiteY16" fmla="*/ 103938 h 104225"/>
                <a:gd name="connsiteX17" fmla="*/ 110521 w 111700"/>
                <a:gd name="connsiteY17" fmla="*/ 88317 h 104225"/>
                <a:gd name="connsiteX18" fmla="*/ 111473 w 111700"/>
                <a:gd name="connsiteY18" fmla="*/ 80411 h 104225"/>
                <a:gd name="connsiteX19" fmla="*/ 98710 w 111700"/>
                <a:gd name="connsiteY19" fmla="*/ 68886 h 104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1700" h="104225">
                  <a:moveTo>
                    <a:pt x="98710" y="68886"/>
                  </a:moveTo>
                  <a:cubicBezTo>
                    <a:pt x="94041" y="65184"/>
                    <a:pt x="87907" y="63880"/>
                    <a:pt x="82136" y="65362"/>
                  </a:cubicBezTo>
                  <a:cubicBezTo>
                    <a:pt x="77850" y="67076"/>
                    <a:pt x="75088" y="73839"/>
                    <a:pt x="72611" y="77268"/>
                  </a:cubicBezTo>
                  <a:cubicBezTo>
                    <a:pt x="71409" y="78990"/>
                    <a:pt x="69079" y="79489"/>
                    <a:pt x="67277" y="78411"/>
                  </a:cubicBezTo>
                  <a:cubicBezTo>
                    <a:pt x="51391" y="72319"/>
                    <a:pt x="38055" y="60997"/>
                    <a:pt x="29463" y="46312"/>
                  </a:cubicBezTo>
                  <a:cubicBezTo>
                    <a:pt x="27992" y="44386"/>
                    <a:pt x="28241" y="41655"/>
                    <a:pt x="30035" y="40025"/>
                  </a:cubicBezTo>
                  <a:cubicBezTo>
                    <a:pt x="33323" y="36994"/>
                    <a:pt x="35754" y="33151"/>
                    <a:pt x="37083" y="28881"/>
                  </a:cubicBezTo>
                  <a:cubicBezTo>
                    <a:pt x="37361" y="24297"/>
                    <a:pt x="36302" y="19730"/>
                    <a:pt x="34035" y="15737"/>
                  </a:cubicBezTo>
                  <a:cubicBezTo>
                    <a:pt x="31749" y="10879"/>
                    <a:pt x="29273" y="3926"/>
                    <a:pt x="24510" y="1259"/>
                  </a:cubicBezTo>
                  <a:cubicBezTo>
                    <a:pt x="19730" y="-998"/>
                    <a:pt x="14064" y="-173"/>
                    <a:pt x="10127" y="3354"/>
                  </a:cubicBezTo>
                  <a:cubicBezTo>
                    <a:pt x="3350" y="9083"/>
                    <a:pt x="-381" y="17635"/>
                    <a:pt x="31" y="26500"/>
                  </a:cubicBezTo>
                  <a:cubicBezTo>
                    <a:pt x="28" y="28970"/>
                    <a:pt x="316" y="31431"/>
                    <a:pt x="888" y="33834"/>
                  </a:cubicBezTo>
                  <a:cubicBezTo>
                    <a:pt x="2482" y="39530"/>
                    <a:pt x="4853" y="44979"/>
                    <a:pt x="7937" y="50027"/>
                  </a:cubicBezTo>
                  <a:cubicBezTo>
                    <a:pt x="10223" y="53837"/>
                    <a:pt x="12604" y="57551"/>
                    <a:pt x="15271" y="61171"/>
                  </a:cubicBezTo>
                  <a:cubicBezTo>
                    <a:pt x="23763" y="72926"/>
                    <a:pt x="34394" y="82975"/>
                    <a:pt x="46608" y="90794"/>
                  </a:cubicBezTo>
                  <a:cubicBezTo>
                    <a:pt x="52819" y="94728"/>
                    <a:pt x="59468" y="97925"/>
                    <a:pt x="66420" y="100319"/>
                  </a:cubicBezTo>
                  <a:cubicBezTo>
                    <a:pt x="73667" y="103594"/>
                    <a:pt x="81665" y="104845"/>
                    <a:pt x="89566" y="103938"/>
                  </a:cubicBezTo>
                  <a:cubicBezTo>
                    <a:pt x="98701" y="102510"/>
                    <a:pt x="106543" y="96665"/>
                    <a:pt x="110521" y="88317"/>
                  </a:cubicBezTo>
                  <a:cubicBezTo>
                    <a:pt x="111642" y="85842"/>
                    <a:pt x="111974" y="83082"/>
                    <a:pt x="111473" y="80411"/>
                  </a:cubicBezTo>
                  <a:cubicBezTo>
                    <a:pt x="110616" y="74887"/>
                    <a:pt x="103187" y="71553"/>
                    <a:pt x="98710" y="6888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30" name="Graphic 54">
            <a:extLst>
              <a:ext uri="{FF2B5EF4-FFF2-40B4-BE49-F238E27FC236}">
                <a16:creationId xmlns:a16="http://schemas.microsoft.com/office/drawing/2014/main" id="{852C7C8A-38E2-8450-DE45-1F5D8B126219}"/>
              </a:ext>
            </a:extLst>
          </p:cNvPr>
          <p:cNvGrpSpPr/>
          <p:nvPr/>
        </p:nvGrpSpPr>
        <p:grpSpPr>
          <a:xfrm>
            <a:off x="7499352" y="4279900"/>
            <a:ext cx="453961" cy="453961"/>
            <a:chOff x="7499352" y="4279900"/>
            <a:chExt cx="453961" cy="453961"/>
          </a:xfrm>
        </p:grpSpPr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F8622B45-FCA9-2DEF-BDAB-9F161AFA7939}"/>
                </a:ext>
              </a:extLst>
            </p:cNvPr>
            <p:cNvSpPr/>
            <p:nvPr/>
          </p:nvSpPr>
          <p:spPr>
            <a:xfrm>
              <a:off x="7499352" y="42799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gradFill>
              <a:gsLst>
                <a:gs pos="0">
                  <a:srgbClr val="FF4C3C"/>
                </a:gs>
                <a:gs pos="96000">
                  <a:srgbClr val="EF053E"/>
                </a:gs>
                <a:gs pos="100000">
                  <a:srgbClr val="EE023E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7BBC4E80-2365-C677-9820-095180CD3731}"/>
                </a:ext>
              </a:extLst>
            </p:cNvPr>
            <p:cNvSpPr/>
            <p:nvPr/>
          </p:nvSpPr>
          <p:spPr>
            <a:xfrm>
              <a:off x="7632068" y="4388998"/>
              <a:ext cx="188964" cy="244898"/>
            </a:xfrm>
            <a:custGeom>
              <a:avLst/>
              <a:gdLst>
                <a:gd name="connsiteX0" fmla="*/ 78739 w 188964"/>
                <a:gd name="connsiteY0" fmla="*/ 160268 h 244898"/>
                <a:gd name="connsiteX1" fmla="*/ 78263 w 188964"/>
                <a:gd name="connsiteY1" fmla="*/ 162173 h 244898"/>
                <a:gd name="connsiteX2" fmla="*/ 59213 w 188964"/>
                <a:gd name="connsiteY2" fmla="*/ 221514 h 244898"/>
                <a:gd name="connsiteX3" fmla="*/ 44163 w 188964"/>
                <a:gd name="connsiteY3" fmla="*/ 243326 h 244898"/>
                <a:gd name="connsiteX4" fmla="*/ 41782 w 188964"/>
                <a:gd name="connsiteY4" fmla="*/ 244850 h 244898"/>
                <a:gd name="connsiteX5" fmla="*/ 40163 w 188964"/>
                <a:gd name="connsiteY5" fmla="*/ 242278 h 244898"/>
                <a:gd name="connsiteX6" fmla="*/ 38162 w 188964"/>
                <a:gd name="connsiteY6" fmla="*/ 210084 h 244898"/>
                <a:gd name="connsiteX7" fmla="*/ 58546 w 188964"/>
                <a:gd name="connsiteY7" fmla="*/ 114834 h 244898"/>
                <a:gd name="connsiteX8" fmla="*/ 58546 w 188964"/>
                <a:gd name="connsiteY8" fmla="*/ 111691 h 244898"/>
                <a:gd name="connsiteX9" fmla="*/ 57212 w 188964"/>
                <a:gd name="connsiteY9" fmla="*/ 76067 h 244898"/>
                <a:gd name="connsiteX10" fmla="*/ 99980 w 188964"/>
                <a:gd name="connsiteY10" fmla="*/ 69495 h 244898"/>
                <a:gd name="connsiteX11" fmla="*/ 88359 w 188964"/>
                <a:gd name="connsiteY11" fmla="*/ 125788 h 244898"/>
                <a:gd name="connsiteX12" fmla="*/ 129221 w 188964"/>
                <a:gd name="connsiteY12" fmla="*/ 146552 h 244898"/>
                <a:gd name="connsiteX13" fmla="*/ 155034 w 188964"/>
                <a:gd name="connsiteY13" fmla="*/ 73972 h 244898"/>
                <a:gd name="connsiteX14" fmla="*/ 65690 w 188964"/>
                <a:gd name="connsiteY14" fmla="*/ 30823 h 244898"/>
                <a:gd name="connsiteX15" fmla="*/ 35781 w 188964"/>
                <a:gd name="connsiteY15" fmla="*/ 118168 h 244898"/>
                <a:gd name="connsiteX16" fmla="*/ 39020 w 188964"/>
                <a:gd name="connsiteY16" fmla="*/ 125407 h 244898"/>
                <a:gd name="connsiteX17" fmla="*/ 35686 w 188964"/>
                <a:gd name="connsiteY17" fmla="*/ 138551 h 244898"/>
                <a:gd name="connsiteX18" fmla="*/ 30118 w 188964"/>
                <a:gd name="connsiteY18" fmla="*/ 142095 h 244898"/>
                <a:gd name="connsiteX19" fmla="*/ 28828 w 188964"/>
                <a:gd name="connsiteY19" fmla="*/ 141599 h 244898"/>
                <a:gd name="connsiteX20" fmla="*/ 12731 w 188964"/>
                <a:gd name="connsiteY20" fmla="*/ 129598 h 244898"/>
                <a:gd name="connsiteX21" fmla="*/ 12731 w 188964"/>
                <a:gd name="connsiteY21" fmla="*/ 44539 h 244898"/>
                <a:gd name="connsiteX22" fmla="*/ 111314 w 188964"/>
                <a:gd name="connsiteY22" fmla="*/ 1010 h 244898"/>
                <a:gd name="connsiteX23" fmla="*/ 188181 w 188964"/>
                <a:gd name="connsiteY23" fmla="*/ 69971 h 244898"/>
                <a:gd name="connsiteX24" fmla="*/ 167036 w 188964"/>
                <a:gd name="connsiteY24" fmla="*/ 150648 h 244898"/>
                <a:gd name="connsiteX25" fmla="*/ 82835 w 188964"/>
                <a:gd name="connsiteY25" fmla="*/ 164745 h 244898"/>
                <a:gd name="connsiteX26" fmla="*/ 78739 w 188964"/>
                <a:gd name="connsiteY26" fmla="*/ 160268 h 244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88964" h="244898">
                  <a:moveTo>
                    <a:pt x="78739" y="160268"/>
                  </a:moveTo>
                  <a:cubicBezTo>
                    <a:pt x="78739" y="161030"/>
                    <a:pt x="78739" y="161602"/>
                    <a:pt x="78263" y="162173"/>
                  </a:cubicBezTo>
                  <a:cubicBezTo>
                    <a:pt x="69214" y="197320"/>
                    <a:pt x="68738" y="205226"/>
                    <a:pt x="59213" y="221514"/>
                  </a:cubicBezTo>
                  <a:cubicBezTo>
                    <a:pt x="54760" y="229158"/>
                    <a:pt x="49729" y="236450"/>
                    <a:pt x="44163" y="243326"/>
                  </a:cubicBezTo>
                  <a:cubicBezTo>
                    <a:pt x="43592" y="244088"/>
                    <a:pt x="43020" y="245136"/>
                    <a:pt x="41782" y="244850"/>
                  </a:cubicBezTo>
                  <a:cubicBezTo>
                    <a:pt x="40544" y="244564"/>
                    <a:pt x="40258" y="243421"/>
                    <a:pt x="40163" y="242278"/>
                  </a:cubicBezTo>
                  <a:cubicBezTo>
                    <a:pt x="38593" y="231622"/>
                    <a:pt x="37923" y="220853"/>
                    <a:pt x="38162" y="210084"/>
                  </a:cubicBezTo>
                  <a:cubicBezTo>
                    <a:pt x="38162" y="195987"/>
                    <a:pt x="40353" y="191034"/>
                    <a:pt x="58546" y="114834"/>
                  </a:cubicBezTo>
                  <a:cubicBezTo>
                    <a:pt x="58874" y="113812"/>
                    <a:pt x="58874" y="112713"/>
                    <a:pt x="58546" y="111691"/>
                  </a:cubicBezTo>
                  <a:cubicBezTo>
                    <a:pt x="54067" y="100312"/>
                    <a:pt x="53597" y="87749"/>
                    <a:pt x="57212" y="76067"/>
                  </a:cubicBezTo>
                  <a:cubicBezTo>
                    <a:pt x="65404" y="50064"/>
                    <a:pt x="94836" y="48064"/>
                    <a:pt x="99980" y="69495"/>
                  </a:cubicBezTo>
                  <a:cubicBezTo>
                    <a:pt x="103218" y="82830"/>
                    <a:pt x="94836" y="100165"/>
                    <a:pt x="88359" y="125788"/>
                  </a:cubicBezTo>
                  <a:cubicBezTo>
                    <a:pt x="83025" y="147028"/>
                    <a:pt x="107885" y="162078"/>
                    <a:pt x="129221" y="146552"/>
                  </a:cubicBezTo>
                  <a:cubicBezTo>
                    <a:pt x="148938" y="132360"/>
                    <a:pt x="156558" y="98165"/>
                    <a:pt x="155034" y="73972"/>
                  </a:cubicBezTo>
                  <a:cubicBezTo>
                    <a:pt x="152177" y="25680"/>
                    <a:pt x="99313" y="15202"/>
                    <a:pt x="65690" y="30823"/>
                  </a:cubicBezTo>
                  <a:cubicBezTo>
                    <a:pt x="27590" y="48540"/>
                    <a:pt x="18065" y="96355"/>
                    <a:pt x="35781" y="118168"/>
                  </a:cubicBezTo>
                  <a:cubicBezTo>
                    <a:pt x="37972" y="120930"/>
                    <a:pt x="39686" y="122644"/>
                    <a:pt x="39020" y="125407"/>
                  </a:cubicBezTo>
                  <a:cubicBezTo>
                    <a:pt x="37877" y="129788"/>
                    <a:pt x="36829" y="134170"/>
                    <a:pt x="35686" y="138551"/>
                  </a:cubicBezTo>
                  <a:cubicBezTo>
                    <a:pt x="35127" y="141068"/>
                    <a:pt x="32634" y="142655"/>
                    <a:pt x="30118" y="142095"/>
                  </a:cubicBezTo>
                  <a:cubicBezTo>
                    <a:pt x="29665" y="141994"/>
                    <a:pt x="29231" y="141828"/>
                    <a:pt x="28828" y="141599"/>
                  </a:cubicBezTo>
                  <a:cubicBezTo>
                    <a:pt x="22501" y="139082"/>
                    <a:pt x="16949" y="134942"/>
                    <a:pt x="12731" y="129598"/>
                  </a:cubicBezTo>
                  <a:cubicBezTo>
                    <a:pt x="-2033" y="111310"/>
                    <a:pt x="-6319" y="75115"/>
                    <a:pt x="12731" y="44539"/>
                  </a:cubicBezTo>
                  <a:cubicBezTo>
                    <a:pt x="34621" y="12440"/>
                    <a:pt x="72845" y="-4437"/>
                    <a:pt x="111314" y="1010"/>
                  </a:cubicBezTo>
                  <a:cubicBezTo>
                    <a:pt x="149778" y="3510"/>
                    <a:pt x="181538" y="32003"/>
                    <a:pt x="188181" y="69971"/>
                  </a:cubicBezTo>
                  <a:cubicBezTo>
                    <a:pt x="191545" y="98567"/>
                    <a:pt x="183994" y="127379"/>
                    <a:pt x="167036" y="150648"/>
                  </a:cubicBezTo>
                  <a:cubicBezTo>
                    <a:pt x="142080" y="181699"/>
                    <a:pt x="101504" y="183795"/>
                    <a:pt x="82835" y="164745"/>
                  </a:cubicBezTo>
                  <a:cubicBezTo>
                    <a:pt x="81311" y="163697"/>
                    <a:pt x="80168" y="161983"/>
                    <a:pt x="78739" y="16026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33" name="Graphic 56">
            <a:extLst>
              <a:ext uri="{FF2B5EF4-FFF2-40B4-BE49-F238E27FC236}">
                <a16:creationId xmlns:a16="http://schemas.microsoft.com/office/drawing/2014/main" id="{A29C16A6-9823-6EAB-8425-697EF63E64B3}"/>
              </a:ext>
            </a:extLst>
          </p:cNvPr>
          <p:cNvGrpSpPr/>
          <p:nvPr/>
        </p:nvGrpSpPr>
        <p:grpSpPr>
          <a:xfrm>
            <a:off x="8413752" y="4279900"/>
            <a:ext cx="453961" cy="453961"/>
            <a:chOff x="8413752" y="4279900"/>
            <a:chExt cx="453961" cy="453961"/>
          </a:xfrm>
        </p:grpSpPr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2FC251D0-84ED-AFB6-C1AF-51962799B04D}"/>
                </a:ext>
              </a:extLst>
            </p:cNvPr>
            <p:cNvSpPr/>
            <p:nvPr/>
          </p:nvSpPr>
          <p:spPr>
            <a:xfrm>
              <a:off x="8413752" y="42799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gradFill>
              <a:gsLst>
                <a:gs pos="0">
                  <a:srgbClr val="FF679A"/>
                </a:gs>
                <a:gs pos="79000">
                  <a:srgbClr val="E72096"/>
                </a:gs>
                <a:gs pos="100000">
                  <a:srgbClr val="E00D95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7D5A12C8-2E64-839E-A3E4-6817FE957CE8}"/>
                </a:ext>
              </a:extLst>
            </p:cNvPr>
            <p:cNvSpPr/>
            <p:nvPr/>
          </p:nvSpPr>
          <p:spPr>
            <a:xfrm>
              <a:off x="8527575" y="4394200"/>
              <a:ext cx="226504" cy="226504"/>
            </a:xfrm>
            <a:custGeom>
              <a:avLst/>
              <a:gdLst>
                <a:gd name="connsiteX0" fmla="*/ 113157 w 226504"/>
                <a:gd name="connsiteY0" fmla="*/ 0 h 226504"/>
                <a:gd name="connsiteX1" fmla="*/ 0 w 226504"/>
                <a:gd name="connsiteY1" fmla="*/ 113348 h 226504"/>
                <a:gd name="connsiteX2" fmla="*/ 113348 w 226504"/>
                <a:gd name="connsiteY2" fmla="*/ 226504 h 226504"/>
                <a:gd name="connsiteX3" fmla="*/ 226505 w 226504"/>
                <a:gd name="connsiteY3" fmla="*/ 113157 h 226504"/>
                <a:gd name="connsiteX4" fmla="*/ 113157 w 226504"/>
                <a:gd name="connsiteY4" fmla="*/ 0 h 226504"/>
                <a:gd name="connsiteX5" fmla="*/ 187738 w 226504"/>
                <a:gd name="connsiteY5" fmla="*/ 53435 h 226504"/>
                <a:gd name="connsiteX6" fmla="*/ 208883 w 226504"/>
                <a:gd name="connsiteY6" fmla="*/ 111728 h 226504"/>
                <a:gd name="connsiteX7" fmla="*/ 164592 w 226504"/>
                <a:gd name="connsiteY7" fmla="*/ 107442 h 226504"/>
                <a:gd name="connsiteX8" fmla="*/ 142780 w 226504"/>
                <a:gd name="connsiteY8" fmla="*/ 108680 h 226504"/>
                <a:gd name="connsiteX9" fmla="*/ 140875 w 226504"/>
                <a:gd name="connsiteY9" fmla="*/ 104108 h 226504"/>
                <a:gd name="connsiteX10" fmla="*/ 134684 w 226504"/>
                <a:gd name="connsiteY10" fmla="*/ 90678 h 226504"/>
                <a:gd name="connsiteX11" fmla="*/ 187738 w 226504"/>
                <a:gd name="connsiteY11" fmla="*/ 53435 h 226504"/>
                <a:gd name="connsiteX12" fmla="*/ 113157 w 226504"/>
                <a:gd name="connsiteY12" fmla="*/ 17716 h 226504"/>
                <a:gd name="connsiteX13" fmla="*/ 176308 w 226504"/>
                <a:gd name="connsiteY13" fmla="*/ 41434 h 226504"/>
                <a:gd name="connsiteX14" fmla="*/ 126778 w 226504"/>
                <a:gd name="connsiteY14" fmla="*/ 75343 h 226504"/>
                <a:gd name="connsiteX15" fmla="*/ 91535 w 226504"/>
                <a:gd name="connsiteY15" fmla="*/ 20193 h 226504"/>
                <a:gd name="connsiteX16" fmla="*/ 113157 w 226504"/>
                <a:gd name="connsiteY16" fmla="*/ 17716 h 226504"/>
                <a:gd name="connsiteX17" fmla="*/ 72009 w 226504"/>
                <a:gd name="connsiteY17" fmla="*/ 27241 h 226504"/>
                <a:gd name="connsiteX18" fmla="*/ 107061 w 226504"/>
                <a:gd name="connsiteY18" fmla="*/ 81820 h 226504"/>
                <a:gd name="connsiteX19" fmla="*/ 20479 w 226504"/>
                <a:gd name="connsiteY19" fmla="*/ 93345 h 226504"/>
                <a:gd name="connsiteX20" fmla="*/ 19526 w 226504"/>
                <a:gd name="connsiteY20" fmla="*/ 93345 h 226504"/>
                <a:gd name="connsiteX21" fmla="*/ 71914 w 226504"/>
                <a:gd name="connsiteY21" fmla="*/ 27241 h 226504"/>
                <a:gd name="connsiteX22" fmla="*/ 17431 w 226504"/>
                <a:gd name="connsiteY22" fmla="*/ 113633 h 226504"/>
                <a:gd name="connsiteX23" fmla="*/ 17431 w 226504"/>
                <a:gd name="connsiteY23" fmla="*/ 110490 h 226504"/>
                <a:gd name="connsiteX24" fmla="*/ 20003 w 226504"/>
                <a:gd name="connsiteY24" fmla="*/ 110490 h 226504"/>
                <a:gd name="connsiteX25" fmla="*/ 115253 w 226504"/>
                <a:gd name="connsiteY25" fmla="*/ 96869 h 226504"/>
                <a:gd name="connsiteX26" fmla="*/ 122587 w 226504"/>
                <a:gd name="connsiteY26" fmla="*/ 112205 h 226504"/>
                <a:gd name="connsiteX27" fmla="*/ 119348 w 226504"/>
                <a:gd name="connsiteY27" fmla="*/ 113157 h 226504"/>
                <a:gd name="connsiteX28" fmla="*/ 41148 w 226504"/>
                <a:gd name="connsiteY28" fmla="*/ 176213 h 226504"/>
                <a:gd name="connsiteX29" fmla="*/ 17050 w 226504"/>
                <a:gd name="connsiteY29" fmla="*/ 112871 h 226504"/>
                <a:gd name="connsiteX30" fmla="*/ 112681 w 226504"/>
                <a:gd name="connsiteY30" fmla="*/ 208883 h 226504"/>
                <a:gd name="connsiteX31" fmla="*/ 54769 w 226504"/>
                <a:gd name="connsiteY31" fmla="*/ 188595 h 226504"/>
                <a:gd name="connsiteX32" fmla="*/ 129826 w 226504"/>
                <a:gd name="connsiteY32" fmla="*/ 129159 h 226504"/>
                <a:gd name="connsiteX33" fmla="*/ 129826 w 226504"/>
                <a:gd name="connsiteY33" fmla="*/ 129159 h 226504"/>
                <a:gd name="connsiteX34" fmla="*/ 150019 w 226504"/>
                <a:gd name="connsiteY34" fmla="*/ 201073 h 226504"/>
                <a:gd name="connsiteX35" fmla="*/ 113062 w 226504"/>
                <a:gd name="connsiteY35" fmla="*/ 208502 h 226504"/>
                <a:gd name="connsiteX36" fmla="*/ 166973 w 226504"/>
                <a:gd name="connsiteY36" fmla="*/ 192024 h 226504"/>
                <a:gd name="connsiteX37" fmla="*/ 148590 w 226504"/>
                <a:gd name="connsiteY37" fmla="*/ 125349 h 226504"/>
                <a:gd name="connsiteX38" fmla="*/ 167640 w 226504"/>
                <a:gd name="connsiteY38" fmla="*/ 123920 h 226504"/>
                <a:gd name="connsiteX39" fmla="*/ 206978 w 226504"/>
                <a:gd name="connsiteY39" fmla="*/ 129350 h 226504"/>
                <a:gd name="connsiteX40" fmla="*/ 166783 w 226504"/>
                <a:gd name="connsiteY40" fmla="*/ 192500 h 226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26504" h="226504">
                  <a:moveTo>
                    <a:pt x="113157" y="0"/>
                  </a:moveTo>
                  <a:cubicBezTo>
                    <a:pt x="50609" y="52"/>
                    <a:pt x="-52" y="50800"/>
                    <a:pt x="0" y="113348"/>
                  </a:cubicBezTo>
                  <a:cubicBezTo>
                    <a:pt x="52" y="175895"/>
                    <a:pt x="50800" y="226557"/>
                    <a:pt x="113348" y="226504"/>
                  </a:cubicBezTo>
                  <a:cubicBezTo>
                    <a:pt x="175895" y="226452"/>
                    <a:pt x="226557" y="175705"/>
                    <a:pt x="226505" y="113157"/>
                  </a:cubicBezTo>
                  <a:cubicBezTo>
                    <a:pt x="226400" y="50631"/>
                    <a:pt x="175683" y="0"/>
                    <a:pt x="113157" y="0"/>
                  </a:cubicBezTo>
                  <a:close/>
                  <a:moveTo>
                    <a:pt x="187738" y="53435"/>
                  </a:moveTo>
                  <a:cubicBezTo>
                    <a:pt x="201091" y="69964"/>
                    <a:pt x="208534" y="90483"/>
                    <a:pt x="208883" y="111728"/>
                  </a:cubicBezTo>
                  <a:cubicBezTo>
                    <a:pt x="194285" y="108920"/>
                    <a:pt x="179457" y="107485"/>
                    <a:pt x="164592" y="107442"/>
                  </a:cubicBezTo>
                  <a:cubicBezTo>
                    <a:pt x="157304" y="107437"/>
                    <a:pt x="150021" y="107851"/>
                    <a:pt x="142780" y="108680"/>
                  </a:cubicBezTo>
                  <a:lnTo>
                    <a:pt x="140875" y="104108"/>
                  </a:lnTo>
                  <a:cubicBezTo>
                    <a:pt x="138970" y="99631"/>
                    <a:pt x="136874" y="95155"/>
                    <a:pt x="134684" y="90678"/>
                  </a:cubicBezTo>
                  <a:cubicBezTo>
                    <a:pt x="155208" y="82902"/>
                    <a:pt x="173450" y="70095"/>
                    <a:pt x="187738" y="53435"/>
                  </a:cubicBezTo>
                  <a:close/>
                  <a:moveTo>
                    <a:pt x="113157" y="17716"/>
                  </a:moveTo>
                  <a:cubicBezTo>
                    <a:pt x="136396" y="17654"/>
                    <a:pt x="158855" y="26089"/>
                    <a:pt x="176308" y="41434"/>
                  </a:cubicBezTo>
                  <a:cubicBezTo>
                    <a:pt x="163260" y="57109"/>
                    <a:pt x="146112" y="68850"/>
                    <a:pt x="126778" y="75343"/>
                  </a:cubicBezTo>
                  <a:cubicBezTo>
                    <a:pt x="116227" y="56221"/>
                    <a:pt x="104455" y="37800"/>
                    <a:pt x="91535" y="20193"/>
                  </a:cubicBezTo>
                  <a:cubicBezTo>
                    <a:pt x="98624" y="18544"/>
                    <a:pt x="105879" y="17714"/>
                    <a:pt x="113157" y="17716"/>
                  </a:cubicBezTo>
                  <a:close/>
                  <a:moveTo>
                    <a:pt x="72009" y="27241"/>
                  </a:moveTo>
                  <a:cubicBezTo>
                    <a:pt x="84653" y="44800"/>
                    <a:pt x="96353" y="63018"/>
                    <a:pt x="107061" y="81820"/>
                  </a:cubicBezTo>
                  <a:cubicBezTo>
                    <a:pt x="78764" y="89108"/>
                    <a:pt x="49697" y="92977"/>
                    <a:pt x="20479" y="93345"/>
                  </a:cubicBezTo>
                  <a:lnTo>
                    <a:pt x="19526" y="93345"/>
                  </a:lnTo>
                  <a:cubicBezTo>
                    <a:pt x="25818" y="64390"/>
                    <a:pt x="45162" y="39980"/>
                    <a:pt x="71914" y="27241"/>
                  </a:cubicBezTo>
                  <a:close/>
                  <a:moveTo>
                    <a:pt x="17431" y="113633"/>
                  </a:moveTo>
                  <a:lnTo>
                    <a:pt x="17431" y="110490"/>
                  </a:lnTo>
                  <a:lnTo>
                    <a:pt x="20003" y="110490"/>
                  </a:lnTo>
                  <a:cubicBezTo>
                    <a:pt x="52222" y="110268"/>
                    <a:pt x="84262" y="105686"/>
                    <a:pt x="115253" y="96869"/>
                  </a:cubicBezTo>
                  <a:cubicBezTo>
                    <a:pt x="117824" y="101918"/>
                    <a:pt x="120301" y="107061"/>
                    <a:pt x="122587" y="112205"/>
                  </a:cubicBezTo>
                  <a:lnTo>
                    <a:pt x="119348" y="113157"/>
                  </a:lnTo>
                  <a:cubicBezTo>
                    <a:pt x="86930" y="124779"/>
                    <a:pt x="59379" y="146996"/>
                    <a:pt x="41148" y="176213"/>
                  </a:cubicBezTo>
                  <a:cubicBezTo>
                    <a:pt x="25621" y="158767"/>
                    <a:pt x="17046" y="136226"/>
                    <a:pt x="17050" y="112871"/>
                  </a:cubicBezTo>
                  <a:close/>
                  <a:moveTo>
                    <a:pt x="112681" y="208883"/>
                  </a:moveTo>
                  <a:cubicBezTo>
                    <a:pt x="91668" y="208694"/>
                    <a:pt x="71306" y="201561"/>
                    <a:pt x="54769" y="188595"/>
                  </a:cubicBezTo>
                  <a:cubicBezTo>
                    <a:pt x="71483" y="160102"/>
                    <a:pt x="98260" y="138898"/>
                    <a:pt x="129826" y="129159"/>
                  </a:cubicBezTo>
                  <a:lnTo>
                    <a:pt x="129826" y="129159"/>
                  </a:lnTo>
                  <a:cubicBezTo>
                    <a:pt x="138815" y="152438"/>
                    <a:pt x="145576" y="176517"/>
                    <a:pt x="150019" y="201073"/>
                  </a:cubicBezTo>
                  <a:cubicBezTo>
                    <a:pt x="138317" y="205987"/>
                    <a:pt x="125753" y="208513"/>
                    <a:pt x="113062" y="208502"/>
                  </a:cubicBezTo>
                  <a:close/>
                  <a:moveTo>
                    <a:pt x="166973" y="192024"/>
                  </a:moveTo>
                  <a:cubicBezTo>
                    <a:pt x="162669" y="169336"/>
                    <a:pt x="156521" y="147037"/>
                    <a:pt x="148590" y="125349"/>
                  </a:cubicBezTo>
                  <a:cubicBezTo>
                    <a:pt x="154894" y="124383"/>
                    <a:pt x="161263" y="123905"/>
                    <a:pt x="167640" y="123920"/>
                  </a:cubicBezTo>
                  <a:cubicBezTo>
                    <a:pt x="180939" y="123934"/>
                    <a:pt x="194173" y="125760"/>
                    <a:pt x="206978" y="129350"/>
                  </a:cubicBezTo>
                  <a:cubicBezTo>
                    <a:pt x="202655" y="154963"/>
                    <a:pt x="188158" y="177740"/>
                    <a:pt x="166783" y="19250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36" name="Graphic 58">
            <a:extLst>
              <a:ext uri="{FF2B5EF4-FFF2-40B4-BE49-F238E27FC236}">
                <a16:creationId xmlns:a16="http://schemas.microsoft.com/office/drawing/2014/main" id="{8104B343-E1DF-FCBB-E27F-17B0FB6A1E7E}"/>
              </a:ext>
            </a:extLst>
          </p:cNvPr>
          <p:cNvGrpSpPr/>
          <p:nvPr/>
        </p:nvGrpSpPr>
        <p:grpSpPr>
          <a:xfrm>
            <a:off x="9328152" y="4279900"/>
            <a:ext cx="453961" cy="453961"/>
            <a:chOff x="9328152" y="4279900"/>
            <a:chExt cx="453961" cy="453961"/>
          </a:xfrm>
        </p:grpSpPr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9E408E1A-F9AE-4CF9-3916-A7D742A287E8}"/>
                </a:ext>
              </a:extLst>
            </p:cNvPr>
            <p:cNvSpPr/>
            <p:nvPr/>
          </p:nvSpPr>
          <p:spPr>
            <a:xfrm>
              <a:off x="9328152" y="42799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gradFill>
              <a:gsLst>
                <a:gs pos="0">
                  <a:srgbClr val="007BB8"/>
                </a:gs>
                <a:gs pos="50000">
                  <a:srgbClr val="005FD0"/>
                </a:gs>
                <a:gs pos="100000">
                  <a:srgbClr val="0044E9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7118DA18-BF1E-CB25-3458-7E0A72B044E4}"/>
                </a:ext>
              </a:extLst>
            </p:cNvPr>
            <p:cNvSpPr/>
            <p:nvPr/>
          </p:nvSpPr>
          <p:spPr>
            <a:xfrm>
              <a:off x="9461502" y="4391421"/>
              <a:ext cx="45148" cy="187659"/>
            </a:xfrm>
            <a:custGeom>
              <a:avLst/>
              <a:gdLst>
                <a:gd name="connsiteX0" fmla="*/ 2667 w 45148"/>
                <a:gd name="connsiteY0" fmla="*/ 62310 h 187659"/>
                <a:gd name="connsiteX1" fmla="*/ 41719 w 45148"/>
                <a:gd name="connsiteY1" fmla="*/ 62310 h 187659"/>
                <a:gd name="connsiteX2" fmla="*/ 41719 w 45148"/>
                <a:gd name="connsiteY2" fmla="*/ 187659 h 187659"/>
                <a:gd name="connsiteX3" fmla="*/ 2667 w 45148"/>
                <a:gd name="connsiteY3" fmla="*/ 187659 h 187659"/>
                <a:gd name="connsiteX4" fmla="*/ 21717 w 45148"/>
                <a:gd name="connsiteY4" fmla="*/ 17 h 187659"/>
                <a:gd name="connsiteX5" fmla="*/ 45132 w 45148"/>
                <a:gd name="connsiteY5" fmla="*/ 21717 h 187659"/>
                <a:gd name="connsiteX6" fmla="*/ 23431 w 45148"/>
                <a:gd name="connsiteY6" fmla="*/ 45133 h 187659"/>
                <a:gd name="connsiteX7" fmla="*/ 16 w 45148"/>
                <a:gd name="connsiteY7" fmla="*/ 23432 h 187659"/>
                <a:gd name="connsiteX8" fmla="*/ 0 w 45148"/>
                <a:gd name="connsiteY8" fmla="*/ 22591 h 187659"/>
                <a:gd name="connsiteX9" fmla="*/ 22574 w 45148"/>
                <a:gd name="connsiteY9" fmla="*/ 17 h 187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148" h="187659">
                  <a:moveTo>
                    <a:pt x="2667" y="62310"/>
                  </a:moveTo>
                  <a:lnTo>
                    <a:pt x="41719" y="62310"/>
                  </a:lnTo>
                  <a:lnTo>
                    <a:pt x="41719" y="187659"/>
                  </a:lnTo>
                  <a:lnTo>
                    <a:pt x="2667" y="187659"/>
                  </a:lnTo>
                  <a:close/>
                  <a:moveTo>
                    <a:pt x="21717" y="17"/>
                  </a:moveTo>
                  <a:cubicBezTo>
                    <a:pt x="34176" y="-457"/>
                    <a:pt x="44659" y="9259"/>
                    <a:pt x="45132" y="21717"/>
                  </a:cubicBezTo>
                  <a:cubicBezTo>
                    <a:pt x="45606" y="34176"/>
                    <a:pt x="35890" y="44659"/>
                    <a:pt x="23431" y="45133"/>
                  </a:cubicBezTo>
                  <a:cubicBezTo>
                    <a:pt x="10973" y="45606"/>
                    <a:pt x="490" y="35891"/>
                    <a:pt x="16" y="23432"/>
                  </a:cubicBezTo>
                  <a:cubicBezTo>
                    <a:pt x="6" y="23152"/>
                    <a:pt x="0" y="22871"/>
                    <a:pt x="0" y="22591"/>
                  </a:cubicBezTo>
                  <a:cubicBezTo>
                    <a:pt x="0" y="10124"/>
                    <a:pt x="10107" y="17"/>
                    <a:pt x="22574" y="17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0C649269-3382-9F17-3CF6-E907C6F70201}"/>
                </a:ext>
              </a:extLst>
            </p:cNvPr>
            <p:cNvSpPr/>
            <p:nvPr/>
          </p:nvSpPr>
          <p:spPr>
            <a:xfrm>
              <a:off x="9528177" y="4450560"/>
              <a:ext cx="121538" cy="128519"/>
            </a:xfrm>
            <a:custGeom>
              <a:avLst/>
              <a:gdLst>
                <a:gd name="connsiteX0" fmla="*/ 0 w 121538"/>
                <a:gd name="connsiteY0" fmla="*/ 3170 h 128519"/>
                <a:gd name="connsiteX1" fmla="*/ 37338 w 121538"/>
                <a:gd name="connsiteY1" fmla="*/ 3170 h 128519"/>
                <a:gd name="connsiteX2" fmla="*/ 37338 w 121538"/>
                <a:gd name="connsiteY2" fmla="*/ 20315 h 128519"/>
                <a:gd name="connsiteX3" fmla="*/ 37909 w 121538"/>
                <a:gd name="connsiteY3" fmla="*/ 20315 h 128519"/>
                <a:gd name="connsiteX4" fmla="*/ 74771 w 121538"/>
                <a:gd name="connsiteY4" fmla="*/ 27 h 128519"/>
                <a:gd name="connsiteX5" fmla="*/ 121539 w 121538"/>
                <a:gd name="connsiteY5" fmla="*/ 59749 h 128519"/>
                <a:gd name="connsiteX6" fmla="*/ 121539 w 121538"/>
                <a:gd name="connsiteY6" fmla="*/ 128519 h 128519"/>
                <a:gd name="connsiteX7" fmla="*/ 82106 w 121538"/>
                <a:gd name="connsiteY7" fmla="*/ 128519 h 128519"/>
                <a:gd name="connsiteX8" fmla="*/ 82106 w 121538"/>
                <a:gd name="connsiteY8" fmla="*/ 67464 h 128519"/>
                <a:gd name="connsiteX9" fmla="*/ 61817 w 121538"/>
                <a:gd name="connsiteY9" fmla="*/ 34222 h 128519"/>
                <a:gd name="connsiteX10" fmla="*/ 38100 w 121538"/>
                <a:gd name="connsiteY10" fmla="*/ 66512 h 128519"/>
                <a:gd name="connsiteX11" fmla="*/ 38100 w 121538"/>
                <a:gd name="connsiteY11" fmla="*/ 128519 h 128519"/>
                <a:gd name="connsiteX12" fmla="*/ 0 w 121538"/>
                <a:gd name="connsiteY12" fmla="*/ 128519 h 128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1538" h="128519">
                  <a:moveTo>
                    <a:pt x="0" y="3170"/>
                  </a:moveTo>
                  <a:lnTo>
                    <a:pt x="37338" y="3170"/>
                  </a:lnTo>
                  <a:lnTo>
                    <a:pt x="37338" y="20315"/>
                  </a:lnTo>
                  <a:lnTo>
                    <a:pt x="37909" y="20315"/>
                  </a:lnTo>
                  <a:cubicBezTo>
                    <a:pt x="45518" y="7276"/>
                    <a:pt x="59684" y="-521"/>
                    <a:pt x="74771" y="27"/>
                  </a:cubicBezTo>
                  <a:cubicBezTo>
                    <a:pt x="114205" y="27"/>
                    <a:pt x="121539" y="26030"/>
                    <a:pt x="121539" y="59749"/>
                  </a:cubicBezTo>
                  <a:lnTo>
                    <a:pt x="121539" y="128519"/>
                  </a:lnTo>
                  <a:lnTo>
                    <a:pt x="82106" y="128519"/>
                  </a:lnTo>
                  <a:lnTo>
                    <a:pt x="82106" y="67464"/>
                  </a:lnTo>
                  <a:cubicBezTo>
                    <a:pt x="82106" y="52986"/>
                    <a:pt x="82106" y="34222"/>
                    <a:pt x="61817" y="34222"/>
                  </a:cubicBezTo>
                  <a:cubicBezTo>
                    <a:pt x="41529" y="34222"/>
                    <a:pt x="38100" y="50224"/>
                    <a:pt x="38100" y="66512"/>
                  </a:cubicBezTo>
                  <a:lnTo>
                    <a:pt x="38100" y="128519"/>
                  </a:lnTo>
                  <a:lnTo>
                    <a:pt x="0" y="12851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40" name="Graphic 30">
            <a:extLst>
              <a:ext uri="{FF2B5EF4-FFF2-40B4-BE49-F238E27FC236}">
                <a16:creationId xmlns:a16="http://schemas.microsoft.com/office/drawing/2014/main" id="{8F374B00-BC12-C0ED-6B1F-30A8E7F55D13}"/>
              </a:ext>
            </a:extLst>
          </p:cNvPr>
          <p:cNvGrpSpPr/>
          <p:nvPr/>
        </p:nvGrpSpPr>
        <p:grpSpPr>
          <a:xfrm>
            <a:off x="10242552" y="4279900"/>
            <a:ext cx="453961" cy="453961"/>
            <a:chOff x="10242552" y="4279900"/>
            <a:chExt cx="453961" cy="453961"/>
          </a:xfrm>
        </p:grpSpPr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4E144F96-3123-2BFC-742B-FF147FCC7375}"/>
                </a:ext>
              </a:extLst>
            </p:cNvPr>
            <p:cNvSpPr/>
            <p:nvPr/>
          </p:nvSpPr>
          <p:spPr>
            <a:xfrm>
              <a:off x="10242552" y="4279900"/>
              <a:ext cx="453961" cy="453961"/>
            </a:xfrm>
            <a:custGeom>
              <a:avLst/>
              <a:gdLst>
                <a:gd name="connsiteX0" fmla="*/ 453962 w 453961"/>
                <a:gd name="connsiteY0" fmla="*/ 226981 h 453961"/>
                <a:gd name="connsiteX1" fmla="*/ 226981 w 453961"/>
                <a:gd name="connsiteY1" fmla="*/ 453962 h 453961"/>
                <a:gd name="connsiteX2" fmla="*/ 0 w 453961"/>
                <a:gd name="connsiteY2" fmla="*/ 226981 h 453961"/>
                <a:gd name="connsiteX3" fmla="*/ 226981 w 453961"/>
                <a:gd name="connsiteY3" fmla="*/ 0 h 453961"/>
                <a:gd name="connsiteX4" fmla="*/ 453962 w 453961"/>
                <a:gd name="connsiteY4" fmla="*/ 226981 h 453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961" h="453961">
                  <a:moveTo>
                    <a:pt x="453962" y="226981"/>
                  </a:moveTo>
                  <a:cubicBezTo>
                    <a:pt x="453962" y="352339"/>
                    <a:pt x="352339" y="453962"/>
                    <a:pt x="226981" y="453962"/>
                  </a:cubicBezTo>
                  <a:cubicBezTo>
                    <a:pt x="101623" y="453962"/>
                    <a:pt x="0" y="352339"/>
                    <a:pt x="0" y="226981"/>
                  </a:cubicBezTo>
                  <a:cubicBezTo>
                    <a:pt x="0" y="101623"/>
                    <a:pt x="101623" y="0"/>
                    <a:pt x="226981" y="0"/>
                  </a:cubicBezTo>
                  <a:cubicBezTo>
                    <a:pt x="352339" y="0"/>
                    <a:pt x="453962" y="101623"/>
                    <a:pt x="453962" y="226981"/>
                  </a:cubicBezTo>
                  <a:close/>
                </a:path>
              </a:pathLst>
            </a:custGeom>
            <a:gradFill>
              <a:gsLst>
                <a:gs pos="0">
                  <a:srgbClr val="2CB5E5"/>
                </a:gs>
                <a:gs pos="65000">
                  <a:srgbClr val="6C6EF6"/>
                </a:gs>
                <a:gs pos="100000">
                  <a:srgbClr val="9146FF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DAA5EA5F-CE13-A1F6-2765-280DE41DAE0D}"/>
                </a:ext>
              </a:extLst>
            </p:cNvPr>
            <p:cNvSpPr/>
            <p:nvPr/>
          </p:nvSpPr>
          <p:spPr>
            <a:xfrm>
              <a:off x="10323669" y="4408978"/>
              <a:ext cx="257140" cy="212845"/>
            </a:xfrm>
            <a:custGeom>
              <a:avLst/>
              <a:gdLst>
                <a:gd name="connsiteX0" fmla="*/ 15752 w 257140"/>
                <a:gd name="connsiteY0" fmla="*/ 92569 h 212845"/>
                <a:gd name="connsiteX1" fmla="*/ 168724 w 257140"/>
                <a:gd name="connsiteY1" fmla="*/ 29513 h 212845"/>
                <a:gd name="connsiteX2" fmla="*/ 235399 w 257140"/>
                <a:gd name="connsiteY2" fmla="*/ 1986 h 212845"/>
                <a:gd name="connsiteX3" fmla="*/ 257020 w 257140"/>
                <a:gd name="connsiteY3" fmla="*/ 15130 h 212845"/>
                <a:gd name="connsiteX4" fmla="*/ 245876 w 257140"/>
                <a:gd name="connsiteY4" fmla="*/ 91330 h 212845"/>
                <a:gd name="connsiteX5" fmla="*/ 229112 w 257140"/>
                <a:gd name="connsiteY5" fmla="*/ 194772 h 212845"/>
                <a:gd name="connsiteX6" fmla="*/ 216634 w 257140"/>
                <a:gd name="connsiteY6" fmla="*/ 212488 h 212845"/>
                <a:gd name="connsiteX7" fmla="*/ 183773 w 257140"/>
                <a:gd name="connsiteY7" fmla="*/ 200677 h 212845"/>
                <a:gd name="connsiteX8" fmla="*/ 117098 w 257140"/>
                <a:gd name="connsiteY8" fmla="*/ 154767 h 212845"/>
                <a:gd name="connsiteX9" fmla="*/ 113808 w 257140"/>
                <a:gd name="connsiteY9" fmla="*/ 137431 h 212845"/>
                <a:gd name="connsiteX10" fmla="*/ 117765 w 257140"/>
                <a:gd name="connsiteY10" fmla="*/ 133717 h 212845"/>
                <a:gd name="connsiteX11" fmla="*/ 186726 w 257140"/>
                <a:gd name="connsiteY11" fmla="*/ 68089 h 212845"/>
                <a:gd name="connsiteX12" fmla="*/ 169581 w 257140"/>
                <a:gd name="connsiteY12" fmla="*/ 64184 h 212845"/>
                <a:gd name="connsiteX13" fmla="*/ 77093 w 257140"/>
                <a:gd name="connsiteY13" fmla="*/ 126478 h 212845"/>
                <a:gd name="connsiteX14" fmla="*/ 46899 w 257140"/>
                <a:gd name="connsiteY14" fmla="*/ 127144 h 212845"/>
                <a:gd name="connsiteX15" fmla="*/ 4608 w 257140"/>
                <a:gd name="connsiteY15" fmla="*/ 112857 h 212845"/>
                <a:gd name="connsiteX16" fmla="*/ 15752 w 257140"/>
                <a:gd name="connsiteY16" fmla="*/ 92569 h 212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7140" h="212845">
                  <a:moveTo>
                    <a:pt x="15752" y="92569"/>
                  </a:moveTo>
                  <a:cubicBezTo>
                    <a:pt x="15752" y="92569"/>
                    <a:pt x="129290" y="45991"/>
                    <a:pt x="168724" y="29513"/>
                  </a:cubicBezTo>
                  <a:cubicBezTo>
                    <a:pt x="183773" y="22941"/>
                    <a:pt x="235399" y="1986"/>
                    <a:pt x="235399" y="1986"/>
                  </a:cubicBezTo>
                  <a:cubicBezTo>
                    <a:pt x="235399" y="1986"/>
                    <a:pt x="259021" y="-7539"/>
                    <a:pt x="257020" y="15130"/>
                  </a:cubicBezTo>
                  <a:cubicBezTo>
                    <a:pt x="256354" y="24655"/>
                    <a:pt x="251115" y="56469"/>
                    <a:pt x="245876" y="91330"/>
                  </a:cubicBezTo>
                  <a:cubicBezTo>
                    <a:pt x="237589" y="140479"/>
                    <a:pt x="229112" y="194772"/>
                    <a:pt x="229112" y="194772"/>
                  </a:cubicBezTo>
                  <a:cubicBezTo>
                    <a:pt x="229112" y="194772"/>
                    <a:pt x="227779" y="209917"/>
                    <a:pt x="216634" y="212488"/>
                  </a:cubicBezTo>
                  <a:cubicBezTo>
                    <a:pt x="205490" y="215060"/>
                    <a:pt x="187107" y="202963"/>
                    <a:pt x="183773" y="200677"/>
                  </a:cubicBezTo>
                  <a:cubicBezTo>
                    <a:pt x="180439" y="198392"/>
                    <a:pt x="134529" y="169150"/>
                    <a:pt x="117098" y="154767"/>
                  </a:cubicBezTo>
                  <a:cubicBezTo>
                    <a:pt x="111402" y="150887"/>
                    <a:pt x="109930" y="143126"/>
                    <a:pt x="113808" y="137431"/>
                  </a:cubicBezTo>
                  <a:cubicBezTo>
                    <a:pt x="114839" y="135917"/>
                    <a:pt x="116189" y="134649"/>
                    <a:pt x="117765" y="133717"/>
                  </a:cubicBezTo>
                  <a:cubicBezTo>
                    <a:pt x="141387" y="112095"/>
                    <a:pt x="169581" y="85139"/>
                    <a:pt x="186726" y="68089"/>
                  </a:cubicBezTo>
                  <a:cubicBezTo>
                    <a:pt x="194536" y="60184"/>
                    <a:pt x="202442" y="41800"/>
                    <a:pt x="169581" y="64184"/>
                  </a:cubicBezTo>
                  <a:cubicBezTo>
                    <a:pt x="123004" y="96283"/>
                    <a:pt x="77093" y="126478"/>
                    <a:pt x="77093" y="126478"/>
                  </a:cubicBezTo>
                  <a:cubicBezTo>
                    <a:pt x="67550" y="130850"/>
                    <a:pt x="56626" y="131092"/>
                    <a:pt x="46899" y="127144"/>
                  </a:cubicBezTo>
                  <a:cubicBezTo>
                    <a:pt x="27563" y="120763"/>
                    <a:pt x="4608" y="112857"/>
                    <a:pt x="4608" y="112857"/>
                  </a:cubicBezTo>
                  <a:cubicBezTo>
                    <a:pt x="4608" y="112857"/>
                    <a:pt x="-11204" y="103332"/>
                    <a:pt x="15752" y="9256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</p:spTree>
    <p:extLst>
      <p:ext uri="{BB962C8B-B14F-4D97-AF65-F5344CB8AC3E}">
        <p14:creationId xmlns:p14="http://schemas.microsoft.com/office/powerpoint/2010/main" val="360253590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5DB70661-1FC6-EA50-DFC1-491100B00593}"/>
              </a:ext>
            </a:extLst>
          </p:cNvPr>
          <p:cNvSpPr/>
          <p:nvPr/>
        </p:nvSpPr>
        <p:spPr>
          <a:xfrm>
            <a:off x="1581150" y="3429000"/>
            <a:ext cx="8909050" cy="2222500"/>
          </a:xfrm>
          <a:prstGeom prst="roundRect">
            <a:avLst>
              <a:gd name="adj" fmla="val 12122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4D0CEB18-47B7-75E3-FD4B-59B5E350F0A6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ocial Icons - Vector</a:t>
            </a:r>
            <a:endParaRPr lang="en-CA" dirty="0">
              <a:solidFill>
                <a:schemeClr val="tx1"/>
              </a:solidFill>
            </a:endParaRPr>
          </a:p>
        </p:txBody>
      </p:sp>
      <p:grpSp>
        <p:nvGrpSpPr>
          <p:cNvPr id="2" name="Graphic 2">
            <a:extLst>
              <a:ext uri="{FF2B5EF4-FFF2-40B4-BE49-F238E27FC236}">
                <a16:creationId xmlns:a16="http://schemas.microsoft.com/office/drawing/2014/main" id="{7D23B90F-1F42-7E71-6A0C-D08139C0C437}"/>
              </a:ext>
            </a:extLst>
          </p:cNvPr>
          <p:cNvGrpSpPr/>
          <p:nvPr/>
        </p:nvGrpSpPr>
        <p:grpSpPr>
          <a:xfrm>
            <a:off x="2054225" y="1614487"/>
            <a:ext cx="381486" cy="381486"/>
            <a:chOff x="2054225" y="1614487"/>
            <a:chExt cx="381486" cy="381486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21967DED-C914-8BB4-3F9A-19ED2DEC32D2}"/>
                </a:ext>
              </a:extLst>
            </p:cNvPr>
            <p:cNvSpPr/>
            <p:nvPr/>
          </p:nvSpPr>
          <p:spPr>
            <a:xfrm>
              <a:off x="2054225" y="1614487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303030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F76C43F8-5171-D21A-B29A-F59D52A420AC}"/>
                </a:ext>
              </a:extLst>
            </p:cNvPr>
            <p:cNvSpPr/>
            <p:nvPr/>
          </p:nvSpPr>
          <p:spPr>
            <a:xfrm>
              <a:off x="2151564" y="1714138"/>
              <a:ext cx="188200" cy="182036"/>
            </a:xfrm>
            <a:custGeom>
              <a:avLst/>
              <a:gdLst>
                <a:gd name="connsiteX0" fmla="*/ 94208 w 188200"/>
                <a:gd name="connsiteY0" fmla="*/ 6439 h 182036"/>
                <a:gd name="connsiteX1" fmla="*/ 139132 w 188200"/>
                <a:gd name="connsiteY1" fmla="*/ 51070 h 182036"/>
                <a:gd name="connsiteX2" fmla="*/ 139132 w 188200"/>
                <a:gd name="connsiteY2" fmla="*/ 51362 h 182036"/>
                <a:gd name="connsiteX3" fmla="*/ 139132 w 188200"/>
                <a:gd name="connsiteY3" fmla="*/ 78287 h 182036"/>
                <a:gd name="connsiteX4" fmla="*/ 143376 w 188200"/>
                <a:gd name="connsiteY4" fmla="*/ 78287 h 182036"/>
                <a:gd name="connsiteX5" fmla="*/ 148790 w 188200"/>
                <a:gd name="connsiteY5" fmla="*/ 76970 h 182036"/>
                <a:gd name="connsiteX6" fmla="*/ 155668 w 188200"/>
                <a:gd name="connsiteY6" fmla="*/ 74775 h 182036"/>
                <a:gd name="connsiteX7" fmla="*/ 160936 w 188200"/>
                <a:gd name="connsiteY7" fmla="*/ 77263 h 182036"/>
                <a:gd name="connsiteX8" fmla="*/ 154643 w 188200"/>
                <a:gd name="connsiteY8" fmla="*/ 87067 h 182036"/>
                <a:gd name="connsiteX9" fmla="*/ 140010 w 188200"/>
                <a:gd name="connsiteY9" fmla="*/ 98920 h 182036"/>
                <a:gd name="connsiteX10" fmla="*/ 159472 w 188200"/>
                <a:gd name="connsiteY10" fmla="*/ 126284 h 182036"/>
                <a:gd name="connsiteX11" fmla="*/ 178056 w 188200"/>
                <a:gd name="connsiteY11" fmla="*/ 134040 h 182036"/>
                <a:gd name="connsiteX12" fmla="*/ 179520 w 188200"/>
                <a:gd name="connsiteY12" fmla="*/ 134040 h 182036"/>
                <a:gd name="connsiteX13" fmla="*/ 180690 w 188200"/>
                <a:gd name="connsiteY13" fmla="*/ 134479 h 182036"/>
                <a:gd name="connsiteX14" fmla="*/ 171325 w 188200"/>
                <a:gd name="connsiteY14" fmla="*/ 144576 h 182036"/>
                <a:gd name="connsiteX15" fmla="*/ 156692 w 188200"/>
                <a:gd name="connsiteY15" fmla="*/ 151160 h 182036"/>
                <a:gd name="connsiteX16" fmla="*/ 152595 w 188200"/>
                <a:gd name="connsiteY16" fmla="*/ 159209 h 182036"/>
                <a:gd name="connsiteX17" fmla="*/ 135474 w 188200"/>
                <a:gd name="connsiteY17" fmla="*/ 157599 h 182036"/>
                <a:gd name="connsiteX18" fmla="*/ 126840 w 188200"/>
                <a:gd name="connsiteY18" fmla="*/ 158916 h 182036"/>
                <a:gd name="connsiteX19" fmla="*/ 94208 w 188200"/>
                <a:gd name="connsiteY19" fmla="*/ 175305 h 182036"/>
                <a:gd name="connsiteX20" fmla="*/ 61430 w 188200"/>
                <a:gd name="connsiteY20" fmla="*/ 158916 h 182036"/>
                <a:gd name="connsiteX21" fmla="*/ 52797 w 188200"/>
                <a:gd name="connsiteY21" fmla="*/ 157599 h 182036"/>
                <a:gd name="connsiteX22" fmla="*/ 35676 w 188200"/>
                <a:gd name="connsiteY22" fmla="*/ 159209 h 182036"/>
                <a:gd name="connsiteX23" fmla="*/ 31579 w 188200"/>
                <a:gd name="connsiteY23" fmla="*/ 151160 h 182036"/>
                <a:gd name="connsiteX24" fmla="*/ 16945 w 188200"/>
                <a:gd name="connsiteY24" fmla="*/ 144576 h 182036"/>
                <a:gd name="connsiteX25" fmla="*/ 7580 w 188200"/>
                <a:gd name="connsiteY25" fmla="*/ 134479 h 182036"/>
                <a:gd name="connsiteX26" fmla="*/ 8605 w 188200"/>
                <a:gd name="connsiteY26" fmla="*/ 134479 h 182036"/>
                <a:gd name="connsiteX27" fmla="*/ 10068 w 188200"/>
                <a:gd name="connsiteY27" fmla="*/ 134479 h 182036"/>
                <a:gd name="connsiteX28" fmla="*/ 28798 w 188200"/>
                <a:gd name="connsiteY28" fmla="*/ 126723 h 182036"/>
                <a:gd name="connsiteX29" fmla="*/ 48114 w 188200"/>
                <a:gd name="connsiteY29" fmla="*/ 99359 h 182036"/>
                <a:gd name="connsiteX30" fmla="*/ 33481 w 188200"/>
                <a:gd name="connsiteY30" fmla="*/ 87506 h 182036"/>
                <a:gd name="connsiteX31" fmla="*/ 27189 w 188200"/>
                <a:gd name="connsiteY31" fmla="*/ 77702 h 182036"/>
                <a:gd name="connsiteX32" fmla="*/ 31140 w 188200"/>
                <a:gd name="connsiteY32" fmla="*/ 75946 h 182036"/>
                <a:gd name="connsiteX33" fmla="*/ 38017 w 188200"/>
                <a:gd name="connsiteY33" fmla="*/ 78141 h 182036"/>
                <a:gd name="connsiteX34" fmla="*/ 43431 w 188200"/>
                <a:gd name="connsiteY34" fmla="*/ 79458 h 182036"/>
                <a:gd name="connsiteX35" fmla="*/ 47675 w 188200"/>
                <a:gd name="connsiteY35" fmla="*/ 79458 h 182036"/>
                <a:gd name="connsiteX36" fmla="*/ 47675 w 188200"/>
                <a:gd name="connsiteY36" fmla="*/ 51362 h 182036"/>
                <a:gd name="connsiteX37" fmla="*/ 92303 w 188200"/>
                <a:gd name="connsiteY37" fmla="*/ 6437 h 182036"/>
                <a:gd name="connsiteX38" fmla="*/ 92892 w 188200"/>
                <a:gd name="connsiteY38" fmla="*/ 6439 h 182036"/>
                <a:gd name="connsiteX39" fmla="*/ 94501 w 188200"/>
                <a:gd name="connsiteY39" fmla="*/ 6439 h 182036"/>
                <a:gd name="connsiteX40" fmla="*/ 94501 w 188200"/>
                <a:gd name="connsiteY40" fmla="*/ 0 h 182036"/>
                <a:gd name="connsiteX41" fmla="*/ 92892 w 188200"/>
                <a:gd name="connsiteY41" fmla="*/ 0 h 182036"/>
                <a:gd name="connsiteX42" fmla="*/ 41383 w 188200"/>
                <a:gd name="connsiteY42" fmla="*/ 51362 h 182036"/>
                <a:gd name="connsiteX43" fmla="*/ 41383 w 188200"/>
                <a:gd name="connsiteY43" fmla="*/ 71849 h 182036"/>
                <a:gd name="connsiteX44" fmla="*/ 41383 w 188200"/>
                <a:gd name="connsiteY44" fmla="*/ 71849 h 182036"/>
                <a:gd name="connsiteX45" fmla="*/ 31432 w 188200"/>
                <a:gd name="connsiteY45" fmla="*/ 68922 h 182036"/>
                <a:gd name="connsiteX46" fmla="*/ 21482 w 188200"/>
                <a:gd name="connsiteY46" fmla="*/ 73312 h 182036"/>
                <a:gd name="connsiteX47" fmla="*/ 18409 w 188200"/>
                <a:gd name="connsiteY47" fmla="*/ 82970 h 182036"/>
                <a:gd name="connsiteX48" fmla="*/ 30115 w 188200"/>
                <a:gd name="connsiteY48" fmla="*/ 93799 h 182036"/>
                <a:gd name="connsiteX49" fmla="*/ 32310 w 188200"/>
                <a:gd name="connsiteY49" fmla="*/ 94677 h 182036"/>
                <a:gd name="connsiteX50" fmla="*/ 40505 w 188200"/>
                <a:gd name="connsiteY50" fmla="*/ 99213 h 182036"/>
                <a:gd name="connsiteX51" fmla="*/ 23823 w 188200"/>
                <a:gd name="connsiteY51" fmla="*/ 121602 h 182036"/>
                <a:gd name="connsiteX52" fmla="*/ 9190 w 188200"/>
                <a:gd name="connsiteY52" fmla="*/ 128186 h 182036"/>
                <a:gd name="connsiteX53" fmla="*/ 7727 w 188200"/>
                <a:gd name="connsiteY53" fmla="*/ 128186 h 182036"/>
                <a:gd name="connsiteX54" fmla="*/ 410 w 188200"/>
                <a:gd name="connsiteY54" fmla="*/ 133601 h 182036"/>
                <a:gd name="connsiteX55" fmla="*/ 15043 w 188200"/>
                <a:gd name="connsiteY55" fmla="*/ 151453 h 182036"/>
                <a:gd name="connsiteX56" fmla="*/ 23238 w 188200"/>
                <a:gd name="connsiteY56" fmla="*/ 153063 h 182036"/>
                <a:gd name="connsiteX57" fmla="*/ 25579 w 188200"/>
                <a:gd name="connsiteY57" fmla="*/ 153063 h 182036"/>
                <a:gd name="connsiteX58" fmla="*/ 25579 w 188200"/>
                <a:gd name="connsiteY58" fmla="*/ 153063 h 182036"/>
                <a:gd name="connsiteX59" fmla="*/ 26750 w 188200"/>
                <a:gd name="connsiteY59" fmla="*/ 157160 h 182036"/>
                <a:gd name="connsiteX60" fmla="*/ 35676 w 188200"/>
                <a:gd name="connsiteY60" fmla="*/ 165355 h 182036"/>
                <a:gd name="connsiteX61" fmla="*/ 40212 w 188200"/>
                <a:gd name="connsiteY61" fmla="*/ 165355 h 182036"/>
                <a:gd name="connsiteX62" fmla="*/ 52797 w 188200"/>
                <a:gd name="connsiteY62" fmla="*/ 164330 h 182036"/>
                <a:gd name="connsiteX63" fmla="*/ 58796 w 188200"/>
                <a:gd name="connsiteY63" fmla="*/ 165062 h 182036"/>
                <a:gd name="connsiteX64" fmla="*/ 64503 w 188200"/>
                <a:gd name="connsiteY64" fmla="*/ 169013 h 182036"/>
                <a:gd name="connsiteX65" fmla="*/ 93770 w 188200"/>
                <a:gd name="connsiteY65" fmla="*/ 182036 h 182036"/>
                <a:gd name="connsiteX66" fmla="*/ 94501 w 188200"/>
                <a:gd name="connsiteY66" fmla="*/ 182036 h 182036"/>
                <a:gd name="connsiteX67" fmla="*/ 123767 w 188200"/>
                <a:gd name="connsiteY67" fmla="*/ 169013 h 182036"/>
                <a:gd name="connsiteX68" fmla="*/ 129621 w 188200"/>
                <a:gd name="connsiteY68" fmla="*/ 165062 h 182036"/>
                <a:gd name="connsiteX69" fmla="*/ 135474 w 188200"/>
                <a:gd name="connsiteY69" fmla="*/ 164330 h 182036"/>
                <a:gd name="connsiteX70" fmla="*/ 148059 w 188200"/>
                <a:gd name="connsiteY70" fmla="*/ 165355 h 182036"/>
                <a:gd name="connsiteX71" fmla="*/ 152595 w 188200"/>
                <a:gd name="connsiteY71" fmla="*/ 165355 h 182036"/>
                <a:gd name="connsiteX72" fmla="*/ 161521 w 188200"/>
                <a:gd name="connsiteY72" fmla="*/ 157160 h 182036"/>
                <a:gd name="connsiteX73" fmla="*/ 162838 w 188200"/>
                <a:gd name="connsiteY73" fmla="*/ 153063 h 182036"/>
                <a:gd name="connsiteX74" fmla="*/ 162838 w 188200"/>
                <a:gd name="connsiteY74" fmla="*/ 153063 h 182036"/>
                <a:gd name="connsiteX75" fmla="*/ 165326 w 188200"/>
                <a:gd name="connsiteY75" fmla="*/ 153063 h 182036"/>
                <a:gd name="connsiteX76" fmla="*/ 173374 w 188200"/>
                <a:gd name="connsiteY76" fmla="*/ 151453 h 182036"/>
                <a:gd name="connsiteX77" fmla="*/ 188007 w 188200"/>
                <a:gd name="connsiteY77" fmla="*/ 133601 h 182036"/>
                <a:gd name="connsiteX78" fmla="*/ 180690 w 188200"/>
                <a:gd name="connsiteY78" fmla="*/ 128186 h 182036"/>
                <a:gd name="connsiteX79" fmla="*/ 179227 w 188200"/>
                <a:gd name="connsiteY79" fmla="*/ 128186 h 182036"/>
                <a:gd name="connsiteX80" fmla="*/ 164594 w 188200"/>
                <a:gd name="connsiteY80" fmla="*/ 121602 h 182036"/>
                <a:gd name="connsiteX81" fmla="*/ 147912 w 188200"/>
                <a:gd name="connsiteY81" fmla="*/ 99213 h 182036"/>
                <a:gd name="connsiteX82" fmla="*/ 156107 w 188200"/>
                <a:gd name="connsiteY82" fmla="*/ 94677 h 182036"/>
                <a:gd name="connsiteX83" fmla="*/ 158302 w 188200"/>
                <a:gd name="connsiteY83" fmla="*/ 93799 h 182036"/>
                <a:gd name="connsiteX84" fmla="*/ 170008 w 188200"/>
                <a:gd name="connsiteY84" fmla="*/ 82970 h 182036"/>
                <a:gd name="connsiteX85" fmla="*/ 166935 w 188200"/>
                <a:gd name="connsiteY85" fmla="*/ 73312 h 182036"/>
                <a:gd name="connsiteX86" fmla="*/ 156985 w 188200"/>
                <a:gd name="connsiteY86" fmla="*/ 68922 h 182036"/>
                <a:gd name="connsiteX87" fmla="*/ 147034 w 188200"/>
                <a:gd name="connsiteY87" fmla="*/ 71849 h 182036"/>
                <a:gd name="connsiteX88" fmla="*/ 147034 w 188200"/>
                <a:gd name="connsiteY88" fmla="*/ 71849 h 182036"/>
                <a:gd name="connsiteX89" fmla="*/ 147034 w 188200"/>
                <a:gd name="connsiteY89" fmla="*/ 51362 h 182036"/>
                <a:gd name="connsiteX90" fmla="*/ 95525 w 188200"/>
                <a:gd name="connsiteY90" fmla="*/ 0 h 182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88200" h="182036">
                  <a:moveTo>
                    <a:pt x="94208" y="6439"/>
                  </a:moveTo>
                  <a:cubicBezTo>
                    <a:pt x="118939" y="6358"/>
                    <a:pt x="139052" y="26340"/>
                    <a:pt x="139132" y="51070"/>
                  </a:cubicBezTo>
                  <a:cubicBezTo>
                    <a:pt x="139132" y="51166"/>
                    <a:pt x="139132" y="51264"/>
                    <a:pt x="139132" y="51362"/>
                  </a:cubicBezTo>
                  <a:lnTo>
                    <a:pt x="139132" y="78287"/>
                  </a:lnTo>
                  <a:cubicBezTo>
                    <a:pt x="140543" y="78444"/>
                    <a:pt x="141965" y="78444"/>
                    <a:pt x="143376" y="78287"/>
                  </a:cubicBezTo>
                  <a:cubicBezTo>
                    <a:pt x="145262" y="78309"/>
                    <a:pt x="147123" y="77856"/>
                    <a:pt x="148790" y="76970"/>
                  </a:cubicBezTo>
                  <a:cubicBezTo>
                    <a:pt x="150864" y="75675"/>
                    <a:pt x="153228" y="74922"/>
                    <a:pt x="155668" y="74775"/>
                  </a:cubicBezTo>
                  <a:cubicBezTo>
                    <a:pt x="157693" y="74840"/>
                    <a:pt x="159600" y="75740"/>
                    <a:pt x="160936" y="77263"/>
                  </a:cubicBezTo>
                  <a:cubicBezTo>
                    <a:pt x="164740" y="81068"/>
                    <a:pt x="160936" y="84726"/>
                    <a:pt x="154643" y="87067"/>
                  </a:cubicBezTo>
                  <a:cubicBezTo>
                    <a:pt x="148351" y="89409"/>
                    <a:pt x="140010" y="91604"/>
                    <a:pt x="140010" y="98920"/>
                  </a:cubicBezTo>
                  <a:cubicBezTo>
                    <a:pt x="143096" y="110037"/>
                    <a:pt x="149984" y="119720"/>
                    <a:pt x="159472" y="126284"/>
                  </a:cubicBezTo>
                  <a:cubicBezTo>
                    <a:pt x="164595" y="130923"/>
                    <a:pt x="171155" y="133661"/>
                    <a:pt x="178056" y="134040"/>
                  </a:cubicBezTo>
                  <a:lnTo>
                    <a:pt x="179520" y="134040"/>
                  </a:lnTo>
                  <a:cubicBezTo>
                    <a:pt x="179520" y="134040"/>
                    <a:pt x="180690" y="134479"/>
                    <a:pt x="180690" y="134479"/>
                  </a:cubicBezTo>
                  <a:cubicBezTo>
                    <a:pt x="180690" y="134479"/>
                    <a:pt x="182154" y="141795"/>
                    <a:pt x="171325" y="144576"/>
                  </a:cubicBezTo>
                  <a:cubicBezTo>
                    <a:pt x="160497" y="147356"/>
                    <a:pt x="158302" y="145454"/>
                    <a:pt x="156692" y="151160"/>
                  </a:cubicBezTo>
                  <a:cubicBezTo>
                    <a:pt x="155082" y="156867"/>
                    <a:pt x="155375" y="159209"/>
                    <a:pt x="152595" y="159209"/>
                  </a:cubicBezTo>
                  <a:cubicBezTo>
                    <a:pt x="149814" y="159209"/>
                    <a:pt x="142644" y="157599"/>
                    <a:pt x="135474" y="157599"/>
                  </a:cubicBezTo>
                  <a:cubicBezTo>
                    <a:pt x="132536" y="157442"/>
                    <a:pt x="129597" y="157892"/>
                    <a:pt x="126840" y="158916"/>
                  </a:cubicBezTo>
                  <a:cubicBezTo>
                    <a:pt x="120256" y="161843"/>
                    <a:pt x="109720" y="174574"/>
                    <a:pt x="94208" y="175305"/>
                  </a:cubicBezTo>
                  <a:cubicBezTo>
                    <a:pt x="78697" y="176037"/>
                    <a:pt x="68015" y="161843"/>
                    <a:pt x="61430" y="158916"/>
                  </a:cubicBezTo>
                  <a:cubicBezTo>
                    <a:pt x="58673" y="157892"/>
                    <a:pt x="55735" y="157442"/>
                    <a:pt x="52797" y="157599"/>
                  </a:cubicBezTo>
                  <a:cubicBezTo>
                    <a:pt x="45626" y="157599"/>
                    <a:pt x="38164" y="159209"/>
                    <a:pt x="35676" y="159209"/>
                  </a:cubicBezTo>
                  <a:cubicBezTo>
                    <a:pt x="33188" y="159209"/>
                    <a:pt x="33774" y="156721"/>
                    <a:pt x="31579" y="151160"/>
                  </a:cubicBezTo>
                  <a:cubicBezTo>
                    <a:pt x="29384" y="145600"/>
                    <a:pt x="27189" y="147356"/>
                    <a:pt x="16945" y="144576"/>
                  </a:cubicBezTo>
                  <a:cubicBezTo>
                    <a:pt x="6702" y="141795"/>
                    <a:pt x="7288" y="135942"/>
                    <a:pt x="7580" y="134479"/>
                  </a:cubicBezTo>
                  <a:cubicBezTo>
                    <a:pt x="7873" y="133015"/>
                    <a:pt x="7580" y="134479"/>
                    <a:pt x="8605" y="134479"/>
                  </a:cubicBezTo>
                  <a:lnTo>
                    <a:pt x="10068" y="134479"/>
                  </a:lnTo>
                  <a:cubicBezTo>
                    <a:pt x="17014" y="134110"/>
                    <a:pt x="23624" y="131372"/>
                    <a:pt x="28798" y="126723"/>
                  </a:cubicBezTo>
                  <a:cubicBezTo>
                    <a:pt x="38259" y="120162"/>
                    <a:pt x="45099" y="110472"/>
                    <a:pt x="48114" y="99359"/>
                  </a:cubicBezTo>
                  <a:cubicBezTo>
                    <a:pt x="48114" y="92043"/>
                    <a:pt x="39188" y="89848"/>
                    <a:pt x="33481" y="87506"/>
                  </a:cubicBezTo>
                  <a:cubicBezTo>
                    <a:pt x="27774" y="85165"/>
                    <a:pt x="23384" y="81507"/>
                    <a:pt x="27189" y="77702"/>
                  </a:cubicBezTo>
                  <a:cubicBezTo>
                    <a:pt x="28299" y="76732"/>
                    <a:pt x="29676" y="76120"/>
                    <a:pt x="31140" y="75946"/>
                  </a:cubicBezTo>
                  <a:cubicBezTo>
                    <a:pt x="33580" y="76092"/>
                    <a:pt x="35944" y="76846"/>
                    <a:pt x="38017" y="78141"/>
                  </a:cubicBezTo>
                  <a:cubicBezTo>
                    <a:pt x="39683" y="79026"/>
                    <a:pt x="41545" y="79479"/>
                    <a:pt x="43431" y="79458"/>
                  </a:cubicBezTo>
                  <a:cubicBezTo>
                    <a:pt x="44842" y="79615"/>
                    <a:pt x="46265" y="79615"/>
                    <a:pt x="47675" y="79458"/>
                  </a:cubicBezTo>
                  <a:lnTo>
                    <a:pt x="47675" y="51362"/>
                  </a:lnTo>
                  <a:cubicBezTo>
                    <a:pt x="47593" y="26633"/>
                    <a:pt x="67575" y="6519"/>
                    <a:pt x="92303" y="6437"/>
                  </a:cubicBezTo>
                  <a:cubicBezTo>
                    <a:pt x="92499" y="6436"/>
                    <a:pt x="92695" y="6437"/>
                    <a:pt x="92892" y="6439"/>
                  </a:cubicBezTo>
                  <a:lnTo>
                    <a:pt x="94501" y="6439"/>
                  </a:lnTo>
                  <a:moveTo>
                    <a:pt x="94501" y="0"/>
                  </a:moveTo>
                  <a:lnTo>
                    <a:pt x="92892" y="0"/>
                  </a:lnTo>
                  <a:cubicBezTo>
                    <a:pt x="64502" y="0"/>
                    <a:pt x="41463" y="22972"/>
                    <a:pt x="41383" y="51362"/>
                  </a:cubicBezTo>
                  <a:lnTo>
                    <a:pt x="41383" y="71849"/>
                  </a:lnTo>
                  <a:lnTo>
                    <a:pt x="41383" y="71849"/>
                  </a:lnTo>
                  <a:cubicBezTo>
                    <a:pt x="38367" y="70047"/>
                    <a:pt x="34943" y="69041"/>
                    <a:pt x="31432" y="68922"/>
                  </a:cubicBezTo>
                  <a:cubicBezTo>
                    <a:pt x="27653" y="68956"/>
                    <a:pt x="24055" y="70544"/>
                    <a:pt x="21482" y="73312"/>
                  </a:cubicBezTo>
                  <a:cubicBezTo>
                    <a:pt x="18850" y="75779"/>
                    <a:pt x="17687" y="79436"/>
                    <a:pt x="18409" y="82970"/>
                  </a:cubicBezTo>
                  <a:cubicBezTo>
                    <a:pt x="19287" y="87506"/>
                    <a:pt x="23238" y="91165"/>
                    <a:pt x="30115" y="93799"/>
                  </a:cubicBezTo>
                  <a:lnTo>
                    <a:pt x="32310" y="94677"/>
                  </a:lnTo>
                  <a:cubicBezTo>
                    <a:pt x="35530" y="95847"/>
                    <a:pt x="39773" y="97310"/>
                    <a:pt x="40505" y="99213"/>
                  </a:cubicBezTo>
                  <a:cubicBezTo>
                    <a:pt x="37598" y="108328"/>
                    <a:pt x="31726" y="116209"/>
                    <a:pt x="23823" y="121602"/>
                  </a:cubicBezTo>
                  <a:cubicBezTo>
                    <a:pt x="19881" y="125462"/>
                    <a:pt x="14694" y="127796"/>
                    <a:pt x="9190" y="128186"/>
                  </a:cubicBezTo>
                  <a:lnTo>
                    <a:pt x="7727" y="128186"/>
                  </a:lnTo>
                  <a:cubicBezTo>
                    <a:pt x="4308" y="128014"/>
                    <a:pt x="1244" y="130280"/>
                    <a:pt x="410" y="133601"/>
                  </a:cubicBezTo>
                  <a:cubicBezTo>
                    <a:pt x="-1200" y="140039"/>
                    <a:pt x="1581" y="148234"/>
                    <a:pt x="15043" y="151453"/>
                  </a:cubicBezTo>
                  <a:cubicBezTo>
                    <a:pt x="17744" y="152135"/>
                    <a:pt x="20479" y="152674"/>
                    <a:pt x="23238" y="153063"/>
                  </a:cubicBezTo>
                  <a:lnTo>
                    <a:pt x="25579" y="153063"/>
                  </a:lnTo>
                  <a:lnTo>
                    <a:pt x="25579" y="153063"/>
                  </a:lnTo>
                  <a:cubicBezTo>
                    <a:pt x="26047" y="154405"/>
                    <a:pt x="26438" y="155773"/>
                    <a:pt x="26750" y="157160"/>
                  </a:cubicBezTo>
                  <a:cubicBezTo>
                    <a:pt x="27260" y="161739"/>
                    <a:pt x="31071" y="165236"/>
                    <a:pt x="35676" y="165355"/>
                  </a:cubicBezTo>
                  <a:lnTo>
                    <a:pt x="40212" y="165355"/>
                  </a:lnTo>
                  <a:cubicBezTo>
                    <a:pt x="44382" y="164759"/>
                    <a:pt x="48585" y="164418"/>
                    <a:pt x="52797" y="164330"/>
                  </a:cubicBezTo>
                  <a:cubicBezTo>
                    <a:pt x="54826" y="164155"/>
                    <a:pt x="56869" y="164403"/>
                    <a:pt x="58796" y="165062"/>
                  </a:cubicBezTo>
                  <a:cubicBezTo>
                    <a:pt x="60829" y="166180"/>
                    <a:pt x="62741" y="167504"/>
                    <a:pt x="64503" y="169013"/>
                  </a:cubicBezTo>
                  <a:cubicBezTo>
                    <a:pt x="72731" y="176190"/>
                    <a:pt x="82929" y="180728"/>
                    <a:pt x="93770" y="182036"/>
                  </a:cubicBezTo>
                  <a:lnTo>
                    <a:pt x="94501" y="182036"/>
                  </a:lnTo>
                  <a:cubicBezTo>
                    <a:pt x="105352" y="180765"/>
                    <a:pt x="115558" y="176223"/>
                    <a:pt x="123767" y="169013"/>
                  </a:cubicBezTo>
                  <a:cubicBezTo>
                    <a:pt x="125601" y="167529"/>
                    <a:pt x="127559" y="166208"/>
                    <a:pt x="129621" y="165062"/>
                  </a:cubicBezTo>
                  <a:cubicBezTo>
                    <a:pt x="131486" y="164358"/>
                    <a:pt x="133493" y="164106"/>
                    <a:pt x="135474" y="164330"/>
                  </a:cubicBezTo>
                  <a:cubicBezTo>
                    <a:pt x="139685" y="164418"/>
                    <a:pt x="143888" y="164759"/>
                    <a:pt x="148059" y="165355"/>
                  </a:cubicBezTo>
                  <a:lnTo>
                    <a:pt x="152595" y="165355"/>
                  </a:lnTo>
                  <a:cubicBezTo>
                    <a:pt x="157200" y="165236"/>
                    <a:pt x="161010" y="161739"/>
                    <a:pt x="161521" y="157160"/>
                  </a:cubicBezTo>
                  <a:cubicBezTo>
                    <a:pt x="161822" y="155754"/>
                    <a:pt x="162264" y="154381"/>
                    <a:pt x="162838" y="153063"/>
                  </a:cubicBezTo>
                  <a:lnTo>
                    <a:pt x="162838" y="153063"/>
                  </a:lnTo>
                  <a:lnTo>
                    <a:pt x="165326" y="153063"/>
                  </a:lnTo>
                  <a:cubicBezTo>
                    <a:pt x="167228" y="153063"/>
                    <a:pt x="169862" y="152331"/>
                    <a:pt x="173374" y="151453"/>
                  </a:cubicBezTo>
                  <a:cubicBezTo>
                    <a:pt x="186251" y="148088"/>
                    <a:pt x="189031" y="140039"/>
                    <a:pt x="188007" y="133601"/>
                  </a:cubicBezTo>
                  <a:cubicBezTo>
                    <a:pt x="187226" y="130247"/>
                    <a:pt x="184126" y="127954"/>
                    <a:pt x="180690" y="128186"/>
                  </a:cubicBezTo>
                  <a:lnTo>
                    <a:pt x="179227" y="128186"/>
                  </a:lnTo>
                  <a:cubicBezTo>
                    <a:pt x="173735" y="127747"/>
                    <a:pt x="168565" y="125421"/>
                    <a:pt x="164594" y="121602"/>
                  </a:cubicBezTo>
                  <a:cubicBezTo>
                    <a:pt x="156691" y="116209"/>
                    <a:pt x="150820" y="108328"/>
                    <a:pt x="147912" y="99213"/>
                  </a:cubicBezTo>
                  <a:cubicBezTo>
                    <a:pt x="147912" y="97310"/>
                    <a:pt x="152887" y="95847"/>
                    <a:pt x="156107" y="94677"/>
                  </a:cubicBezTo>
                  <a:lnTo>
                    <a:pt x="158302" y="93799"/>
                  </a:lnTo>
                  <a:cubicBezTo>
                    <a:pt x="165179" y="91165"/>
                    <a:pt x="169130" y="87506"/>
                    <a:pt x="170008" y="82970"/>
                  </a:cubicBezTo>
                  <a:cubicBezTo>
                    <a:pt x="170730" y="79436"/>
                    <a:pt x="169566" y="75779"/>
                    <a:pt x="166935" y="73312"/>
                  </a:cubicBezTo>
                  <a:cubicBezTo>
                    <a:pt x="164363" y="70544"/>
                    <a:pt x="160764" y="68956"/>
                    <a:pt x="156985" y="68922"/>
                  </a:cubicBezTo>
                  <a:cubicBezTo>
                    <a:pt x="153477" y="69066"/>
                    <a:pt x="150060" y="70071"/>
                    <a:pt x="147034" y="71849"/>
                  </a:cubicBezTo>
                  <a:lnTo>
                    <a:pt x="147034" y="71849"/>
                  </a:lnTo>
                  <a:lnTo>
                    <a:pt x="147034" y="51362"/>
                  </a:lnTo>
                  <a:cubicBezTo>
                    <a:pt x="146954" y="22972"/>
                    <a:pt x="123915" y="0"/>
                    <a:pt x="95525" y="0"/>
                  </a:cubicBezTo>
                  <a:close/>
                </a:path>
              </a:pathLst>
            </a:custGeom>
            <a:solidFill>
              <a:srgbClr val="404040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8BE2D72-9D44-44B0-81E0-67D595848F48}"/>
                </a:ext>
              </a:extLst>
            </p:cNvPr>
            <p:cNvSpPr/>
            <p:nvPr/>
          </p:nvSpPr>
          <p:spPr>
            <a:xfrm>
              <a:off x="2157761" y="1720577"/>
              <a:ext cx="174493" cy="169305"/>
            </a:xfrm>
            <a:custGeom>
              <a:avLst/>
              <a:gdLst>
                <a:gd name="connsiteX0" fmla="*/ 86695 w 174493"/>
                <a:gd name="connsiteY0" fmla="*/ 169306 h 169305"/>
                <a:gd name="connsiteX1" fmla="*/ 119326 w 174493"/>
                <a:gd name="connsiteY1" fmla="*/ 152917 h 169305"/>
                <a:gd name="connsiteX2" fmla="*/ 145081 w 174493"/>
                <a:gd name="connsiteY2" fmla="*/ 152917 h 169305"/>
                <a:gd name="connsiteX3" fmla="*/ 149178 w 174493"/>
                <a:gd name="connsiteY3" fmla="*/ 144868 h 169305"/>
                <a:gd name="connsiteX4" fmla="*/ 163811 w 174493"/>
                <a:gd name="connsiteY4" fmla="*/ 138284 h 169305"/>
                <a:gd name="connsiteX5" fmla="*/ 174493 w 174493"/>
                <a:gd name="connsiteY5" fmla="*/ 128040 h 169305"/>
                <a:gd name="connsiteX6" fmla="*/ 153422 w 174493"/>
                <a:gd name="connsiteY6" fmla="*/ 119992 h 169305"/>
                <a:gd name="connsiteX7" fmla="*/ 133960 w 174493"/>
                <a:gd name="connsiteY7" fmla="*/ 92628 h 169305"/>
                <a:gd name="connsiteX8" fmla="*/ 148593 w 174493"/>
                <a:gd name="connsiteY8" fmla="*/ 80775 h 169305"/>
                <a:gd name="connsiteX9" fmla="*/ 154885 w 174493"/>
                <a:gd name="connsiteY9" fmla="*/ 70971 h 169305"/>
                <a:gd name="connsiteX10" fmla="*/ 142740 w 174493"/>
                <a:gd name="connsiteY10" fmla="*/ 70971 h 169305"/>
                <a:gd name="connsiteX11" fmla="*/ 133082 w 174493"/>
                <a:gd name="connsiteY11" fmla="*/ 71703 h 169305"/>
                <a:gd name="connsiteX12" fmla="*/ 133082 w 174493"/>
                <a:gd name="connsiteY12" fmla="*/ 44924 h 169305"/>
                <a:gd name="connsiteX13" fmla="*/ 88450 w 174493"/>
                <a:gd name="connsiteY13" fmla="*/ 0 h 169305"/>
                <a:gd name="connsiteX14" fmla="*/ 88158 w 174493"/>
                <a:gd name="connsiteY14" fmla="*/ 0 h 169305"/>
                <a:gd name="connsiteX15" fmla="*/ 86695 w 174493"/>
                <a:gd name="connsiteY15" fmla="*/ 0 h 169305"/>
                <a:gd name="connsiteX16" fmla="*/ 41771 w 174493"/>
                <a:gd name="connsiteY16" fmla="*/ 44631 h 169305"/>
                <a:gd name="connsiteX17" fmla="*/ 41771 w 174493"/>
                <a:gd name="connsiteY17" fmla="*/ 44924 h 169305"/>
                <a:gd name="connsiteX18" fmla="*/ 41771 w 174493"/>
                <a:gd name="connsiteY18" fmla="*/ 71849 h 169305"/>
                <a:gd name="connsiteX19" fmla="*/ 32113 w 174493"/>
                <a:gd name="connsiteY19" fmla="*/ 71117 h 169305"/>
                <a:gd name="connsiteX20" fmla="*/ 19967 w 174493"/>
                <a:gd name="connsiteY20" fmla="*/ 71117 h 169305"/>
                <a:gd name="connsiteX21" fmla="*/ 26260 w 174493"/>
                <a:gd name="connsiteY21" fmla="*/ 80922 h 169305"/>
                <a:gd name="connsiteX22" fmla="*/ 40893 w 174493"/>
                <a:gd name="connsiteY22" fmla="*/ 92774 h 169305"/>
                <a:gd name="connsiteX23" fmla="*/ 21577 w 174493"/>
                <a:gd name="connsiteY23" fmla="*/ 120138 h 169305"/>
                <a:gd name="connsiteX24" fmla="*/ 66 w 174493"/>
                <a:gd name="connsiteY24" fmla="*/ 128040 h 169305"/>
                <a:gd name="connsiteX25" fmla="*/ 9431 w 174493"/>
                <a:gd name="connsiteY25" fmla="*/ 138137 h 169305"/>
                <a:gd name="connsiteX26" fmla="*/ 24065 w 174493"/>
                <a:gd name="connsiteY26" fmla="*/ 144722 h 169305"/>
                <a:gd name="connsiteX27" fmla="*/ 28162 w 174493"/>
                <a:gd name="connsiteY27" fmla="*/ 152770 h 169305"/>
                <a:gd name="connsiteX28" fmla="*/ 53916 w 174493"/>
                <a:gd name="connsiteY28" fmla="*/ 152770 h 169305"/>
                <a:gd name="connsiteX29" fmla="*/ 86695 w 174493"/>
                <a:gd name="connsiteY29" fmla="*/ 169306 h 169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74493" h="169305">
                  <a:moveTo>
                    <a:pt x="86695" y="169306"/>
                  </a:moveTo>
                  <a:cubicBezTo>
                    <a:pt x="102206" y="168574"/>
                    <a:pt x="112742" y="155843"/>
                    <a:pt x="119326" y="152917"/>
                  </a:cubicBezTo>
                  <a:cubicBezTo>
                    <a:pt x="127839" y="151333"/>
                    <a:pt x="136569" y="151333"/>
                    <a:pt x="145081" y="152917"/>
                  </a:cubicBezTo>
                  <a:cubicBezTo>
                    <a:pt x="147861" y="152917"/>
                    <a:pt x="146983" y="150429"/>
                    <a:pt x="149178" y="144868"/>
                  </a:cubicBezTo>
                  <a:cubicBezTo>
                    <a:pt x="151373" y="139308"/>
                    <a:pt x="153568" y="141064"/>
                    <a:pt x="163811" y="138284"/>
                  </a:cubicBezTo>
                  <a:cubicBezTo>
                    <a:pt x="174054" y="135503"/>
                    <a:pt x="174493" y="129943"/>
                    <a:pt x="174493" y="128040"/>
                  </a:cubicBezTo>
                  <a:cubicBezTo>
                    <a:pt x="166719" y="128040"/>
                    <a:pt x="159216" y="125175"/>
                    <a:pt x="153422" y="119992"/>
                  </a:cubicBezTo>
                  <a:cubicBezTo>
                    <a:pt x="143934" y="113428"/>
                    <a:pt x="137046" y="103745"/>
                    <a:pt x="133960" y="92628"/>
                  </a:cubicBezTo>
                  <a:cubicBezTo>
                    <a:pt x="133960" y="85312"/>
                    <a:pt x="142886" y="83117"/>
                    <a:pt x="148593" y="80775"/>
                  </a:cubicBezTo>
                  <a:cubicBezTo>
                    <a:pt x="154300" y="78434"/>
                    <a:pt x="158690" y="74776"/>
                    <a:pt x="154885" y="70971"/>
                  </a:cubicBezTo>
                  <a:cubicBezTo>
                    <a:pt x="151080" y="67166"/>
                    <a:pt x="147276" y="68337"/>
                    <a:pt x="142740" y="70971"/>
                  </a:cubicBezTo>
                  <a:cubicBezTo>
                    <a:pt x="139697" y="72304"/>
                    <a:pt x="136291" y="72562"/>
                    <a:pt x="133082" y="71703"/>
                  </a:cubicBezTo>
                  <a:lnTo>
                    <a:pt x="133082" y="44924"/>
                  </a:lnTo>
                  <a:cubicBezTo>
                    <a:pt x="133162" y="20194"/>
                    <a:pt x="113181" y="81"/>
                    <a:pt x="88450" y="0"/>
                  </a:cubicBezTo>
                  <a:cubicBezTo>
                    <a:pt x="88354" y="0"/>
                    <a:pt x="88256" y="0"/>
                    <a:pt x="88158" y="0"/>
                  </a:cubicBezTo>
                  <a:lnTo>
                    <a:pt x="86695" y="0"/>
                  </a:lnTo>
                  <a:cubicBezTo>
                    <a:pt x="61964" y="-81"/>
                    <a:pt x="41852" y="19901"/>
                    <a:pt x="41771" y="44631"/>
                  </a:cubicBezTo>
                  <a:cubicBezTo>
                    <a:pt x="41770" y="44728"/>
                    <a:pt x="41770" y="44826"/>
                    <a:pt x="41771" y="44924"/>
                  </a:cubicBezTo>
                  <a:lnTo>
                    <a:pt x="41771" y="71849"/>
                  </a:lnTo>
                  <a:cubicBezTo>
                    <a:pt x="38562" y="72708"/>
                    <a:pt x="35156" y="72450"/>
                    <a:pt x="32113" y="71117"/>
                  </a:cubicBezTo>
                  <a:cubicBezTo>
                    <a:pt x="27577" y="68776"/>
                    <a:pt x="23772" y="67605"/>
                    <a:pt x="19967" y="71117"/>
                  </a:cubicBezTo>
                  <a:cubicBezTo>
                    <a:pt x="16163" y="74629"/>
                    <a:pt x="19967" y="78580"/>
                    <a:pt x="26260" y="80922"/>
                  </a:cubicBezTo>
                  <a:cubicBezTo>
                    <a:pt x="32552" y="83263"/>
                    <a:pt x="40893" y="85458"/>
                    <a:pt x="40893" y="92774"/>
                  </a:cubicBezTo>
                  <a:cubicBezTo>
                    <a:pt x="37878" y="103887"/>
                    <a:pt x="31038" y="113577"/>
                    <a:pt x="21577" y="120138"/>
                  </a:cubicBezTo>
                  <a:cubicBezTo>
                    <a:pt x="15633" y="125346"/>
                    <a:pt x="7968" y="128162"/>
                    <a:pt x="66" y="128040"/>
                  </a:cubicBezTo>
                  <a:cubicBezTo>
                    <a:pt x="66" y="129504"/>
                    <a:pt x="-1397" y="135357"/>
                    <a:pt x="9431" y="138137"/>
                  </a:cubicBezTo>
                  <a:cubicBezTo>
                    <a:pt x="20260" y="140918"/>
                    <a:pt x="22455" y="139015"/>
                    <a:pt x="24065" y="144722"/>
                  </a:cubicBezTo>
                  <a:cubicBezTo>
                    <a:pt x="25674" y="150429"/>
                    <a:pt x="25382" y="152770"/>
                    <a:pt x="28162" y="152770"/>
                  </a:cubicBezTo>
                  <a:cubicBezTo>
                    <a:pt x="36674" y="151187"/>
                    <a:pt x="45404" y="151187"/>
                    <a:pt x="53916" y="152770"/>
                  </a:cubicBezTo>
                  <a:cubicBezTo>
                    <a:pt x="61086" y="155843"/>
                    <a:pt x="72061" y="168574"/>
                    <a:pt x="86695" y="169306"/>
                  </a:cubicBezTo>
                  <a:close/>
                </a:path>
              </a:pathLst>
            </a:custGeom>
            <a:solidFill>
              <a:srgbClr val="FFFF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0" name="Graphic 4">
            <a:extLst>
              <a:ext uri="{FF2B5EF4-FFF2-40B4-BE49-F238E27FC236}">
                <a16:creationId xmlns:a16="http://schemas.microsoft.com/office/drawing/2014/main" id="{64EB18EF-4A6A-1625-9CCE-AC7CC7CB6D50}"/>
              </a:ext>
            </a:extLst>
          </p:cNvPr>
          <p:cNvGrpSpPr/>
          <p:nvPr/>
        </p:nvGrpSpPr>
        <p:grpSpPr>
          <a:xfrm>
            <a:off x="3137079" y="1614487"/>
            <a:ext cx="381486" cy="381486"/>
            <a:chOff x="3137079" y="1614487"/>
            <a:chExt cx="381486" cy="381486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556F347-0EAF-8AE7-97BD-3F305D5043EE}"/>
                </a:ext>
              </a:extLst>
            </p:cNvPr>
            <p:cNvSpPr/>
            <p:nvPr/>
          </p:nvSpPr>
          <p:spPr>
            <a:xfrm>
              <a:off x="3137079" y="1614487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303030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C22ACC0-1542-9ECF-42AC-40F9CAE9725F}"/>
                </a:ext>
              </a:extLst>
            </p:cNvPr>
            <p:cNvSpPr/>
            <p:nvPr/>
          </p:nvSpPr>
          <p:spPr>
            <a:xfrm>
              <a:off x="3245071" y="1722771"/>
              <a:ext cx="39802" cy="165062"/>
            </a:xfrm>
            <a:custGeom>
              <a:avLst/>
              <a:gdLst>
                <a:gd name="connsiteX0" fmla="*/ 2781 w 39802"/>
                <a:gd name="connsiteY0" fmla="*/ 54729 h 165062"/>
                <a:gd name="connsiteX1" fmla="*/ 37022 w 39802"/>
                <a:gd name="connsiteY1" fmla="*/ 54729 h 165062"/>
                <a:gd name="connsiteX2" fmla="*/ 37022 w 39802"/>
                <a:gd name="connsiteY2" fmla="*/ 165063 h 165062"/>
                <a:gd name="connsiteX3" fmla="*/ 2781 w 39802"/>
                <a:gd name="connsiteY3" fmla="*/ 165063 h 165062"/>
                <a:gd name="connsiteX4" fmla="*/ 19902 w 39802"/>
                <a:gd name="connsiteY4" fmla="*/ 1 h 165062"/>
                <a:gd name="connsiteX5" fmla="*/ 39803 w 39802"/>
                <a:gd name="connsiteY5" fmla="*/ 19902 h 165062"/>
                <a:gd name="connsiteX6" fmla="*/ 19901 w 39802"/>
                <a:gd name="connsiteY6" fmla="*/ 39803 h 165062"/>
                <a:gd name="connsiteX7" fmla="*/ 0 w 39802"/>
                <a:gd name="connsiteY7" fmla="*/ 19901 h 165062"/>
                <a:gd name="connsiteX8" fmla="*/ 1 w 39802"/>
                <a:gd name="connsiteY8" fmla="*/ 19755 h 165062"/>
                <a:gd name="connsiteX9" fmla="*/ 19755 w 39802"/>
                <a:gd name="connsiteY9" fmla="*/ 0 h 165062"/>
                <a:gd name="connsiteX10" fmla="*/ 19902 w 39802"/>
                <a:gd name="connsiteY10" fmla="*/ 1 h 165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802" h="165062">
                  <a:moveTo>
                    <a:pt x="2781" y="54729"/>
                  </a:moveTo>
                  <a:lnTo>
                    <a:pt x="37022" y="54729"/>
                  </a:lnTo>
                  <a:lnTo>
                    <a:pt x="37022" y="165063"/>
                  </a:lnTo>
                  <a:lnTo>
                    <a:pt x="2781" y="165063"/>
                  </a:lnTo>
                  <a:close/>
                  <a:moveTo>
                    <a:pt x="19902" y="1"/>
                  </a:moveTo>
                  <a:cubicBezTo>
                    <a:pt x="30893" y="1"/>
                    <a:pt x="39803" y="8911"/>
                    <a:pt x="39803" y="19902"/>
                  </a:cubicBezTo>
                  <a:cubicBezTo>
                    <a:pt x="39801" y="30893"/>
                    <a:pt x="30892" y="39803"/>
                    <a:pt x="19901" y="39803"/>
                  </a:cubicBezTo>
                  <a:cubicBezTo>
                    <a:pt x="8910" y="39803"/>
                    <a:pt x="0" y="30892"/>
                    <a:pt x="0" y="19901"/>
                  </a:cubicBezTo>
                  <a:cubicBezTo>
                    <a:pt x="0" y="19853"/>
                    <a:pt x="0" y="19804"/>
                    <a:pt x="1" y="19755"/>
                  </a:cubicBezTo>
                  <a:cubicBezTo>
                    <a:pt x="0" y="8845"/>
                    <a:pt x="8845" y="0"/>
                    <a:pt x="19755" y="0"/>
                  </a:cubicBezTo>
                  <a:cubicBezTo>
                    <a:pt x="19804" y="0"/>
                    <a:pt x="19853" y="0"/>
                    <a:pt x="19902" y="1"/>
                  </a:cubicBezTo>
                </a:path>
              </a:pathLst>
            </a:custGeom>
            <a:solidFill>
              <a:srgbClr val="FFFF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4AC3DFA-9EAB-E540-8068-FAFB9A442210}"/>
                </a:ext>
              </a:extLst>
            </p:cNvPr>
            <p:cNvSpPr/>
            <p:nvPr/>
          </p:nvSpPr>
          <p:spPr>
            <a:xfrm>
              <a:off x="3303604" y="1775376"/>
              <a:ext cx="106968" cy="113189"/>
            </a:xfrm>
            <a:custGeom>
              <a:avLst/>
              <a:gdLst>
                <a:gd name="connsiteX0" fmla="*/ 0 w 106968"/>
                <a:gd name="connsiteY0" fmla="*/ 2124 h 113189"/>
                <a:gd name="connsiteX1" fmla="*/ 32925 w 106968"/>
                <a:gd name="connsiteY1" fmla="*/ 2124 h 113189"/>
                <a:gd name="connsiteX2" fmla="*/ 32925 w 106968"/>
                <a:gd name="connsiteY2" fmla="*/ 16757 h 113189"/>
                <a:gd name="connsiteX3" fmla="*/ 32925 w 106968"/>
                <a:gd name="connsiteY3" fmla="*/ 16757 h 113189"/>
                <a:gd name="connsiteX4" fmla="*/ 65849 w 106968"/>
                <a:gd name="connsiteY4" fmla="*/ 76 h 113189"/>
                <a:gd name="connsiteX5" fmla="*/ 106968 w 106968"/>
                <a:gd name="connsiteY5" fmla="*/ 52609 h 113189"/>
                <a:gd name="connsiteX6" fmla="*/ 106968 w 106968"/>
                <a:gd name="connsiteY6" fmla="*/ 113190 h 113189"/>
                <a:gd name="connsiteX7" fmla="*/ 72727 w 106968"/>
                <a:gd name="connsiteY7" fmla="*/ 113190 h 113189"/>
                <a:gd name="connsiteX8" fmla="*/ 72727 w 106968"/>
                <a:gd name="connsiteY8" fmla="*/ 58608 h 113189"/>
                <a:gd name="connsiteX9" fmla="*/ 54874 w 106968"/>
                <a:gd name="connsiteY9" fmla="*/ 29342 h 113189"/>
                <a:gd name="connsiteX10" fmla="*/ 34388 w 106968"/>
                <a:gd name="connsiteY10" fmla="*/ 57730 h 113189"/>
                <a:gd name="connsiteX11" fmla="*/ 34388 w 106968"/>
                <a:gd name="connsiteY11" fmla="*/ 112312 h 113189"/>
                <a:gd name="connsiteX12" fmla="*/ 0 w 106968"/>
                <a:gd name="connsiteY12" fmla="*/ 112312 h 113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6968" h="113189">
                  <a:moveTo>
                    <a:pt x="0" y="2124"/>
                  </a:moveTo>
                  <a:lnTo>
                    <a:pt x="32925" y="2124"/>
                  </a:lnTo>
                  <a:lnTo>
                    <a:pt x="32925" y="16757"/>
                  </a:lnTo>
                  <a:lnTo>
                    <a:pt x="32925" y="16757"/>
                  </a:lnTo>
                  <a:cubicBezTo>
                    <a:pt x="40041" y="5614"/>
                    <a:pt x="52654" y="-776"/>
                    <a:pt x="65849" y="76"/>
                  </a:cubicBezTo>
                  <a:cubicBezTo>
                    <a:pt x="100530" y="76"/>
                    <a:pt x="106968" y="22903"/>
                    <a:pt x="106968" y="52609"/>
                  </a:cubicBezTo>
                  <a:lnTo>
                    <a:pt x="106968" y="113190"/>
                  </a:lnTo>
                  <a:lnTo>
                    <a:pt x="72727" y="113190"/>
                  </a:lnTo>
                  <a:lnTo>
                    <a:pt x="72727" y="58608"/>
                  </a:lnTo>
                  <a:cubicBezTo>
                    <a:pt x="72727" y="45877"/>
                    <a:pt x="72727" y="29342"/>
                    <a:pt x="54874" y="29342"/>
                  </a:cubicBezTo>
                  <a:cubicBezTo>
                    <a:pt x="37022" y="29342"/>
                    <a:pt x="34388" y="43975"/>
                    <a:pt x="34388" y="57730"/>
                  </a:cubicBezTo>
                  <a:lnTo>
                    <a:pt x="34388" y="112312"/>
                  </a:lnTo>
                  <a:lnTo>
                    <a:pt x="0" y="112312"/>
                  </a:lnTo>
                  <a:close/>
                </a:path>
              </a:pathLst>
            </a:custGeom>
            <a:solidFill>
              <a:srgbClr val="FFFF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8" name="Graphic 6">
            <a:extLst>
              <a:ext uri="{FF2B5EF4-FFF2-40B4-BE49-F238E27FC236}">
                <a16:creationId xmlns:a16="http://schemas.microsoft.com/office/drawing/2014/main" id="{0E91B424-14E1-BCD1-DAAC-3F0C867EC737}"/>
              </a:ext>
            </a:extLst>
          </p:cNvPr>
          <p:cNvGrpSpPr/>
          <p:nvPr/>
        </p:nvGrpSpPr>
        <p:grpSpPr>
          <a:xfrm>
            <a:off x="4219933" y="1614487"/>
            <a:ext cx="381486" cy="381486"/>
            <a:chOff x="4219933" y="1614487"/>
            <a:chExt cx="381486" cy="381486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E7ABC093-49A2-6111-9B65-DD85EA741E45}"/>
                </a:ext>
              </a:extLst>
            </p:cNvPr>
            <p:cNvSpPr/>
            <p:nvPr/>
          </p:nvSpPr>
          <p:spPr>
            <a:xfrm>
              <a:off x="4219933" y="1614487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303030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ECC1706-A297-8063-1AFA-FDF77781A1D7}"/>
                </a:ext>
              </a:extLst>
            </p:cNvPr>
            <p:cNvSpPr/>
            <p:nvPr/>
          </p:nvSpPr>
          <p:spPr>
            <a:xfrm>
              <a:off x="4285645" y="1726280"/>
              <a:ext cx="155440" cy="157565"/>
            </a:xfrm>
            <a:custGeom>
              <a:avLst/>
              <a:gdLst>
                <a:gd name="connsiteX0" fmla="*/ 79156 w 155440"/>
                <a:gd name="connsiteY0" fmla="*/ 63804 h 157565"/>
                <a:gd name="connsiteX1" fmla="*/ 79156 w 155440"/>
                <a:gd name="connsiteY1" fmla="*/ 95558 h 157565"/>
                <a:gd name="connsiteX2" fmla="*/ 121446 w 155440"/>
                <a:gd name="connsiteY2" fmla="*/ 95558 h 157565"/>
                <a:gd name="connsiteX3" fmla="*/ 105934 w 155440"/>
                <a:gd name="connsiteY3" fmla="*/ 119410 h 157565"/>
                <a:gd name="connsiteX4" fmla="*/ 82960 w 155440"/>
                <a:gd name="connsiteY4" fmla="*/ 126726 h 157565"/>
                <a:gd name="connsiteX5" fmla="*/ 65986 w 155440"/>
                <a:gd name="connsiteY5" fmla="*/ 123946 h 157565"/>
                <a:gd name="connsiteX6" fmla="*/ 33354 w 155440"/>
                <a:gd name="connsiteY6" fmla="*/ 82973 h 157565"/>
                <a:gd name="connsiteX7" fmla="*/ 34378 w 155440"/>
                <a:gd name="connsiteY7" fmla="*/ 68340 h 157565"/>
                <a:gd name="connsiteX8" fmla="*/ 86326 w 155440"/>
                <a:gd name="connsiteY8" fmla="*/ 31904 h 157565"/>
                <a:gd name="connsiteX9" fmla="*/ 109446 w 155440"/>
                <a:gd name="connsiteY9" fmla="*/ 43171 h 157565"/>
                <a:gd name="connsiteX10" fmla="*/ 132274 w 155440"/>
                <a:gd name="connsiteY10" fmla="*/ 19904 h 157565"/>
                <a:gd name="connsiteX11" fmla="*/ 118373 w 155440"/>
                <a:gd name="connsiteY11" fmla="*/ 9515 h 157565"/>
                <a:gd name="connsiteX12" fmla="*/ 80619 w 155440"/>
                <a:gd name="connsiteY12" fmla="*/ 3 h 157565"/>
                <a:gd name="connsiteX13" fmla="*/ 73302 w 155440"/>
                <a:gd name="connsiteY13" fmla="*/ 3 h 157565"/>
                <a:gd name="connsiteX14" fmla="*/ 137 w 155440"/>
                <a:gd name="connsiteY14" fmla="*/ 74193 h 157565"/>
                <a:gd name="connsiteX15" fmla="*/ 1746 w 155440"/>
                <a:gd name="connsiteY15" fmla="*/ 95558 h 157565"/>
                <a:gd name="connsiteX16" fmla="*/ 33061 w 155440"/>
                <a:gd name="connsiteY16" fmla="*/ 142823 h 157565"/>
                <a:gd name="connsiteX17" fmla="*/ 75205 w 155440"/>
                <a:gd name="connsiteY17" fmla="*/ 157456 h 157565"/>
                <a:gd name="connsiteX18" fmla="*/ 101105 w 155440"/>
                <a:gd name="connsiteY18" fmla="*/ 154822 h 157565"/>
                <a:gd name="connsiteX19" fmla="*/ 139883 w 155440"/>
                <a:gd name="connsiteY19" fmla="*/ 129214 h 157565"/>
                <a:gd name="connsiteX20" fmla="*/ 153785 w 155440"/>
                <a:gd name="connsiteY20" fmla="*/ 63804 h 157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5440" h="157565">
                  <a:moveTo>
                    <a:pt x="79156" y="63804"/>
                  </a:moveTo>
                  <a:lnTo>
                    <a:pt x="79156" y="95558"/>
                  </a:lnTo>
                  <a:lnTo>
                    <a:pt x="121446" y="95558"/>
                  </a:lnTo>
                  <a:cubicBezTo>
                    <a:pt x="119738" y="105289"/>
                    <a:pt x="114136" y="113902"/>
                    <a:pt x="105934" y="119410"/>
                  </a:cubicBezTo>
                  <a:cubicBezTo>
                    <a:pt x="99058" y="123838"/>
                    <a:pt x="91130" y="126362"/>
                    <a:pt x="82960" y="126726"/>
                  </a:cubicBezTo>
                  <a:cubicBezTo>
                    <a:pt x="77172" y="126968"/>
                    <a:pt x="71395" y="126023"/>
                    <a:pt x="65986" y="123946"/>
                  </a:cubicBezTo>
                  <a:cubicBezTo>
                    <a:pt x="47843" y="118116"/>
                    <a:pt x="34977" y="101960"/>
                    <a:pt x="33354" y="82973"/>
                  </a:cubicBezTo>
                  <a:cubicBezTo>
                    <a:pt x="32852" y="78073"/>
                    <a:pt x="33199" y="73122"/>
                    <a:pt x="34378" y="68340"/>
                  </a:cubicBezTo>
                  <a:cubicBezTo>
                    <a:pt x="39509" y="44484"/>
                    <a:pt x="62148" y="28604"/>
                    <a:pt x="86326" y="31904"/>
                  </a:cubicBezTo>
                  <a:cubicBezTo>
                    <a:pt x="95002" y="33214"/>
                    <a:pt x="103069" y="37145"/>
                    <a:pt x="109446" y="43171"/>
                  </a:cubicBezTo>
                  <a:lnTo>
                    <a:pt x="132274" y="19904"/>
                  </a:lnTo>
                  <a:cubicBezTo>
                    <a:pt x="128022" y="15958"/>
                    <a:pt x="123361" y="12475"/>
                    <a:pt x="118373" y="9515"/>
                  </a:cubicBezTo>
                  <a:cubicBezTo>
                    <a:pt x="106814" y="3155"/>
                    <a:pt x="93811" y="-120"/>
                    <a:pt x="80619" y="3"/>
                  </a:cubicBezTo>
                  <a:lnTo>
                    <a:pt x="73302" y="3"/>
                  </a:lnTo>
                  <a:cubicBezTo>
                    <a:pt x="33754" y="2873"/>
                    <a:pt x="2456" y="34609"/>
                    <a:pt x="137" y="74193"/>
                  </a:cubicBezTo>
                  <a:cubicBezTo>
                    <a:pt x="-281" y="81355"/>
                    <a:pt x="260" y="88540"/>
                    <a:pt x="1746" y="95558"/>
                  </a:cubicBezTo>
                  <a:cubicBezTo>
                    <a:pt x="5899" y="114678"/>
                    <a:pt x="17074" y="131544"/>
                    <a:pt x="33061" y="142823"/>
                  </a:cubicBezTo>
                  <a:cubicBezTo>
                    <a:pt x="45352" y="151762"/>
                    <a:pt x="60019" y="156855"/>
                    <a:pt x="75205" y="157456"/>
                  </a:cubicBezTo>
                  <a:cubicBezTo>
                    <a:pt x="83922" y="157895"/>
                    <a:pt x="92655" y="157007"/>
                    <a:pt x="101105" y="154822"/>
                  </a:cubicBezTo>
                  <a:cubicBezTo>
                    <a:pt x="116631" y="151089"/>
                    <a:pt x="130354" y="142027"/>
                    <a:pt x="139883" y="129214"/>
                  </a:cubicBezTo>
                  <a:cubicBezTo>
                    <a:pt x="153339" y="110260"/>
                    <a:pt x="158368" y="86592"/>
                    <a:pt x="153785" y="63804"/>
                  </a:cubicBezTo>
                  <a:close/>
                </a:path>
              </a:pathLst>
            </a:custGeom>
            <a:solidFill>
              <a:srgbClr val="FFFF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67C8EB2-B551-6F30-FB8D-DA7A72D63537}"/>
                </a:ext>
              </a:extLst>
            </p:cNvPr>
            <p:cNvSpPr/>
            <p:nvPr/>
          </p:nvSpPr>
          <p:spPr>
            <a:xfrm>
              <a:off x="4458746" y="1762867"/>
              <a:ext cx="76677" cy="76677"/>
            </a:xfrm>
            <a:custGeom>
              <a:avLst/>
              <a:gdLst>
                <a:gd name="connsiteX0" fmla="*/ 75946 w 76677"/>
                <a:gd name="connsiteY0" fmla="*/ 27510 h 76677"/>
                <a:gd name="connsiteX1" fmla="*/ 49167 w 76677"/>
                <a:gd name="connsiteY1" fmla="*/ 27510 h 76677"/>
                <a:gd name="connsiteX2" fmla="*/ 49167 w 76677"/>
                <a:gd name="connsiteY2" fmla="*/ 732 h 76677"/>
                <a:gd name="connsiteX3" fmla="*/ 49167 w 76677"/>
                <a:gd name="connsiteY3" fmla="*/ 0 h 76677"/>
                <a:gd name="connsiteX4" fmla="*/ 48436 w 76677"/>
                <a:gd name="connsiteY4" fmla="*/ 0 h 76677"/>
                <a:gd name="connsiteX5" fmla="*/ 28388 w 76677"/>
                <a:gd name="connsiteY5" fmla="*/ 0 h 76677"/>
                <a:gd name="connsiteX6" fmla="*/ 27510 w 76677"/>
                <a:gd name="connsiteY6" fmla="*/ 0 h 76677"/>
                <a:gd name="connsiteX7" fmla="*/ 27510 w 76677"/>
                <a:gd name="connsiteY7" fmla="*/ 732 h 76677"/>
                <a:gd name="connsiteX8" fmla="*/ 27510 w 76677"/>
                <a:gd name="connsiteY8" fmla="*/ 27510 h 76677"/>
                <a:gd name="connsiteX9" fmla="*/ 878 w 76677"/>
                <a:gd name="connsiteY9" fmla="*/ 27510 h 76677"/>
                <a:gd name="connsiteX10" fmla="*/ 0 w 76677"/>
                <a:gd name="connsiteY10" fmla="*/ 27510 h 76677"/>
                <a:gd name="connsiteX11" fmla="*/ 0 w 76677"/>
                <a:gd name="connsiteY11" fmla="*/ 28388 h 76677"/>
                <a:gd name="connsiteX12" fmla="*/ 0 w 76677"/>
                <a:gd name="connsiteY12" fmla="*/ 48289 h 76677"/>
                <a:gd name="connsiteX13" fmla="*/ 0 w 76677"/>
                <a:gd name="connsiteY13" fmla="*/ 49167 h 76677"/>
                <a:gd name="connsiteX14" fmla="*/ 878 w 76677"/>
                <a:gd name="connsiteY14" fmla="*/ 49167 h 76677"/>
                <a:gd name="connsiteX15" fmla="*/ 27510 w 76677"/>
                <a:gd name="connsiteY15" fmla="*/ 49167 h 76677"/>
                <a:gd name="connsiteX16" fmla="*/ 27510 w 76677"/>
                <a:gd name="connsiteY16" fmla="*/ 75946 h 76677"/>
                <a:gd name="connsiteX17" fmla="*/ 27510 w 76677"/>
                <a:gd name="connsiteY17" fmla="*/ 76678 h 76677"/>
                <a:gd name="connsiteX18" fmla="*/ 28388 w 76677"/>
                <a:gd name="connsiteY18" fmla="*/ 76678 h 76677"/>
                <a:gd name="connsiteX19" fmla="*/ 48436 w 76677"/>
                <a:gd name="connsiteY19" fmla="*/ 76678 h 76677"/>
                <a:gd name="connsiteX20" fmla="*/ 49167 w 76677"/>
                <a:gd name="connsiteY20" fmla="*/ 76678 h 76677"/>
                <a:gd name="connsiteX21" fmla="*/ 49167 w 76677"/>
                <a:gd name="connsiteY21" fmla="*/ 75946 h 76677"/>
                <a:gd name="connsiteX22" fmla="*/ 49167 w 76677"/>
                <a:gd name="connsiteY22" fmla="*/ 49167 h 76677"/>
                <a:gd name="connsiteX23" fmla="*/ 75946 w 76677"/>
                <a:gd name="connsiteY23" fmla="*/ 49167 h 76677"/>
                <a:gd name="connsiteX24" fmla="*/ 76678 w 76677"/>
                <a:gd name="connsiteY24" fmla="*/ 49167 h 76677"/>
                <a:gd name="connsiteX25" fmla="*/ 76678 w 76677"/>
                <a:gd name="connsiteY25" fmla="*/ 48289 h 76677"/>
                <a:gd name="connsiteX26" fmla="*/ 76678 w 76677"/>
                <a:gd name="connsiteY26" fmla="*/ 28388 h 76677"/>
                <a:gd name="connsiteX27" fmla="*/ 76678 w 76677"/>
                <a:gd name="connsiteY27" fmla="*/ 27510 h 76677"/>
                <a:gd name="connsiteX28" fmla="*/ 75946 w 76677"/>
                <a:gd name="connsiteY28" fmla="*/ 27510 h 76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6677" h="76677">
                  <a:moveTo>
                    <a:pt x="75946" y="27510"/>
                  </a:moveTo>
                  <a:lnTo>
                    <a:pt x="49167" y="27510"/>
                  </a:lnTo>
                  <a:lnTo>
                    <a:pt x="49167" y="732"/>
                  </a:lnTo>
                  <a:lnTo>
                    <a:pt x="49167" y="0"/>
                  </a:lnTo>
                  <a:lnTo>
                    <a:pt x="48436" y="0"/>
                  </a:lnTo>
                  <a:lnTo>
                    <a:pt x="28388" y="0"/>
                  </a:lnTo>
                  <a:lnTo>
                    <a:pt x="27510" y="0"/>
                  </a:lnTo>
                  <a:lnTo>
                    <a:pt x="27510" y="732"/>
                  </a:lnTo>
                  <a:lnTo>
                    <a:pt x="27510" y="27510"/>
                  </a:lnTo>
                  <a:lnTo>
                    <a:pt x="878" y="27510"/>
                  </a:lnTo>
                  <a:lnTo>
                    <a:pt x="0" y="27510"/>
                  </a:lnTo>
                  <a:lnTo>
                    <a:pt x="0" y="28388"/>
                  </a:lnTo>
                  <a:lnTo>
                    <a:pt x="0" y="48289"/>
                  </a:lnTo>
                  <a:lnTo>
                    <a:pt x="0" y="49167"/>
                  </a:lnTo>
                  <a:lnTo>
                    <a:pt x="878" y="49167"/>
                  </a:lnTo>
                  <a:lnTo>
                    <a:pt x="27510" y="49167"/>
                  </a:lnTo>
                  <a:lnTo>
                    <a:pt x="27510" y="75946"/>
                  </a:lnTo>
                  <a:lnTo>
                    <a:pt x="27510" y="76678"/>
                  </a:lnTo>
                  <a:lnTo>
                    <a:pt x="28388" y="76678"/>
                  </a:lnTo>
                  <a:lnTo>
                    <a:pt x="48436" y="76678"/>
                  </a:lnTo>
                  <a:lnTo>
                    <a:pt x="49167" y="76678"/>
                  </a:lnTo>
                  <a:lnTo>
                    <a:pt x="49167" y="75946"/>
                  </a:lnTo>
                  <a:lnTo>
                    <a:pt x="49167" y="49167"/>
                  </a:lnTo>
                  <a:lnTo>
                    <a:pt x="75946" y="49167"/>
                  </a:lnTo>
                  <a:lnTo>
                    <a:pt x="76678" y="49167"/>
                  </a:lnTo>
                  <a:lnTo>
                    <a:pt x="76678" y="48289"/>
                  </a:lnTo>
                  <a:lnTo>
                    <a:pt x="76678" y="28388"/>
                  </a:lnTo>
                  <a:lnTo>
                    <a:pt x="76678" y="27510"/>
                  </a:lnTo>
                  <a:lnTo>
                    <a:pt x="75946" y="27510"/>
                  </a:lnTo>
                  <a:close/>
                </a:path>
              </a:pathLst>
            </a:custGeom>
            <a:solidFill>
              <a:srgbClr val="FFFF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26" name="Graphic 8">
            <a:extLst>
              <a:ext uri="{FF2B5EF4-FFF2-40B4-BE49-F238E27FC236}">
                <a16:creationId xmlns:a16="http://schemas.microsoft.com/office/drawing/2014/main" id="{07532E36-664C-1CBD-CD1F-4A9A4A21827B}"/>
              </a:ext>
            </a:extLst>
          </p:cNvPr>
          <p:cNvGrpSpPr/>
          <p:nvPr/>
        </p:nvGrpSpPr>
        <p:grpSpPr>
          <a:xfrm>
            <a:off x="5302788" y="1614487"/>
            <a:ext cx="381486" cy="381486"/>
            <a:chOff x="5302788" y="1614487"/>
            <a:chExt cx="381486" cy="381486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C6534C7D-59BE-3C86-16D6-E4907A52DCB7}"/>
                </a:ext>
              </a:extLst>
            </p:cNvPr>
            <p:cNvSpPr/>
            <p:nvPr/>
          </p:nvSpPr>
          <p:spPr>
            <a:xfrm>
              <a:off x="5302788" y="1614487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303030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CA08BDB2-54DA-5879-D406-5C2A09E05CB1}"/>
                </a:ext>
              </a:extLst>
            </p:cNvPr>
            <p:cNvSpPr/>
            <p:nvPr/>
          </p:nvSpPr>
          <p:spPr>
            <a:xfrm>
              <a:off x="5405220" y="1708814"/>
              <a:ext cx="184940" cy="185019"/>
            </a:xfrm>
            <a:custGeom>
              <a:avLst/>
              <a:gdLst>
                <a:gd name="connsiteX0" fmla="*/ 0 w 184940"/>
                <a:gd name="connsiteY0" fmla="*/ 185019 h 185019"/>
                <a:gd name="connsiteX1" fmla="*/ 2927 w 184940"/>
                <a:gd name="connsiteY1" fmla="*/ 174044 h 185019"/>
                <a:gd name="connsiteX2" fmla="*/ 11999 w 184940"/>
                <a:gd name="connsiteY2" fmla="*/ 140681 h 185019"/>
                <a:gd name="connsiteX3" fmla="*/ 11999 w 184940"/>
                <a:gd name="connsiteY3" fmla="*/ 135267 h 185019"/>
                <a:gd name="connsiteX4" fmla="*/ 49675 w 184940"/>
                <a:gd name="connsiteY4" fmla="*/ 10887 h 185019"/>
                <a:gd name="connsiteX5" fmla="*/ 174054 w 184940"/>
                <a:gd name="connsiteY5" fmla="*/ 48562 h 185019"/>
                <a:gd name="connsiteX6" fmla="*/ 136380 w 184940"/>
                <a:gd name="connsiteY6" fmla="*/ 172943 h 185019"/>
                <a:gd name="connsiteX7" fmla="*/ 51801 w 184940"/>
                <a:gd name="connsiteY7" fmla="*/ 174044 h 185019"/>
                <a:gd name="connsiteX8" fmla="*/ 46094 w 184940"/>
                <a:gd name="connsiteY8" fmla="*/ 174044 h 185019"/>
                <a:gd name="connsiteX9" fmla="*/ 0 w 184940"/>
                <a:gd name="connsiteY9" fmla="*/ 185019 h 185019"/>
                <a:gd name="connsiteX10" fmla="*/ 21511 w 184940"/>
                <a:gd name="connsiteY10" fmla="*/ 163948 h 185019"/>
                <a:gd name="connsiteX11" fmla="*/ 47411 w 184940"/>
                <a:gd name="connsiteY11" fmla="*/ 157070 h 185019"/>
                <a:gd name="connsiteX12" fmla="*/ 53704 w 184940"/>
                <a:gd name="connsiteY12" fmla="*/ 157948 h 185019"/>
                <a:gd name="connsiteX13" fmla="*/ 104627 w 184940"/>
                <a:gd name="connsiteY13" fmla="*/ 167606 h 185019"/>
                <a:gd name="connsiteX14" fmla="*/ 168619 w 184940"/>
                <a:gd name="connsiteY14" fmla="*/ 79805 h 185019"/>
                <a:gd name="connsiteX15" fmla="*/ 80820 w 184940"/>
                <a:gd name="connsiteY15" fmla="*/ 15813 h 185019"/>
                <a:gd name="connsiteX16" fmla="*/ 16827 w 184940"/>
                <a:gd name="connsiteY16" fmla="*/ 103614 h 185019"/>
                <a:gd name="connsiteX17" fmla="*/ 25462 w 184940"/>
                <a:gd name="connsiteY17" fmla="*/ 128828 h 185019"/>
                <a:gd name="connsiteX18" fmla="*/ 27071 w 184940"/>
                <a:gd name="connsiteY18" fmla="*/ 143461 h 185019"/>
                <a:gd name="connsiteX19" fmla="*/ 21657 w 184940"/>
                <a:gd name="connsiteY19" fmla="*/ 163948 h 185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4940" h="185019">
                  <a:moveTo>
                    <a:pt x="0" y="185019"/>
                  </a:moveTo>
                  <a:cubicBezTo>
                    <a:pt x="1024" y="181068"/>
                    <a:pt x="1902" y="177556"/>
                    <a:pt x="2927" y="174044"/>
                  </a:cubicBezTo>
                  <a:cubicBezTo>
                    <a:pt x="6000" y="162923"/>
                    <a:pt x="9073" y="151802"/>
                    <a:pt x="11999" y="140681"/>
                  </a:cubicBezTo>
                  <a:cubicBezTo>
                    <a:pt x="12580" y="138923"/>
                    <a:pt x="12580" y="137024"/>
                    <a:pt x="11999" y="135267"/>
                  </a:cubicBezTo>
                  <a:cubicBezTo>
                    <a:pt x="-11944" y="90517"/>
                    <a:pt x="4924" y="34829"/>
                    <a:pt x="49675" y="10887"/>
                  </a:cubicBezTo>
                  <a:cubicBezTo>
                    <a:pt x="94425" y="-13056"/>
                    <a:pt x="150111" y="3812"/>
                    <a:pt x="174054" y="48562"/>
                  </a:cubicBezTo>
                  <a:cubicBezTo>
                    <a:pt x="197997" y="93312"/>
                    <a:pt x="181129" y="149000"/>
                    <a:pt x="136380" y="172943"/>
                  </a:cubicBezTo>
                  <a:cubicBezTo>
                    <a:pt x="110041" y="187033"/>
                    <a:pt x="78498" y="187444"/>
                    <a:pt x="51801" y="174044"/>
                  </a:cubicBezTo>
                  <a:cubicBezTo>
                    <a:pt x="49956" y="173386"/>
                    <a:pt x="47940" y="173386"/>
                    <a:pt x="46094" y="174044"/>
                  </a:cubicBezTo>
                  <a:cubicBezTo>
                    <a:pt x="21218" y="179605"/>
                    <a:pt x="5122" y="183702"/>
                    <a:pt x="0" y="185019"/>
                  </a:cubicBezTo>
                  <a:close/>
                  <a:moveTo>
                    <a:pt x="21511" y="163948"/>
                  </a:moveTo>
                  <a:lnTo>
                    <a:pt x="47411" y="157070"/>
                  </a:lnTo>
                  <a:cubicBezTo>
                    <a:pt x="49539" y="156470"/>
                    <a:pt x="51822" y="156788"/>
                    <a:pt x="53704" y="157948"/>
                  </a:cubicBezTo>
                  <a:cubicBezTo>
                    <a:pt x="68984" y="167136"/>
                    <a:pt x="87044" y="170560"/>
                    <a:pt x="104627" y="167606"/>
                  </a:cubicBezTo>
                  <a:cubicBezTo>
                    <a:pt x="146544" y="161031"/>
                    <a:pt x="175194" y="121722"/>
                    <a:pt x="168619" y="79805"/>
                  </a:cubicBezTo>
                  <a:cubicBezTo>
                    <a:pt x="162046" y="37890"/>
                    <a:pt x="122737" y="9239"/>
                    <a:pt x="80820" y="15813"/>
                  </a:cubicBezTo>
                  <a:cubicBezTo>
                    <a:pt x="38904" y="22387"/>
                    <a:pt x="10253" y="61697"/>
                    <a:pt x="16827" y="103614"/>
                  </a:cubicBezTo>
                  <a:cubicBezTo>
                    <a:pt x="18214" y="112456"/>
                    <a:pt x="21136" y="120990"/>
                    <a:pt x="25462" y="128828"/>
                  </a:cubicBezTo>
                  <a:cubicBezTo>
                    <a:pt x="28352" y="133152"/>
                    <a:pt x="28952" y="138613"/>
                    <a:pt x="27071" y="143461"/>
                  </a:cubicBezTo>
                  <a:cubicBezTo>
                    <a:pt x="25023" y="149900"/>
                    <a:pt x="23559" y="156631"/>
                    <a:pt x="21657" y="163948"/>
                  </a:cubicBezTo>
                  <a:close/>
                </a:path>
              </a:pathLst>
            </a:custGeom>
            <a:solidFill>
              <a:srgbClr val="FFFF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19FAC52-8F44-1C8A-D92E-5DB9F370EAC5}"/>
                </a:ext>
              </a:extLst>
            </p:cNvPr>
            <p:cNvSpPr/>
            <p:nvPr/>
          </p:nvSpPr>
          <p:spPr>
            <a:xfrm>
              <a:off x="5451656" y="1758372"/>
              <a:ext cx="92875" cy="86237"/>
            </a:xfrm>
            <a:custGeom>
              <a:avLst/>
              <a:gdLst>
                <a:gd name="connsiteX0" fmla="*/ 70629 w 92875"/>
                <a:gd name="connsiteY0" fmla="*/ 86148 h 86237"/>
                <a:gd name="connsiteX1" fmla="*/ 4341 w 92875"/>
                <a:gd name="connsiteY1" fmla="*/ 37273 h 86237"/>
                <a:gd name="connsiteX2" fmla="*/ 8292 w 92875"/>
                <a:gd name="connsiteY2" fmla="*/ 2446 h 86237"/>
                <a:gd name="connsiteX3" fmla="*/ 20145 w 92875"/>
                <a:gd name="connsiteY3" fmla="*/ 690 h 86237"/>
                <a:gd name="connsiteX4" fmla="*/ 22633 w 92875"/>
                <a:gd name="connsiteY4" fmla="*/ 3617 h 86237"/>
                <a:gd name="connsiteX5" fmla="*/ 30095 w 92875"/>
                <a:gd name="connsiteY5" fmla="*/ 21469 h 86237"/>
                <a:gd name="connsiteX6" fmla="*/ 24535 w 92875"/>
                <a:gd name="connsiteY6" fmla="*/ 33176 h 86237"/>
                <a:gd name="connsiteX7" fmla="*/ 24535 w 92875"/>
                <a:gd name="connsiteY7" fmla="*/ 38298 h 86237"/>
                <a:gd name="connsiteX8" fmla="*/ 55996 w 92875"/>
                <a:gd name="connsiteY8" fmla="*/ 65223 h 86237"/>
                <a:gd name="connsiteX9" fmla="*/ 60825 w 92875"/>
                <a:gd name="connsiteY9" fmla="*/ 63906 h 86237"/>
                <a:gd name="connsiteX10" fmla="*/ 72678 w 92875"/>
                <a:gd name="connsiteY10" fmla="*/ 54101 h 86237"/>
                <a:gd name="connsiteX11" fmla="*/ 92872 w 92875"/>
                <a:gd name="connsiteY11" fmla="*/ 65515 h 86237"/>
                <a:gd name="connsiteX12" fmla="*/ 72918 w 92875"/>
                <a:gd name="connsiteY12" fmla="*/ 86234 h 86237"/>
                <a:gd name="connsiteX13" fmla="*/ 70629 w 92875"/>
                <a:gd name="connsiteY13" fmla="*/ 86148 h 8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2875" h="86237">
                  <a:moveTo>
                    <a:pt x="70629" y="86148"/>
                  </a:moveTo>
                  <a:cubicBezTo>
                    <a:pt x="41869" y="81680"/>
                    <a:pt x="17113" y="63427"/>
                    <a:pt x="4341" y="37273"/>
                  </a:cubicBezTo>
                  <a:cubicBezTo>
                    <a:pt x="-2689" y="26178"/>
                    <a:pt x="-1045" y="11684"/>
                    <a:pt x="8292" y="2446"/>
                  </a:cubicBezTo>
                  <a:cubicBezTo>
                    <a:pt x="11732" y="-7"/>
                    <a:pt x="16141" y="-660"/>
                    <a:pt x="20145" y="690"/>
                  </a:cubicBezTo>
                  <a:cubicBezTo>
                    <a:pt x="21169" y="690"/>
                    <a:pt x="22194" y="2446"/>
                    <a:pt x="22633" y="3617"/>
                  </a:cubicBezTo>
                  <a:cubicBezTo>
                    <a:pt x="25266" y="9470"/>
                    <a:pt x="27900" y="15470"/>
                    <a:pt x="30095" y="21469"/>
                  </a:cubicBezTo>
                  <a:cubicBezTo>
                    <a:pt x="31412" y="24689"/>
                    <a:pt x="29071" y="27762"/>
                    <a:pt x="24535" y="33176"/>
                  </a:cubicBezTo>
                  <a:cubicBezTo>
                    <a:pt x="23140" y="34598"/>
                    <a:pt x="23140" y="36875"/>
                    <a:pt x="24535" y="38298"/>
                  </a:cubicBezTo>
                  <a:cubicBezTo>
                    <a:pt x="31711" y="50543"/>
                    <a:pt x="42790" y="60025"/>
                    <a:pt x="55996" y="65223"/>
                  </a:cubicBezTo>
                  <a:cubicBezTo>
                    <a:pt x="57714" y="65989"/>
                    <a:pt x="59735" y="65438"/>
                    <a:pt x="60825" y="63906"/>
                  </a:cubicBezTo>
                  <a:cubicBezTo>
                    <a:pt x="68142" y="54833"/>
                    <a:pt x="68873" y="52345"/>
                    <a:pt x="72678" y="54101"/>
                  </a:cubicBezTo>
                  <a:cubicBezTo>
                    <a:pt x="91262" y="63028"/>
                    <a:pt x="92725" y="63320"/>
                    <a:pt x="92872" y="65515"/>
                  </a:cubicBezTo>
                  <a:cubicBezTo>
                    <a:pt x="93082" y="76746"/>
                    <a:pt x="84149" y="86022"/>
                    <a:pt x="72918" y="86234"/>
                  </a:cubicBezTo>
                  <a:cubicBezTo>
                    <a:pt x="72154" y="86249"/>
                    <a:pt x="71390" y="86220"/>
                    <a:pt x="70629" y="86148"/>
                  </a:cubicBezTo>
                  <a:close/>
                </a:path>
              </a:pathLst>
            </a:custGeom>
            <a:solidFill>
              <a:srgbClr val="FFFF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34" name="Graphic 10">
            <a:extLst>
              <a:ext uri="{FF2B5EF4-FFF2-40B4-BE49-F238E27FC236}">
                <a16:creationId xmlns:a16="http://schemas.microsoft.com/office/drawing/2014/main" id="{53676BAC-B318-90A3-7C9B-4D62BBB428D0}"/>
              </a:ext>
            </a:extLst>
          </p:cNvPr>
          <p:cNvGrpSpPr/>
          <p:nvPr/>
        </p:nvGrpSpPr>
        <p:grpSpPr>
          <a:xfrm>
            <a:off x="6385642" y="1614487"/>
            <a:ext cx="381486" cy="381486"/>
            <a:chOff x="6385642" y="1614487"/>
            <a:chExt cx="381486" cy="381486"/>
          </a:xfrm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2B97422B-4DAE-6ECB-0A7F-221881FBA695}"/>
                </a:ext>
              </a:extLst>
            </p:cNvPr>
            <p:cNvSpPr/>
            <p:nvPr/>
          </p:nvSpPr>
          <p:spPr>
            <a:xfrm>
              <a:off x="6385642" y="1614487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303030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122C182E-273C-4941-EF14-8458184F7B59}"/>
                </a:ext>
              </a:extLst>
            </p:cNvPr>
            <p:cNvSpPr/>
            <p:nvPr/>
          </p:nvSpPr>
          <p:spPr>
            <a:xfrm>
              <a:off x="6507265" y="1716251"/>
              <a:ext cx="146495" cy="190470"/>
            </a:xfrm>
            <a:custGeom>
              <a:avLst/>
              <a:gdLst>
                <a:gd name="connsiteX0" fmla="*/ 60705 w 146495"/>
                <a:gd name="connsiteY0" fmla="*/ 124318 h 190470"/>
                <a:gd name="connsiteX1" fmla="*/ 60705 w 146495"/>
                <a:gd name="connsiteY1" fmla="*/ 125781 h 190470"/>
                <a:gd name="connsiteX2" fmla="*/ 46072 w 146495"/>
                <a:gd name="connsiteY2" fmla="*/ 172022 h 190470"/>
                <a:gd name="connsiteX3" fmla="*/ 34512 w 146495"/>
                <a:gd name="connsiteY3" fmla="*/ 189289 h 190470"/>
                <a:gd name="connsiteX4" fmla="*/ 32610 w 146495"/>
                <a:gd name="connsiteY4" fmla="*/ 190460 h 190470"/>
                <a:gd name="connsiteX5" fmla="*/ 31439 w 146495"/>
                <a:gd name="connsiteY5" fmla="*/ 188411 h 190470"/>
                <a:gd name="connsiteX6" fmla="*/ 29829 w 146495"/>
                <a:gd name="connsiteY6" fmla="*/ 163388 h 190470"/>
                <a:gd name="connsiteX7" fmla="*/ 45779 w 146495"/>
                <a:gd name="connsiteY7" fmla="*/ 89344 h 190470"/>
                <a:gd name="connsiteX8" fmla="*/ 45779 w 146495"/>
                <a:gd name="connsiteY8" fmla="*/ 87003 h 190470"/>
                <a:gd name="connsiteX9" fmla="*/ 44755 w 146495"/>
                <a:gd name="connsiteY9" fmla="*/ 59200 h 190470"/>
                <a:gd name="connsiteX10" fmla="*/ 78119 w 146495"/>
                <a:gd name="connsiteY10" fmla="*/ 54079 h 190470"/>
                <a:gd name="connsiteX11" fmla="*/ 68900 w 146495"/>
                <a:gd name="connsiteY11" fmla="*/ 97978 h 190470"/>
                <a:gd name="connsiteX12" fmla="*/ 100800 w 146495"/>
                <a:gd name="connsiteY12" fmla="*/ 114074 h 190470"/>
                <a:gd name="connsiteX13" fmla="*/ 120848 w 146495"/>
                <a:gd name="connsiteY13" fmla="*/ 57590 h 190470"/>
                <a:gd name="connsiteX14" fmla="*/ 51340 w 146495"/>
                <a:gd name="connsiteY14" fmla="*/ 23934 h 190470"/>
                <a:gd name="connsiteX15" fmla="*/ 28073 w 146495"/>
                <a:gd name="connsiteY15" fmla="*/ 91978 h 190470"/>
                <a:gd name="connsiteX16" fmla="*/ 30561 w 146495"/>
                <a:gd name="connsiteY16" fmla="*/ 97685 h 190470"/>
                <a:gd name="connsiteX17" fmla="*/ 27927 w 146495"/>
                <a:gd name="connsiteY17" fmla="*/ 107782 h 190470"/>
                <a:gd name="connsiteX18" fmla="*/ 23925 w 146495"/>
                <a:gd name="connsiteY18" fmla="*/ 110723 h 190470"/>
                <a:gd name="connsiteX19" fmla="*/ 22659 w 146495"/>
                <a:gd name="connsiteY19" fmla="*/ 110270 h 190470"/>
                <a:gd name="connsiteX20" fmla="*/ 10075 w 146495"/>
                <a:gd name="connsiteY20" fmla="*/ 100905 h 190470"/>
                <a:gd name="connsiteX21" fmla="*/ 10075 w 146495"/>
                <a:gd name="connsiteY21" fmla="*/ 34616 h 190470"/>
                <a:gd name="connsiteX22" fmla="*/ 86021 w 146495"/>
                <a:gd name="connsiteY22" fmla="*/ 668 h 190470"/>
                <a:gd name="connsiteX23" fmla="*/ 145870 w 146495"/>
                <a:gd name="connsiteY23" fmla="*/ 54371 h 190470"/>
                <a:gd name="connsiteX24" fmla="*/ 129481 w 146495"/>
                <a:gd name="connsiteY24" fmla="*/ 117733 h 190470"/>
                <a:gd name="connsiteX25" fmla="*/ 63778 w 146495"/>
                <a:gd name="connsiteY25" fmla="*/ 128561 h 190470"/>
                <a:gd name="connsiteX26" fmla="*/ 60705 w 146495"/>
                <a:gd name="connsiteY26" fmla="*/ 124318 h 19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46495" h="190470">
                  <a:moveTo>
                    <a:pt x="60705" y="124318"/>
                  </a:moveTo>
                  <a:lnTo>
                    <a:pt x="60705" y="125781"/>
                  </a:lnTo>
                  <a:cubicBezTo>
                    <a:pt x="58161" y="141838"/>
                    <a:pt x="53228" y="157424"/>
                    <a:pt x="46072" y="172022"/>
                  </a:cubicBezTo>
                  <a:cubicBezTo>
                    <a:pt x="42628" y="178042"/>
                    <a:pt x="38766" y="183812"/>
                    <a:pt x="34512" y="189289"/>
                  </a:cubicBezTo>
                  <a:cubicBezTo>
                    <a:pt x="34512" y="189289"/>
                    <a:pt x="33634" y="190606"/>
                    <a:pt x="32610" y="190460"/>
                  </a:cubicBezTo>
                  <a:cubicBezTo>
                    <a:pt x="31585" y="190313"/>
                    <a:pt x="31439" y="189289"/>
                    <a:pt x="31439" y="188411"/>
                  </a:cubicBezTo>
                  <a:cubicBezTo>
                    <a:pt x="30238" y="180126"/>
                    <a:pt x="29701" y="171758"/>
                    <a:pt x="29829" y="163388"/>
                  </a:cubicBezTo>
                  <a:cubicBezTo>
                    <a:pt x="29829" y="152413"/>
                    <a:pt x="31585" y="148755"/>
                    <a:pt x="45779" y="89344"/>
                  </a:cubicBezTo>
                  <a:cubicBezTo>
                    <a:pt x="45999" y="88579"/>
                    <a:pt x="45999" y="87768"/>
                    <a:pt x="45779" y="87003"/>
                  </a:cubicBezTo>
                  <a:cubicBezTo>
                    <a:pt x="42301" y="78119"/>
                    <a:pt x="41940" y="68317"/>
                    <a:pt x="44755" y="59200"/>
                  </a:cubicBezTo>
                  <a:cubicBezTo>
                    <a:pt x="51047" y="39006"/>
                    <a:pt x="74021" y="37397"/>
                    <a:pt x="78119" y="54079"/>
                  </a:cubicBezTo>
                  <a:cubicBezTo>
                    <a:pt x="80460" y="64468"/>
                    <a:pt x="74021" y="77931"/>
                    <a:pt x="68900" y="97978"/>
                  </a:cubicBezTo>
                  <a:cubicBezTo>
                    <a:pt x="64803" y="114367"/>
                    <a:pt x="84265" y="126074"/>
                    <a:pt x="100800" y="114074"/>
                  </a:cubicBezTo>
                  <a:cubicBezTo>
                    <a:pt x="117336" y="102075"/>
                    <a:pt x="122018" y="76467"/>
                    <a:pt x="120848" y="57590"/>
                  </a:cubicBezTo>
                  <a:cubicBezTo>
                    <a:pt x="118653" y="19983"/>
                    <a:pt x="76948" y="11935"/>
                    <a:pt x="51340" y="23934"/>
                  </a:cubicBezTo>
                  <a:cubicBezTo>
                    <a:pt x="21342" y="37836"/>
                    <a:pt x="14611" y="75004"/>
                    <a:pt x="28073" y="91978"/>
                  </a:cubicBezTo>
                  <a:cubicBezTo>
                    <a:pt x="29829" y="94173"/>
                    <a:pt x="31146" y="95490"/>
                    <a:pt x="30561" y="97685"/>
                  </a:cubicBezTo>
                  <a:cubicBezTo>
                    <a:pt x="29976" y="99880"/>
                    <a:pt x="28951" y="104417"/>
                    <a:pt x="27927" y="107782"/>
                  </a:cubicBezTo>
                  <a:cubicBezTo>
                    <a:pt x="27634" y="109699"/>
                    <a:pt x="25842" y="111016"/>
                    <a:pt x="23925" y="110723"/>
                  </a:cubicBezTo>
                  <a:cubicBezTo>
                    <a:pt x="23478" y="110655"/>
                    <a:pt x="23048" y="110501"/>
                    <a:pt x="22659" y="110270"/>
                  </a:cubicBezTo>
                  <a:cubicBezTo>
                    <a:pt x="17753" y="108239"/>
                    <a:pt x="13429" y="105021"/>
                    <a:pt x="10075" y="100905"/>
                  </a:cubicBezTo>
                  <a:cubicBezTo>
                    <a:pt x="-3358" y="80850"/>
                    <a:pt x="-3358" y="54671"/>
                    <a:pt x="10075" y="34616"/>
                  </a:cubicBezTo>
                  <a:cubicBezTo>
                    <a:pt x="26993" y="9920"/>
                    <a:pt x="56336" y="-3196"/>
                    <a:pt x="86021" y="668"/>
                  </a:cubicBezTo>
                  <a:cubicBezTo>
                    <a:pt x="115960" y="2642"/>
                    <a:pt x="140675" y="24819"/>
                    <a:pt x="145870" y="54371"/>
                  </a:cubicBezTo>
                  <a:cubicBezTo>
                    <a:pt x="148523" y="76798"/>
                    <a:pt x="142676" y="99405"/>
                    <a:pt x="129481" y="117733"/>
                  </a:cubicBezTo>
                  <a:cubicBezTo>
                    <a:pt x="110019" y="141877"/>
                    <a:pt x="78411" y="143487"/>
                    <a:pt x="63778" y="128561"/>
                  </a:cubicBezTo>
                  <a:cubicBezTo>
                    <a:pt x="62754" y="127098"/>
                    <a:pt x="61876" y="125781"/>
                    <a:pt x="60705" y="124318"/>
                  </a:cubicBezTo>
                  <a:close/>
                </a:path>
              </a:pathLst>
            </a:custGeom>
            <a:solidFill>
              <a:srgbClr val="FFFF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40" name="Graphic 12">
            <a:extLst>
              <a:ext uri="{FF2B5EF4-FFF2-40B4-BE49-F238E27FC236}">
                <a16:creationId xmlns:a16="http://schemas.microsoft.com/office/drawing/2014/main" id="{03BC8ABC-727B-31AD-289B-1CE2748B0F57}"/>
              </a:ext>
            </a:extLst>
          </p:cNvPr>
          <p:cNvGrpSpPr/>
          <p:nvPr/>
        </p:nvGrpSpPr>
        <p:grpSpPr>
          <a:xfrm>
            <a:off x="7468496" y="1614487"/>
            <a:ext cx="381486" cy="381486"/>
            <a:chOff x="7468496" y="1614487"/>
            <a:chExt cx="381486" cy="381486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C091E49-AD12-A1B6-EFAE-BD116A69CA7F}"/>
                </a:ext>
              </a:extLst>
            </p:cNvPr>
            <p:cNvSpPr/>
            <p:nvPr/>
          </p:nvSpPr>
          <p:spPr>
            <a:xfrm>
              <a:off x="7468496" y="1614487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303030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15443010-2CA5-3D52-A50C-CC62EDE7BF9E}"/>
                </a:ext>
              </a:extLst>
            </p:cNvPr>
            <p:cNvSpPr/>
            <p:nvPr/>
          </p:nvSpPr>
          <p:spPr>
            <a:xfrm>
              <a:off x="7564337" y="1707792"/>
              <a:ext cx="189794" cy="189830"/>
            </a:xfrm>
            <a:custGeom>
              <a:avLst/>
              <a:gdLst>
                <a:gd name="connsiteX0" fmla="*/ 188188 w 189794"/>
                <a:gd name="connsiteY0" fmla="*/ 48051 h 189830"/>
                <a:gd name="connsiteX1" fmla="*/ 172823 w 189794"/>
                <a:gd name="connsiteY1" fmla="*/ 15711 h 189830"/>
                <a:gd name="connsiteX2" fmla="*/ 138142 w 189794"/>
                <a:gd name="connsiteY2" fmla="*/ 1078 h 189830"/>
                <a:gd name="connsiteX3" fmla="*/ 44344 w 189794"/>
                <a:gd name="connsiteY3" fmla="*/ 2249 h 189830"/>
                <a:gd name="connsiteX4" fmla="*/ 3224 w 189794"/>
                <a:gd name="connsiteY4" fmla="*/ 39417 h 189830"/>
                <a:gd name="connsiteX5" fmla="*/ 2200 w 189794"/>
                <a:gd name="connsiteY5" fmla="*/ 145946 h 189830"/>
                <a:gd name="connsiteX6" fmla="*/ 40393 w 189794"/>
                <a:gd name="connsiteY6" fmla="*/ 187358 h 189830"/>
                <a:gd name="connsiteX7" fmla="*/ 145312 w 189794"/>
                <a:gd name="connsiteY7" fmla="*/ 187358 h 189830"/>
                <a:gd name="connsiteX8" fmla="*/ 186871 w 189794"/>
                <a:gd name="connsiteY8" fmla="*/ 149458 h 189830"/>
                <a:gd name="connsiteX9" fmla="*/ 188188 w 189794"/>
                <a:gd name="connsiteY9" fmla="*/ 48051 h 189830"/>
                <a:gd name="connsiteX10" fmla="*/ 170774 w 189794"/>
                <a:gd name="connsiteY10" fmla="*/ 142873 h 189830"/>
                <a:gd name="connsiteX11" fmla="*/ 140630 w 189794"/>
                <a:gd name="connsiteY11" fmla="*/ 172140 h 189830"/>
                <a:gd name="connsiteX12" fmla="*/ 42734 w 189794"/>
                <a:gd name="connsiteY12" fmla="*/ 170091 h 189830"/>
                <a:gd name="connsiteX13" fmla="*/ 19175 w 189794"/>
                <a:gd name="connsiteY13" fmla="*/ 143312 h 189830"/>
                <a:gd name="connsiteX14" fmla="*/ 19175 w 189794"/>
                <a:gd name="connsiteY14" fmla="*/ 47612 h 189830"/>
                <a:gd name="connsiteX15" fmla="*/ 49173 w 189794"/>
                <a:gd name="connsiteY15" fmla="*/ 18345 h 189830"/>
                <a:gd name="connsiteX16" fmla="*/ 142532 w 189794"/>
                <a:gd name="connsiteY16" fmla="*/ 18345 h 189830"/>
                <a:gd name="connsiteX17" fmla="*/ 171798 w 189794"/>
                <a:gd name="connsiteY17" fmla="*/ 48490 h 189830"/>
                <a:gd name="connsiteX18" fmla="*/ 170774 w 189794"/>
                <a:gd name="connsiteY18" fmla="*/ 142873 h 189830"/>
                <a:gd name="connsiteX19" fmla="*/ 94389 w 189794"/>
                <a:gd name="connsiteY19" fmla="*/ 46734 h 189830"/>
                <a:gd name="connsiteX20" fmla="*/ 45807 w 189794"/>
                <a:gd name="connsiteY20" fmla="*/ 95316 h 189830"/>
                <a:gd name="connsiteX21" fmla="*/ 94389 w 189794"/>
                <a:gd name="connsiteY21" fmla="*/ 143898 h 189830"/>
                <a:gd name="connsiteX22" fmla="*/ 142971 w 189794"/>
                <a:gd name="connsiteY22" fmla="*/ 95316 h 189830"/>
                <a:gd name="connsiteX23" fmla="*/ 94389 w 189794"/>
                <a:gd name="connsiteY23" fmla="*/ 46734 h 189830"/>
                <a:gd name="connsiteX24" fmla="*/ 94389 w 189794"/>
                <a:gd name="connsiteY24" fmla="*/ 126192 h 189830"/>
                <a:gd name="connsiteX25" fmla="*/ 63223 w 189794"/>
                <a:gd name="connsiteY25" fmla="*/ 94438 h 189830"/>
                <a:gd name="connsiteX26" fmla="*/ 94977 w 189794"/>
                <a:gd name="connsiteY26" fmla="*/ 63272 h 189830"/>
                <a:gd name="connsiteX27" fmla="*/ 126143 w 189794"/>
                <a:gd name="connsiteY27" fmla="*/ 95023 h 189830"/>
                <a:gd name="connsiteX28" fmla="*/ 94392 w 189794"/>
                <a:gd name="connsiteY28" fmla="*/ 126192 h 189830"/>
                <a:gd name="connsiteX29" fmla="*/ 94389 w 189794"/>
                <a:gd name="connsiteY29" fmla="*/ 126192 h 189830"/>
                <a:gd name="connsiteX30" fmla="*/ 156726 w 189794"/>
                <a:gd name="connsiteY30" fmla="*/ 44246 h 189830"/>
                <a:gd name="connsiteX31" fmla="*/ 145312 w 189794"/>
                <a:gd name="connsiteY31" fmla="*/ 55660 h 189830"/>
                <a:gd name="connsiteX32" fmla="*/ 133899 w 189794"/>
                <a:gd name="connsiteY32" fmla="*/ 44246 h 189830"/>
                <a:gd name="connsiteX33" fmla="*/ 145312 w 189794"/>
                <a:gd name="connsiteY33" fmla="*/ 32832 h 189830"/>
                <a:gd name="connsiteX34" fmla="*/ 156887 w 189794"/>
                <a:gd name="connsiteY34" fmla="*/ 44083 h 189830"/>
                <a:gd name="connsiteX35" fmla="*/ 156873 w 189794"/>
                <a:gd name="connsiteY35" fmla="*/ 44831 h 18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89794" h="189830">
                  <a:moveTo>
                    <a:pt x="188188" y="48051"/>
                  </a:moveTo>
                  <a:cubicBezTo>
                    <a:pt x="187229" y="35745"/>
                    <a:pt x="181758" y="24228"/>
                    <a:pt x="172823" y="15711"/>
                  </a:cubicBezTo>
                  <a:cubicBezTo>
                    <a:pt x="163482" y="6694"/>
                    <a:pt x="151119" y="1477"/>
                    <a:pt x="138142" y="1078"/>
                  </a:cubicBezTo>
                  <a:cubicBezTo>
                    <a:pt x="106886" y="-679"/>
                    <a:pt x="75546" y="-288"/>
                    <a:pt x="44344" y="2249"/>
                  </a:cubicBezTo>
                  <a:cubicBezTo>
                    <a:pt x="24107" y="4588"/>
                    <a:pt x="7589" y="19519"/>
                    <a:pt x="3224" y="39417"/>
                  </a:cubicBezTo>
                  <a:cubicBezTo>
                    <a:pt x="-700" y="74802"/>
                    <a:pt x="-1043" y="110493"/>
                    <a:pt x="2200" y="145946"/>
                  </a:cubicBezTo>
                  <a:cubicBezTo>
                    <a:pt x="4683" y="166535"/>
                    <a:pt x="20071" y="183221"/>
                    <a:pt x="40393" y="187358"/>
                  </a:cubicBezTo>
                  <a:cubicBezTo>
                    <a:pt x="75288" y="190655"/>
                    <a:pt x="110417" y="190655"/>
                    <a:pt x="145312" y="187358"/>
                  </a:cubicBezTo>
                  <a:cubicBezTo>
                    <a:pt x="165932" y="185103"/>
                    <a:pt x="182731" y="169782"/>
                    <a:pt x="186871" y="149458"/>
                  </a:cubicBezTo>
                  <a:cubicBezTo>
                    <a:pt x="190264" y="115758"/>
                    <a:pt x="190704" y="81827"/>
                    <a:pt x="188188" y="48051"/>
                  </a:cubicBezTo>
                  <a:close/>
                  <a:moveTo>
                    <a:pt x="170774" y="142873"/>
                  </a:moveTo>
                  <a:cubicBezTo>
                    <a:pt x="169353" y="158745"/>
                    <a:pt x="156536" y="171189"/>
                    <a:pt x="140630" y="172140"/>
                  </a:cubicBezTo>
                  <a:cubicBezTo>
                    <a:pt x="107999" y="174247"/>
                    <a:pt x="75247" y="173562"/>
                    <a:pt x="42734" y="170091"/>
                  </a:cubicBezTo>
                  <a:cubicBezTo>
                    <a:pt x="29998" y="167062"/>
                    <a:pt x="20557" y="156330"/>
                    <a:pt x="19175" y="143312"/>
                  </a:cubicBezTo>
                  <a:cubicBezTo>
                    <a:pt x="16687" y="111460"/>
                    <a:pt x="16687" y="79464"/>
                    <a:pt x="19175" y="47612"/>
                  </a:cubicBezTo>
                  <a:cubicBezTo>
                    <a:pt x="20526" y="31764"/>
                    <a:pt x="33296" y="19305"/>
                    <a:pt x="49173" y="18345"/>
                  </a:cubicBezTo>
                  <a:cubicBezTo>
                    <a:pt x="80253" y="16149"/>
                    <a:pt x="111451" y="16149"/>
                    <a:pt x="142532" y="18345"/>
                  </a:cubicBezTo>
                  <a:cubicBezTo>
                    <a:pt x="158403" y="19766"/>
                    <a:pt x="170847" y="32583"/>
                    <a:pt x="171798" y="48490"/>
                  </a:cubicBezTo>
                  <a:cubicBezTo>
                    <a:pt x="173556" y="79939"/>
                    <a:pt x="173213" y="111469"/>
                    <a:pt x="170774" y="142873"/>
                  </a:cubicBezTo>
                  <a:close/>
                  <a:moveTo>
                    <a:pt x="94389" y="46734"/>
                  </a:moveTo>
                  <a:cubicBezTo>
                    <a:pt x="67558" y="46734"/>
                    <a:pt x="45807" y="68484"/>
                    <a:pt x="45807" y="95316"/>
                  </a:cubicBezTo>
                  <a:cubicBezTo>
                    <a:pt x="45807" y="122147"/>
                    <a:pt x="67558" y="143898"/>
                    <a:pt x="94389" y="143898"/>
                  </a:cubicBezTo>
                  <a:cubicBezTo>
                    <a:pt x="121220" y="143898"/>
                    <a:pt x="142971" y="122147"/>
                    <a:pt x="142971" y="95316"/>
                  </a:cubicBezTo>
                  <a:cubicBezTo>
                    <a:pt x="142971" y="68484"/>
                    <a:pt x="121220" y="46734"/>
                    <a:pt x="94389" y="46734"/>
                  </a:cubicBezTo>
                  <a:close/>
                  <a:moveTo>
                    <a:pt x="94389" y="126192"/>
                  </a:moveTo>
                  <a:cubicBezTo>
                    <a:pt x="77014" y="126029"/>
                    <a:pt x="63061" y="111813"/>
                    <a:pt x="63223" y="94438"/>
                  </a:cubicBezTo>
                  <a:cubicBezTo>
                    <a:pt x="63386" y="77062"/>
                    <a:pt x="77602" y="63110"/>
                    <a:pt x="94977" y="63272"/>
                  </a:cubicBezTo>
                  <a:cubicBezTo>
                    <a:pt x="112351" y="63434"/>
                    <a:pt x="126304" y="77649"/>
                    <a:pt x="126143" y="95023"/>
                  </a:cubicBezTo>
                  <a:cubicBezTo>
                    <a:pt x="125982" y="112398"/>
                    <a:pt x="111766" y="126353"/>
                    <a:pt x="94392" y="126192"/>
                  </a:cubicBezTo>
                  <a:cubicBezTo>
                    <a:pt x="94390" y="126192"/>
                    <a:pt x="94390" y="126192"/>
                    <a:pt x="94389" y="126192"/>
                  </a:cubicBezTo>
                  <a:close/>
                  <a:moveTo>
                    <a:pt x="156726" y="44246"/>
                  </a:moveTo>
                  <a:cubicBezTo>
                    <a:pt x="156726" y="50550"/>
                    <a:pt x="151616" y="55660"/>
                    <a:pt x="145312" y="55660"/>
                  </a:cubicBezTo>
                  <a:cubicBezTo>
                    <a:pt x="139008" y="55660"/>
                    <a:pt x="133899" y="50550"/>
                    <a:pt x="133899" y="44246"/>
                  </a:cubicBezTo>
                  <a:cubicBezTo>
                    <a:pt x="133899" y="37942"/>
                    <a:pt x="139008" y="32832"/>
                    <a:pt x="145312" y="32832"/>
                  </a:cubicBezTo>
                  <a:cubicBezTo>
                    <a:pt x="151615" y="32743"/>
                    <a:pt x="156798" y="37780"/>
                    <a:pt x="156887" y="44083"/>
                  </a:cubicBezTo>
                  <a:cubicBezTo>
                    <a:pt x="156890" y="44333"/>
                    <a:pt x="156886" y="44582"/>
                    <a:pt x="156873" y="44831"/>
                  </a:cubicBezTo>
                  <a:close/>
                </a:path>
              </a:pathLst>
            </a:custGeom>
            <a:solidFill>
              <a:srgbClr val="FFFF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85865BD-BFB2-9DA0-B0ED-970201B68B92}"/>
                </a:ext>
              </a:extLst>
            </p:cNvPr>
            <p:cNvSpPr/>
            <p:nvPr/>
          </p:nvSpPr>
          <p:spPr>
            <a:xfrm>
              <a:off x="7564337" y="1707792"/>
              <a:ext cx="189794" cy="189830"/>
            </a:xfrm>
            <a:custGeom>
              <a:avLst/>
              <a:gdLst>
                <a:gd name="connsiteX0" fmla="*/ 188188 w 189794"/>
                <a:gd name="connsiteY0" fmla="*/ 48051 h 189830"/>
                <a:gd name="connsiteX1" fmla="*/ 172823 w 189794"/>
                <a:gd name="connsiteY1" fmla="*/ 15711 h 189830"/>
                <a:gd name="connsiteX2" fmla="*/ 138142 w 189794"/>
                <a:gd name="connsiteY2" fmla="*/ 1078 h 189830"/>
                <a:gd name="connsiteX3" fmla="*/ 44344 w 189794"/>
                <a:gd name="connsiteY3" fmla="*/ 2249 h 189830"/>
                <a:gd name="connsiteX4" fmla="*/ 3224 w 189794"/>
                <a:gd name="connsiteY4" fmla="*/ 39417 h 189830"/>
                <a:gd name="connsiteX5" fmla="*/ 2200 w 189794"/>
                <a:gd name="connsiteY5" fmla="*/ 145946 h 189830"/>
                <a:gd name="connsiteX6" fmla="*/ 40393 w 189794"/>
                <a:gd name="connsiteY6" fmla="*/ 187358 h 189830"/>
                <a:gd name="connsiteX7" fmla="*/ 145312 w 189794"/>
                <a:gd name="connsiteY7" fmla="*/ 187358 h 189830"/>
                <a:gd name="connsiteX8" fmla="*/ 186871 w 189794"/>
                <a:gd name="connsiteY8" fmla="*/ 149458 h 189830"/>
                <a:gd name="connsiteX9" fmla="*/ 188188 w 189794"/>
                <a:gd name="connsiteY9" fmla="*/ 48051 h 189830"/>
                <a:gd name="connsiteX10" fmla="*/ 170774 w 189794"/>
                <a:gd name="connsiteY10" fmla="*/ 142873 h 189830"/>
                <a:gd name="connsiteX11" fmla="*/ 140630 w 189794"/>
                <a:gd name="connsiteY11" fmla="*/ 172140 h 189830"/>
                <a:gd name="connsiteX12" fmla="*/ 42734 w 189794"/>
                <a:gd name="connsiteY12" fmla="*/ 170091 h 189830"/>
                <a:gd name="connsiteX13" fmla="*/ 19175 w 189794"/>
                <a:gd name="connsiteY13" fmla="*/ 143312 h 189830"/>
                <a:gd name="connsiteX14" fmla="*/ 19175 w 189794"/>
                <a:gd name="connsiteY14" fmla="*/ 47612 h 189830"/>
                <a:gd name="connsiteX15" fmla="*/ 49173 w 189794"/>
                <a:gd name="connsiteY15" fmla="*/ 18345 h 189830"/>
                <a:gd name="connsiteX16" fmla="*/ 142532 w 189794"/>
                <a:gd name="connsiteY16" fmla="*/ 18345 h 189830"/>
                <a:gd name="connsiteX17" fmla="*/ 171798 w 189794"/>
                <a:gd name="connsiteY17" fmla="*/ 48490 h 189830"/>
                <a:gd name="connsiteX18" fmla="*/ 170774 w 189794"/>
                <a:gd name="connsiteY18" fmla="*/ 142873 h 189830"/>
                <a:gd name="connsiteX19" fmla="*/ 94389 w 189794"/>
                <a:gd name="connsiteY19" fmla="*/ 46734 h 189830"/>
                <a:gd name="connsiteX20" fmla="*/ 45807 w 189794"/>
                <a:gd name="connsiteY20" fmla="*/ 95316 h 189830"/>
                <a:gd name="connsiteX21" fmla="*/ 94389 w 189794"/>
                <a:gd name="connsiteY21" fmla="*/ 143898 h 189830"/>
                <a:gd name="connsiteX22" fmla="*/ 142971 w 189794"/>
                <a:gd name="connsiteY22" fmla="*/ 95316 h 189830"/>
                <a:gd name="connsiteX23" fmla="*/ 94389 w 189794"/>
                <a:gd name="connsiteY23" fmla="*/ 46734 h 189830"/>
                <a:gd name="connsiteX24" fmla="*/ 94389 w 189794"/>
                <a:gd name="connsiteY24" fmla="*/ 126192 h 189830"/>
                <a:gd name="connsiteX25" fmla="*/ 63223 w 189794"/>
                <a:gd name="connsiteY25" fmla="*/ 94438 h 189830"/>
                <a:gd name="connsiteX26" fmla="*/ 94977 w 189794"/>
                <a:gd name="connsiteY26" fmla="*/ 63272 h 189830"/>
                <a:gd name="connsiteX27" fmla="*/ 126143 w 189794"/>
                <a:gd name="connsiteY27" fmla="*/ 95023 h 189830"/>
                <a:gd name="connsiteX28" fmla="*/ 94392 w 189794"/>
                <a:gd name="connsiteY28" fmla="*/ 126192 h 189830"/>
                <a:gd name="connsiteX29" fmla="*/ 94389 w 189794"/>
                <a:gd name="connsiteY29" fmla="*/ 126192 h 189830"/>
                <a:gd name="connsiteX30" fmla="*/ 156726 w 189794"/>
                <a:gd name="connsiteY30" fmla="*/ 44246 h 189830"/>
                <a:gd name="connsiteX31" fmla="*/ 145312 w 189794"/>
                <a:gd name="connsiteY31" fmla="*/ 55660 h 189830"/>
                <a:gd name="connsiteX32" fmla="*/ 133899 w 189794"/>
                <a:gd name="connsiteY32" fmla="*/ 44246 h 189830"/>
                <a:gd name="connsiteX33" fmla="*/ 145312 w 189794"/>
                <a:gd name="connsiteY33" fmla="*/ 32832 h 189830"/>
                <a:gd name="connsiteX34" fmla="*/ 156887 w 189794"/>
                <a:gd name="connsiteY34" fmla="*/ 44083 h 189830"/>
                <a:gd name="connsiteX35" fmla="*/ 156873 w 189794"/>
                <a:gd name="connsiteY35" fmla="*/ 44831 h 18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89794" h="189830">
                  <a:moveTo>
                    <a:pt x="188188" y="48051"/>
                  </a:moveTo>
                  <a:cubicBezTo>
                    <a:pt x="187229" y="35745"/>
                    <a:pt x="181758" y="24228"/>
                    <a:pt x="172823" y="15711"/>
                  </a:cubicBezTo>
                  <a:cubicBezTo>
                    <a:pt x="163482" y="6694"/>
                    <a:pt x="151119" y="1477"/>
                    <a:pt x="138142" y="1078"/>
                  </a:cubicBezTo>
                  <a:cubicBezTo>
                    <a:pt x="106886" y="-679"/>
                    <a:pt x="75546" y="-288"/>
                    <a:pt x="44344" y="2249"/>
                  </a:cubicBezTo>
                  <a:cubicBezTo>
                    <a:pt x="24107" y="4588"/>
                    <a:pt x="7589" y="19519"/>
                    <a:pt x="3224" y="39417"/>
                  </a:cubicBezTo>
                  <a:cubicBezTo>
                    <a:pt x="-700" y="74802"/>
                    <a:pt x="-1043" y="110493"/>
                    <a:pt x="2200" y="145946"/>
                  </a:cubicBezTo>
                  <a:cubicBezTo>
                    <a:pt x="4683" y="166535"/>
                    <a:pt x="20071" y="183221"/>
                    <a:pt x="40393" y="187358"/>
                  </a:cubicBezTo>
                  <a:cubicBezTo>
                    <a:pt x="75288" y="190655"/>
                    <a:pt x="110417" y="190655"/>
                    <a:pt x="145312" y="187358"/>
                  </a:cubicBezTo>
                  <a:cubicBezTo>
                    <a:pt x="165932" y="185103"/>
                    <a:pt x="182731" y="169782"/>
                    <a:pt x="186871" y="149458"/>
                  </a:cubicBezTo>
                  <a:cubicBezTo>
                    <a:pt x="190264" y="115758"/>
                    <a:pt x="190704" y="81827"/>
                    <a:pt x="188188" y="48051"/>
                  </a:cubicBezTo>
                  <a:close/>
                  <a:moveTo>
                    <a:pt x="170774" y="142873"/>
                  </a:moveTo>
                  <a:cubicBezTo>
                    <a:pt x="169353" y="158745"/>
                    <a:pt x="156536" y="171189"/>
                    <a:pt x="140630" y="172140"/>
                  </a:cubicBezTo>
                  <a:cubicBezTo>
                    <a:pt x="107999" y="174247"/>
                    <a:pt x="75247" y="173562"/>
                    <a:pt x="42734" y="170091"/>
                  </a:cubicBezTo>
                  <a:cubicBezTo>
                    <a:pt x="29998" y="167062"/>
                    <a:pt x="20557" y="156330"/>
                    <a:pt x="19175" y="143312"/>
                  </a:cubicBezTo>
                  <a:cubicBezTo>
                    <a:pt x="16687" y="111460"/>
                    <a:pt x="16687" y="79464"/>
                    <a:pt x="19175" y="47612"/>
                  </a:cubicBezTo>
                  <a:cubicBezTo>
                    <a:pt x="20526" y="31764"/>
                    <a:pt x="33296" y="19305"/>
                    <a:pt x="49173" y="18345"/>
                  </a:cubicBezTo>
                  <a:cubicBezTo>
                    <a:pt x="80253" y="16149"/>
                    <a:pt x="111451" y="16149"/>
                    <a:pt x="142532" y="18345"/>
                  </a:cubicBezTo>
                  <a:cubicBezTo>
                    <a:pt x="158403" y="19766"/>
                    <a:pt x="170847" y="32583"/>
                    <a:pt x="171798" y="48490"/>
                  </a:cubicBezTo>
                  <a:cubicBezTo>
                    <a:pt x="173556" y="79939"/>
                    <a:pt x="173213" y="111469"/>
                    <a:pt x="170774" y="142873"/>
                  </a:cubicBezTo>
                  <a:close/>
                  <a:moveTo>
                    <a:pt x="94389" y="46734"/>
                  </a:moveTo>
                  <a:cubicBezTo>
                    <a:pt x="67558" y="46734"/>
                    <a:pt x="45807" y="68484"/>
                    <a:pt x="45807" y="95316"/>
                  </a:cubicBezTo>
                  <a:cubicBezTo>
                    <a:pt x="45807" y="122147"/>
                    <a:pt x="67558" y="143898"/>
                    <a:pt x="94389" y="143898"/>
                  </a:cubicBezTo>
                  <a:cubicBezTo>
                    <a:pt x="121220" y="143898"/>
                    <a:pt x="142971" y="122147"/>
                    <a:pt x="142971" y="95316"/>
                  </a:cubicBezTo>
                  <a:cubicBezTo>
                    <a:pt x="142971" y="68484"/>
                    <a:pt x="121220" y="46734"/>
                    <a:pt x="94389" y="46734"/>
                  </a:cubicBezTo>
                  <a:close/>
                  <a:moveTo>
                    <a:pt x="94389" y="126192"/>
                  </a:moveTo>
                  <a:cubicBezTo>
                    <a:pt x="77014" y="126029"/>
                    <a:pt x="63061" y="111813"/>
                    <a:pt x="63223" y="94438"/>
                  </a:cubicBezTo>
                  <a:cubicBezTo>
                    <a:pt x="63386" y="77062"/>
                    <a:pt x="77602" y="63110"/>
                    <a:pt x="94977" y="63272"/>
                  </a:cubicBezTo>
                  <a:cubicBezTo>
                    <a:pt x="112351" y="63434"/>
                    <a:pt x="126304" y="77649"/>
                    <a:pt x="126143" y="95023"/>
                  </a:cubicBezTo>
                  <a:cubicBezTo>
                    <a:pt x="125982" y="112398"/>
                    <a:pt x="111766" y="126353"/>
                    <a:pt x="94392" y="126192"/>
                  </a:cubicBezTo>
                  <a:cubicBezTo>
                    <a:pt x="94390" y="126192"/>
                    <a:pt x="94390" y="126192"/>
                    <a:pt x="94389" y="126192"/>
                  </a:cubicBezTo>
                  <a:close/>
                  <a:moveTo>
                    <a:pt x="156726" y="44246"/>
                  </a:moveTo>
                  <a:cubicBezTo>
                    <a:pt x="156726" y="50550"/>
                    <a:pt x="151616" y="55660"/>
                    <a:pt x="145312" y="55660"/>
                  </a:cubicBezTo>
                  <a:cubicBezTo>
                    <a:pt x="139008" y="55660"/>
                    <a:pt x="133899" y="50550"/>
                    <a:pt x="133899" y="44246"/>
                  </a:cubicBezTo>
                  <a:cubicBezTo>
                    <a:pt x="133899" y="37942"/>
                    <a:pt x="139008" y="32832"/>
                    <a:pt x="145312" y="32832"/>
                  </a:cubicBezTo>
                  <a:cubicBezTo>
                    <a:pt x="151615" y="32743"/>
                    <a:pt x="156798" y="37780"/>
                    <a:pt x="156887" y="44083"/>
                  </a:cubicBezTo>
                  <a:cubicBezTo>
                    <a:pt x="156890" y="44333"/>
                    <a:pt x="156886" y="44582"/>
                    <a:pt x="156873" y="44831"/>
                  </a:cubicBezTo>
                  <a:close/>
                </a:path>
              </a:pathLst>
            </a:custGeom>
            <a:solidFill>
              <a:srgbClr val="FFFF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48" name="Graphic 14">
            <a:extLst>
              <a:ext uri="{FF2B5EF4-FFF2-40B4-BE49-F238E27FC236}">
                <a16:creationId xmlns:a16="http://schemas.microsoft.com/office/drawing/2014/main" id="{CA1CA818-AAC9-5FDB-9B20-F587D5BE1C6F}"/>
              </a:ext>
            </a:extLst>
          </p:cNvPr>
          <p:cNvGrpSpPr/>
          <p:nvPr/>
        </p:nvGrpSpPr>
        <p:grpSpPr>
          <a:xfrm>
            <a:off x="8551350" y="1614487"/>
            <a:ext cx="381486" cy="381486"/>
            <a:chOff x="8551350" y="1614487"/>
            <a:chExt cx="381486" cy="381486"/>
          </a:xfrm>
        </p:grpSpPr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013D3D6C-180F-6E28-5F9C-57CC914F8C57}"/>
                </a:ext>
              </a:extLst>
            </p:cNvPr>
            <p:cNvSpPr/>
            <p:nvPr/>
          </p:nvSpPr>
          <p:spPr>
            <a:xfrm>
              <a:off x="8551350" y="1614487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303030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EC1359C-C6ED-BA7A-4AA3-444C8A1D3057}"/>
                </a:ext>
              </a:extLst>
            </p:cNvPr>
            <p:cNvSpPr/>
            <p:nvPr/>
          </p:nvSpPr>
          <p:spPr>
            <a:xfrm>
              <a:off x="8640465" y="1723728"/>
              <a:ext cx="201937" cy="164477"/>
            </a:xfrm>
            <a:custGeom>
              <a:avLst/>
              <a:gdLst>
                <a:gd name="connsiteX0" fmla="*/ 61898 w 201937"/>
                <a:gd name="connsiteY0" fmla="*/ 127962 h 164477"/>
                <a:gd name="connsiteX1" fmla="*/ 23120 w 201937"/>
                <a:gd name="connsiteY1" fmla="*/ 98696 h 164477"/>
                <a:gd name="connsiteX2" fmla="*/ 40973 w 201937"/>
                <a:gd name="connsiteY2" fmla="*/ 98696 h 164477"/>
                <a:gd name="connsiteX3" fmla="*/ 40973 w 201937"/>
                <a:gd name="connsiteY3" fmla="*/ 98696 h 164477"/>
                <a:gd name="connsiteX4" fmla="*/ 14048 w 201937"/>
                <a:gd name="connsiteY4" fmla="*/ 79526 h 164477"/>
                <a:gd name="connsiteX5" fmla="*/ 7902 w 201937"/>
                <a:gd name="connsiteY5" fmla="*/ 57430 h 164477"/>
                <a:gd name="connsiteX6" fmla="*/ 26340 w 201937"/>
                <a:gd name="connsiteY6" fmla="*/ 62552 h 164477"/>
                <a:gd name="connsiteX7" fmla="*/ 13755 w 201937"/>
                <a:gd name="connsiteY7" fmla="*/ 7238 h 164477"/>
                <a:gd name="connsiteX8" fmla="*/ 99505 w 201937"/>
                <a:gd name="connsiteY8" fmla="*/ 51138 h 164477"/>
                <a:gd name="connsiteX9" fmla="*/ 99505 w 201937"/>
                <a:gd name="connsiteY9" fmla="*/ 46601 h 164477"/>
                <a:gd name="connsiteX10" fmla="*/ 135714 w 201937"/>
                <a:gd name="connsiteY10" fmla="*/ 307 h 164477"/>
                <a:gd name="connsiteX11" fmla="*/ 170184 w 201937"/>
                <a:gd name="connsiteY11" fmla="*/ 12214 h 164477"/>
                <a:gd name="connsiteX12" fmla="*/ 172379 w 201937"/>
                <a:gd name="connsiteY12" fmla="*/ 12214 h 164477"/>
                <a:gd name="connsiteX13" fmla="*/ 196523 w 201937"/>
                <a:gd name="connsiteY13" fmla="*/ 2995 h 164477"/>
                <a:gd name="connsiteX14" fmla="*/ 196523 w 201937"/>
                <a:gd name="connsiteY14" fmla="*/ 2995 h 164477"/>
                <a:gd name="connsiteX15" fmla="*/ 196523 w 201937"/>
                <a:gd name="connsiteY15" fmla="*/ 2995 h 164477"/>
                <a:gd name="connsiteX16" fmla="*/ 178671 w 201937"/>
                <a:gd name="connsiteY16" fmla="*/ 25676 h 164477"/>
                <a:gd name="connsiteX17" fmla="*/ 201938 w 201937"/>
                <a:gd name="connsiteY17" fmla="*/ 19384 h 164477"/>
                <a:gd name="connsiteX18" fmla="*/ 201938 w 201937"/>
                <a:gd name="connsiteY18" fmla="*/ 19384 h 164477"/>
                <a:gd name="connsiteX19" fmla="*/ 197109 w 201937"/>
                <a:gd name="connsiteY19" fmla="*/ 25530 h 164477"/>
                <a:gd name="connsiteX20" fmla="*/ 182475 w 201937"/>
                <a:gd name="connsiteY20" fmla="*/ 40163 h 164477"/>
                <a:gd name="connsiteX21" fmla="*/ 181744 w 201937"/>
                <a:gd name="connsiteY21" fmla="*/ 41480 h 164477"/>
                <a:gd name="connsiteX22" fmla="*/ 181012 w 201937"/>
                <a:gd name="connsiteY22" fmla="*/ 60064 h 164477"/>
                <a:gd name="connsiteX23" fmla="*/ 170330 w 201937"/>
                <a:gd name="connsiteY23" fmla="*/ 96940 h 164477"/>
                <a:gd name="connsiteX24" fmla="*/ 147795 w 201937"/>
                <a:gd name="connsiteY24" fmla="*/ 129718 h 164477"/>
                <a:gd name="connsiteX25" fmla="*/ 90726 w 201937"/>
                <a:gd name="connsiteY25" fmla="*/ 161618 h 164477"/>
                <a:gd name="connsiteX26" fmla="*/ 67605 w 201937"/>
                <a:gd name="connsiteY26" fmla="*/ 164398 h 164477"/>
                <a:gd name="connsiteX27" fmla="*/ 1024 w 201937"/>
                <a:gd name="connsiteY27" fmla="*/ 146546 h 164477"/>
                <a:gd name="connsiteX28" fmla="*/ 0 w 201937"/>
                <a:gd name="connsiteY28" fmla="*/ 145814 h 164477"/>
                <a:gd name="connsiteX29" fmla="*/ 42582 w 201937"/>
                <a:gd name="connsiteY29" fmla="*/ 139522 h 164477"/>
                <a:gd name="connsiteX30" fmla="*/ 61898 w 201937"/>
                <a:gd name="connsiteY30" fmla="*/ 127962 h 164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01937" h="164477">
                  <a:moveTo>
                    <a:pt x="61898" y="127962"/>
                  </a:moveTo>
                  <a:cubicBezTo>
                    <a:pt x="44053" y="127475"/>
                    <a:pt x="28482" y="115723"/>
                    <a:pt x="23120" y="98696"/>
                  </a:cubicBezTo>
                  <a:cubicBezTo>
                    <a:pt x="28998" y="100012"/>
                    <a:pt x="35095" y="100012"/>
                    <a:pt x="40973" y="98696"/>
                  </a:cubicBezTo>
                  <a:lnTo>
                    <a:pt x="40973" y="98696"/>
                  </a:lnTo>
                  <a:cubicBezTo>
                    <a:pt x="29726" y="96319"/>
                    <a:pt x="19973" y="89376"/>
                    <a:pt x="14048" y="79526"/>
                  </a:cubicBezTo>
                  <a:cubicBezTo>
                    <a:pt x="9884" y="72919"/>
                    <a:pt x="7747" y="65238"/>
                    <a:pt x="7902" y="57430"/>
                  </a:cubicBezTo>
                  <a:cubicBezTo>
                    <a:pt x="13540" y="60611"/>
                    <a:pt x="19869" y="62369"/>
                    <a:pt x="26340" y="62552"/>
                  </a:cubicBezTo>
                  <a:cubicBezTo>
                    <a:pt x="8506" y="50119"/>
                    <a:pt x="3056" y="26162"/>
                    <a:pt x="13755" y="7238"/>
                  </a:cubicBezTo>
                  <a:cubicBezTo>
                    <a:pt x="34894" y="33278"/>
                    <a:pt x="66020" y="49213"/>
                    <a:pt x="99505" y="51138"/>
                  </a:cubicBezTo>
                  <a:cubicBezTo>
                    <a:pt x="99505" y="49382"/>
                    <a:pt x="99505" y="47918"/>
                    <a:pt x="99505" y="46601"/>
                  </a:cubicBezTo>
                  <a:cubicBezTo>
                    <a:pt x="96721" y="23819"/>
                    <a:pt x="112931" y="3093"/>
                    <a:pt x="135714" y="307"/>
                  </a:cubicBezTo>
                  <a:cubicBezTo>
                    <a:pt x="148424" y="-1246"/>
                    <a:pt x="161142" y="3146"/>
                    <a:pt x="170184" y="12214"/>
                  </a:cubicBezTo>
                  <a:cubicBezTo>
                    <a:pt x="170854" y="12638"/>
                    <a:pt x="171708" y="12638"/>
                    <a:pt x="172379" y="12214"/>
                  </a:cubicBezTo>
                  <a:cubicBezTo>
                    <a:pt x="180845" y="10376"/>
                    <a:pt x="188986" y="7268"/>
                    <a:pt x="196523" y="2995"/>
                  </a:cubicBezTo>
                  <a:lnTo>
                    <a:pt x="196523" y="2995"/>
                  </a:lnTo>
                  <a:lnTo>
                    <a:pt x="196523" y="2995"/>
                  </a:lnTo>
                  <a:cubicBezTo>
                    <a:pt x="193462" y="12439"/>
                    <a:pt x="187132" y="20482"/>
                    <a:pt x="178671" y="25676"/>
                  </a:cubicBezTo>
                  <a:cubicBezTo>
                    <a:pt x="186701" y="24774"/>
                    <a:pt x="194548" y="22652"/>
                    <a:pt x="201938" y="19384"/>
                  </a:cubicBezTo>
                  <a:lnTo>
                    <a:pt x="201938" y="19384"/>
                  </a:lnTo>
                  <a:cubicBezTo>
                    <a:pt x="200328" y="21432"/>
                    <a:pt x="198718" y="23627"/>
                    <a:pt x="197109" y="25530"/>
                  </a:cubicBezTo>
                  <a:cubicBezTo>
                    <a:pt x="192906" y="31039"/>
                    <a:pt x="187985" y="35961"/>
                    <a:pt x="182475" y="40163"/>
                  </a:cubicBezTo>
                  <a:cubicBezTo>
                    <a:pt x="182475" y="40163"/>
                    <a:pt x="181744" y="40895"/>
                    <a:pt x="181744" y="41480"/>
                  </a:cubicBezTo>
                  <a:cubicBezTo>
                    <a:pt x="182014" y="47684"/>
                    <a:pt x="181770" y="53900"/>
                    <a:pt x="181012" y="60064"/>
                  </a:cubicBezTo>
                  <a:cubicBezTo>
                    <a:pt x="179383" y="72836"/>
                    <a:pt x="175779" y="85275"/>
                    <a:pt x="170330" y="96940"/>
                  </a:cubicBezTo>
                  <a:cubicBezTo>
                    <a:pt x="164728" y="109063"/>
                    <a:pt x="157109" y="120146"/>
                    <a:pt x="147795" y="129718"/>
                  </a:cubicBezTo>
                  <a:cubicBezTo>
                    <a:pt x="132398" y="145829"/>
                    <a:pt x="112516" y="156943"/>
                    <a:pt x="90726" y="161618"/>
                  </a:cubicBezTo>
                  <a:cubicBezTo>
                    <a:pt x="83112" y="163201"/>
                    <a:pt x="75377" y="164131"/>
                    <a:pt x="67605" y="164398"/>
                  </a:cubicBezTo>
                  <a:cubicBezTo>
                    <a:pt x="44123" y="165265"/>
                    <a:pt x="20923" y="159044"/>
                    <a:pt x="1024" y="146546"/>
                  </a:cubicBezTo>
                  <a:lnTo>
                    <a:pt x="0" y="145814"/>
                  </a:lnTo>
                  <a:cubicBezTo>
                    <a:pt x="14500" y="147444"/>
                    <a:pt x="29174" y="145276"/>
                    <a:pt x="42582" y="139522"/>
                  </a:cubicBezTo>
                  <a:cubicBezTo>
                    <a:pt x="49521" y="136573"/>
                    <a:pt x="56021" y="132684"/>
                    <a:pt x="61898" y="127962"/>
                  </a:cubicBezTo>
                  <a:close/>
                </a:path>
              </a:pathLst>
            </a:custGeom>
            <a:solidFill>
              <a:srgbClr val="FFFF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54" name="Graphic 16">
            <a:extLst>
              <a:ext uri="{FF2B5EF4-FFF2-40B4-BE49-F238E27FC236}">
                <a16:creationId xmlns:a16="http://schemas.microsoft.com/office/drawing/2014/main" id="{9FA94F3B-ACE0-E45E-EEB1-DC9CD1CE82CC}"/>
              </a:ext>
            </a:extLst>
          </p:cNvPr>
          <p:cNvGrpSpPr/>
          <p:nvPr/>
        </p:nvGrpSpPr>
        <p:grpSpPr>
          <a:xfrm>
            <a:off x="9634205" y="1614487"/>
            <a:ext cx="381486" cy="381486"/>
            <a:chOff x="9634205" y="1614487"/>
            <a:chExt cx="381486" cy="381486"/>
          </a:xfrm>
        </p:grpSpPr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460852EC-DEB0-77CB-5C58-EF36D14235B5}"/>
                </a:ext>
              </a:extLst>
            </p:cNvPr>
            <p:cNvSpPr/>
            <p:nvPr/>
          </p:nvSpPr>
          <p:spPr>
            <a:xfrm>
              <a:off x="9634205" y="1614487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303030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48411D0F-BD47-B033-323A-78237A4D87A5}"/>
                </a:ext>
              </a:extLst>
            </p:cNvPr>
            <p:cNvSpPr/>
            <p:nvPr/>
          </p:nvSpPr>
          <p:spPr>
            <a:xfrm>
              <a:off x="9764879" y="1697599"/>
              <a:ext cx="112821" cy="216135"/>
            </a:xfrm>
            <a:custGeom>
              <a:avLst/>
              <a:gdLst>
                <a:gd name="connsiteX0" fmla="*/ 89994 w 112821"/>
                <a:gd name="connsiteY0" fmla="*/ 36002 h 216135"/>
                <a:gd name="connsiteX1" fmla="*/ 110188 w 112821"/>
                <a:gd name="connsiteY1" fmla="*/ 36002 h 216135"/>
                <a:gd name="connsiteX2" fmla="*/ 112822 w 112821"/>
                <a:gd name="connsiteY2" fmla="*/ 36002 h 216135"/>
                <a:gd name="connsiteX3" fmla="*/ 112822 w 112821"/>
                <a:gd name="connsiteY3" fmla="*/ 1028 h 216135"/>
                <a:gd name="connsiteX4" fmla="*/ 101847 w 112821"/>
                <a:gd name="connsiteY4" fmla="*/ 4 h 216135"/>
                <a:gd name="connsiteX5" fmla="*/ 81214 w 112821"/>
                <a:gd name="connsiteY5" fmla="*/ 4 h 216135"/>
                <a:gd name="connsiteX6" fmla="*/ 51948 w 112821"/>
                <a:gd name="connsiteY6" fmla="*/ 8930 h 216135"/>
                <a:gd name="connsiteX7" fmla="*/ 34388 w 112821"/>
                <a:gd name="connsiteY7" fmla="*/ 38197 h 216135"/>
                <a:gd name="connsiteX8" fmla="*/ 33217 w 112821"/>
                <a:gd name="connsiteY8" fmla="*/ 52830 h 216135"/>
                <a:gd name="connsiteX9" fmla="*/ 33217 w 112821"/>
                <a:gd name="connsiteY9" fmla="*/ 76389 h 216135"/>
                <a:gd name="connsiteX10" fmla="*/ 33217 w 112821"/>
                <a:gd name="connsiteY10" fmla="*/ 79316 h 216135"/>
                <a:gd name="connsiteX11" fmla="*/ 0 w 112821"/>
                <a:gd name="connsiteY11" fmla="*/ 79316 h 216135"/>
                <a:gd name="connsiteX12" fmla="*/ 0 w 112821"/>
                <a:gd name="connsiteY12" fmla="*/ 118240 h 216135"/>
                <a:gd name="connsiteX13" fmla="*/ 33071 w 112821"/>
                <a:gd name="connsiteY13" fmla="*/ 118240 h 216135"/>
                <a:gd name="connsiteX14" fmla="*/ 33071 w 112821"/>
                <a:gd name="connsiteY14" fmla="*/ 216136 h 216135"/>
                <a:gd name="connsiteX15" fmla="*/ 74190 w 112821"/>
                <a:gd name="connsiteY15" fmla="*/ 216136 h 216135"/>
                <a:gd name="connsiteX16" fmla="*/ 74190 w 112821"/>
                <a:gd name="connsiteY16" fmla="*/ 118094 h 216135"/>
                <a:gd name="connsiteX17" fmla="*/ 107261 w 112821"/>
                <a:gd name="connsiteY17" fmla="*/ 118094 h 216135"/>
                <a:gd name="connsiteX18" fmla="*/ 112383 w 112821"/>
                <a:gd name="connsiteY18" fmla="*/ 79023 h 216135"/>
                <a:gd name="connsiteX19" fmla="*/ 73312 w 112821"/>
                <a:gd name="connsiteY19" fmla="*/ 79023 h 216135"/>
                <a:gd name="connsiteX20" fmla="*/ 73312 w 112821"/>
                <a:gd name="connsiteY20" fmla="*/ 51366 h 216135"/>
                <a:gd name="connsiteX21" fmla="*/ 89994 w 112821"/>
                <a:gd name="connsiteY21" fmla="*/ 36002 h 216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821" h="216135">
                  <a:moveTo>
                    <a:pt x="89994" y="36002"/>
                  </a:moveTo>
                  <a:cubicBezTo>
                    <a:pt x="96725" y="36002"/>
                    <a:pt x="103456" y="36002"/>
                    <a:pt x="110188" y="36002"/>
                  </a:cubicBezTo>
                  <a:lnTo>
                    <a:pt x="112822" y="36002"/>
                  </a:lnTo>
                  <a:lnTo>
                    <a:pt x="112822" y="1028"/>
                  </a:lnTo>
                  <a:cubicBezTo>
                    <a:pt x="109310" y="1028"/>
                    <a:pt x="105505" y="150"/>
                    <a:pt x="101847" y="4"/>
                  </a:cubicBezTo>
                  <a:cubicBezTo>
                    <a:pt x="94969" y="4"/>
                    <a:pt x="88092" y="4"/>
                    <a:pt x="81214" y="4"/>
                  </a:cubicBezTo>
                  <a:cubicBezTo>
                    <a:pt x="70769" y="-129"/>
                    <a:pt x="60540" y="2990"/>
                    <a:pt x="51948" y="8930"/>
                  </a:cubicBezTo>
                  <a:cubicBezTo>
                    <a:pt x="42386" y="15918"/>
                    <a:pt x="36055" y="26472"/>
                    <a:pt x="34388" y="38197"/>
                  </a:cubicBezTo>
                  <a:cubicBezTo>
                    <a:pt x="33649" y="43040"/>
                    <a:pt x="33257" y="47930"/>
                    <a:pt x="33217" y="52830"/>
                  </a:cubicBezTo>
                  <a:cubicBezTo>
                    <a:pt x="33217" y="60732"/>
                    <a:pt x="33217" y="68487"/>
                    <a:pt x="33217" y="76389"/>
                  </a:cubicBezTo>
                  <a:lnTo>
                    <a:pt x="33217" y="79316"/>
                  </a:lnTo>
                  <a:lnTo>
                    <a:pt x="0" y="79316"/>
                  </a:lnTo>
                  <a:lnTo>
                    <a:pt x="0" y="118240"/>
                  </a:lnTo>
                  <a:lnTo>
                    <a:pt x="33071" y="118240"/>
                  </a:lnTo>
                  <a:lnTo>
                    <a:pt x="33071" y="216136"/>
                  </a:lnTo>
                  <a:lnTo>
                    <a:pt x="74190" y="216136"/>
                  </a:lnTo>
                  <a:lnTo>
                    <a:pt x="74190" y="118094"/>
                  </a:lnTo>
                  <a:lnTo>
                    <a:pt x="107261" y="118094"/>
                  </a:lnTo>
                  <a:cubicBezTo>
                    <a:pt x="109017" y="105070"/>
                    <a:pt x="110627" y="92339"/>
                    <a:pt x="112383" y="79023"/>
                  </a:cubicBezTo>
                  <a:lnTo>
                    <a:pt x="73312" y="79023"/>
                  </a:lnTo>
                  <a:cubicBezTo>
                    <a:pt x="73312" y="79023"/>
                    <a:pt x="73312" y="59707"/>
                    <a:pt x="73312" y="51366"/>
                  </a:cubicBezTo>
                  <a:cubicBezTo>
                    <a:pt x="74190" y="39806"/>
                    <a:pt x="80775" y="36294"/>
                    <a:pt x="89994" y="36002"/>
                  </a:cubicBezTo>
                  <a:close/>
                </a:path>
              </a:pathLst>
            </a:custGeom>
            <a:solidFill>
              <a:srgbClr val="FFFF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60" name="Graphic 18">
            <a:extLst>
              <a:ext uri="{FF2B5EF4-FFF2-40B4-BE49-F238E27FC236}">
                <a16:creationId xmlns:a16="http://schemas.microsoft.com/office/drawing/2014/main" id="{59769146-60ED-2BC3-2EF3-33564036F59B}"/>
              </a:ext>
            </a:extLst>
          </p:cNvPr>
          <p:cNvGrpSpPr/>
          <p:nvPr/>
        </p:nvGrpSpPr>
        <p:grpSpPr>
          <a:xfrm>
            <a:off x="2054225" y="2697341"/>
            <a:ext cx="381486" cy="381486"/>
            <a:chOff x="2054225" y="2697341"/>
            <a:chExt cx="381486" cy="381486"/>
          </a:xfrm>
        </p:grpSpPr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04F78612-2EE8-0FF5-59EB-1CA46AA28F7E}"/>
                </a:ext>
              </a:extLst>
            </p:cNvPr>
            <p:cNvSpPr/>
            <p:nvPr/>
          </p:nvSpPr>
          <p:spPr>
            <a:xfrm>
              <a:off x="2054225" y="2697341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FFEC00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931075A3-FD46-09F9-C6AF-254BF8A4329D}"/>
                </a:ext>
              </a:extLst>
            </p:cNvPr>
            <p:cNvSpPr/>
            <p:nvPr/>
          </p:nvSpPr>
          <p:spPr>
            <a:xfrm>
              <a:off x="2151564" y="2796992"/>
              <a:ext cx="188200" cy="182036"/>
            </a:xfrm>
            <a:custGeom>
              <a:avLst/>
              <a:gdLst>
                <a:gd name="connsiteX0" fmla="*/ 94208 w 188200"/>
                <a:gd name="connsiteY0" fmla="*/ 6439 h 182036"/>
                <a:gd name="connsiteX1" fmla="*/ 139132 w 188200"/>
                <a:gd name="connsiteY1" fmla="*/ 51070 h 182036"/>
                <a:gd name="connsiteX2" fmla="*/ 139132 w 188200"/>
                <a:gd name="connsiteY2" fmla="*/ 51362 h 182036"/>
                <a:gd name="connsiteX3" fmla="*/ 139132 w 188200"/>
                <a:gd name="connsiteY3" fmla="*/ 78287 h 182036"/>
                <a:gd name="connsiteX4" fmla="*/ 143376 w 188200"/>
                <a:gd name="connsiteY4" fmla="*/ 78287 h 182036"/>
                <a:gd name="connsiteX5" fmla="*/ 148790 w 188200"/>
                <a:gd name="connsiteY5" fmla="*/ 76970 h 182036"/>
                <a:gd name="connsiteX6" fmla="*/ 155668 w 188200"/>
                <a:gd name="connsiteY6" fmla="*/ 74775 h 182036"/>
                <a:gd name="connsiteX7" fmla="*/ 160936 w 188200"/>
                <a:gd name="connsiteY7" fmla="*/ 77263 h 182036"/>
                <a:gd name="connsiteX8" fmla="*/ 154643 w 188200"/>
                <a:gd name="connsiteY8" fmla="*/ 87067 h 182036"/>
                <a:gd name="connsiteX9" fmla="*/ 140010 w 188200"/>
                <a:gd name="connsiteY9" fmla="*/ 98920 h 182036"/>
                <a:gd name="connsiteX10" fmla="*/ 159472 w 188200"/>
                <a:gd name="connsiteY10" fmla="*/ 126284 h 182036"/>
                <a:gd name="connsiteX11" fmla="*/ 178056 w 188200"/>
                <a:gd name="connsiteY11" fmla="*/ 134040 h 182036"/>
                <a:gd name="connsiteX12" fmla="*/ 179520 w 188200"/>
                <a:gd name="connsiteY12" fmla="*/ 134040 h 182036"/>
                <a:gd name="connsiteX13" fmla="*/ 180690 w 188200"/>
                <a:gd name="connsiteY13" fmla="*/ 134479 h 182036"/>
                <a:gd name="connsiteX14" fmla="*/ 171325 w 188200"/>
                <a:gd name="connsiteY14" fmla="*/ 144576 h 182036"/>
                <a:gd name="connsiteX15" fmla="*/ 156692 w 188200"/>
                <a:gd name="connsiteY15" fmla="*/ 151160 h 182036"/>
                <a:gd name="connsiteX16" fmla="*/ 152595 w 188200"/>
                <a:gd name="connsiteY16" fmla="*/ 159209 h 182036"/>
                <a:gd name="connsiteX17" fmla="*/ 135474 w 188200"/>
                <a:gd name="connsiteY17" fmla="*/ 157599 h 182036"/>
                <a:gd name="connsiteX18" fmla="*/ 126840 w 188200"/>
                <a:gd name="connsiteY18" fmla="*/ 158916 h 182036"/>
                <a:gd name="connsiteX19" fmla="*/ 94208 w 188200"/>
                <a:gd name="connsiteY19" fmla="*/ 175305 h 182036"/>
                <a:gd name="connsiteX20" fmla="*/ 61430 w 188200"/>
                <a:gd name="connsiteY20" fmla="*/ 158916 h 182036"/>
                <a:gd name="connsiteX21" fmla="*/ 52797 w 188200"/>
                <a:gd name="connsiteY21" fmla="*/ 157599 h 182036"/>
                <a:gd name="connsiteX22" fmla="*/ 35676 w 188200"/>
                <a:gd name="connsiteY22" fmla="*/ 159209 h 182036"/>
                <a:gd name="connsiteX23" fmla="*/ 31579 w 188200"/>
                <a:gd name="connsiteY23" fmla="*/ 151160 h 182036"/>
                <a:gd name="connsiteX24" fmla="*/ 16945 w 188200"/>
                <a:gd name="connsiteY24" fmla="*/ 144576 h 182036"/>
                <a:gd name="connsiteX25" fmla="*/ 7580 w 188200"/>
                <a:gd name="connsiteY25" fmla="*/ 134479 h 182036"/>
                <a:gd name="connsiteX26" fmla="*/ 8605 w 188200"/>
                <a:gd name="connsiteY26" fmla="*/ 134479 h 182036"/>
                <a:gd name="connsiteX27" fmla="*/ 10068 w 188200"/>
                <a:gd name="connsiteY27" fmla="*/ 134479 h 182036"/>
                <a:gd name="connsiteX28" fmla="*/ 28798 w 188200"/>
                <a:gd name="connsiteY28" fmla="*/ 126723 h 182036"/>
                <a:gd name="connsiteX29" fmla="*/ 48114 w 188200"/>
                <a:gd name="connsiteY29" fmla="*/ 99359 h 182036"/>
                <a:gd name="connsiteX30" fmla="*/ 33481 w 188200"/>
                <a:gd name="connsiteY30" fmla="*/ 87506 h 182036"/>
                <a:gd name="connsiteX31" fmla="*/ 27189 w 188200"/>
                <a:gd name="connsiteY31" fmla="*/ 77702 h 182036"/>
                <a:gd name="connsiteX32" fmla="*/ 31140 w 188200"/>
                <a:gd name="connsiteY32" fmla="*/ 75946 h 182036"/>
                <a:gd name="connsiteX33" fmla="*/ 38017 w 188200"/>
                <a:gd name="connsiteY33" fmla="*/ 78141 h 182036"/>
                <a:gd name="connsiteX34" fmla="*/ 43431 w 188200"/>
                <a:gd name="connsiteY34" fmla="*/ 79458 h 182036"/>
                <a:gd name="connsiteX35" fmla="*/ 47675 w 188200"/>
                <a:gd name="connsiteY35" fmla="*/ 79458 h 182036"/>
                <a:gd name="connsiteX36" fmla="*/ 47675 w 188200"/>
                <a:gd name="connsiteY36" fmla="*/ 51362 h 182036"/>
                <a:gd name="connsiteX37" fmla="*/ 92303 w 188200"/>
                <a:gd name="connsiteY37" fmla="*/ 6437 h 182036"/>
                <a:gd name="connsiteX38" fmla="*/ 92892 w 188200"/>
                <a:gd name="connsiteY38" fmla="*/ 6439 h 182036"/>
                <a:gd name="connsiteX39" fmla="*/ 94501 w 188200"/>
                <a:gd name="connsiteY39" fmla="*/ 6439 h 182036"/>
                <a:gd name="connsiteX40" fmla="*/ 94501 w 188200"/>
                <a:gd name="connsiteY40" fmla="*/ 0 h 182036"/>
                <a:gd name="connsiteX41" fmla="*/ 92892 w 188200"/>
                <a:gd name="connsiteY41" fmla="*/ 0 h 182036"/>
                <a:gd name="connsiteX42" fmla="*/ 41383 w 188200"/>
                <a:gd name="connsiteY42" fmla="*/ 51362 h 182036"/>
                <a:gd name="connsiteX43" fmla="*/ 41383 w 188200"/>
                <a:gd name="connsiteY43" fmla="*/ 71849 h 182036"/>
                <a:gd name="connsiteX44" fmla="*/ 41383 w 188200"/>
                <a:gd name="connsiteY44" fmla="*/ 71849 h 182036"/>
                <a:gd name="connsiteX45" fmla="*/ 31432 w 188200"/>
                <a:gd name="connsiteY45" fmla="*/ 68922 h 182036"/>
                <a:gd name="connsiteX46" fmla="*/ 21482 w 188200"/>
                <a:gd name="connsiteY46" fmla="*/ 73312 h 182036"/>
                <a:gd name="connsiteX47" fmla="*/ 18409 w 188200"/>
                <a:gd name="connsiteY47" fmla="*/ 82970 h 182036"/>
                <a:gd name="connsiteX48" fmla="*/ 30115 w 188200"/>
                <a:gd name="connsiteY48" fmla="*/ 93799 h 182036"/>
                <a:gd name="connsiteX49" fmla="*/ 32310 w 188200"/>
                <a:gd name="connsiteY49" fmla="*/ 94677 h 182036"/>
                <a:gd name="connsiteX50" fmla="*/ 40505 w 188200"/>
                <a:gd name="connsiteY50" fmla="*/ 99213 h 182036"/>
                <a:gd name="connsiteX51" fmla="*/ 23823 w 188200"/>
                <a:gd name="connsiteY51" fmla="*/ 121602 h 182036"/>
                <a:gd name="connsiteX52" fmla="*/ 9190 w 188200"/>
                <a:gd name="connsiteY52" fmla="*/ 128186 h 182036"/>
                <a:gd name="connsiteX53" fmla="*/ 7727 w 188200"/>
                <a:gd name="connsiteY53" fmla="*/ 128186 h 182036"/>
                <a:gd name="connsiteX54" fmla="*/ 410 w 188200"/>
                <a:gd name="connsiteY54" fmla="*/ 133601 h 182036"/>
                <a:gd name="connsiteX55" fmla="*/ 15043 w 188200"/>
                <a:gd name="connsiteY55" fmla="*/ 151453 h 182036"/>
                <a:gd name="connsiteX56" fmla="*/ 23238 w 188200"/>
                <a:gd name="connsiteY56" fmla="*/ 153063 h 182036"/>
                <a:gd name="connsiteX57" fmla="*/ 25579 w 188200"/>
                <a:gd name="connsiteY57" fmla="*/ 153063 h 182036"/>
                <a:gd name="connsiteX58" fmla="*/ 25579 w 188200"/>
                <a:gd name="connsiteY58" fmla="*/ 153063 h 182036"/>
                <a:gd name="connsiteX59" fmla="*/ 26750 w 188200"/>
                <a:gd name="connsiteY59" fmla="*/ 157160 h 182036"/>
                <a:gd name="connsiteX60" fmla="*/ 35676 w 188200"/>
                <a:gd name="connsiteY60" fmla="*/ 165355 h 182036"/>
                <a:gd name="connsiteX61" fmla="*/ 40212 w 188200"/>
                <a:gd name="connsiteY61" fmla="*/ 165355 h 182036"/>
                <a:gd name="connsiteX62" fmla="*/ 52797 w 188200"/>
                <a:gd name="connsiteY62" fmla="*/ 164330 h 182036"/>
                <a:gd name="connsiteX63" fmla="*/ 58796 w 188200"/>
                <a:gd name="connsiteY63" fmla="*/ 165062 h 182036"/>
                <a:gd name="connsiteX64" fmla="*/ 64503 w 188200"/>
                <a:gd name="connsiteY64" fmla="*/ 169013 h 182036"/>
                <a:gd name="connsiteX65" fmla="*/ 93770 w 188200"/>
                <a:gd name="connsiteY65" fmla="*/ 182036 h 182036"/>
                <a:gd name="connsiteX66" fmla="*/ 94501 w 188200"/>
                <a:gd name="connsiteY66" fmla="*/ 182036 h 182036"/>
                <a:gd name="connsiteX67" fmla="*/ 123767 w 188200"/>
                <a:gd name="connsiteY67" fmla="*/ 169013 h 182036"/>
                <a:gd name="connsiteX68" fmla="*/ 129621 w 188200"/>
                <a:gd name="connsiteY68" fmla="*/ 165062 h 182036"/>
                <a:gd name="connsiteX69" fmla="*/ 135474 w 188200"/>
                <a:gd name="connsiteY69" fmla="*/ 164330 h 182036"/>
                <a:gd name="connsiteX70" fmla="*/ 148059 w 188200"/>
                <a:gd name="connsiteY70" fmla="*/ 165355 h 182036"/>
                <a:gd name="connsiteX71" fmla="*/ 152595 w 188200"/>
                <a:gd name="connsiteY71" fmla="*/ 165355 h 182036"/>
                <a:gd name="connsiteX72" fmla="*/ 161521 w 188200"/>
                <a:gd name="connsiteY72" fmla="*/ 157160 h 182036"/>
                <a:gd name="connsiteX73" fmla="*/ 162838 w 188200"/>
                <a:gd name="connsiteY73" fmla="*/ 153063 h 182036"/>
                <a:gd name="connsiteX74" fmla="*/ 162838 w 188200"/>
                <a:gd name="connsiteY74" fmla="*/ 153063 h 182036"/>
                <a:gd name="connsiteX75" fmla="*/ 165326 w 188200"/>
                <a:gd name="connsiteY75" fmla="*/ 153063 h 182036"/>
                <a:gd name="connsiteX76" fmla="*/ 173374 w 188200"/>
                <a:gd name="connsiteY76" fmla="*/ 151453 h 182036"/>
                <a:gd name="connsiteX77" fmla="*/ 188007 w 188200"/>
                <a:gd name="connsiteY77" fmla="*/ 133601 h 182036"/>
                <a:gd name="connsiteX78" fmla="*/ 180690 w 188200"/>
                <a:gd name="connsiteY78" fmla="*/ 128186 h 182036"/>
                <a:gd name="connsiteX79" fmla="*/ 179227 w 188200"/>
                <a:gd name="connsiteY79" fmla="*/ 128186 h 182036"/>
                <a:gd name="connsiteX80" fmla="*/ 164594 w 188200"/>
                <a:gd name="connsiteY80" fmla="*/ 121602 h 182036"/>
                <a:gd name="connsiteX81" fmla="*/ 147912 w 188200"/>
                <a:gd name="connsiteY81" fmla="*/ 99213 h 182036"/>
                <a:gd name="connsiteX82" fmla="*/ 156107 w 188200"/>
                <a:gd name="connsiteY82" fmla="*/ 94677 h 182036"/>
                <a:gd name="connsiteX83" fmla="*/ 158302 w 188200"/>
                <a:gd name="connsiteY83" fmla="*/ 93799 h 182036"/>
                <a:gd name="connsiteX84" fmla="*/ 170008 w 188200"/>
                <a:gd name="connsiteY84" fmla="*/ 82970 h 182036"/>
                <a:gd name="connsiteX85" fmla="*/ 166935 w 188200"/>
                <a:gd name="connsiteY85" fmla="*/ 73312 h 182036"/>
                <a:gd name="connsiteX86" fmla="*/ 156985 w 188200"/>
                <a:gd name="connsiteY86" fmla="*/ 68922 h 182036"/>
                <a:gd name="connsiteX87" fmla="*/ 147034 w 188200"/>
                <a:gd name="connsiteY87" fmla="*/ 71849 h 182036"/>
                <a:gd name="connsiteX88" fmla="*/ 147034 w 188200"/>
                <a:gd name="connsiteY88" fmla="*/ 71849 h 182036"/>
                <a:gd name="connsiteX89" fmla="*/ 147034 w 188200"/>
                <a:gd name="connsiteY89" fmla="*/ 51362 h 182036"/>
                <a:gd name="connsiteX90" fmla="*/ 95525 w 188200"/>
                <a:gd name="connsiteY90" fmla="*/ 0 h 182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88200" h="182036">
                  <a:moveTo>
                    <a:pt x="94208" y="6439"/>
                  </a:moveTo>
                  <a:cubicBezTo>
                    <a:pt x="118939" y="6358"/>
                    <a:pt x="139052" y="26340"/>
                    <a:pt x="139132" y="51070"/>
                  </a:cubicBezTo>
                  <a:cubicBezTo>
                    <a:pt x="139132" y="51166"/>
                    <a:pt x="139132" y="51264"/>
                    <a:pt x="139132" y="51362"/>
                  </a:cubicBezTo>
                  <a:lnTo>
                    <a:pt x="139132" y="78287"/>
                  </a:lnTo>
                  <a:cubicBezTo>
                    <a:pt x="140543" y="78444"/>
                    <a:pt x="141965" y="78444"/>
                    <a:pt x="143376" y="78287"/>
                  </a:cubicBezTo>
                  <a:cubicBezTo>
                    <a:pt x="145262" y="78309"/>
                    <a:pt x="147123" y="77856"/>
                    <a:pt x="148790" y="76970"/>
                  </a:cubicBezTo>
                  <a:cubicBezTo>
                    <a:pt x="150864" y="75675"/>
                    <a:pt x="153228" y="74922"/>
                    <a:pt x="155668" y="74775"/>
                  </a:cubicBezTo>
                  <a:cubicBezTo>
                    <a:pt x="157693" y="74840"/>
                    <a:pt x="159600" y="75740"/>
                    <a:pt x="160936" y="77263"/>
                  </a:cubicBezTo>
                  <a:cubicBezTo>
                    <a:pt x="164740" y="81068"/>
                    <a:pt x="160936" y="84726"/>
                    <a:pt x="154643" y="87067"/>
                  </a:cubicBezTo>
                  <a:cubicBezTo>
                    <a:pt x="148351" y="89409"/>
                    <a:pt x="140010" y="91604"/>
                    <a:pt x="140010" y="98920"/>
                  </a:cubicBezTo>
                  <a:cubicBezTo>
                    <a:pt x="143096" y="110037"/>
                    <a:pt x="149984" y="119720"/>
                    <a:pt x="159472" y="126284"/>
                  </a:cubicBezTo>
                  <a:cubicBezTo>
                    <a:pt x="164595" y="130923"/>
                    <a:pt x="171155" y="133661"/>
                    <a:pt x="178056" y="134040"/>
                  </a:cubicBezTo>
                  <a:lnTo>
                    <a:pt x="179520" y="134040"/>
                  </a:lnTo>
                  <a:cubicBezTo>
                    <a:pt x="179520" y="134040"/>
                    <a:pt x="180690" y="134479"/>
                    <a:pt x="180690" y="134479"/>
                  </a:cubicBezTo>
                  <a:cubicBezTo>
                    <a:pt x="180690" y="134479"/>
                    <a:pt x="182154" y="141795"/>
                    <a:pt x="171325" y="144576"/>
                  </a:cubicBezTo>
                  <a:cubicBezTo>
                    <a:pt x="160497" y="147356"/>
                    <a:pt x="158302" y="145454"/>
                    <a:pt x="156692" y="151160"/>
                  </a:cubicBezTo>
                  <a:cubicBezTo>
                    <a:pt x="155082" y="156867"/>
                    <a:pt x="155375" y="159209"/>
                    <a:pt x="152595" y="159209"/>
                  </a:cubicBezTo>
                  <a:cubicBezTo>
                    <a:pt x="149814" y="159209"/>
                    <a:pt x="142644" y="157599"/>
                    <a:pt x="135474" y="157599"/>
                  </a:cubicBezTo>
                  <a:cubicBezTo>
                    <a:pt x="132536" y="157442"/>
                    <a:pt x="129597" y="157892"/>
                    <a:pt x="126840" y="158916"/>
                  </a:cubicBezTo>
                  <a:cubicBezTo>
                    <a:pt x="120256" y="161843"/>
                    <a:pt x="109720" y="174574"/>
                    <a:pt x="94208" y="175305"/>
                  </a:cubicBezTo>
                  <a:cubicBezTo>
                    <a:pt x="78697" y="176037"/>
                    <a:pt x="68015" y="161843"/>
                    <a:pt x="61430" y="158916"/>
                  </a:cubicBezTo>
                  <a:cubicBezTo>
                    <a:pt x="58673" y="157892"/>
                    <a:pt x="55735" y="157442"/>
                    <a:pt x="52797" y="157599"/>
                  </a:cubicBezTo>
                  <a:cubicBezTo>
                    <a:pt x="45626" y="157599"/>
                    <a:pt x="38164" y="159209"/>
                    <a:pt x="35676" y="159209"/>
                  </a:cubicBezTo>
                  <a:cubicBezTo>
                    <a:pt x="33188" y="159209"/>
                    <a:pt x="33774" y="156721"/>
                    <a:pt x="31579" y="151160"/>
                  </a:cubicBezTo>
                  <a:cubicBezTo>
                    <a:pt x="29384" y="145600"/>
                    <a:pt x="27189" y="147356"/>
                    <a:pt x="16945" y="144576"/>
                  </a:cubicBezTo>
                  <a:cubicBezTo>
                    <a:pt x="6702" y="141795"/>
                    <a:pt x="7288" y="135942"/>
                    <a:pt x="7580" y="134479"/>
                  </a:cubicBezTo>
                  <a:cubicBezTo>
                    <a:pt x="7873" y="133015"/>
                    <a:pt x="7580" y="134479"/>
                    <a:pt x="8605" y="134479"/>
                  </a:cubicBezTo>
                  <a:lnTo>
                    <a:pt x="10068" y="134479"/>
                  </a:lnTo>
                  <a:cubicBezTo>
                    <a:pt x="17014" y="134110"/>
                    <a:pt x="23624" y="131372"/>
                    <a:pt x="28798" y="126723"/>
                  </a:cubicBezTo>
                  <a:cubicBezTo>
                    <a:pt x="38259" y="120162"/>
                    <a:pt x="45099" y="110472"/>
                    <a:pt x="48114" y="99359"/>
                  </a:cubicBezTo>
                  <a:cubicBezTo>
                    <a:pt x="48114" y="92043"/>
                    <a:pt x="39188" y="89848"/>
                    <a:pt x="33481" y="87506"/>
                  </a:cubicBezTo>
                  <a:cubicBezTo>
                    <a:pt x="27774" y="85165"/>
                    <a:pt x="23384" y="81507"/>
                    <a:pt x="27189" y="77702"/>
                  </a:cubicBezTo>
                  <a:cubicBezTo>
                    <a:pt x="28299" y="76732"/>
                    <a:pt x="29676" y="76120"/>
                    <a:pt x="31140" y="75946"/>
                  </a:cubicBezTo>
                  <a:cubicBezTo>
                    <a:pt x="33580" y="76092"/>
                    <a:pt x="35944" y="76846"/>
                    <a:pt x="38017" y="78141"/>
                  </a:cubicBezTo>
                  <a:cubicBezTo>
                    <a:pt x="39683" y="79026"/>
                    <a:pt x="41545" y="79479"/>
                    <a:pt x="43431" y="79458"/>
                  </a:cubicBezTo>
                  <a:cubicBezTo>
                    <a:pt x="44842" y="79615"/>
                    <a:pt x="46265" y="79615"/>
                    <a:pt x="47675" y="79458"/>
                  </a:cubicBezTo>
                  <a:lnTo>
                    <a:pt x="47675" y="51362"/>
                  </a:lnTo>
                  <a:cubicBezTo>
                    <a:pt x="47593" y="26633"/>
                    <a:pt x="67575" y="6519"/>
                    <a:pt x="92303" y="6437"/>
                  </a:cubicBezTo>
                  <a:cubicBezTo>
                    <a:pt x="92499" y="6436"/>
                    <a:pt x="92695" y="6437"/>
                    <a:pt x="92892" y="6439"/>
                  </a:cubicBezTo>
                  <a:lnTo>
                    <a:pt x="94501" y="6439"/>
                  </a:lnTo>
                  <a:moveTo>
                    <a:pt x="94501" y="0"/>
                  </a:moveTo>
                  <a:lnTo>
                    <a:pt x="92892" y="0"/>
                  </a:lnTo>
                  <a:cubicBezTo>
                    <a:pt x="64502" y="0"/>
                    <a:pt x="41463" y="22972"/>
                    <a:pt x="41383" y="51362"/>
                  </a:cubicBezTo>
                  <a:lnTo>
                    <a:pt x="41383" y="71849"/>
                  </a:lnTo>
                  <a:lnTo>
                    <a:pt x="41383" y="71849"/>
                  </a:lnTo>
                  <a:cubicBezTo>
                    <a:pt x="38367" y="70047"/>
                    <a:pt x="34943" y="69041"/>
                    <a:pt x="31432" y="68922"/>
                  </a:cubicBezTo>
                  <a:cubicBezTo>
                    <a:pt x="27653" y="68956"/>
                    <a:pt x="24055" y="70544"/>
                    <a:pt x="21482" y="73312"/>
                  </a:cubicBezTo>
                  <a:cubicBezTo>
                    <a:pt x="18850" y="75779"/>
                    <a:pt x="17687" y="79436"/>
                    <a:pt x="18409" y="82970"/>
                  </a:cubicBezTo>
                  <a:cubicBezTo>
                    <a:pt x="19287" y="87506"/>
                    <a:pt x="23238" y="91165"/>
                    <a:pt x="30115" y="93799"/>
                  </a:cubicBezTo>
                  <a:lnTo>
                    <a:pt x="32310" y="94677"/>
                  </a:lnTo>
                  <a:cubicBezTo>
                    <a:pt x="35530" y="95847"/>
                    <a:pt x="39773" y="97310"/>
                    <a:pt x="40505" y="99213"/>
                  </a:cubicBezTo>
                  <a:cubicBezTo>
                    <a:pt x="37598" y="108328"/>
                    <a:pt x="31726" y="116209"/>
                    <a:pt x="23823" y="121602"/>
                  </a:cubicBezTo>
                  <a:cubicBezTo>
                    <a:pt x="19881" y="125462"/>
                    <a:pt x="14694" y="127796"/>
                    <a:pt x="9190" y="128186"/>
                  </a:cubicBezTo>
                  <a:lnTo>
                    <a:pt x="7727" y="128186"/>
                  </a:lnTo>
                  <a:cubicBezTo>
                    <a:pt x="4308" y="128014"/>
                    <a:pt x="1244" y="130280"/>
                    <a:pt x="410" y="133601"/>
                  </a:cubicBezTo>
                  <a:cubicBezTo>
                    <a:pt x="-1200" y="140039"/>
                    <a:pt x="1581" y="148234"/>
                    <a:pt x="15043" y="151453"/>
                  </a:cubicBezTo>
                  <a:cubicBezTo>
                    <a:pt x="17744" y="152135"/>
                    <a:pt x="20479" y="152674"/>
                    <a:pt x="23238" y="153063"/>
                  </a:cubicBezTo>
                  <a:lnTo>
                    <a:pt x="25579" y="153063"/>
                  </a:lnTo>
                  <a:lnTo>
                    <a:pt x="25579" y="153063"/>
                  </a:lnTo>
                  <a:cubicBezTo>
                    <a:pt x="26047" y="154405"/>
                    <a:pt x="26438" y="155773"/>
                    <a:pt x="26750" y="157160"/>
                  </a:cubicBezTo>
                  <a:cubicBezTo>
                    <a:pt x="27260" y="161739"/>
                    <a:pt x="31071" y="165236"/>
                    <a:pt x="35676" y="165355"/>
                  </a:cubicBezTo>
                  <a:lnTo>
                    <a:pt x="40212" y="165355"/>
                  </a:lnTo>
                  <a:cubicBezTo>
                    <a:pt x="44382" y="164759"/>
                    <a:pt x="48585" y="164418"/>
                    <a:pt x="52797" y="164330"/>
                  </a:cubicBezTo>
                  <a:cubicBezTo>
                    <a:pt x="54826" y="164155"/>
                    <a:pt x="56869" y="164403"/>
                    <a:pt x="58796" y="165062"/>
                  </a:cubicBezTo>
                  <a:cubicBezTo>
                    <a:pt x="60829" y="166180"/>
                    <a:pt x="62741" y="167504"/>
                    <a:pt x="64503" y="169013"/>
                  </a:cubicBezTo>
                  <a:cubicBezTo>
                    <a:pt x="72731" y="176190"/>
                    <a:pt x="82929" y="180728"/>
                    <a:pt x="93770" y="182036"/>
                  </a:cubicBezTo>
                  <a:lnTo>
                    <a:pt x="94501" y="182036"/>
                  </a:lnTo>
                  <a:cubicBezTo>
                    <a:pt x="105352" y="180765"/>
                    <a:pt x="115558" y="176223"/>
                    <a:pt x="123767" y="169013"/>
                  </a:cubicBezTo>
                  <a:cubicBezTo>
                    <a:pt x="125601" y="167529"/>
                    <a:pt x="127559" y="166208"/>
                    <a:pt x="129621" y="165062"/>
                  </a:cubicBezTo>
                  <a:cubicBezTo>
                    <a:pt x="131486" y="164358"/>
                    <a:pt x="133493" y="164106"/>
                    <a:pt x="135474" y="164330"/>
                  </a:cubicBezTo>
                  <a:cubicBezTo>
                    <a:pt x="139685" y="164418"/>
                    <a:pt x="143888" y="164759"/>
                    <a:pt x="148059" y="165355"/>
                  </a:cubicBezTo>
                  <a:lnTo>
                    <a:pt x="152595" y="165355"/>
                  </a:lnTo>
                  <a:cubicBezTo>
                    <a:pt x="157200" y="165236"/>
                    <a:pt x="161010" y="161739"/>
                    <a:pt x="161521" y="157160"/>
                  </a:cubicBezTo>
                  <a:cubicBezTo>
                    <a:pt x="161822" y="155754"/>
                    <a:pt x="162264" y="154381"/>
                    <a:pt x="162838" y="153063"/>
                  </a:cubicBezTo>
                  <a:lnTo>
                    <a:pt x="162838" y="153063"/>
                  </a:lnTo>
                  <a:lnTo>
                    <a:pt x="165326" y="153063"/>
                  </a:lnTo>
                  <a:cubicBezTo>
                    <a:pt x="167228" y="153063"/>
                    <a:pt x="169862" y="152331"/>
                    <a:pt x="173374" y="151453"/>
                  </a:cubicBezTo>
                  <a:cubicBezTo>
                    <a:pt x="186251" y="148088"/>
                    <a:pt x="189031" y="140039"/>
                    <a:pt x="188007" y="133601"/>
                  </a:cubicBezTo>
                  <a:cubicBezTo>
                    <a:pt x="187226" y="130247"/>
                    <a:pt x="184126" y="127954"/>
                    <a:pt x="180690" y="128186"/>
                  </a:cubicBezTo>
                  <a:lnTo>
                    <a:pt x="179227" y="128186"/>
                  </a:lnTo>
                  <a:cubicBezTo>
                    <a:pt x="173735" y="127747"/>
                    <a:pt x="168565" y="125421"/>
                    <a:pt x="164594" y="121602"/>
                  </a:cubicBezTo>
                  <a:cubicBezTo>
                    <a:pt x="156691" y="116209"/>
                    <a:pt x="150820" y="108328"/>
                    <a:pt x="147912" y="99213"/>
                  </a:cubicBezTo>
                  <a:cubicBezTo>
                    <a:pt x="147912" y="97310"/>
                    <a:pt x="152887" y="95847"/>
                    <a:pt x="156107" y="94677"/>
                  </a:cubicBezTo>
                  <a:lnTo>
                    <a:pt x="158302" y="93799"/>
                  </a:lnTo>
                  <a:cubicBezTo>
                    <a:pt x="165179" y="91165"/>
                    <a:pt x="169130" y="87506"/>
                    <a:pt x="170008" y="82970"/>
                  </a:cubicBezTo>
                  <a:cubicBezTo>
                    <a:pt x="170730" y="79436"/>
                    <a:pt x="169566" y="75779"/>
                    <a:pt x="166935" y="73312"/>
                  </a:cubicBezTo>
                  <a:cubicBezTo>
                    <a:pt x="164363" y="70544"/>
                    <a:pt x="160764" y="68956"/>
                    <a:pt x="156985" y="68922"/>
                  </a:cubicBezTo>
                  <a:cubicBezTo>
                    <a:pt x="153477" y="69066"/>
                    <a:pt x="150060" y="70071"/>
                    <a:pt x="147034" y="71849"/>
                  </a:cubicBezTo>
                  <a:lnTo>
                    <a:pt x="147034" y="71849"/>
                  </a:lnTo>
                  <a:lnTo>
                    <a:pt x="147034" y="51362"/>
                  </a:lnTo>
                  <a:cubicBezTo>
                    <a:pt x="146954" y="22972"/>
                    <a:pt x="123915" y="0"/>
                    <a:pt x="95525" y="0"/>
                  </a:cubicBezTo>
                  <a:close/>
                </a:path>
              </a:pathLst>
            </a:custGeom>
            <a:solidFill>
              <a:srgbClr val="404040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A45360FF-D1CF-B1D5-6E61-2A1E09A073D5}"/>
                </a:ext>
              </a:extLst>
            </p:cNvPr>
            <p:cNvSpPr/>
            <p:nvPr/>
          </p:nvSpPr>
          <p:spPr>
            <a:xfrm>
              <a:off x="2157761" y="2803431"/>
              <a:ext cx="174493" cy="169305"/>
            </a:xfrm>
            <a:custGeom>
              <a:avLst/>
              <a:gdLst>
                <a:gd name="connsiteX0" fmla="*/ 86695 w 174493"/>
                <a:gd name="connsiteY0" fmla="*/ 169306 h 169305"/>
                <a:gd name="connsiteX1" fmla="*/ 119326 w 174493"/>
                <a:gd name="connsiteY1" fmla="*/ 152917 h 169305"/>
                <a:gd name="connsiteX2" fmla="*/ 145081 w 174493"/>
                <a:gd name="connsiteY2" fmla="*/ 152917 h 169305"/>
                <a:gd name="connsiteX3" fmla="*/ 149178 w 174493"/>
                <a:gd name="connsiteY3" fmla="*/ 144868 h 169305"/>
                <a:gd name="connsiteX4" fmla="*/ 163811 w 174493"/>
                <a:gd name="connsiteY4" fmla="*/ 138284 h 169305"/>
                <a:gd name="connsiteX5" fmla="*/ 174493 w 174493"/>
                <a:gd name="connsiteY5" fmla="*/ 128040 h 169305"/>
                <a:gd name="connsiteX6" fmla="*/ 153422 w 174493"/>
                <a:gd name="connsiteY6" fmla="*/ 119992 h 169305"/>
                <a:gd name="connsiteX7" fmla="*/ 133960 w 174493"/>
                <a:gd name="connsiteY7" fmla="*/ 92628 h 169305"/>
                <a:gd name="connsiteX8" fmla="*/ 148593 w 174493"/>
                <a:gd name="connsiteY8" fmla="*/ 80775 h 169305"/>
                <a:gd name="connsiteX9" fmla="*/ 154885 w 174493"/>
                <a:gd name="connsiteY9" fmla="*/ 70971 h 169305"/>
                <a:gd name="connsiteX10" fmla="*/ 142740 w 174493"/>
                <a:gd name="connsiteY10" fmla="*/ 70971 h 169305"/>
                <a:gd name="connsiteX11" fmla="*/ 133082 w 174493"/>
                <a:gd name="connsiteY11" fmla="*/ 71703 h 169305"/>
                <a:gd name="connsiteX12" fmla="*/ 133082 w 174493"/>
                <a:gd name="connsiteY12" fmla="*/ 44924 h 169305"/>
                <a:gd name="connsiteX13" fmla="*/ 88450 w 174493"/>
                <a:gd name="connsiteY13" fmla="*/ 0 h 169305"/>
                <a:gd name="connsiteX14" fmla="*/ 88158 w 174493"/>
                <a:gd name="connsiteY14" fmla="*/ 0 h 169305"/>
                <a:gd name="connsiteX15" fmla="*/ 86695 w 174493"/>
                <a:gd name="connsiteY15" fmla="*/ 0 h 169305"/>
                <a:gd name="connsiteX16" fmla="*/ 41771 w 174493"/>
                <a:gd name="connsiteY16" fmla="*/ 44631 h 169305"/>
                <a:gd name="connsiteX17" fmla="*/ 41771 w 174493"/>
                <a:gd name="connsiteY17" fmla="*/ 44924 h 169305"/>
                <a:gd name="connsiteX18" fmla="*/ 41771 w 174493"/>
                <a:gd name="connsiteY18" fmla="*/ 71849 h 169305"/>
                <a:gd name="connsiteX19" fmla="*/ 32113 w 174493"/>
                <a:gd name="connsiteY19" fmla="*/ 71117 h 169305"/>
                <a:gd name="connsiteX20" fmla="*/ 19967 w 174493"/>
                <a:gd name="connsiteY20" fmla="*/ 71117 h 169305"/>
                <a:gd name="connsiteX21" fmla="*/ 26260 w 174493"/>
                <a:gd name="connsiteY21" fmla="*/ 80922 h 169305"/>
                <a:gd name="connsiteX22" fmla="*/ 40893 w 174493"/>
                <a:gd name="connsiteY22" fmla="*/ 92774 h 169305"/>
                <a:gd name="connsiteX23" fmla="*/ 21577 w 174493"/>
                <a:gd name="connsiteY23" fmla="*/ 120138 h 169305"/>
                <a:gd name="connsiteX24" fmla="*/ 66 w 174493"/>
                <a:gd name="connsiteY24" fmla="*/ 128040 h 169305"/>
                <a:gd name="connsiteX25" fmla="*/ 9431 w 174493"/>
                <a:gd name="connsiteY25" fmla="*/ 138137 h 169305"/>
                <a:gd name="connsiteX26" fmla="*/ 24065 w 174493"/>
                <a:gd name="connsiteY26" fmla="*/ 144722 h 169305"/>
                <a:gd name="connsiteX27" fmla="*/ 28162 w 174493"/>
                <a:gd name="connsiteY27" fmla="*/ 152770 h 169305"/>
                <a:gd name="connsiteX28" fmla="*/ 53916 w 174493"/>
                <a:gd name="connsiteY28" fmla="*/ 152770 h 169305"/>
                <a:gd name="connsiteX29" fmla="*/ 86695 w 174493"/>
                <a:gd name="connsiteY29" fmla="*/ 169306 h 169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74493" h="169305">
                  <a:moveTo>
                    <a:pt x="86695" y="169306"/>
                  </a:moveTo>
                  <a:cubicBezTo>
                    <a:pt x="102206" y="168574"/>
                    <a:pt x="112742" y="155843"/>
                    <a:pt x="119326" y="152917"/>
                  </a:cubicBezTo>
                  <a:cubicBezTo>
                    <a:pt x="127839" y="151333"/>
                    <a:pt x="136569" y="151333"/>
                    <a:pt x="145081" y="152917"/>
                  </a:cubicBezTo>
                  <a:cubicBezTo>
                    <a:pt x="147861" y="152917"/>
                    <a:pt x="146983" y="150429"/>
                    <a:pt x="149178" y="144868"/>
                  </a:cubicBezTo>
                  <a:cubicBezTo>
                    <a:pt x="151373" y="139308"/>
                    <a:pt x="153568" y="141064"/>
                    <a:pt x="163811" y="138284"/>
                  </a:cubicBezTo>
                  <a:cubicBezTo>
                    <a:pt x="174054" y="135503"/>
                    <a:pt x="174493" y="129943"/>
                    <a:pt x="174493" y="128040"/>
                  </a:cubicBezTo>
                  <a:cubicBezTo>
                    <a:pt x="166719" y="128040"/>
                    <a:pt x="159216" y="125175"/>
                    <a:pt x="153422" y="119992"/>
                  </a:cubicBezTo>
                  <a:cubicBezTo>
                    <a:pt x="143934" y="113428"/>
                    <a:pt x="137046" y="103745"/>
                    <a:pt x="133960" y="92628"/>
                  </a:cubicBezTo>
                  <a:cubicBezTo>
                    <a:pt x="133960" y="85312"/>
                    <a:pt x="142886" y="83117"/>
                    <a:pt x="148593" y="80775"/>
                  </a:cubicBezTo>
                  <a:cubicBezTo>
                    <a:pt x="154300" y="78434"/>
                    <a:pt x="158690" y="74776"/>
                    <a:pt x="154885" y="70971"/>
                  </a:cubicBezTo>
                  <a:cubicBezTo>
                    <a:pt x="151080" y="67166"/>
                    <a:pt x="147276" y="68337"/>
                    <a:pt x="142740" y="70971"/>
                  </a:cubicBezTo>
                  <a:cubicBezTo>
                    <a:pt x="139697" y="72304"/>
                    <a:pt x="136291" y="72562"/>
                    <a:pt x="133082" y="71703"/>
                  </a:cubicBezTo>
                  <a:lnTo>
                    <a:pt x="133082" y="44924"/>
                  </a:lnTo>
                  <a:cubicBezTo>
                    <a:pt x="133162" y="20194"/>
                    <a:pt x="113181" y="81"/>
                    <a:pt x="88450" y="0"/>
                  </a:cubicBezTo>
                  <a:cubicBezTo>
                    <a:pt x="88354" y="0"/>
                    <a:pt x="88256" y="0"/>
                    <a:pt x="88158" y="0"/>
                  </a:cubicBezTo>
                  <a:lnTo>
                    <a:pt x="86695" y="0"/>
                  </a:lnTo>
                  <a:cubicBezTo>
                    <a:pt x="61964" y="-81"/>
                    <a:pt x="41852" y="19901"/>
                    <a:pt x="41771" y="44631"/>
                  </a:cubicBezTo>
                  <a:cubicBezTo>
                    <a:pt x="41770" y="44728"/>
                    <a:pt x="41770" y="44826"/>
                    <a:pt x="41771" y="44924"/>
                  </a:cubicBezTo>
                  <a:lnTo>
                    <a:pt x="41771" y="71849"/>
                  </a:lnTo>
                  <a:cubicBezTo>
                    <a:pt x="38562" y="72708"/>
                    <a:pt x="35156" y="72450"/>
                    <a:pt x="32113" y="71117"/>
                  </a:cubicBezTo>
                  <a:cubicBezTo>
                    <a:pt x="27577" y="68776"/>
                    <a:pt x="23772" y="67605"/>
                    <a:pt x="19967" y="71117"/>
                  </a:cubicBezTo>
                  <a:cubicBezTo>
                    <a:pt x="16163" y="74629"/>
                    <a:pt x="19967" y="78580"/>
                    <a:pt x="26260" y="80922"/>
                  </a:cubicBezTo>
                  <a:cubicBezTo>
                    <a:pt x="32552" y="83263"/>
                    <a:pt x="40893" y="85458"/>
                    <a:pt x="40893" y="92774"/>
                  </a:cubicBezTo>
                  <a:cubicBezTo>
                    <a:pt x="37878" y="103887"/>
                    <a:pt x="31038" y="113577"/>
                    <a:pt x="21577" y="120138"/>
                  </a:cubicBezTo>
                  <a:cubicBezTo>
                    <a:pt x="15633" y="125346"/>
                    <a:pt x="7968" y="128162"/>
                    <a:pt x="66" y="128040"/>
                  </a:cubicBezTo>
                  <a:cubicBezTo>
                    <a:pt x="66" y="129504"/>
                    <a:pt x="-1397" y="135357"/>
                    <a:pt x="9431" y="138137"/>
                  </a:cubicBezTo>
                  <a:cubicBezTo>
                    <a:pt x="20260" y="140918"/>
                    <a:pt x="22455" y="139015"/>
                    <a:pt x="24065" y="144722"/>
                  </a:cubicBezTo>
                  <a:cubicBezTo>
                    <a:pt x="25674" y="150429"/>
                    <a:pt x="25382" y="152770"/>
                    <a:pt x="28162" y="152770"/>
                  </a:cubicBezTo>
                  <a:cubicBezTo>
                    <a:pt x="36674" y="151187"/>
                    <a:pt x="45404" y="151187"/>
                    <a:pt x="53916" y="152770"/>
                  </a:cubicBezTo>
                  <a:cubicBezTo>
                    <a:pt x="61086" y="155843"/>
                    <a:pt x="72061" y="168574"/>
                    <a:pt x="86695" y="169306"/>
                  </a:cubicBezTo>
                  <a:close/>
                </a:path>
              </a:pathLst>
            </a:custGeom>
            <a:solidFill>
              <a:srgbClr val="FFFF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67" name="Graphic 20">
            <a:extLst>
              <a:ext uri="{FF2B5EF4-FFF2-40B4-BE49-F238E27FC236}">
                <a16:creationId xmlns:a16="http://schemas.microsoft.com/office/drawing/2014/main" id="{FF9C3153-EAB9-AEFB-EEC2-FF8A7CE36CFD}"/>
              </a:ext>
            </a:extLst>
          </p:cNvPr>
          <p:cNvGrpSpPr/>
          <p:nvPr/>
        </p:nvGrpSpPr>
        <p:grpSpPr>
          <a:xfrm>
            <a:off x="3137079" y="2697341"/>
            <a:ext cx="381486" cy="381486"/>
            <a:chOff x="3137079" y="2697341"/>
            <a:chExt cx="381486" cy="381486"/>
          </a:xfrm>
        </p:grpSpPr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EB3BC138-0A48-2F07-8EF5-04D66590956D}"/>
                </a:ext>
              </a:extLst>
            </p:cNvPr>
            <p:cNvSpPr/>
            <p:nvPr/>
          </p:nvSpPr>
          <p:spPr>
            <a:xfrm>
              <a:off x="3137079" y="2697341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007AB5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6C561B5F-532C-87FE-1ED7-2C62B79EC1B9}"/>
                </a:ext>
              </a:extLst>
            </p:cNvPr>
            <p:cNvSpPr/>
            <p:nvPr/>
          </p:nvSpPr>
          <p:spPr>
            <a:xfrm>
              <a:off x="3245071" y="2805625"/>
              <a:ext cx="39802" cy="165062"/>
            </a:xfrm>
            <a:custGeom>
              <a:avLst/>
              <a:gdLst>
                <a:gd name="connsiteX0" fmla="*/ 2781 w 39802"/>
                <a:gd name="connsiteY0" fmla="*/ 54729 h 165062"/>
                <a:gd name="connsiteX1" fmla="*/ 37022 w 39802"/>
                <a:gd name="connsiteY1" fmla="*/ 54729 h 165062"/>
                <a:gd name="connsiteX2" fmla="*/ 37022 w 39802"/>
                <a:gd name="connsiteY2" fmla="*/ 165063 h 165062"/>
                <a:gd name="connsiteX3" fmla="*/ 2781 w 39802"/>
                <a:gd name="connsiteY3" fmla="*/ 165063 h 165062"/>
                <a:gd name="connsiteX4" fmla="*/ 19902 w 39802"/>
                <a:gd name="connsiteY4" fmla="*/ 1 h 165062"/>
                <a:gd name="connsiteX5" fmla="*/ 39803 w 39802"/>
                <a:gd name="connsiteY5" fmla="*/ 19902 h 165062"/>
                <a:gd name="connsiteX6" fmla="*/ 19901 w 39802"/>
                <a:gd name="connsiteY6" fmla="*/ 39803 h 165062"/>
                <a:gd name="connsiteX7" fmla="*/ 0 w 39802"/>
                <a:gd name="connsiteY7" fmla="*/ 19901 h 165062"/>
                <a:gd name="connsiteX8" fmla="*/ 1 w 39802"/>
                <a:gd name="connsiteY8" fmla="*/ 19755 h 165062"/>
                <a:gd name="connsiteX9" fmla="*/ 19755 w 39802"/>
                <a:gd name="connsiteY9" fmla="*/ 0 h 165062"/>
                <a:gd name="connsiteX10" fmla="*/ 19902 w 39802"/>
                <a:gd name="connsiteY10" fmla="*/ 1 h 165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802" h="165062">
                  <a:moveTo>
                    <a:pt x="2781" y="54729"/>
                  </a:moveTo>
                  <a:lnTo>
                    <a:pt x="37022" y="54729"/>
                  </a:lnTo>
                  <a:lnTo>
                    <a:pt x="37022" y="165063"/>
                  </a:lnTo>
                  <a:lnTo>
                    <a:pt x="2781" y="165063"/>
                  </a:lnTo>
                  <a:close/>
                  <a:moveTo>
                    <a:pt x="19902" y="1"/>
                  </a:moveTo>
                  <a:cubicBezTo>
                    <a:pt x="30893" y="1"/>
                    <a:pt x="39803" y="8911"/>
                    <a:pt x="39803" y="19902"/>
                  </a:cubicBezTo>
                  <a:cubicBezTo>
                    <a:pt x="39801" y="30893"/>
                    <a:pt x="30892" y="39803"/>
                    <a:pt x="19901" y="39803"/>
                  </a:cubicBezTo>
                  <a:cubicBezTo>
                    <a:pt x="8910" y="39803"/>
                    <a:pt x="0" y="30892"/>
                    <a:pt x="0" y="19901"/>
                  </a:cubicBezTo>
                  <a:cubicBezTo>
                    <a:pt x="0" y="19853"/>
                    <a:pt x="0" y="19804"/>
                    <a:pt x="1" y="19755"/>
                  </a:cubicBezTo>
                  <a:cubicBezTo>
                    <a:pt x="0" y="8845"/>
                    <a:pt x="8845" y="0"/>
                    <a:pt x="19755" y="0"/>
                  </a:cubicBezTo>
                  <a:cubicBezTo>
                    <a:pt x="19804" y="0"/>
                    <a:pt x="19853" y="0"/>
                    <a:pt x="19902" y="1"/>
                  </a:cubicBezTo>
                </a:path>
              </a:pathLst>
            </a:custGeom>
            <a:solidFill>
              <a:srgbClr val="FFFF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38E2950A-8E2A-1B4B-548C-AA114ACD76F6}"/>
                </a:ext>
              </a:extLst>
            </p:cNvPr>
            <p:cNvSpPr/>
            <p:nvPr/>
          </p:nvSpPr>
          <p:spPr>
            <a:xfrm>
              <a:off x="3303604" y="2858230"/>
              <a:ext cx="106968" cy="113189"/>
            </a:xfrm>
            <a:custGeom>
              <a:avLst/>
              <a:gdLst>
                <a:gd name="connsiteX0" fmla="*/ 0 w 106968"/>
                <a:gd name="connsiteY0" fmla="*/ 2124 h 113189"/>
                <a:gd name="connsiteX1" fmla="*/ 32925 w 106968"/>
                <a:gd name="connsiteY1" fmla="*/ 2124 h 113189"/>
                <a:gd name="connsiteX2" fmla="*/ 32925 w 106968"/>
                <a:gd name="connsiteY2" fmla="*/ 16757 h 113189"/>
                <a:gd name="connsiteX3" fmla="*/ 32925 w 106968"/>
                <a:gd name="connsiteY3" fmla="*/ 16757 h 113189"/>
                <a:gd name="connsiteX4" fmla="*/ 65849 w 106968"/>
                <a:gd name="connsiteY4" fmla="*/ 76 h 113189"/>
                <a:gd name="connsiteX5" fmla="*/ 106968 w 106968"/>
                <a:gd name="connsiteY5" fmla="*/ 52609 h 113189"/>
                <a:gd name="connsiteX6" fmla="*/ 106968 w 106968"/>
                <a:gd name="connsiteY6" fmla="*/ 113190 h 113189"/>
                <a:gd name="connsiteX7" fmla="*/ 72727 w 106968"/>
                <a:gd name="connsiteY7" fmla="*/ 113190 h 113189"/>
                <a:gd name="connsiteX8" fmla="*/ 72727 w 106968"/>
                <a:gd name="connsiteY8" fmla="*/ 58608 h 113189"/>
                <a:gd name="connsiteX9" fmla="*/ 54874 w 106968"/>
                <a:gd name="connsiteY9" fmla="*/ 29342 h 113189"/>
                <a:gd name="connsiteX10" fmla="*/ 34388 w 106968"/>
                <a:gd name="connsiteY10" fmla="*/ 57730 h 113189"/>
                <a:gd name="connsiteX11" fmla="*/ 34388 w 106968"/>
                <a:gd name="connsiteY11" fmla="*/ 112312 h 113189"/>
                <a:gd name="connsiteX12" fmla="*/ 0 w 106968"/>
                <a:gd name="connsiteY12" fmla="*/ 112312 h 113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6968" h="113189">
                  <a:moveTo>
                    <a:pt x="0" y="2124"/>
                  </a:moveTo>
                  <a:lnTo>
                    <a:pt x="32925" y="2124"/>
                  </a:lnTo>
                  <a:lnTo>
                    <a:pt x="32925" y="16757"/>
                  </a:lnTo>
                  <a:lnTo>
                    <a:pt x="32925" y="16757"/>
                  </a:lnTo>
                  <a:cubicBezTo>
                    <a:pt x="40041" y="5614"/>
                    <a:pt x="52654" y="-776"/>
                    <a:pt x="65849" y="76"/>
                  </a:cubicBezTo>
                  <a:cubicBezTo>
                    <a:pt x="100530" y="76"/>
                    <a:pt x="106968" y="22903"/>
                    <a:pt x="106968" y="52609"/>
                  </a:cubicBezTo>
                  <a:lnTo>
                    <a:pt x="106968" y="113190"/>
                  </a:lnTo>
                  <a:lnTo>
                    <a:pt x="72727" y="113190"/>
                  </a:lnTo>
                  <a:lnTo>
                    <a:pt x="72727" y="58608"/>
                  </a:lnTo>
                  <a:cubicBezTo>
                    <a:pt x="72727" y="45877"/>
                    <a:pt x="72727" y="29342"/>
                    <a:pt x="54874" y="29342"/>
                  </a:cubicBezTo>
                  <a:cubicBezTo>
                    <a:pt x="37022" y="29342"/>
                    <a:pt x="34388" y="43975"/>
                    <a:pt x="34388" y="57730"/>
                  </a:cubicBezTo>
                  <a:lnTo>
                    <a:pt x="34388" y="112312"/>
                  </a:lnTo>
                  <a:lnTo>
                    <a:pt x="0" y="112312"/>
                  </a:lnTo>
                  <a:close/>
                </a:path>
              </a:pathLst>
            </a:custGeom>
            <a:solidFill>
              <a:srgbClr val="FFFF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73" name="Graphic 22">
            <a:extLst>
              <a:ext uri="{FF2B5EF4-FFF2-40B4-BE49-F238E27FC236}">
                <a16:creationId xmlns:a16="http://schemas.microsoft.com/office/drawing/2014/main" id="{F8406F56-92E2-EF79-BA51-32D527F5A081}"/>
              </a:ext>
            </a:extLst>
          </p:cNvPr>
          <p:cNvGrpSpPr/>
          <p:nvPr/>
        </p:nvGrpSpPr>
        <p:grpSpPr>
          <a:xfrm>
            <a:off x="4219933" y="2697341"/>
            <a:ext cx="381486" cy="381486"/>
            <a:chOff x="4219933" y="2697341"/>
            <a:chExt cx="381486" cy="381486"/>
          </a:xfrm>
        </p:grpSpPr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41E7061E-BFA3-7956-1125-62660226EB34}"/>
                </a:ext>
              </a:extLst>
            </p:cNvPr>
            <p:cNvSpPr/>
            <p:nvPr/>
          </p:nvSpPr>
          <p:spPr>
            <a:xfrm>
              <a:off x="4219933" y="2697341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FC4D3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D9B26F9-6B8A-54FF-E07B-37015168DAC7}"/>
                </a:ext>
              </a:extLst>
            </p:cNvPr>
            <p:cNvSpPr/>
            <p:nvPr/>
          </p:nvSpPr>
          <p:spPr>
            <a:xfrm>
              <a:off x="4285645" y="2809134"/>
              <a:ext cx="155440" cy="157565"/>
            </a:xfrm>
            <a:custGeom>
              <a:avLst/>
              <a:gdLst>
                <a:gd name="connsiteX0" fmla="*/ 79156 w 155440"/>
                <a:gd name="connsiteY0" fmla="*/ 63804 h 157565"/>
                <a:gd name="connsiteX1" fmla="*/ 79156 w 155440"/>
                <a:gd name="connsiteY1" fmla="*/ 95558 h 157565"/>
                <a:gd name="connsiteX2" fmla="*/ 121446 w 155440"/>
                <a:gd name="connsiteY2" fmla="*/ 95558 h 157565"/>
                <a:gd name="connsiteX3" fmla="*/ 105934 w 155440"/>
                <a:gd name="connsiteY3" fmla="*/ 119410 h 157565"/>
                <a:gd name="connsiteX4" fmla="*/ 82960 w 155440"/>
                <a:gd name="connsiteY4" fmla="*/ 126726 h 157565"/>
                <a:gd name="connsiteX5" fmla="*/ 65986 w 155440"/>
                <a:gd name="connsiteY5" fmla="*/ 123946 h 157565"/>
                <a:gd name="connsiteX6" fmla="*/ 33354 w 155440"/>
                <a:gd name="connsiteY6" fmla="*/ 82973 h 157565"/>
                <a:gd name="connsiteX7" fmla="*/ 34378 w 155440"/>
                <a:gd name="connsiteY7" fmla="*/ 68340 h 157565"/>
                <a:gd name="connsiteX8" fmla="*/ 86326 w 155440"/>
                <a:gd name="connsiteY8" fmla="*/ 31904 h 157565"/>
                <a:gd name="connsiteX9" fmla="*/ 109446 w 155440"/>
                <a:gd name="connsiteY9" fmla="*/ 43171 h 157565"/>
                <a:gd name="connsiteX10" fmla="*/ 132274 w 155440"/>
                <a:gd name="connsiteY10" fmla="*/ 19904 h 157565"/>
                <a:gd name="connsiteX11" fmla="*/ 118373 w 155440"/>
                <a:gd name="connsiteY11" fmla="*/ 9515 h 157565"/>
                <a:gd name="connsiteX12" fmla="*/ 80619 w 155440"/>
                <a:gd name="connsiteY12" fmla="*/ 3 h 157565"/>
                <a:gd name="connsiteX13" fmla="*/ 73302 w 155440"/>
                <a:gd name="connsiteY13" fmla="*/ 3 h 157565"/>
                <a:gd name="connsiteX14" fmla="*/ 137 w 155440"/>
                <a:gd name="connsiteY14" fmla="*/ 74193 h 157565"/>
                <a:gd name="connsiteX15" fmla="*/ 1746 w 155440"/>
                <a:gd name="connsiteY15" fmla="*/ 95558 h 157565"/>
                <a:gd name="connsiteX16" fmla="*/ 33061 w 155440"/>
                <a:gd name="connsiteY16" fmla="*/ 142823 h 157565"/>
                <a:gd name="connsiteX17" fmla="*/ 75205 w 155440"/>
                <a:gd name="connsiteY17" fmla="*/ 157456 h 157565"/>
                <a:gd name="connsiteX18" fmla="*/ 101105 w 155440"/>
                <a:gd name="connsiteY18" fmla="*/ 154822 h 157565"/>
                <a:gd name="connsiteX19" fmla="*/ 139883 w 155440"/>
                <a:gd name="connsiteY19" fmla="*/ 129214 h 157565"/>
                <a:gd name="connsiteX20" fmla="*/ 153785 w 155440"/>
                <a:gd name="connsiteY20" fmla="*/ 63804 h 157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5440" h="157565">
                  <a:moveTo>
                    <a:pt x="79156" y="63804"/>
                  </a:moveTo>
                  <a:lnTo>
                    <a:pt x="79156" y="95558"/>
                  </a:lnTo>
                  <a:lnTo>
                    <a:pt x="121446" y="95558"/>
                  </a:lnTo>
                  <a:cubicBezTo>
                    <a:pt x="119738" y="105289"/>
                    <a:pt x="114136" y="113902"/>
                    <a:pt x="105934" y="119410"/>
                  </a:cubicBezTo>
                  <a:cubicBezTo>
                    <a:pt x="99058" y="123838"/>
                    <a:pt x="91130" y="126362"/>
                    <a:pt x="82960" y="126726"/>
                  </a:cubicBezTo>
                  <a:cubicBezTo>
                    <a:pt x="77172" y="126968"/>
                    <a:pt x="71395" y="126023"/>
                    <a:pt x="65986" y="123946"/>
                  </a:cubicBezTo>
                  <a:cubicBezTo>
                    <a:pt x="47843" y="118116"/>
                    <a:pt x="34977" y="101960"/>
                    <a:pt x="33354" y="82973"/>
                  </a:cubicBezTo>
                  <a:cubicBezTo>
                    <a:pt x="32852" y="78073"/>
                    <a:pt x="33199" y="73122"/>
                    <a:pt x="34378" y="68340"/>
                  </a:cubicBezTo>
                  <a:cubicBezTo>
                    <a:pt x="39509" y="44484"/>
                    <a:pt x="62148" y="28604"/>
                    <a:pt x="86326" y="31904"/>
                  </a:cubicBezTo>
                  <a:cubicBezTo>
                    <a:pt x="95002" y="33214"/>
                    <a:pt x="103069" y="37145"/>
                    <a:pt x="109446" y="43171"/>
                  </a:cubicBezTo>
                  <a:lnTo>
                    <a:pt x="132274" y="19904"/>
                  </a:lnTo>
                  <a:cubicBezTo>
                    <a:pt x="128022" y="15958"/>
                    <a:pt x="123361" y="12475"/>
                    <a:pt x="118373" y="9515"/>
                  </a:cubicBezTo>
                  <a:cubicBezTo>
                    <a:pt x="106814" y="3155"/>
                    <a:pt x="93811" y="-120"/>
                    <a:pt x="80619" y="3"/>
                  </a:cubicBezTo>
                  <a:lnTo>
                    <a:pt x="73302" y="3"/>
                  </a:lnTo>
                  <a:cubicBezTo>
                    <a:pt x="33754" y="2873"/>
                    <a:pt x="2456" y="34609"/>
                    <a:pt x="137" y="74193"/>
                  </a:cubicBezTo>
                  <a:cubicBezTo>
                    <a:pt x="-281" y="81355"/>
                    <a:pt x="260" y="88540"/>
                    <a:pt x="1746" y="95558"/>
                  </a:cubicBezTo>
                  <a:cubicBezTo>
                    <a:pt x="5899" y="114678"/>
                    <a:pt x="17074" y="131544"/>
                    <a:pt x="33061" y="142823"/>
                  </a:cubicBezTo>
                  <a:cubicBezTo>
                    <a:pt x="45352" y="151762"/>
                    <a:pt x="60019" y="156855"/>
                    <a:pt x="75205" y="157456"/>
                  </a:cubicBezTo>
                  <a:cubicBezTo>
                    <a:pt x="83922" y="157895"/>
                    <a:pt x="92655" y="157007"/>
                    <a:pt x="101105" y="154822"/>
                  </a:cubicBezTo>
                  <a:cubicBezTo>
                    <a:pt x="116631" y="151089"/>
                    <a:pt x="130354" y="142027"/>
                    <a:pt x="139883" y="129214"/>
                  </a:cubicBezTo>
                  <a:cubicBezTo>
                    <a:pt x="153339" y="110260"/>
                    <a:pt x="158368" y="86592"/>
                    <a:pt x="153785" y="63804"/>
                  </a:cubicBezTo>
                  <a:close/>
                </a:path>
              </a:pathLst>
            </a:custGeom>
            <a:solidFill>
              <a:srgbClr val="FFFF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AA98E70-28BE-A9F4-23FC-D271402BE723}"/>
                </a:ext>
              </a:extLst>
            </p:cNvPr>
            <p:cNvSpPr/>
            <p:nvPr/>
          </p:nvSpPr>
          <p:spPr>
            <a:xfrm>
              <a:off x="4458746" y="2845721"/>
              <a:ext cx="76677" cy="76677"/>
            </a:xfrm>
            <a:custGeom>
              <a:avLst/>
              <a:gdLst>
                <a:gd name="connsiteX0" fmla="*/ 75946 w 76677"/>
                <a:gd name="connsiteY0" fmla="*/ 27510 h 76677"/>
                <a:gd name="connsiteX1" fmla="*/ 49167 w 76677"/>
                <a:gd name="connsiteY1" fmla="*/ 27510 h 76677"/>
                <a:gd name="connsiteX2" fmla="*/ 49167 w 76677"/>
                <a:gd name="connsiteY2" fmla="*/ 732 h 76677"/>
                <a:gd name="connsiteX3" fmla="*/ 49167 w 76677"/>
                <a:gd name="connsiteY3" fmla="*/ 0 h 76677"/>
                <a:gd name="connsiteX4" fmla="*/ 48436 w 76677"/>
                <a:gd name="connsiteY4" fmla="*/ 0 h 76677"/>
                <a:gd name="connsiteX5" fmla="*/ 28388 w 76677"/>
                <a:gd name="connsiteY5" fmla="*/ 0 h 76677"/>
                <a:gd name="connsiteX6" fmla="*/ 27510 w 76677"/>
                <a:gd name="connsiteY6" fmla="*/ 0 h 76677"/>
                <a:gd name="connsiteX7" fmla="*/ 27510 w 76677"/>
                <a:gd name="connsiteY7" fmla="*/ 732 h 76677"/>
                <a:gd name="connsiteX8" fmla="*/ 27510 w 76677"/>
                <a:gd name="connsiteY8" fmla="*/ 27510 h 76677"/>
                <a:gd name="connsiteX9" fmla="*/ 878 w 76677"/>
                <a:gd name="connsiteY9" fmla="*/ 27510 h 76677"/>
                <a:gd name="connsiteX10" fmla="*/ 0 w 76677"/>
                <a:gd name="connsiteY10" fmla="*/ 27510 h 76677"/>
                <a:gd name="connsiteX11" fmla="*/ 0 w 76677"/>
                <a:gd name="connsiteY11" fmla="*/ 28388 h 76677"/>
                <a:gd name="connsiteX12" fmla="*/ 0 w 76677"/>
                <a:gd name="connsiteY12" fmla="*/ 48289 h 76677"/>
                <a:gd name="connsiteX13" fmla="*/ 0 w 76677"/>
                <a:gd name="connsiteY13" fmla="*/ 49167 h 76677"/>
                <a:gd name="connsiteX14" fmla="*/ 878 w 76677"/>
                <a:gd name="connsiteY14" fmla="*/ 49167 h 76677"/>
                <a:gd name="connsiteX15" fmla="*/ 27510 w 76677"/>
                <a:gd name="connsiteY15" fmla="*/ 49167 h 76677"/>
                <a:gd name="connsiteX16" fmla="*/ 27510 w 76677"/>
                <a:gd name="connsiteY16" fmla="*/ 75946 h 76677"/>
                <a:gd name="connsiteX17" fmla="*/ 27510 w 76677"/>
                <a:gd name="connsiteY17" fmla="*/ 76678 h 76677"/>
                <a:gd name="connsiteX18" fmla="*/ 28388 w 76677"/>
                <a:gd name="connsiteY18" fmla="*/ 76678 h 76677"/>
                <a:gd name="connsiteX19" fmla="*/ 48436 w 76677"/>
                <a:gd name="connsiteY19" fmla="*/ 76678 h 76677"/>
                <a:gd name="connsiteX20" fmla="*/ 49167 w 76677"/>
                <a:gd name="connsiteY20" fmla="*/ 76678 h 76677"/>
                <a:gd name="connsiteX21" fmla="*/ 49167 w 76677"/>
                <a:gd name="connsiteY21" fmla="*/ 75946 h 76677"/>
                <a:gd name="connsiteX22" fmla="*/ 49167 w 76677"/>
                <a:gd name="connsiteY22" fmla="*/ 49167 h 76677"/>
                <a:gd name="connsiteX23" fmla="*/ 75946 w 76677"/>
                <a:gd name="connsiteY23" fmla="*/ 49167 h 76677"/>
                <a:gd name="connsiteX24" fmla="*/ 76678 w 76677"/>
                <a:gd name="connsiteY24" fmla="*/ 49167 h 76677"/>
                <a:gd name="connsiteX25" fmla="*/ 76678 w 76677"/>
                <a:gd name="connsiteY25" fmla="*/ 48289 h 76677"/>
                <a:gd name="connsiteX26" fmla="*/ 76678 w 76677"/>
                <a:gd name="connsiteY26" fmla="*/ 28388 h 76677"/>
                <a:gd name="connsiteX27" fmla="*/ 76678 w 76677"/>
                <a:gd name="connsiteY27" fmla="*/ 27510 h 76677"/>
                <a:gd name="connsiteX28" fmla="*/ 75946 w 76677"/>
                <a:gd name="connsiteY28" fmla="*/ 27510 h 76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6677" h="76677">
                  <a:moveTo>
                    <a:pt x="75946" y="27510"/>
                  </a:moveTo>
                  <a:lnTo>
                    <a:pt x="49167" y="27510"/>
                  </a:lnTo>
                  <a:lnTo>
                    <a:pt x="49167" y="732"/>
                  </a:lnTo>
                  <a:lnTo>
                    <a:pt x="49167" y="0"/>
                  </a:lnTo>
                  <a:lnTo>
                    <a:pt x="48436" y="0"/>
                  </a:lnTo>
                  <a:lnTo>
                    <a:pt x="28388" y="0"/>
                  </a:lnTo>
                  <a:lnTo>
                    <a:pt x="27510" y="0"/>
                  </a:lnTo>
                  <a:lnTo>
                    <a:pt x="27510" y="732"/>
                  </a:lnTo>
                  <a:lnTo>
                    <a:pt x="27510" y="27510"/>
                  </a:lnTo>
                  <a:lnTo>
                    <a:pt x="878" y="27510"/>
                  </a:lnTo>
                  <a:lnTo>
                    <a:pt x="0" y="27510"/>
                  </a:lnTo>
                  <a:lnTo>
                    <a:pt x="0" y="28388"/>
                  </a:lnTo>
                  <a:lnTo>
                    <a:pt x="0" y="48289"/>
                  </a:lnTo>
                  <a:lnTo>
                    <a:pt x="0" y="49167"/>
                  </a:lnTo>
                  <a:lnTo>
                    <a:pt x="878" y="49167"/>
                  </a:lnTo>
                  <a:lnTo>
                    <a:pt x="27510" y="49167"/>
                  </a:lnTo>
                  <a:lnTo>
                    <a:pt x="27510" y="75946"/>
                  </a:lnTo>
                  <a:lnTo>
                    <a:pt x="27510" y="76678"/>
                  </a:lnTo>
                  <a:lnTo>
                    <a:pt x="28388" y="76678"/>
                  </a:lnTo>
                  <a:lnTo>
                    <a:pt x="48436" y="76678"/>
                  </a:lnTo>
                  <a:lnTo>
                    <a:pt x="49167" y="76678"/>
                  </a:lnTo>
                  <a:lnTo>
                    <a:pt x="49167" y="75946"/>
                  </a:lnTo>
                  <a:lnTo>
                    <a:pt x="49167" y="49167"/>
                  </a:lnTo>
                  <a:lnTo>
                    <a:pt x="75946" y="49167"/>
                  </a:lnTo>
                  <a:lnTo>
                    <a:pt x="76678" y="49167"/>
                  </a:lnTo>
                  <a:lnTo>
                    <a:pt x="76678" y="48289"/>
                  </a:lnTo>
                  <a:lnTo>
                    <a:pt x="76678" y="28388"/>
                  </a:lnTo>
                  <a:lnTo>
                    <a:pt x="76678" y="27510"/>
                  </a:lnTo>
                  <a:lnTo>
                    <a:pt x="75946" y="27510"/>
                  </a:lnTo>
                  <a:close/>
                </a:path>
              </a:pathLst>
            </a:custGeom>
            <a:solidFill>
              <a:srgbClr val="FFFF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77" name="Graphic 24">
            <a:extLst>
              <a:ext uri="{FF2B5EF4-FFF2-40B4-BE49-F238E27FC236}">
                <a16:creationId xmlns:a16="http://schemas.microsoft.com/office/drawing/2014/main" id="{DD4A1EDC-7A4B-D555-6935-D948051FAE23}"/>
              </a:ext>
            </a:extLst>
          </p:cNvPr>
          <p:cNvGrpSpPr/>
          <p:nvPr/>
        </p:nvGrpSpPr>
        <p:grpSpPr>
          <a:xfrm>
            <a:off x="5302788" y="2697341"/>
            <a:ext cx="381486" cy="381486"/>
            <a:chOff x="5302788" y="2697341"/>
            <a:chExt cx="381486" cy="381486"/>
          </a:xfrm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BA860FC8-CDDC-16D7-A8A5-0D0F35AB5C58}"/>
                </a:ext>
              </a:extLst>
            </p:cNvPr>
            <p:cNvSpPr/>
            <p:nvPr/>
          </p:nvSpPr>
          <p:spPr>
            <a:xfrm>
              <a:off x="5302788" y="2697341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0B8F21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D44ABF6B-4606-28D2-F9D1-1C41DE211E73}"/>
                </a:ext>
              </a:extLst>
            </p:cNvPr>
            <p:cNvSpPr/>
            <p:nvPr/>
          </p:nvSpPr>
          <p:spPr>
            <a:xfrm>
              <a:off x="5405220" y="2791668"/>
              <a:ext cx="184940" cy="185019"/>
            </a:xfrm>
            <a:custGeom>
              <a:avLst/>
              <a:gdLst>
                <a:gd name="connsiteX0" fmla="*/ 0 w 184940"/>
                <a:gd name="connsiteY0" fmla="*/ 185019 h 185019"/>
                <a:gd name="connsiteX1" fmla="*/ 2927 w 184940"/>
                <a:gd name="connsiteY1" fmla="*/ 174044 h 185019"/>
                <a:gd name="connsiteX2" fmla="*/ 11999 w 184940"/>
                <a:gd name="connsiteY2" fmla="*/ 140681 h 185019"/>
                <a:gd name="connsiteX3" fmla="*/ 11999 w 184940"/>
                <a:gd name="connsiteY3" fmla="*/ 135267 h 185019"/>
                <a:gd name="connsiteX4" fmla="*/ 49675 w 184940"/>
                <a:gd name="connsiteY4" fmla="*/ 10887 h 185019"/>
                <a:gd name="connsiteX5" fmla="*/ 174054 w 184940"/>
                <a:gd name="connsiteY5" fmla="*/ 48562 h 185019"/>
                <a:gd name="connsiteX6" fmla="*/ 136380 w 184940"/>
                <a:gd name="connsiteY6" fmla="*/ 172943 h 185019"/>
                <a:gd name="connsiteX7" fmla="*/ 51801 w 184940"/>
                <a:gd name="connsiteY7" fmla="*/ 174044 h 185019"/>
                <a:gd name="connsiteX8" fmla="*/ 46094 w 184940"/>
                <a:gd name="connsiteY8" fmla="*/ 174044 h 185019"/>
                <a:gd name="connsiteX9" fmla="*/ 0 w 184940"/>
                <a:gd name="connsiteY9" fmla="*/ 185019 h 185019"/>
                <a:gd name="connsiteX10" fmla="*/ 21511 w 184940"/>
                <a:gd name="connsiteY10" fmla="*/ 163948 h 185019"/>
                <a:gd name="connsiteX11" fmla="*/ 47411 w 184940"/>
                <a:gd name="connsiteY11" fmla="*/ 157070 h 185019"/>
                <a:gd name="connsiteX12" fmla="*/ 53704 w 184940"/>
                <a:gd name="connsiteY12" fmla="*/ 157948 h 185019"/>
                <a:gd name="connsiteX13" fmla="*/ 104627 w 184940"/>
                <a:gd name="connsiteY13" fmla="*/ 167606 h 185019"/>
                <a:gd name="connsiteX14" fmla="*/ 168619 w 184940"/>
                <a:gd name="connsiteY14" fmla="*/ 79805 h 185019"/>
                <a:gd name="connsiteX15" fmla="*/ 80820 w 184940"/>
                <a:gd name="connsiteY15" fmla="*/ 15813 h 185019"/>
                <a:gd name="connsiteX16" fmla="*/ 16827 w 184940"/>
                <a:gd name="connsiteY16" fmla="*/ 103614 h 185019"/>
                <a:gd name="connsiteX17" fmla="*/ 25462 w 184940"/>
                <a:gd name="connsiteY17" fmla="*/ 128828 h 185019"/>
                <a:gd name="connsiteX18" fmla="*/ 27071 w 184940"/>
                <a:gd name="connsiteY18" fmla="*/ 143461 h 185019"/>
                <a:gd name="connsiteX19" fmla="*/ 21657 w 184940"/>
                <a:gd name="connsiteY19" fmla="*/ 163948 h 185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4940" h="185019">
                  <a:moveTo>
                    <a:pt x="0" y="185019"/>
                  </a:moveTo>
                  <a:cubicBezTo>
                    <a:pt x="1024" y="181068"/>
                    <a:pt x="1902" y="177556"/>
                    <a:pt x="2927" y="174044"/>
                  </a:cubicBezTo>
                  <a:cubicBezTo>
                    <a:pt x="6000" y="162923"/>
                    <a:pt x="9073" y="151802"/>
                    <a:pt x="11999" y="140681"/>
                  </a:cubicBezTo>
                  <a:cubicBezTo>
                    <a:pt x="12580" y="138923"/>
                    <a:pt x="12580" y="137024"/>
                    <a:pt x="11999" y="135267"/>
                  </a:cubicBezTo>
                  <a:cubicBezTo>
                    <a:pt x="-11944" y="90517"/>
                    <a:pt x="4924" y="34829"/>
                    <a:pt x="49675" y="10887"/>
                  </a:cubicBezTo>
                  <a:cubicBezTo>
                    <a:pt x="94425" y="-13056"/>
                    <a:pt x="150111" y="3812"/>
                    <a:pt x="174054" y="48562"/>
                  </a:cubicBezTo>
                  <a:cubicBezTo>
                    <a:pt x="197997" y="93312"/>
                    <a:pt x="181129" y="149000"/>
                    <a:pt x="136380" y="172943"/>
                  </a:cubicBezTo>
                  <a:cubicBezTo>
                    <a:pt x="110041" y="187033"/>
                    <a:pt x="78498" y="187444"/>
                    <a:pt x="51801" y="174044"/>
                  </a:cubicBezTo>
                  <a:cubicBezTo>
                    <a:pt x="49956" y="173386"/>
                    <a:pt x="47940" y="173386"/>
                    <a:pt x="46094" y="174044"/>
                  </a:cubicBezTo>
                  <a:cubicBezTo>
                    <a:pt x="21218" y="179605"/>
                    <a:pt x="5122" y="183702"/>
                    <a:pt x="0" y="185019"/>
                  </a:cubicBezTo>
                  <a:close/>
                  <a:moveTo>
                    <a:pt x="21511" y="163948"/>
                  </a:moveTo>
                  <a:lnTo>
                    <a:pt x="47411" y="157070"/>
                  </a:lnTo>
                  <a:cubicBezTo>
                    <a:pt x="49539" y="156470"/>
                    <a:pt x="51822" y="156788"/>
                    <a:pt x="53704" y="157948"/>
                  </a:cubicBezTo>
                  <a:cubicBezTo>
                    <a:pt x="68984" y="167136"/>
                    <a:pt x="87044" y="170560"/>
                    <a:pt x="104627" y="167606"/>
                  </a:cubicBezTo>
                  <a:cubicBezTo>
                    <a:pt x="146544" y="161031"/>
                    <a:pt x="175194" y="121722"/>
                    <a:pt x="168619" y="79805"/>
                  </a:cubicBezTo>
                  <a:cubicBezTo>
                    <a:pt x="162046" y="37890"/>
                    <a:pt x="122737" y="9239"/>
                    <a:pt x="80820" y="15813"/>
                  </a:cubicBezTo>
                  <a:cubicBezTo>
                    <a:pt x="38904" y="22387"/>
                    <a:pt x="10253" y="61697"/>
                    <a:pt x="16827" y="103614"/>
                  </a:cubicBezTo>
                  <a:cubicBezTo>
                    <a:pt x="18214" y="112456"/>
                    <a:pt x="21136" y="120990"/>
                    <a:pt x="25462" y="128828"/>
                  </a:cubicBezTo>
                  <a:cubicBezTo>
                    <a:pt x="28352" y="133152"/>
                    <a:pt x="28952" y="138613"/>
                    <a:pt x="27071" y="143461"/>
                  </a:cubicBezTo>
                  <a:cubicBezTo>
                    <a:pt x="25023" y="149900"/>
                    <a:pt x="23559" y="156631"/>
                    <a:pt x="21657" y="163948"/>
                  </a:cubicBezTo>
                  <a:close/>
                </a:path>
              </a:pathLst>
            </a:custGeom>
            <a:solidFill>
              <a:srgbClr val="FFFF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C6736E94-5A4E-C3AD-91FA-DA6F5812C423}"/>
                </a:ext>
              </a:extLst>
            </p:cNvPr>
            <p:cNvSpPr/>
            <p:nvPr/>
          </p:nvSpPr>
          <p:spPr>
            <a:xfrm>
              <a:off x="5451656" y="2841226"/>
              <a:ext cx="92875" cy="86237"/>
            </a:xfrm>
            <a:custGeom>
              <a:avLst/>
              <a:gdLst>
                <a:gd name="connsiteX0" fmla="*/ 70629 w 92875"/>
                <a:gd name="connsiteY0" fmla="*/ 86148 h 86237"/>
                <a:gd name="connsiteX1" fmla="*/ 4341 w 92875"/>
                <a:gd name="connsiteY1" fmla="*/ 37273 h 86237"/>
                <a:gd name="connsiteX2" fmla="*/ 8292 w 92875"/>
                <a:gd name="connsiteY2" fmla="*/ 2446 h 86237"/>
                <a:gd name="connsiteX3" fmla="*/ 20145 w 92875"/>
                <a:gd name="connsiteY3" fmla="*/ 690 h 86237"/>
                <a:gd name="connsiteX4" fmla="*/ 22633 w 92875"/>
                <a:gd name="connsiteY4" fmla="*/ 3471 h 86237"/>
                <a:gd name="connsiteX5" fmla="*/ 30095 w 92875"/>
                <a:gd name="connsiteY5" fmla="*/ 21469 h 86237"/>
                <a:gd name="connsiteX6" fmla="*/ 24535 w 92875"/>
                <a:gd name="connsiteY6" fmla="*/ 33176 h 86237"/>
                <a:gd name="connsiteX7" fmla="*/ 24535 w 92875"/>
                <a:gd name="connsiteY7" fmla="*/ 38298 h 86237"/>
                <a:gd name="connsiteX8" fmla="*/ 55996 w 92875"/>
                <a:gd name="connsiteY8" fmla="*/ 65223 h 86237"/>
                <a:gd name="connsiteX9" fmla="*/ 60825 w 92875"/>
                <a:gd name="connsiteY9" fmla="*/ 63906 h 86237"/>
                <a:gd name="connsiteX10" fmla="*/ 72678 w 92875"/>
                <a:gd name="connsiteY10" fmla="*/ 54101 h 86237"/>
                <a:gd name="connsiteX11" fmla="*/ 92872 w 92875"/>
                <a:gd name="connsiteY11" fmla="*/ 65515 h 86237"/>
                <a:gd name="connsiteX12" fmla="*/ 72918 w 92875"/>
                <a:gd name="connsiteY12" fmla="*/ 86234 h 86237"/>
                <a:gd name="connsiteX13" fmla="*/ 70629 w 92875"/>
                <a:gd name="connsiteY13" fmla="*/ 86148 h 8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2875" h="86237">
                  <a:moveTo>
                    <a:pt x="70629" y="86148"/>
                  </a:moveTo>
                  <a:cubicBezTo>
                    <a:pt x="41869" y="81680"/>
                    <a:pt x="17113" y="63427"/>
                    <a:pt x="4341" y="37273"/>
                  </a:cubicBezTo>
                  <a:cubicBezTo>
                    <a:pt x="-2689" y="26178"/>
                    <a:pt x="-1045" y="11684"/>
                    <a:pt x="8292" y="2446"/>
                  </a:cubicBezTo>
                  <a:cubicBezTo>
                    <a:pt x="11732" y="-7"/>
                    <a:pt x="16141" y="-660"/>
                    <a:pt x="20145" y="690"/>
                  </a:cubicBezTo>
                  <a:cubicBezTo>
                    <a:pt x="21169" y="690"/>
                    <a:pt x="22194" y="2446"/>
                    <a:pt x="22633" y="3471"/>
                  </a:cubicBezTo>
                  <a:cubicBezTo>
                    <a:pt x="25266" y="9470"/>
                    <a:pt x="27900" y="15470"/>
                    <a:pt x="30095" y="21469"/>
                  </a:cubicBezTo>
                  <a:cubicBezTo>
                    <a:pt x="31412" y="24689"/>
                    <a:pt x="29071" y="27762"/>
                    <a:pt x="24535" y="33176"/>
                  </a:cubicBezTo>
                  <a:cubicBezTo>
                    <a:pt x="23140" y="34598"/>
                    <a:pt x="23140" y="36875"/>
                    <a:pt x="24535" y="38298"/>
                  </a:cubicBezTo>
                  <a:cubicBezTo>
                    <a:pt x="31711" y="50543"/>
                    <a:pt x="42790" y="60025"/>
                    <a:pt x="55996" y="65223"/>
                  </a:cubicBezTo>
                  <a:cubicBezTo>
                    <a:pt x="57714" y="65989"/>
                    <a:pt x="59735" y="65438"/>
                    <a:pt x="60825" y="63906"/>
                  </a:cubicBezTo>
                  <a:cubicBezTo>
                    <a:pt x="68142" y="54833"/>
                    <a:pt x="68873" y="52345"/>
                    <a:pt x="72678" y="54101"/>
                  </a:cubicBezTo>
                  <a:cubicBezTo>
                    <a:pt x="91262" y="63028"/>
                    <a:pt x="92725" y="63320"/>
                    <a:pt x="92872" y="65515"/>
                  </a:cubicBezTo>
                  <a:cubicBezTo>
                    <a:pt x="93082" y="76746"/>
                    <a:pt x="84149" y="86022"/>
                    <a:pt x="72918" y="86234"/>
                  </a:cubicBezTo>
                  <a:cubicBezTo>
                    <a:pt x="72154" y="86249"/>
                    <a:pt x="71390" y="86220"/>
                    <a:pt x="70629" y="86148"/>
                  </a:cubicBezTo>
                  <a:close/>
                </a:path>
              </a:pathLst>
            </a:custGeom>
            <a:solidFill>
              <a:srgbClr val="FFFF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81" name="Graphic 26">
            <a:extLst>
              <a:ext uri="{FF2B5EF4-FFF2-40B4-BE49-F238E27FC236}">
                <a16:creationId xmlns:a16="http://schemas.microsoft.com/office/drawing/2014/main" id="{3B91F5DD-0115-7CAD-1161-4140EF64015A}"/>
              </a:ext>
            </a:extLst>
          </p:cNvPr>
          <p:cNvGrpSpPr/>
          <p:nvPr/>
        </p:nvGrpSpPr>
        <p:grpSpPr>
          <a:xfrm>
            <a:off x="6385642" y="2697341"/>
            <a:ext cx="381486" cy="381486"/>
            <a:chOff x="6385642" y="2697341"/>
            <a:chExt cx="381486" cy="381486"/>
          </a:xfrm>
        </p:grpSpPr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5A0B508F-B4A6-A6B6-E965-2A999B087325}"/>
                </a:ext>
              </a:extLst>
            </p:cNvPr>
            <p:cNvSpPr/>
            <p:nvPr/>
          </p:nvSpPr>
          <p:spPr>
            <a:xfrm>
              <a:off x="6385642" y="2697341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E02A2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CD8830F5-84BA-3D4D-7892-FF86ADC88363}"/>
                </a:ext>
              </a:extLst>
            </p:cNvPr>
            <p:cNvSpPr/>
            <p:nvPr/>
          </p:nvSpPr>
          <p:spPr>
            <a:xfrm>
              <a:off x="6507265" y="2799105"/>
              <a:ext cx="146495" cy="190470"/>
            </a:xfrm>
            <a:custGeom>
              <a:avLst/>
              <a:gdLst>
                <a:gd name="connsiteX0" fmla="*/ 60705 w 146495"/>
                <a:gd name="connsiteY0" fmla="*/ 124318 h 190470"/>
                <a:gd name="connsiteX1" fmla="*/ 60705 w 146495"/>
                <a:gd name="connsiteY1" fmla="*/ 125781 h 190470"/>
                <a:gd name="connsiteX2" fmla="*/ 46072 w 146495"/>
                <a:gd name="connsiteY2" fmla="*/ 172022 h 190470"/>
                <a:gd name="connsiteX3" fmla="*/ 34512 w 146495"/>
                <a:gd name="connsiteY3" fmla="*/ 189289 h 190470"/>
                <a:gd name="connsiteX4" fmla="*/ 32610 w 146495"/>
                <a:gd name="connsiteY4" fmla="*/ 190460 h 190470"/>
                <a:gd name="connsiteX5" fmla="*/ 31439 w 146495"/>
                <a:gd name="connsiteY5" fmla="*/ 188411 h 190470"/>
                <a:gd name="connsiteX6" fmla="*/ 29829 w 146495"/>
                <a:gd name="connsiteY6" fmla="*/ 163388 h 190470"/>
                <a:gd name="connsiteX7" fmla="*/ 45779 w 146495"/>
                <a:gd name="connsiteY7" fmla="*/ 89344 h 190470"/>
                <a:gd name="connsiteX8" fmla="*/ 45779 w 146495"/>
                <a:gd name="connsiteY8" fmla="*/ 87003 h 190470"/>
                <a:gd name="connsiteX9" fmla="*/ 44755 w 146495"/>
                <a:gd name="connsiteY9" fmla="*/ 59200 h 190470"/>
                <a:gd name="connsiteX10" fmla="*/ 78119 w 146495"/>
                <a:gd name="connsiteY10" fmla="*/ 54079 h 190470"/>
                <a:gd name="connsiteX11" fmla="*/ 68900 w 146495"/>
                <a:gd name="connsiteY11" fmla="*/ 97978 h 190470"/>
                <a:gd name="connsiteX12" fmla="*/ 100800 w 146495"/>
                <a:gd name="connsiteY12" fmla="*/ 114074 h 190470"/>
                <a:gd name="connsiteX13" fmla="*/ 120848 w 146495"/>
                <a:gd name="connsiteY13" fmla="*/ 57590 h 190470"/>
                <a:gd name="connsiteX14" fmla="*/ 51340 w 146495"/>
                <a:gd name="connsiteY14" fmla="*/ 23934 h 190470"/>
                <a:gd name="connsiteX15" fmla="*/ 28073 w 146495"/>
                <a:gd name="connsiteY15" fmla="*/ 91978 h 190470"/>
                <a:gd name="connsiteX16" fmla="*/ 30561 w 146495"/>
                <a:gd name="connsiteY16" fmla="*/ 97685 h 190470"/>
                <a:gd name="connsiteX17" fmla="*/ 27927 w 146495"/>
                <a:gd name="connsiteY17" fmla="*/ 107782 h 190470"/>
                <a:gd name="connsiteX18" fmla="*/ 23925 w 146495"/>
                <a:gd name="connsiteY18" fmla="*/ 110723 h 190470"/>
                <a:gd name="connsiteX19" fmla="*/ 22659 w 146495"/>
                <a:gd name="connsiteY19" fmla="*/ 110270 h 190470"/>
                <a:gd name="connsiteX20" fmla="*/ 10075 w 146495"/>
                <a:gd name="connsiteY20" fmla="*/ 100905 h 190470"/>
                <a:gd name="connsiteX21" fmla="*/ 10075 w 146495"/>
                <a:gd name="connsiteY21" fmla="*/ 34616 h 190470"/>
                <a:gd name="connsiteX22" fmla="*/ 86021 w 146495"/>
                <a:gd name="connsiteY22" fmla="*/ 668 h 190470"/>
                <a:gd name="connsiteX23" fmla="*/ 145870 w 146495"/>
                <a:gd name="connsiteY23" fmla="*/ 54371 h 190470"/>
                <a:gd name="connsiteX24" fmla="*/ 129481 w 146495"/>
                <a:gd name="connsiteY24" fmla="*/ 117733 h 190470"/>
                <a:gd name="connsiteX25" fmla="*/ 63778 w 146495"/>
                <a:gd name="connsiteY25" fmla="*/ 128561 h 190470"/>
                <a:gd name="connsiteX26" fmla="*/ 60705 w 146495"/>
                <a:gd name="connsiteY26" fmla="*/ 124318 h 19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46495" h="190470">
                  <a:moveTo>
                    <a:pt x="60705" y="124318"/>
                  </a:moveTo>
                  <a:lnTo>
                    <a:pt x="60705" y="125781"/>
                  </a:lnTo>
                  <a:cubicBezTo>
                    <a:pt x="58161" y="141838"/>
                    <a:pt x="53228" y="157424"/>
                    <a:pt x="46072" y="172022"/>
                  </a:cubicBezTo>
                  <a:cubicBezTo>
                    <a:pt x="42628" y="178042"/>
                    <a:pt x="38766" y="183812"/>
                    <a:pt x="34512" y="189289"/>
                  </a:cubicBezTo>
                  <a:cubicBezTo>
                    <a:pt x="34512" y="189289"/>
                    <a:pt x="33634" y="190606"/>
                    <a:pt x="32610" y="190460"/>
                  </a:cubicBezTo>
                  <a:cubicBezTo>
                    <a:pt x="31585" y="190313"/>
                    <a:pt x="31439" y="189289"/>
                    <a:pt x="31439" y="188411"/>
                  </a:cubicBezTo>
                  <a:cubicBezTo>
                    <a:pt x="30238" y="180126"/>
                    <a:pt x="29701" y="171758"/>
                    <a:pt x="29829" y="163388"/>
                  </a:cubicBezTo>
                  <a:cubicBezTo>
                    <a:pt x="29829" y="152413"/>
                    <a:pt x="31585" y="148755"/>
                    <a:pt x="45779" y="89344"/>
                  </a:cubicBezTo>
                  <a:cubicBezTo>
                    <a:pt x="45999" y="88579"/>
                    <a:pt x="45999" y="87768"/>
                    <a:pt x="45779" y="87003"/>
                  </a:cubicBezTo>
                  <a:cubicBezTo>
                    <a:pt x="42301" y="78119"/>
                    <a:pt x="41940" y="68317"/>
                    <a:pt x="44755" y="59200"/>
                  </a:cubicBezTo>
                  <a:cubicBezTo>
                    <a:pt x="51047" y="39006"/>
                    <a:pt x="74021" y="37397"/>
                    <a:pt x="78119" y="54079"/>
                  </a:cubicBezTo>
                  <a:cubicBezTo>
                    <a:pt x="80460" y="64468"/>
                    <a:pt x="74021" y="77931"/>
                    <a:pt x="68900" y="97978"/>
                  </a:cubicBezTo>
                  <a:cubicBezTo>
                    <a:pt x="64803" y="114367"/>
                    <a:pt x="84265" y="126074"/>
                    <a:pt x="100800" y="114074"/>
                  </a:cubicBezTo>
                  <a:cubicBezTo>
                    <a:pt x="117336" y="102075"/>
                    <a:pt x="122018" y="76467"/>
                    <a:pt x="120848" y="57590"/>
                  </a:cubicBezTo>
                  <a:cubicBezTo>
                    <a:pt x="118653" y="19983"/>
                    <a:pt x="76948" y="11935"/>
                    <a:pt x="51340" y="23934"/>
                  </a:cubicBezTo>
                  <a:cubicBezTo>
                    <a:pt x="21342" y="37836"/>
                    <a:pt x="14611" y="75004"/>
                    <a:pt x="28073" y="91978"/>
                  </a:cubicBezTo>
                  <a:cubicBezTo>
                    <a:pt x="29829" y="94173"/>
                    <a:pt x="31146" y="95490"/>
                    <a:pt x="30561" y="97685"/>
                  </a:cubicBezTo>
                  <a:cubicBezTo>
                    <a:pt x="29976" y="99880"/>
                    <a:pt x="28951" y="104417"/>
                    <a:pt x="27927" y="107782"/>
                  </a:cubicBezTo>
                  <a:cubicBezTo>
                    <a:pt x="27634" y="109699"/>
                    <a:pt x="25842" y="111016"/>
                    <a:pt x="23925" y="110723"/>
                  </a:cubicBezTo>
                  <a:cubicBezTo>
                    <a:pt x="23478" y="110655"/>
                    <a:pt x="23048" y="110501"/>
                    <a:pt x="22659" y="110270"/>
                  </a:cubicBezTo>
                  <a:cubicBezTo>
                    <a:pt x="17753" y="108239"/>
                    <a:pt x="13429" y="105021"/>
                    <a:pt x="10075" y="100905"/>
                  </a:cubicBezTo>
                  <a:cubicBezTo>
                    <a:pt x="-3358" y="80850"/>
                    <a:pt x="-3358" y="54671"/>
                    <a:pt x="10075" y="34616"/>
                  </a:cubicBezTo>
                  <a:cubicBezTo>
                    <a:pt x="26993" y="9920"/>
                    <a:pt x="56336" y="-3196"/>
                    <a:pt x="86021" y="668"/>
                  </a:cubicBezTo>
                  <a:cubicBezTo>
                    <a:pt x="115960" y="2642"/>
                    <a:pt x="140675" y="24819"/>
                    <a:pt x="145870" y="54371"/>
                  </a:cubicBezTo>
                  <a:cubicBezTo>
                    <a:pt x="148523" y="76798"/>
                    <a:pt x="142676" y="99405"/>
                    <a:pt x="129481" y="117733"/>
                  </a:cubicBezTo>
                  <a:cubicBezTo>
                    <a:pt x="110019" y="141877"/>
                    <a:pt x="78411" y="143487"/>
                    <a:pt x="63778" y="128561"/>
                  </a:cubicBezTo>
                  <a:cubicBezTo>
                    <a:pt x="62754" y="127098"/>
                    <a:pt x="61876" y="125781"/>
                    <a:pt x="60705" y="124318"/>
                  </a:cubicBezTo>
                  <a:close/>
                </a:path>
              </a:pathLst>
            </a:custGeom>
            <a:solidFill>
              <a:srgbClr val="FFFF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84" name="Graphic 28">
            <a:extLst>
              <a:ext uri="{FF2B5EF4-FFF2-40B4-BE49-F238E27FC236}">
                <a16:creationId xmlns:a16="http://schemas.microsoft.com/office/drawing/2014/main" id="{38EA9A36-BD07-A499-4234-7DDCDDDB7D23}"/>
              </a:ext>
            </a:extLst>
          </p:cNvPr>
          <p:cNvGrpSpPr/>
          <p:nvPr/>
        </p:nvGrpSpPr>
        <p:grpSpPr>
          <a:xfrm>
            <a:off x="7468496" y="2697341"/>
            <a:ext cx="381486" cy="381486"/>
            <a:chOff x="7468496" y="2697341"/>
            <a:chExt cx="381486" cy="381486"/>
          </a:xfrm>
        </p:grpSpPr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3A162AA-5464-1E9F-9836-C8438D92F758}"/>
                </a:ext>
              </a:extLst>
            </p:cNvPr>
            <p:cNvSpPr/>
            <p:nvPr/>
          </p:nvSpPr>
          <p:spPr>
            <a:xfrm>
              <a:off x="7468496" y="2697341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gradFill>
              <a:gsLst>
                <a:gs pos="1000">
                  <a:srgbClr val="3542E0"/>
                </a:gs>
                <a:gs pos="17000">
                  <a:srgbClr val="3841DF"/>
                </a:gs>
                <a:gs pos="27000">
                  <a:srgbClr val="403FDA"/>
                </a:gs>
                <a:gs pos="36000">
                  <a:srgbClr val="4E3CD2"/>
                </a:gs>
                <a:gs pos="43000">
                  <a:srgbClr val="6337C7"/>
                </a:gs>
                <a:gs pos="50000">
                  <a:srgbClr val="7D31B9"/>
                </a:gs>
                <a:gs pos="56000">
                  <a:srgbClr val="9E2AA8"/>
                </a:gs>
                <a:gs pos="62000">
                  <a:srgbClr val="C32193"/>
                </a:gs>
                <a:gs pos="62000">
                  <a:srgbClr val="C82091"/>
                </a:gs>
                <a:gs pos="76000">
                  <a:srgbClr val="F62B37"/>
                </a:gs>
                <a:gs pos="100000">
                  <a:srgbClr val="FFC658"/>
                </a:gs>
              </a:gsLst>
              <a:lin ang="7587604" scaled="1"/>
            </a:gra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5818955A-CAAD-08B7-B922-F0FFDD333C73}"/>
                </a:ext>
              </a:extLst>
            </p:cNvPr>
            <p:cNvSpPr/>
            <p:nvPr/>
          </p:nvSpPr>
          <p:spPr>
            <a:xfrm>
              <a:off x="7564337" y="2790646"/>
              <a:ext cx="189794" cy="189830"/>
            </a:xfrm>
            <a:custGeom>
              <a:avLst/>
              <a:gdLst>
                <a:gd name="connsiteX0" fmla="*/ 188188 w 189794"/>
                <a:gd name="connsiteY0" fmla="*/ 48051 h 189830"/>
                <a:gd name="connsiteX1" fmla="*/ 172823 w 189794"/>
                <a:gd name="connsiteY1" fmla="*/ 15711 h 189830"/>
                <a:gd name="connsiteX2" fmla="*/ 138142 w 189794"/>
                <a:gd name="connsiteY2" fmla="*/ 1078 h 189830"/>
                <a:gd name="connsiteX3" fmla="*/ 44344 w 189794"/>
                <a:gd name="connsiteY3" fmla="*/ 2249 h 189830"/>
                <a:gd name="connsiteX4" fmla="*/ 3224 w 189794"/>
                <a:gd name="connsiteY4" fmla="*/ 39417 h 189830"/>
                <a:gd name="connsiteX5" fmla="*/ 2200 w 189794"/>
                <a:gd name="connsiteY5" fmla="*/ 145946 h 189830"/>
                <a:gd name="connsiteX6" fmla="*/ 40393 w 189794"/>
                <a:gd name="connsiteY6" fmla="*/ 187358 h 189830"/>
                <a:gd name="connsiteX7" fmla="*/ 145312 w 189794"/>
                <a:gd name="connsiteY7" fmla="*/ 187358 h 189830"/>
                <a:gd name="connsiteX8" fmla="*/ 186871 w 189794"/>
                <a:gd name="connsiteY8" fmla="*/ 149458 h 189830"/>
                <a:gd name="connsiteX9" fmla="*/ 188188 w 189794"/>
                <a:gd name="connsiteY9" fmla="*/ 48051 h 189830"/>
                <a:gd name="connsiteX10" fmla="*/ 170774 w 189794"/>
                <a:gd name="connsiteY10" fmla="*/ 142873 h 189830"/>
                <a:gd name="connsiteX11" fmla="*/ 140630 w 189794"/>
                <a:gd name="connsiteY11" fmla="*/ 172140 h 189830"/>
                <a:gd name="connsiteX12" fmla="*/ 42734 w 189794"/>
                <a:gd name="connsiteY12" fmla="*/ 170091 h 189830"/>
                <a:gd name="connsiteX13" fmla="*/ 19175 w 189794"/>
                <a:gd name="connsiteY13" fmla="*/ 143312 h 189830"/>
                <a:gd name="connsiteX14" fmla="*/ 19175 w 189794"/>
                <a:gd name="connsiteY14" fmla="*/ 47612 h 189830"/>
                <a:gd name="connsiteX15" fmla="*/ 49173 w 189794"/>
                <a:gd name="connsiteY15" fmla="*/ 18345 h 189830"/>
                <a:gd name="connsiteX16" fmla="*/ 142532 w 189794"/>
                <a:gd name="connsiteY16" fmla="*/ 18345 h 189830"/>
                <a:gd name="connsiteX17" fmla="*/ 171798 w 189794"/>
                <a:gd name="connsiteY17" fmla="*/ 48490 h 189830"/>
                <a:gd name="connsiteX18" fmla="*/ 170774 w 189794"/>
                <a:gd name="connsiteY18" fmla="*/ 142873 h 189830"/>
                <a:gd name="connsiteX19" fmla="*/ 94389 w 189794"/>
                <a:gd name="connsiteY19" fmla="*/ 46734 h 189830"/>
                <a:gd name="connsiteX20" fmla="*/ 45807 w 189794"/>
                <a:gd name="connsiteY20" fmla="*/ 95316 h 189830"/>
                <a:gd name="connsiteX21" fmla="*/ 94389 w 189794"/>
                <a:gd name="connsiteY21" fmla="*/ 143898 h 189830"/>
                <a:gd name="connsiteX22" fmla="*/ 142971 w 189794"/>
                <a:gd name="connsiteY22" fmla="*/ 95316 h 189830"/>
                <a:gd name="connsiteX23" fmla="*/ 94389 w 189794"/>
                <a:gd name="connsiteY23" fmla="*/ 46734 h 189830"/>
                <a:gd name="connsiteX24" fmla="*/ 94389 w 189794"/>
                <a:gd name="connsiteY24" fmla="*/ 126192 h 189830"/>
                <a:gd name="connsiteX25" fmla="*/ 63223 w 189794"/>
                <a:gd name="connsiteY25" fmla="*/ 94438 h 189830"/>
                <a:gd name="connsiteX26" fmla="*/ 94977 w 189794"/>
                <a:gd name="connsiteY26" fmla="*/ 63272 h 189830"/>
                <a:gd name="connsiteX27" fmla="*/ 126143 w 189794"/>
                <a:gd name="connsiteY27" fmla="*/ 95023 h 189830"/>
                <a:gd name="connsiteX28" fmla="*/ 94392 w 189794"/>
                <a:gd name="connsiteY28" fmla="*/ 126192 h 189830"/>
                <a:gd name="connsiteX29" fmla="*/ 94389 w 189794"/>
                <a:gd name="connsiteY29" fmla="*/ 126192 h 189830"/>
                <a:gd name="connsiteX30" fmla="*/ 156726 w 189794"/>
                <a:gd name="connsiteY30" fmla="*/ 44246 h 189830"/>
                <a:gd name="connsiteX31" fmla="*/ 145312 w 189794"/>
                <a:gd name="connsiteY31" fmla="*/ 55660 h 189830"/>
                <a:gd name="connsiteX32" fmla="*/ 133899 w 189794"/>
                <a:gd name="connsiteY32" fmla="*/ 44246 h 189830"/>
                <a:gd name="connsiteX33" fmla="*/ 145312 w 189794"/>
                <a:gd name="connsiteY33" fmla="*/ 32832 h 189830"/>
                <a:gd name="connsiteX34" fmla="*/ 156887 w 189794"/>
                <a:gd name="connsiteY34" fmla="*/ 44083 h 189830"/>
                <a:gd name="connsiteX35" fmla="*/ 156873 w 189794"/>
                <a:gd name="connsiteY35" fmla="*/ 44831 h 18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89794" h="189830">
                  <a:moveTo>
                    <a:pt x="188188" y="48051"/>
                  </a:moveTo>
                  <a:cubicBezTo>
                    <a:pt x="187229" y="35745"/>
                    <a:pt x="181758" y="24228"/>
                    <a:pt x="172823" y="15711"/>
                  </a:cubicBezTo>
                  <a:cubicBezTo>
                    <a:pt x="163482" y="6694"/>
                    <a:pt x="151119" y="1477"/>
                    <a:pt x="138142" y="1078"/>
                  </a:cubicBezTo>
                  <a:cubicBezTo>
                    <a:pt x="106886" y="-679"/>
                    <a:pt x="75546" y="-288"/>
                    <a:pt x="44344" y="2249"/>
                  </a:cubicBezTo>
                  <a:cubicBezTo>
                    <a:pt x="24107" y="4588"/>
                    <a:pt x="7589" y="19519"/>
                    <a:pt x="3224" y="39417"/>
                  </a:cubicBezTo>
                  <a:cubicBezTo>
                    <a:pt x="-700" y="74802"/>
                    <a:pt x="-1043" y="110493"/>
                    <a:pt x="2200" y="145946"/>
                  </a:cubicBezTo>
                  <a:cubicBezTo>
                    <a:pt x="4683" y="166535"/>
                    <a:pt x="20071" y="183221"/>
                    <a:pt x="40393" y="187358"/>
                  </a:cubicBezTo>
                  <a:cubicBezTo>
                    <a:pt x="75288" y="190655"/>
                    <a:pt x="110417" y="190655"/>
                    <a:pt x="145312" y="187358"/>
                  </a:cubicBezTo>
                  <a:cubicBezTo>
                    <a:pt x="165932" y="185103"/>
                    <a:pt x="182731" y="169782"/>
                    <a:pt x="186871" y="149458"/>
                  </a:cubicBezTo>
                  <a:cubicBezTo>
                    <a:pt x="190264" y="115758"/>
                    <a:pt x="190704" y="81827"/>
                    <a:pt x="188188" y="48051"/>
                  </a:cubicBezTo>
                  <a:close/>
                  <a:moveTo>
                    <a:pt x="170774" y="142873"/>
                  </a:moveTo>
                  <a:cubicBezTo>
                    <a:pt x="169353" y="158745"/>
                    <a:pt x="156536" y="171189"/>
                    <a:pt x="140630" y="172140"/>
                  </a:cubicBezTo>
                  <a:cubicBezTo>
                    <a:pt x="107999" y="174247"/>
                    <a:pt x="75247" y="173562"/>
                    <a:pt x="42734" y="170091"/>
                  </a:cubicBezTo>
                  <a:cubicBezTo>
                    <a:pt x="29998" y="167062"/>
                    <a:pt x="20557" y="156330"/>
                    <a:pt x="19175" y="143312"/>
                  </a:cubicBezTo>
                  <a:cubicBezTo>
                    <a:pt x="16687" y="111460"/>
                    <a:pt x="16687" y="79464"/>
                    <a:pt x="19175" y="47612"/>
                  </a:cubicBezTo>
                  <a:cubicBezTo>
                    <a:pt x="20526" y="31764"/>
                    <a:pt x="33296" y="19305"/>
                    <a:pt x="49173" y="18345"/>
                  </a:cubicBezTo>
                  <a:cubicBezTo>
                    <a:pt x="80253" y="16149"/>
                    <a:pt x="111451" y="16149"/>
                    <a:pt x="142532" y="18345"/>
                  </a:cubicBezTo>
                  <a:cubicBezTo>
                    <a:pt x="158403" y="19766"/>
                    <a:pt x="170847" y="32583"/>
                    <a:pt x="171798" y="48490"/>
                  </a:cubicBezTo>
                  <a:cubicBezTo>
                    <a:pt x="173556" y="79939"/>
                    <a:pt x="173213" y="111469"/>
                    <a:pt x="170774" y="142873"/>
                  </a:cubicBezTo>
                  <a:close/>
                  <a:moveTo>
                    <a:pt x="94389" y="46734"/>
                  </a:moveTo>
                  <a:cubicBezTo>
                    <a:pt x="67558" y="46734"/>
                    <a:pt x="45807" y="68484"/>
                    <a:pt x="45807" y="95316"/>
                  </a:cubicBezTo>
                  <a:cubicBezTo>
                    <a:pt x="45807" y="122147"/>
                    <a:pt x="67558" y="143898"/>
                    <a:pt x="94389" y="143898"/>
                  </a:cubicBezTo>
                  <a:cubicBezTo>
                    <a:pt x="121220" y="143898"/>
                    <a:pt x="142971" y="122147"/>
                    <a:pt x="142971" y="95316"/>
                  </a:cubicBezTo>
                  <a:cubicBezTo>
                    <a:pt x="142971" y="68484"/>
                    <a:pt x="121220" y="46734"/>
                    <a:pt x="94389" y="46734"/>
                  </a:cubicBezTo>
                  <a:close/>
                  <a:moveTo>
                    <a:pt x="94389" y="126192"/>
                  </a:moveTo>
                  <a:cubicBezTo>
                    <a:pt x="77014" y="126029"/>
                    <a:pt x="63061" y="111813"/>
                    <a:pt x="63223" y="94438"/>
                  </a:cubicBezTo>
                  <a:cubicBezTo>
                    <a:pt x="63386" y="77062"/>
                    <a:pt x="77602" y="63110"/>
                    <a:pt x="94977" y="63272"/>
                  </a:cubicBezTo>
                  <a:cubicBezTo>
                    <a:pt x="112351" y="63434"/>
                    <a:pt x="126304" y="77649"/>
                    <a:pt x="126143" y="95023"/>
                  </a:cubicBezTo>
                  <a:cubicBezTo>
                    <a:pt x="125982" y="112398"/>
                    <a:pt x="111766" y="126353"/>
                    <a:pt x="94392" y="126192"/>
                  </a:cubicBezTo>
                  <a:cubicBezTo>
                    <a:pt x="94390" y="126192"/>
                    <a:pt x="94390" y="126192"/>
                    <a:pt x="94389" y="126192"/>
                  </a:cubicBezTo>
                  <a:close/>
                  <a:moveTo>
                    <a:pt x="156726" y="44246"/>
                  </a:moveTo>
                  <a:cubicBezTo>
                    <a:pt x="156726" y="50550"/>
                    <a:pt x="151616" y="55660"/>
                    <a:pt x="145312" y="55660"/>
                  </a:cubicBezTo>
                  <a:cubicBezTo>
                    <a:pt x="139008" y="55660"/>
                    <a:pt x="133899" y="50550"/>
                    <a:pt x="133899" y="44246"/>
                  </a:cubicBezTo>
                  <a:cubicBezTo>
                    <a:pt x="133899" y="37942"/>
                    <a:pt x="139008" y="32832"/>
                    <a:pt x="145312" y="32832"/>
                  </a:cubicBezTo>
                  <a:cubicBezTo>
                    <a:pt x="151615" y="32743"/>
                    <a:pt x="156798" y="37780"/>
                    <a:pt x="156887" y="44083"/>
                  </a:cubicBezTo>
                  <a:cubicBezTo>
                    <a:pt x="156890" y="44333"/>
                    <a:pt x="156886" y="44582"/>
                    <a:pt x="156873" y="44831"/>
                  </a:cubicBezTo>
                  <a:close/>
                </a:path>
              </a:pathLst>
            </a:custGeom>
            <a:solidFill>
              <a:srgbClr val="FFFF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41D2F094-4FFA-98D4-6D41-762CD98EFD1D}"/>
                </a:ext>
              </a:extLst>
            </p:cNvPr>
            <p:cNvSpPr/>
            <p:nvPr/>
          </p:nvSpPr>
          <p:spPr>
            <a:xfrm>
              <a:off x="7564337" y="2790646"/>
              <a:ext cx="189794" cy="189830"/>
            </a:xfrm>
            <a:custGeom>
              <a:avLst/>
              <a:gdLst>
                <a:gd name="connsiteX0" fmla="*/ 188188 w 189794"/>
                <a:gd name="connsiteY0" fmla="*/ 48051 h 189830"/>
                <a:gd name="connsiteX1" fmla="*/ 172823 w 189794"/>
                <a:gd name="connsiteY1" fmla="*/ 15711 h 189830"/>
                <a:gd name="connsiteX2" fmla="*/ 138142 w 189794"/>
                <a:gd name="connsiteY2" fmla="*/ 1078 h 189830"/>
                <a:gd name="connsiteX3" fmla="*/ 44344 w 189794"/>
                <a:gd name="connsiteY3" fmla="*/ 2249 h 189830"/>
                <a:gd name="connsiteX4" fmla="*/ 3224 w 189794"/>
                <a:gd name="connsiteY4" fmla="*/ 39417 h 189830"/>
                <a:gd name="connsiteX5" fmla="*/ 2200 w 189794"/>
                <a:gd name="connsiteY5" fmla="*/ 145946 h 189830"/>
                <a:gd name="connsiteX6" fmla="*/ 40393 w 189794"/>
                <a:gd name="connsiteY6" fmla="*/ 187358 h 189830"/>
                <a:gd name="connsiteX7" fmla="*/ 145312 w 189794"/>
                <a:gd name="connsiteY7" fmla="*/ 187358 h 189830"/>
                <a:gd name="connsiteX8" fmla="*/ 186871 w 189794"/>
                <a:gd name="connsiteY8" fmla="*/ 149458 h 189830"/>
                <a:gd name="connsiteX9" fmla="*/ 188188 w 189794"/>
                <a:gd name="connsiteY9" fmla="*/ 48051 h 189830"/>
                <a:gd name="connsiteX10" fmla="*/ 170774 w 189794"/>
                <a:gd name="connsiteY10" fmla="*/ 142873 h 189830"/>
                <a:gd name="connsiteX11" fmla="*/ 140630 w 189794"/>
                <a:gd name="connsiteY11" fmla="*/ 172140 h 189830"/>
                <a:gd name="connsiteX12" fmla="*/ 42734 w 189794"/>
                <a:gd name="connsiteY12" fmla="*/ 170091 h 189830"/>
                <a:gd name="connsiteX13" fmla="*/ 19175 w 189794"/>
                <a:gd name="connsiteY13" fmla="*/ 143312 h 189830"/>
                <a:gd name="connsiteX14" fmla="*/ 19175 w 189794"/>
                <a:gd name="connsiteY14" fmla="*/ 47612 h 189830"/>
                <a:gd name="connsiteX15" fmla="*/ 49173 w 189794"/>
                <a:gd name="connsiteY15" fmla="*/ 18345 h 189830"/>
                <a:gd name="connsiteX16" fmla="*/ 142532 w 189794"/>
                <a:gd name="connsiteY16" fmla="*/ 18345 h 189830"/>
                <a:gd name="connsiteX17" fmla="*/ 171798 w 189794"/>
                <a:gd name="connsiteY17" fmla="*/ 48490 h 189830"/>
                <a:gd name="connsiteX18" fmla="*/ 170774 w 189794"/>
                <a:gd name="connsiteY18" fmla="*/ 142873 h 189830"/>
                <a:gd name="connsiteX19" fmla="*/ 94389 w 189794"/>
                <a:gd name="connsiteY19" fmla="*/ 46734 h 189830"/>
                <a:gd name="connsiteX20" fmla="*/ 45807 w 189794"/>
                <a:gd name="connsiteY20" fmla="*/ 95316 h 189830"/>
                <a:gd name="connsiteX21" fmla="*/ 94389 w 189794"/>
                <a:gd name="connsiteY21" fmla="*/ 143898 h 189830"/>
                <a:gd name="connsiteX22" fmla="*/ 142971 w 189794"/>
                <a:gd name="connsiteY22" fmla="*/ 95316 h 189830"/>
                <a:gd name="connsiteX23" fmla="*/ 94389 w 189794"/>
                <a:gd name="connsiteY23" fmla="*/ 46734 h 189830"/>
                <a:gd name="connsiteX24" fmla="*/ 94389 w 189794"/>
                <a:gd name="connsiteY24" fmla="*/ 126192 h 189830"/>
                <a:gd name="connsiteX25" fmla="*/ 63223 w 189794"/>
                <a:gd name="connsiteY25" fmla="*/ 94438 h 189830"/>
                <a:gd name="connsiteX26" fmla="*/ 94977 w 189794"/>
                <a:gd name="connsiteY26" fmla="*/ 63272 h 189830"/>
                <a:gd name="connsiteX27" fmla="*/ 126143 w 189794"/>
                <a:gd name="connsiteY27" fmla="*/ 95023 h 189830"/>
                <a:gd name="connsiteX28" fmla="*/ 94392 w 189794"/>
                <a:gd name="connsiteY28" fmla="*/ 126192 h 189830"/>
                <a:gd name="connsiteX29" fmla="*/ 94389 w 189794"/>
                <a:gd name="connsiteY29" fmla="*/ 126192 h 189830"/>
                <a:gd name="connsiteX30" fmla="*/ 156726 w 189794"/>
                <a:gd name="connsiteY30" fmla="*/ 44246 h 189830"/>
                <a:gd name="connsiteX31" fmla="*/ 145312 w 189794"/>
                <a:gd name="connsiteY31" fmla="*/ 55660 h 189830"/>
                <a:gd name="connsiteX32" fmla="*/ 133899 w 189794"/>
                <a:gd name="connsiteY32" fmla="*/ 44246 h 189830"/>
                <a:gd name="connsiteX33" fmla="*/ 145312 w 189794"/>
                <a:gd name="connsiteY33" fmla="*/ 32832 h 189830"/>
                <a:gd name="connsiteX34" fmla="*/ 156887 w 189794"/>
                <a:gd name="connsiteY34" fmla="*/ 44083 h 189830"/>
                <a:gd name="connsiteX35" fmla="*/ 156873 w 189794"/>
                <a:gd name="connsiteY35" fmla="*/ 44831 h 18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89794" h="189830">
                  <a:moveTo>
                    <a:pt x="188188" y="48051"/>
                  </a:moveTo>
                  <a:cubicBezTo>
                    <a:pt x="187229" y="35745"/>
                    <a:pt x="181758" y="24228"/>
                    <a:pt x="172823" y="15711"/>
                  </a:cubicBezTo>
                  <a:cubicBezTo>
                    <a:pt x="163482" y="6694"/>
                    <a:pt x="151119" y="1477"/>
                    <a:pt x="138142" y="1078"/>
                  </a:cubicBezTo>
                  <a:cubicBezTo>
                    <a:pt x="106886" y="-679"/>
                    <a:pt x="75546" y="-288"/>
                    <a:pt x="44344" y="2249"/>
                  </a:cubicBezTo>
                  <a:cubicBezTo>
                    <a:pt x="24107" y="4588"/>
                    <a:pt x="7589" y="19519"/>
                    <a:pt x="3224" y="39417"/>
                  </a:cubicBezTo>
                  <a:cubicBezTo>
                    <a:pt x="-700" y="74802"/>
                    <a:pt x="-1043" y="110493"/>
                    <a:pt x="2200" y="145946"/>
                  </a:cubicBezTo>
                  <a:cubicBezTo>
                    <a:pt x="4683" y="166535"/>
                    <a:pt x="20071" y="183221"/>
                    <a:pt x="40393" y="187358"/>
                  </a:cubicBezTo>
                  <a:cubicBezTo>
                    <a:pt x="75288" y="190655"/>
                    <a:pt x="110417" y="190655"/>
                    <a:pt x="145312" y="187358"/>
                  </a:cubicBezTo>
                  <a:cubicBezTo>
                    <a:pt x="165932" y="185103"/>
                    <a:pt x="182731" y="169782"/>
                    <a:pt x="186871" y="149458"/>
                  </a:cubicBezTo>
                  <a:cubicBezTo>
                    <a:pt x="190264" y="115758"/>
                    <a:pt x="190704" y="81827"/>
                    <a:pt x="188188" y="48051"/>
                  </a:cubicBezTo>
                  <a:close/>
                  <a:moveTo>
                    <a:pt x="170774" y="142873"/>
                  </a:moveTo>
                  <a:cubicBezTo>
                    <a:pt x="169353" y="158745"/>
                    <a:pt x="156536" y="171189"/>
                    <a:pt x="140630" y="172140"/>
                  </a:cubicBezTo>
                  <a:cubicBezTo>
                    <a:pt x="107999" y="174247"/>
                    <a:pt x="75247" y="173562"/>
                    <a:pt x="42734" y="170091"/>
                  </a:cubicBezTo>
                  <a:cubicBezTo>
                    <a:pt x="29998" y="167062"/>
                    <a:pt x="20557" y="156330"/>
                    <a:pt x="19175" y="143312"/>
                  </a:cubicBezTo>
                  <a:cubicBezTo>
                    <a:pt x="16687" y="111460"/>
                    <a:pt x="16687" y="79464"/>
                    <a:pt x="19175" y="47612"/>
                  </a:cubicBezTo>
                  <a:cubicBezTo>
                    <a:pt x="20526" y="31764"/>
                    <a:pt x="33296" y="19305"/>
                    <a:pt x="49173" y="18345"/>
                  </a:cubicBezTo>
                  <a:cubicBezTo>
                    <a:pt x="80253" y="16149"/>
                    <a:pt x="111451" y="16149"/>
                    <a:pt x="142532" y="18345"/>
                  </a:cubicBezTo>
                  <a:cubicBezTo>
                    <a:pt x="158403" y="19766"/>
                    <a:pt x="170847" y="32583"/>
                    <a:pt x="171798" y="48490"/>
                  </a:cubicBezTo>
                  <a:cubicBezTo>
                    <a:pt x="173556" y="79939"/>
                    <a:pt x="173213" y="111469"/>
                    <a:pt x="170774" y="142873"/>
                  </a:cubicBezTo>
                  <a:close/>
                  <a:moveTo>
                    <a:pt x="94389" y="46734"/>
                  </a:moveTo>
                  <a:cubicBezTo>
                    <a:pt x="67558" y="46734"/>
                    <a:pt x="45807" y="68484"/>
                    <a:pt x="45807" y="95316"/>
                  </a:cubicBezTo>
                  <a:cubicBezTo>
                    <a:pt x="45807" y="122147"/>
                    <a:pt x="67558" y="143898"/>
                    <a:pt x="94389" y="143898"/>
                  </a:cubicBezTo>
                  <a:cubicBezTo>
                    <a:pt x="121220" y="143898"/>
                    <a:pt x="142971" y="122147"/>
                    <a:pt x="142971" y="95316"/>
                  </a:cubicBezTo>
                  <a:cubicBezTo>
                    <a:pt x="142971" y="68484"/>
                    <a:pt x="121220" y="46734"/>
                    <a:pt x="94389" y="46734"/>
                  </a:cubicBezTo>
                  <a:close/>
                  <a:moveTo>
                    <a:pt x="94389" y="126192"/>
                  </a:moveTo>
                  <a:cubicBezTo>
                    <a:pt x="77014" y="126029"/>
                    <a:pt x="63061" y="111813"/>
                    <a:pt x="63223" y="94438"/>
                  </a:cubicBezTo>
                  <a:cubicBezTo>
                    <a:pt x="63386" y="77062"/>
                    <a:pt x="77602" y="63110"/>
                    <a:pt x="94977" y="63272"/>
                  </a:cubicBezTo>
                  <a:cubicBezTo>
                    <a:pt x="112351" y="63434"/>
                    <a:pt x="126304" y="77649"/>
                    <a:pt x="126143" y="95023"/>
                  </a:cubicBezTo>
                  <a:cubicBezTo>
                    <a:pt x="125982" y="112398"/>
                    <a:pt x="111766" y="126353"/>
                    <a:pt x="94392" y="126192"/>
                  </a:cubicBezTo>
                  <a:cubicBezTo>
                    <a:pt x="94390" y="126192"/>
                    <a:pt x="94390" y="126192"/>
                    <a:pt x="94389" y="126192"/>
                  </a:cubicBezTo>
                  <a:close/>
                  <a:moveTo>
                    <a:pt x="156726" y="44246"/>
                  </a:moveTo>
                  <a:cubicBezTo>
                    <a:pt x="156726" y="50550"/>
                    <a:pt x="151616" y="55660"/>
                    <a:pt x="145312" y="55660"/>
                  </a:cubicBezTo>
                  <a:cubicBezTo>
                    <a:pt x="139008" y="55660"/>
                    <a:pt x="133899" y="50550"/>
                    <a:pt x="133899" y="44246"/>
                  </a:cubicBezTo>
                  <a:cubicBezTo>
                    <a:pt x="133899" y="37942"/>
                    <a:pt x="139008" y="32832"/>
                    <a:pt x="145312" y="32832"/>
                  </a:cubicBezTo>
                  <a:cubicBezTo>
                    <a:pt x="151615" y="32743"/>
                    <a:pt x="156798" y="37780"/>
                    <a:pt x="156887" y="44083"/>
                  </a:cubicBezTo>
                  <a:cubicBezTo>
                    <a:pt x="156890" y="44333"/>
                    <a:pt x="156886" y="44582"/>
                    <a:pt x="156873" y="44831"/>
                  </a:cubicBezTo>
                  <a:close/>
                </a:path>
              </a:pathLst>
            </a:custGeom>
            <a:solidFill>
              <a:srgbClr val="FFFF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88" name="Graphic 30">
            <a:extLst>
              <a:ext uri="{FF2B5EF4-FFF2-40B4-BE49-F238E27FC236}">
                <a16:creationId xmlns:a16="http://schemas.microsoft.com/office/drawing/2014/main" id="{ED1E9E2C-EBAC-24CE-7A48-9678A5BD5C2B}"/>
              </a:ext>
            </a:extLst>
          </p:cNvPr>
          <p:cNvGrpSpPr/>
          <p:nvPr/>
        </p:nvGrpSpPr>
        <p:grpSpPr>
          <a:xfrm>
            <a:off x="8551350" y="2697341"/>
            <a:ext cx="381486" cy="381486"/>
            <a:chOff x="8551350" y="2697341"/>
            <a:chExt cx="381486" cy="381486"/>
          </a:xfrm>
        </p:grpSpPr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22466900-5F0C-ADEB-0FEE-16926B4B37A4}"/>
                </a:ext>
              </a:extLst>
            </p:cNvPr>
            <p:cNvSpPr/>
            <p:nvPr/>
          </p:nvSpPr>
          <p:spPr>
            <a:xfrm>
              <a:off x="8551350" y="2697341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1BA5D4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E500BA8-A93B-F1FC-DD12-C0012D19FED3}"/>
                </a:ext>
              </a:extLst>
            </p:cNvPr>
            <p:cNvSpPr/>
            <p:nvPr/>
          </p:nvSpPr>
          <p:spPr>
            <a:xfrm>
              <a:off x="8640465" y="2806582"/>
              <a:ext cx="201937" cy="164477"/>
            </a:xfrm>
            <a:custGeom>
              <a:avLst/>
              <a:gdLst>
                <a:gd name="connsiteX0" fmla="*/ 61898 w 201937"/>
                <a:gd name="connsiteY0" fmla="*/ 127962 h 164477"/>
                <a:gd name="connsiteX1" fmla="*/ 23120 w 201937"/>
                <a:gd name="connsiteY1" fmla="*/ 98696 h 164477"/>
                <a:gd name="connsiteX2" fmla="*/ 40973 w 201937"/>
                <a:gd name="connsiteY2" fmla="*/ 98696 h 164477"/>
                <a:gd name="connsiteX3" fmla="*/ 40973 w 201937"/>
                <a:gd name="connsiteY3" fmla="*/ 98696 h 164477"/>
                <a:gd name="connsiteX4" fmla="*/ 14048 w 201937"/>
                <a:gd name="connsiteY4" fmla="*/ 79526 h 164477"/>
                <a:gd name="connsiteX5" fmla="*/ 7902 w 201937"/>
                <a:gd name="connsiteY5" fmla="*/ 57430 h 164477"/>
                <a:gd name="connsiteX6" fmla="*/ 26340 w 201937"/>
                <a:gd name="connsiteY6" fmla="*/ 62552 h 164477"/>
                <a:gd name="connsiteX7" fmla="*/ 13755 w 201937"/>
                <a:gd name="connsiteY7" fmla="*/ 7238 h 164477"/>
                <a:gd name="connsiteX8" fmla="*/ 99505 w 201937"/>
                <a:gd name="connsiteY8" fmla="*/ 51138 h 164477"/>
                <a:gd name="connsiteX9" fmla="*/ 99505 w 201937"/>
                <a:gd name="connsiteY9" fmla="*/ 46601 h 164477"/>
                <a:gd name="connsiteX10" fmla="*/ 135714 w 201937"/>
                <a:gd name="connsiteY10" fmla="*/ 307 h 164477"/>
                <a:gd name="connsiteX11" fmla="*/ 170184 w 201937"/>
                <a:gd name="connsiteY11" fmla="*/ 12214 h 164477"/>
                <a:gd name="connsiteX12" fmla="*/ 172379 w 201937"/>
                <a:gd name="connsiteY12" fmla="*/ 12214 h 164477"/>
                <a:gd name="connsiteX13" fmla="*/ 196523 w 201937"/>
                <a:gd name="connsiteY13" fmla="*/ 2995 h 164477"/>
                <a:gd name="connsiteX14" fmla="*/ 196523 w 201937"/>
                <a:gd name="connsiteY14" fmla="*/ 2995 h 164477"/>
                <a:gd name="connsiteX15" fmla="*/ 196523 w 201937"/>
                <a:gd name="connsiteY15" fmla="*/ 2995 h 164477"/>
                <a:gd name="connsiteX16" fmla="*/ 178671 w 201937"/>
                <a:gd name="connsiteY16" fmla="*/ 25676 h 164477"/>
                <a:gd name="connsiteX17" fmla="*/ 201938 w 201937"/>
                <a:gd name="connsiteY17" fmla="*/ 19384 h 164477"/>
                <a:gd name="connsiteX18" fmla="*/ 201938 w 201937"/>
                <a:gd name="connsiteY18" fmla="*/ 19384 h 164477"/>
                <a:gd name="connsiteX19" fmla="*/ 197109 w 201937"/>
                <a:gd name="connsiteY19" fmla="*/ 25530 h 164477"/>
                <a:gd name="connsiteX20" fmla="*/ 182475 w 201937"/>
                <a:gd name="connsiteY20" fmla="*/ 40163 h 164477"/>
                <a:gd name="connsiteX21" fmla="*/ 181744 w 201937"/>
                <a:gd name="connsiteY21" fmla="*/ 41480 h 164477"/>
                <a:gd name="connsiteX22" fmla="*/ 181012 w 201937"/>
                <a:gd name="connsiteY22" fmla="*/ 60064 h 164477"/>
                <a:gd name="connsiteX23" fmla="*/ 170330 w 201937"/>
                <a:gd name="connsiteY23" fmla="*/ 96940 h 164477"/>
                <a:gd name="connsiteX24" fmla="*/ 147795 w 201937"/>
                <a:gd name="connsiteY24" fmla="*/ 129718 h 164477"/>
                <a:gd name="connsiteX25" fmla="*/ 90726 w 201937"/>
                <a:gd name="connsiteY25" fmla="*/ 161618 h 164477"/>
                <a:gd name="connsiteX26" fmla="*/ 67605 w 201937"/>
                <a:gd name="connsiteY26" fmla="*/ 164398 h 164477"/>
                <a:gd name="connsiteX27" fmla="*/ 1024 w 201937"/>
                <a:gd name="connsiteY27" fmla="*/ 146546 h 164477"/>
                <a:gd name="connsiteX28" fmla="*/ 0 w 201937"/>
                <a:gd name="connsiteY28" fmla="*/ 145814 h 164477"/>
                <a:gd name="connsiteX29" fmla="*/ 42582 w 201937"/>
                <a:gd name="connsiteY29" fmla="*/ 139522 h 164477"/>
                <a:gd name="connsiteX30" fmla="*/ 61898 w 201937"/>
                <a:gd name="connsiteY30" fmla="*/ 127962 h 164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01937" h="164477">
                  <a:moveTo>
                    <a:pt x="61898" y="127962"/>
                  </a:moveTo>
                  <a:cubicBezTo>
                    <a:pt x="44053" y="127475"/>
                    <a:pt x="28482" y="115723"/>
                    <a:pt x="23120" y="98696"/>
                  </a:cubicBezTo>
                  <a:cubicBezTo>
                    <a:pt x="28998" y="100012"/>
                    <a:pt x="35095" y="100012"/>
                    <a:pt x="40973" y="98696"/>
                  </a:cubicBezTo>
                  <a:lnTo>
                    <a:pt x="40973" y="98696"/>
                  </a:lnTo>
                  <a:cubicBezTo>
                    <a:pt x="29726" y="96319"/>
                    <a:pt x="19973" y="89376"/>
                    <a:pt x="14048" y="79526"/>
                  </a:cubicBezTo>
                  <a:cubicBezTo>
                    <a:pt x="9884" y="72919"/>
                    <a:pt x="7747" y="65238"/>
                    <a:pt x="7902" y="57430"/>
                  </a:cubicBezTo>
                  <a:cubicBezTo>
                    <a:pt x="13540" y="60611"/>
                    <a:pt x="19869" y="62369"/>
                    <a:pt x="26340" y="62552"/>
                  </a:cubicBezTo>
                  <a:cubicBezTo>
                    <a:pt x="8506" y="50119"/>
                    <a:pt x="3056" y="26162"/>
                    <a:pt x="13755" y="7238"/>
                  </a:cubicBezTo>
                  <a:cubicBezTo>
                    <a:pt x="34894" y="33278"/>
                    <a:pt x="66020" y="49213"/>
                    <a:pt x="99505" y="51138"/>
                  </a:cubicBezTo>
                  <a:cubicBezTo>
                    <a:pt x="99505" y="49382"/>
                    <a:pt x="99505" y="47918"/>
                    <a:pt x="99505" y="46601"/>
                  </a:cubicBezTo>
                  <a:cubicBezTo>
                    <a:pt x="96721" y="23819"/>
                    <a:pt x="112931" y="3093"/>
                    <a:pt x="135714" y="307"/>
                  </a:cubicBezTo>
                  <a:cubicBezTo>
                    <a:pt x="148424" y="-1246"/>
                    <a:pt x="161142" y="3146"/>
                    <a:pt x="170184" y="12214"/>
                  </a:cubicBezTo>
                  <a:cubicBezTo>
                    <a:pt x="170854" y="12638"/>
                    <a:pt x="171708" y="12638"/>
                    <a:pt x="172379" y="12214"/>
                  </a:cubicBezTo>
                  <a:cubicBezTo>
                    <a:pt x="180845" y="10376"/>
                    <a:pt x="188986" y="7268"/>
                    <a:pt x="196523" y="2995"/>
                  </a:cubicBezTo>
                  <a:lnTo>
                    <a:pt x="196523" y="2995"/>
                  </a:lnTo>
                  <a:lnTo>
                    <a:pt x="196523" y="2995"/>
                  </a:lnTo>
                  <a:cubicBezTo>
                    <a:pt x="193462" y="12439"/>
                    <a:pt x="187132" y="20482"/>
                    <a:pt x="178671" y="25676"/>
                  </a:cubicBezTo>
                  <a:cubicBezTo>
                    <a:pt x="186701" y="24774"/>
                    <a:pt x="194548" y="22652"/>
                    <a:pt x="201938" y="19384"/>
                  </a:cubicBezTo>
                  <a:lnTo>
                    <a:pt x="201938" y="19384"/>
                  </a:lnTo>
                  <a:cubicBezTo>
                    <a:pt x="200328" y="21432"/>
                    <a:pt x="198718" y="23627"/>
                    <a:pt x="197109" y="25530"/>
                  </a:cubicBezTo>
                  <a:cubicBezTo>
                    <a:pt x="192906" y="31039"/>
                    <a:pt x="187985" y="35961"/>
                    <a:pt x="182475" y="40163"/>
                  </a:cubicBezTo>
                  <a:cubicBezTo>
                    <a:pt x="182475" y="40163"/>
                    <a:pt x="181744" y="40895"/>
                    <a:pt x="181744" y="41480"/>
                  </a:cubicBezTo>
                  <a:cubicBezTo>
                    <a:pt x="182014" y="47684"/>
                    <a:pt x="181770" y="53900"/>
                    <a:pt x="181012" y="60064"/>
                  </a:cubicBezTo>
                  <a:cubicBezTo>
                    <a:pt x="179383" y="72836"/>
                    <a:pt x="175779" y="85275"/>
                    <a:pt x="170330" y="96940"/>
                  </a:cubicBezTo>
                  <a:cubicBezTo>
                    <a:pt x="164728" y="109063"/>
                    <a:pt x="157109" y="120146"/>
                    <a:pt x="147795" y="129718"/>
                  </a:cubicBezTo>
                  <a:cubicBezTo>
                    <a:pt x="132398" y="145829"/>
                    <a:pt x="112516" y="156943"/>
                    <a:pt x="90726" y="161618"/>
                  </a:cubicBezTo>
                  <a:cubicBezTo>
                    <a:pt x="83112" y="163201"/>
                    <a:pt x="75377" y="164131"/>
                    <a:pt x="67605" y="164398"/>
                  </a:cubicBezTo>
                  <a:cubicBezTo>
                    <a:pt x="44123" y="165265"/>
                    <a:pt x="20923" y="159044"/>
                    <a:pt x="1024" y="146546"/>
                  </a:cubicBezTo>
                  <a:lnTo>
                    <a:pt x="0" y="145814"/>
                  </a:lnTo>
                  <a:cubicBezTo>
                    <a:pt x="14500" y="147444"/>
                    <a:pt x="29174" y="145276"/>
                    <a:pt x="42582" y="139522"/>
                  </a:cubicBezTo>
                  <a:cubicBezTo>
                    <a:pt x="49521" y="136573"/>
                    <a:pt x="56021" y="132684"/>
                    <a:pt x="61898" y="127962"/>
                  </a:cubicBezTo>
                  <a:close/>
                </a:path>
              </a:pathLst>
            </a:custGeom>
            <a:solidFill>
              <a:srgbClr val="FFFF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91" name="Graphic 32">
            <a:extLst>
              <a:ext uri="{FF2B5EF4-FFF2-40B4-BE49-F238E27FC236}">
                <a16:creationId xmlns:a16="http://schemas.microsoft.com/office/drawing/2014/main" id="{2DFFE264-0AB8-C4CE-C0CD-84FCA587061F}"/>
              </a:ext>
            </a:extLst>
          </p:cNvPr>
          <p:cNvGrpSpPr/>
          <p:nvPr/>
        </p:nvGrpSpPr>
        <p:grpSpPr>
          <a:xfrm>
            <a:off x="9634205" y="2697341"/>
            <a:ext cx="381486" cy="381486"/>
            <a:chOff x="9634205" y="2697341"/>
            <a:chExt cx="381486" cy="381486"/>
          </a:xfrm>
        </p:grpSpPr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5EBEEF9-0E26-BC43-86A1-25AD0A6FAC6C}"/>
                </a:ext>
              </a:extLst>
            </p:cNvPr>
            <p:cNvSpPr/>
            <p:nvPr/>
          </p:nvSpPr>
          <p:spPr>
            <a:xfrm>
              <a:off x="9634205" y="2697341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225BC7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9D63519-EE69-A077-BFE2-B5F3164512BA}"/>
                </a:ext>
              </a:extLst>
            </p:cNvPr>
            <p:cNvSpPr/>
            <p:nvPr/>
          </p:nvSpPr>
          <p:spPr>
            <a:xfrm>
              <a:off x="9764879" y="2780453"/>
              <a:ext cx="112821" cy="216135"/>
            </a:xfrm>
            <a:custGeom>
              <a:avLst/>
              <a:gdLst>
                <a:gd name="connsiteX0" fmla="*/ 89994 w 112821"/>
                <a:gd name="connsiteY0" fmla="*/ 36002 h 216135"/>
                <a:gd name="connsiteX1" fmla="*/ 110188 w 112821"/>
                <a:gd name="connsiteY1" fmla="*/ 36002 h 216135"/>
                <a:gd name="connsiteX2" fmla="*/ 112822 w 112821"/>
                <a:gd name="connsiteY2" fmla="*/ 36002 h 216135"/>
                <a:gd name="connsiteX3" fmla="*/ 112822 w 112821"/>
                <a:gd name="connsiteY3" fmla="*/ 1028 h 216135"/>
                <a:gd name="connsiteX4" fmla="*/ 101847 w 112821"/>
                <a:gd name="connsiteY4" fmla="*/ 4 h 216135"/>
                <a:gd name="connsiteX5" fmla="*/ 81214 w 112821"/>
                <a:gd name="connsiteY5" fmla="*/ 4 h 216135"/>
                <a:gd name="connsiteX6" fmla="*/ 51948 w 112821"/>
                <a:gd name="connsiteY6" fmla="*/ 8930 h 216135"/>
                <a:gd name="connsiteX7" fmla="*/ 34388 w 112821"/>
                <a:gd name="connsiteY7" fmla="*/ 38197 h 216135"/>
                <a:gd name="connsiteX8" fmla="*/ 33217 w 112821"/>
                <a:gd name="connsiteY8" fmla="*/ 52830 h 216135"/>
                <a:gd name="connsiteX9" fmla="*/ 33217 w 112821"/>
                <a:gd name="connsiteY9" fmla="*/ 76389 h 216135"/>
                <a:gd name="connsiteX10" fmla="*/ 33217 w 112821"/>
                <a:gd name="connsiteY10" fmla="*/ 79316 h 216135"/>
                <a:gd name="connsiteX11" fmla="*/ 0 w 112821"/>
                <a:gd name="connsiteY11" fmla="*/ 79316 h 216135"/>
                <a:gd name="connsiteX12" fmla="*/ 0 w 112821"/>
                <a:gd name="connsiteY12" fmla="*/ 118240 h 216135"/>
                <a:gd name="connsiteX13" fmla="*/ 33071 w 112821"/>
                <a:gd name="connsiteY13" fmla="*/ 118240 h 216135"/>
                <a:gd name="connsiteX14" fmla="*/ 33071 w 112821"/>
                <a:gd name="connsiteY14" fmla="*/ 216136 h 216135"/>
                <a:gd name="connsiteX15" fmla="*/ 74190 w 112821"/>
                <a:gd name="connsiteY15" fmla="*/ 216136 h 216135"/>
                <a:gd name="connsiteX16" fmla="*/ 74190 w 112821"/>
                <a:gd name="connsiteY16" fmla="*/ 118094 h 216135"/>
                <a:gd name="connsiteX17" fmla="*/ 107261 w 112821"/>
                <a:gd name="connsiteY17" fmla="*/ 118094 h 216135"/>
                <a:gd name="connsiteX18" fmla="*/ 112383 w 112821"/>
                <a:gd name="connsiteY18" fmla="*/ 79023 h 216135"/>
                <a:gd name="connsiteX19" fmla="*/ 73312 w 112821"/>
                <a:gd name="connsiteY19" fmla="*/ 79023 h 216135"/>
                <a:gd name="connsiteX20" fmla="*/ 73312 w 112821"/>
                <a:gd name="connsiteY20" fmla="*/ 51366 h 216135"/>
                <a:gd name="connsiteX21" fmla="*/ 89994 w 112821"/>
                <a:gd name="connsiteY21" fmla="*/ 36002 h 216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821" h="216135">
                  <a:moveTo>
                    <a:pt x="89994" y="36002"/>
                  </a:moveTo>
                  <a:cubicBezTo>
                    <a:pt x="96725" y="36002"/>
                    <a:pt x="103456" y="36002"/>
                    <a:pt x="110188" y="36002"/>
                  </a:cubicBezTo>
                  <a:lnTo>
                    <a:pt x="112822" y="36002"/>
                  </a:lnTo>
                  <a:lnTo>
                    <a:pt x="112822" y="1028"/>
                  </a:lnTo>
                  <a:cubicBezTo>
                    <a:pt x="109310" y="1028"/>
                    <a:pt x="105505" y="150"/>
                    <a:pt x="101847" y="4"/>
                  </a:cubicBezTo>
                  <a:cubicBezTo>
                    <a:pt x="94969" y="4"/>
                    <a:pt x="88092" y="4"/>
                    <a:pt x="81214" y="4"/>
                  </a:cubicBezTo>
                  <a:cubicBezTo>
                    <a:pt x="70769" y="-129"/>
                    <a:pt x="60540" y="2990"/>
                    <a:pt x="51948" y="8930"/>
                  </a:cubicBezTo>
                  <a:cubicBezTo>
                    <a:pt x="42386" y="15918"/>
                    <a:pt x="36055" y="26472"/>
                    <a:pt x="34388" y="38197"/>
                  </a:cubicBezTo>
                  <a:cubicBezTo>
                    <a:pt x="33649" y="43040"/>
                    <a:pt x="33257" y="47930"/>
                    <a:pt x="33217" y="52830"/>
                  </a:cubicBezTo>
                  <a:cubicBezTo>
                    <a:pt x="33217" y="60732"/>
                    <a:pt x="33217" y="68487"/>
                    <a:pt x="33217" y="76389"/>
                  </a:cubicBezTo>
                  <a:lnTo>
                    <a:pt x="33217" y="79316"/>
                  </a:lnTo>
                  <a:lnTo>
                    <a:pt x="0" y="79316"/>
                  </a:lnTo>
                  <a:lnTo>
                    <a:pt x="0" y="118240"/>
                  </a:lnTo>
                  <a:lnTo>
                    <a:pt x="33071" y="118240"/>
                  </a:lnTo>
                  <a:lnTo>
                    <a:pt x="33071" y="216136"/>
                  </a:lnTo>
                  <a:lnTo>
                    <a:pt x="74190" y="216136"/>
                  </a:lnTo>
                  <a:lnTo>
                    <a:pt x="74190" y="118094"/>
                  </a:lnTo>
                  <a:lnTo>
                    <a:pt x="107261" y="118094"/>
                  </a:lnTo>
                  <a:cubicBezTo>
                    <a:pt x="109017" y="105070"/>
                    <a:pt x="110627" y="92339"/>
                    <a:pt x="112383" y="79023"/>
                  </a:cubicBezTo>
                  <a:lnTo>
                    <a:pt x="73312" y="79023"/>
                  </a:lnTo>
                  <a:cubicBezTo>
                    <a:pt x="73312" y="79023"/>
                    <a:pt x="73312" y="59707"/>
                    <a:pt x="73312" y="51366"/>
                  </a:cubicBezTo>
                  <a:cubicBezTo>
                    <a:pt x="74190" y="39806"/>
                    <a:pt x="80775" y="36294"/>
                    <a:pt x="89994" y="36002"/>
                  </a:cubicBezTo>
                  <a:close/>
                </a:path>
              </a:pathLst>
            </a:custGeom>
            <a:solidFill>
              <a:srgbClr val="FFFF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94" name="Graphic 34">
            <a:extLst>
              <a:ext uri="{FF2B5EF4-FFF2-40B4-BE49-F238E27FC236}">
                <a16:creationId xmlns:a16="http://schemas.microsoft.com/office/drawing/2014/main" id="{5F2A37C3-570E-5B8E-2CD7-88C9630F6035}"/>
              </a:ext>
            </a:extLst>
          </p:cNvPr>
          <p:cNvGrpSpPr/>
          <p:nvPr/>
        </p:nvGrpSpPr>
        <p:grpSpPr>
          <a:xfrm>
            <a:off x="2054225" y="3780195"/>
            <a:ext cx="381486" cy="381486"/>
            <a:chOff x="2054225" y="3780195"/>
            <a:chExt cx="381486" cy="381486"/>
          </a:xfrm>
        </p:grpSpPr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3AB8E236-C4E4-4E21-CC07-A9EFABC66E6D}"/>
                </a:ext>
              </a:extLst>
            </p:cNvPr>
            <p:cNvSpPr/>
            <p:nvPr/>
          </p:nvSpPr>
          <p:spPr>
            <a:xfrm>
              <a:off x="2054225" y="3780195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EDEDED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D4C6D2AB-A140-C436-3D66-F3A696A916A8}"/>
                </a:ext>
              </a:extLst>
            </p:cNvPr>
            <p:cNvSpPr/>
            <p:nvPr/>
          </p:nvSpPr>
          <p:spPr>
            <a:xfrm>
              <a:off x="2157761" y="3886285"/>
              <a:ext cx="174493" cy="169305"/>
            </a:xfrm>
            <a:custGeom>
              <a:avLst/>
              <a:gdLst>
                <a:gd name="connsiteX0" fmla="*/ 86695 w 174493"/>
                <a:gd name="connsiteY0" fmla="*/ 169306 h 169305"/>
                <a:gd name="connsiteX1" fmla="*/ 119326 w 174493"/>
                <a:gd name="connsiteY1" fmla="*/ 152917 h 169305"/>
                <a:gd name="connsiteX2" fmla="*/ 145081 w 174493"/>
                <a:gd name="connsiteY2" fmla="*/ 152917 h 169305"/>
                <a:gd name="connsiteX3" fmla="*/ 149178 w 174493"/>
                <a:gd name="connsiteY3" fmla="*/ 144868 h 169305"/>
                <a:gd name="connsiteX4" fmla="*/ 163811 w 174493"/>
                <a:gd name="connsiteY4" fmla="*/ 138284 h 169305"/>
                <a:gd name="connsiteX5" fmla="*/ 174493 w 174493"/>
                <a:gd name="connsiteY5" fmla="*/ 128040 h 169305"/>
                <a:gd name="connsiteX6" fmla="*/ 153422 w 174493"/>
                <a:gd name="connsiteY6" fmla="*/ 119992 h 169305"/>
                <a:gd name="connsiteX7" fmla="*/ 133960 w 174493"/>
                <a:gd name="connsiteY7" fmla="*/ 92628 h 169305"/>
                <a:gd name="connsiteX8" fmla="*/ 148593 w 174493"/>
                <a:gd name="connsiteY8" fmla="*/ 80775 h 169305"/>
                <a:gd name="connsiteX9" fmla="*/ 154885 w 174493"/>
                <a:gd name="connsiteY9" fmla="*/ 70971 h 169305"/>
                <a:gd name="connsiteX10" fmla="*/ 142740 w 174493"/>
                <a:gd name="connsiteY10" fmla="*/ 70971 h 169305"/>
                <a:gd name="connsiteX11" fmla="*/ 133082 w 174493"/>
                <a:gd name="connsiteY11" fmla="*/ 71703 h 169305"/>
                <a:gd name="connsiteX12" fmla="*/ 133082 w 174493"/>
                <a:gd name="connsiteY12" fmla="*/ 44924 h 169305"/>
                <a:gd name="connsiteX13" fmla="*/ 88450 w 174493"/>
                <a:gd name="connsiteY13" fmla="*/ 0 h 169305"/>
                <a:gd name="connsiteX14" fmla="*/ 88158 w 174493"/>
                <a:gd name="connsiteY14" fmla="*/ 0 h 169305"/>
                <a:gd name="connsiteX15" fmla="*/ 86695 w 174493"/>
                <a:gd name="connsiteY15" fmla="*/ 0 h 169305"/>
                <a:gd name="connsiteX16" fmla="*/ 41771 w 174493"/>
                <a:gd name="connsiteY16" fmla="*/ 44631 h 169305"/>
                <a:gd name="connsiteX17" fmla="*/ 41771 w 174493"/>
                <a:gd name="connsiteY17" fmla="*/ 44924 h 169305"/>
                <a:gd name="connsiteX18" fmla="*/ 41771 w 174493"/>
                <a:gd name="connsiteY18" fmla="*/ 71849 h 169305"/>
                <a:gd name="connsiteX19" fmla="*/ 32113 w 174493"/>
                <a:gd name="connsiteY19" fmla="*/ 71117 h 169305"/>
                <a:gd name="connsiteX20" fmla="*/ 19967 w 174493"/>
                <a:gd name="connsiteY20" fmla="*/ 71117 h 169305"/>
                <a:gd name="connsiteX21" fmla="*/ 26260 w 174493"/>
                <a:gd name="connsiteY21" fmla="*/ 80922 h 169305"/>
                <a:gd name="connsiteX22" fmla="*/ 40893 w 174493"/>
                <a:gd name="connsiteY22" fmla="*/ 92774 h 169305"/>
                <a:gd name="connsiteX23" fmla="*/ 21577 w 174493"/>
                <a:gd name="connsiteY23" fmla="*/ 120138 h 169305"/>
                <a:gd name="connsiteX24" fmla="*/ 66 w 174493"/>
                <a:gd name="connsiteY24" fmla="*/ 128040 h 169305"/>
                <a:gd name="connsiteX25" fmla="*/ 9431 w 174493"/>
                <a:gd name="connsiteY25" fmla="*/ 138137 h 169305"/>
                <a:gd name="connsiteX26" fmla="*/ 24065 w 174493"/>
                <a:gd name="connsiteY26" fmla="*/ 144722 h 169305"/>
                <a:gd name="connsiteX27" fmla="*/ 28162 w 174493"/>
                <a:gd name="connsiteY27" fmla="*/ 152770 h 169305"/>
                <a:gd name="connsiteX28" fmla="*/ 53916 w 174493"/>
                <a:gd name="connsiteY28" fmla="*/ 152770 h 169305"/>
                <a:gd name="connsiteX29" fmla="*/ 86695 w 174493"/>
                <a:gd name="connsiteY29" fmla="*/ 169306 h 169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74493" h="169305">
                  <a:moveTo>
                    <a:pt x="86695" y="169306"/>
                  </a:moveTo>
                  <a:cubicBezTo>
                    <a:pt x="102206" y="168574"/>
                    <a:pt x="112742" y="155843"/>
                    <a:pt x="119326" y="152917"/>
                  </a:cubicBezTo>
                  <a:cubicBezTo>
                    <a:pt x="127839" y="151333"/>
                    <a:pt x="136569" y="151333"/>
                    <a:pt x="145081" y="152917"/>
                  </a:cubicBezTo>
                  <a:cubicBezTo>
                    <a:pt x="147861" y="152917"/>
                    <a:pt x="146983" y="150429"/>
                    <a:pt x="149178" y="144868"/>
                  </a:cubicBezTo>
                  <a:cubicBezTo>
                    <a:pt x="151373" y="139308"/>
                    <a:pt x="153568" y="141064"/>
                    <a:pt x="163811" y="138284"/>
                  </a:cubicBezTo>
                  <a:cubicBezTo>
                    <a:pt x="174054" y="135503"/>
                    <a:pt x="174493" y="129943"/>
                    <a:pt x="174493" y="128040"/>
                  </a:cubicBezTo>
                  <a:cubicBezTo>
                    <a:pt x="166719" y="128040"/>
                    <a:pt x="159216" y="125175"/>
                    <a:pt x="153422" y="119992"/>
                  </a:cubicBezTo>
                  <a:cubicBezTo>
                    <a:pt x="143934" y="113428"/>
                    <a:pt x="137046" y="103745"/>
                    <a:pt x="133960" y="92628"/>
                  </a:cubicBezTo>
                  <a:cubicBezTo>
                    <a:pt x="133960" y="85312"/>
                    <a:pt x="142886" y="83117"/>
                    <a:pt x="148593" y="80775"/>
                  </a:cubicBezTo>
                  <a:cubicBezTo>
                    <a:pt x="154300" y="78434"/>
                    <a:pt x="158690" y="74776"/>
                    <a:pt x="154885" y="70971"/>
                  </a:cubicBezTo>
                  <a:cubicBezTo>
                    <a:pt x="151080" y="67166"/>
                    <a:pt x="147276" y="68337"/>
                    <a:pt x="142740" y="70971"/>
                  </a:cubicBezTo>
                  <a:cubicBezTo>
                    <a:pt x="139697" y="72304"/>
                    <a:pt x="136291" y="72562"/>
                    <a:pt x="133082" y="71703"/>
                  </a:cubicBezTo>
                  <a:lnTo>
                    <a:pt x="133082" y="44924"/>
                  </a:lnTo>
                  <a:cubicBezTo>
                    <a:pt x="133162" y="20194"/>
                    <a:pt x="113181" y="81"/>
                    <a:pt x="88450" y="0"/>
                  </a:cubicBezTo>
                  <a:cubicBezTo>
                    <a:pt x="88354" y="0"/>
                    <a:pt x="88256" y="0"/>
                    <a:pt x="88158" y="0"/>
                  </a:cubicBezTo>
                  <a:lnTo>
                    <a:pt x="86695" y="0"/>
                  </a:lnTo>
                  <a:cubicBezTo>
                    <a:pt x="61964" y="-81"/>
                    <a:pt x="41852" y="19901"/>
                    <a:pt x="41771" y="44631"/>
                  </a:cubicBezTo>
                  <a:cubicBezTo>
                    <a:pt x="41770" y="44728"/>
                    <a:pt x="41770" y="44826"/>
                    <a:pt x="41771" y="44924"/>
                  </a:cubicBezTo>
                  <a:lnTo>
                    <a:pt x="41771" y="71849"/>
                  </a:lnTo>
                  <a:cubicBezTo>
                    <a:pt x="38562" y="72708"/>
                    <a:pt x="35156" y="72450"/>
                    <a:pt x="32113" y="71117"/>
                  </a:cubicBezTo>
                  <a:cubicBezTo>
                    <a:pt x="27577" y="68776"/>
                    <a:pt x="23772" y="67605"/>
                    <a:pt x="19967" y="71117"/>
                  </a:cubicBezTo>
                  <a:cubicBezTo>
                    <a:pt x="16163" y="74629"/>
                    <a:pt x="19967" y="78580"/>
                    <a:pt x="26260" y="80922"/>
                  </a:cubicBezTo>
                  <a:cubicBezTo>
                    <a:pt x="32552" y="83263"/>
                    <a:pt x="40893" y="85458"/>
                    <a:pt x="40893" y="92774"/>
                  </a:cubicBezTo>
                  <a:cubicBezTo>
                    <a:pt x="37878" y="103887"/>
                    <a:pt x="31038" y="113577"/>
                    <a:pt x="21577" y="120138"/>
                  </a:cubicBezTo>
                  <a:cubicBezTo>
                    <a:pt x="15633" y="125346"/>
                    <a:pt x="7968" y="128162"/>
                    <a:pt x="66" y="128040"/>
                  </a:cubicBezTo>
                  <a:cubicBezTo>
                    <a:pt x="66" y="129504"/>
                    <a:pt x="-1397" y="135357"/>
                    <a:pt x="9431" y="138137"/>
                  </a:cubicBezTo>
                  <a:cubicBezTo>
                    <a:pt x="20260" y="140918"/>
                    <a:pt x="22455" y="139015"/>
                    <a:pt x="24065" y="144722"/>
                  </a:cubicBezTo>
                  <a:cubicBezTo>
                    <a:pt x="25674" y="150429"/>
                    <a:pt x="25382" y="152770"/>
                    <a:pt x="28162" y="152770"/>
                  </a:cubicBezTo>
                  <a:cubicBezTo>
                    <a:pt x="36674" y="151187"/>
                    <a:pt x="45404" y="151187"/>
                    <a:pt x="53916" y="152770"/>
                  </a:cubicBezTo>
                  <a:cubicBezTo>
                    <a:pt x="61086" y="155843"/>
                    <a:pt x="72061" y="168574"/>
                    <a:pt x="86695" y="169306"/>
                  </a:cubicBezTo>
                  <a:close/>
                </a:path>
              </a:pathLst>
            </a:custGeom>
            <a:solidFill>
              <a:srgbClr val="222426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97" name="Graphic 36">
            <a:extLst>
              <a:ext uri="{FF2B5EF4-FFF2-40B4-BE49-F238E27FC236}">
                <a16:creationId xmlns:a16="http://schemas.microsoft.com/office/drawing/2014/main" id="{8FDD22C0-4CC6-3A7E-3348-068ACB7CF5D1}"/>
              </a:ext>
            </a:extLst>
          </p:cNvPr>
          <p:cNvGrpSpPr/>
          <p:nvPr/>
        </p:nvGrpSpPr>
        <p:grpSpPr>
          <a:xfrm>
            <a:off x="3137079" y="3780195"/>
            <a:ext cx="381486" cy="381486"/>
            <a:chOff x="3137079" y="3780195"/>
            <a:chExt cx="381486" cy="381486"/>
          </a:xfrm>
        </p:grpSpPr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3F005288-D2CC-D0C7-51C2-D624E3B304D3}"/>
                </a:ext>
              </a:extLst>
            </p:cNvPr>
            <p:cNvSpPr/>
            <p:nvPr/>
          </p:nvSpPr>
          <p:spPr>
            <a:xfrm>
              <a:off x="3137079" y="3780195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EDEDED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483AD126-79C5-D622-722C-6A43E6FA5C55}"/>
                </a:ext>
              </a:extLst>
            </p:cNvPr>
            <p:cNvSpPr/>
            <p:nvPr/>
          </p:nvSpPr>
          <p:spPr>
            <a:xfrm>
              <a:off x="3245071" y="3888334"/>
              <a:ext cx="39802" cy="165208"/>
            </a:xfrm>
            <a:custGeom>
              <a:avLst/>
              <a:gdLst>
                <a:gd name="connsiteX0" fmla="*/ 2780 w 39802"/>
                <a:gd name="connsiteY0" fmla="*/ 54874 h 165208"/>
                <a:gd name="connsiteX1" fmla="*/ 37022 w 39802"/>
                <a:gd name="connsiteY1" fmla="*/ 54874 h 165208"/>
                <a:gd name="connsiteX2" fmla="*/ 37022 w 39802"/>
                <a:gd name="connsiteY2" fmla="*/ 165208 h 165208"/>
                <a:gd name="connsiteX3" fmla="*/ 2780 w 39802"/>
                <a:gd name="connsiteY3" fmla="*/ 165208 h 165208"/>
                <a:gd name="connsiteX4" fmla="*/ 19901 w 39802"/>
                <a:gd name="connsiteY4" fmla="*/ 0 h 165208"/>
                <a:gd name="connsiteX5" fmla="*/ 39802 w 39802"/>
                <a:gd name="connsiteY5" fmla="*/ 19901 h 165208"/>
                <a:gd name="connsiteX6" fmla="*/ 19901 w 39802"/>
                <a:gd name="connsiteY6" fmla="*/ 39802 h 165208"/>
                <a:gd name="connsiteX7" fmla="*/ 0 w 39802"/>
                <a:gd name="connsiteY7" fmla="*/ 19901 h 165208"/>
                <a:gd name="connsiteX8" fmla="*/ 19901 w 39802"/>
                <a:gd name="connsiteY8" fmla="*/ 0 h 165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802" h="165208">
                  <a:moveTo>
                    <a:pt x="2780" y="54874"/>
                  </a:moveTo>
                  <a:lnTo>
                    <a:pt x="37022" y="54874"/>
                  </a:lnTo>
                  <a:lnTo>
                    <a:pt x="37022" y="165208"/>
                  </a:lnTo>
                  <a:lnTo>
                    <a:pt x="2780" y="165208"/>
                  </a:lnTo>
                  <a:close/>
                  <a:moveTo>
                    <a:pt x="19901" y="0"/>
                  </a:moveTo>
                  <a:cubicBezTo>
                    <a:pt x="30892" y="0"/>
                    <a:pt x="39802" y="8910"/>
                    <a:pt x="39802" y="19901"/>
                  </a:cubicBezTo>
                  <a:cubicBezTo>
                    <a:pt x="39802" y="30892"/>
                    <a:pt x="30892" y="39802"/>
                    <a:pt x="19901" y="39802"/>
                  </a:cubicBezTo>
                  <a:cubicBezTo>
                    <a:pt x="8910" y="39802"/>
                    <a:pt x="0" y="30892"/>
                    <a:pt x="0" y="19901"/>
                  </a:cubicBezTo>
                  <a:cubicBezTo>
                    <a:pt x="0" y="8910"/>
                    <a:pt x="8910" y="0"/>
                    <a:pt x="19901" y="0"/>
                  </a:cubicBezTo>
                </a:path>
              </a:pathLst>
            </a:custGeom>
            <a:solidFill>
              <a:srgbClr val="222426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EF20E548-C6BC-17D1-CB64-C15841781650}"/>
                </a:ext>
              </a:extLst>
            </p:cNvPr>
            <p:cNvSpPr/>
            <p:nvPr/>
          </p:nvSpPr>
          <p:spPr>
            <a:xfrm>
              <a:off x="3303604" y="3941084"/>
              <a:ext cx="106968" cy="113189"/>
            </a:xfrm>
            <a:custGeom>
              <a:avLst/>
              <a:gdLst>
                <a:gd name="connsiteX0" fmla="*/ 0 w 106968"/>
                <a:gd name="connsiteY0" fmla="*/ 2124 h 113189"/>
                <a:gd name="connsiteX1" fmla="*/ 32925 w 106968"/>
                <a:gd name="connsiteY1" fmla="*/ 2124 h 113189"/>
                <a:gd name="connsiteX2" fmla="*/ 32925 w 106968"/>
                <a:gd name="connsiteY2" fmla="*/ 16757 h 113189"/>
                <a:gd name="connsiteX3" fmla="*/ 32925 w 106968"/>
                <a:gd name="connsiteY3" fmla="*/ 16757 h 113189"/>
                <a:gd name="connsiteX4" fmla="*/ 65849 w 106968"/>
                <a:gd name="connsiteY4" fmla="*/ 76 h 113189"/>
                <a:gd name="connsiteX5" fmla="*/ 106968 w 106968"/>
                <a:gd name="connsiteY5" fmla="*/ 52609 h 113189"/>
                <a:gd name="connsiteX6" fmla="*/ 106968 w 106968"/>
                <a:gd name="connsiteY6" fmla="*/ 113190 h 113189"/>
                <a:gd name="connsiteX7" fmla="*/ 72727 w 106968"/>
                <a:gd name="connsiteY7" fmla="*/ 113190 h 113189"/>
                <a:gd name="connsiteX8" fmla="*/ 72727 w 106968"/>
                <a:gd name="connsiteY8" fmla="*/ 58608 h 113189"/>
                <a:gd name="connsiteX9" fmla="*/ 54874 w 106968"/>
                <a:gd name="connsiteY9" fmla="*/ 29342 h 113189"/>
                <a:gd name="connsiteX10" fmla="*/ 34388 w 106968"/>
                <a:gd name="connsiteY10" fmla="*/ 57730 h 113189"/>
                <a:gd name="connsiteX11" fmla="*/ 34388 w 106968"/>
                <a:gd name="connsiteY11" fmla="*/ 112312 h 113189"/>
                <a:gd name="connsiteX12" fmla="*/ 0 w 106968"/>
                <a:gd name="connsiteY12" fmla="*/ 112312 h 113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6968" h="113189">
                  <a:moveTo>
                    <a:pt x="0" y="2124"/>
                  </a:moveTo>
                  <a:lnTo>
                    <a:pt x="32925" y="2124"/>
                  </a:lnTo>
                  <a:lnTo>
                    <a:pt x="32925" y="16757"/>
                  </a:lnTo>
                  <a:lnTo>
                    <a:pt x="32925" y="16757"/>
                  </a:lnTo>
                  <a:cubicBezTo>
                    <a:pt x="40041" y="5614"/>
                    <a:pt x="52654" y="-776"/>
                    <a:pt x="65849" y="76"/>
                  </a:cubicBezTo>
                  <a:cubicBezTo>
                    <a:pt x="100530" y="76"/>
                    <a:pt x="106968" y="22903"/>
                    <a:pt x="106968" y="52609"/>
                  </a:cubicBezTo>
                  <a:lnTo>
                    <a:pt x="106968" y="113190"/>
                  </a:lnTo>
                  <a:lnTo>
                    <a:pt x="72727" y="113190"/>
                  </a:lnTo>
                  <a:lnTo>
                    <a:pt x="72727" y="58608"/>
                  </a:lnTo>
                  <a:cubicBezTo>
                    <a:pt x="72727" y="45877"/>
                    <a:pt x="72727" y="29342"/>
                    <a:pt x="54874" y="29342"/>
                  </a:cubicBezTo>
                  <a:cubicBezTo>
                    <a:pt x="37022" y="29342"/>
                    <a:pt x="34388" y="43975"/>
                    <a:pt x="34388" y="57730"/>
                  </a:cubicBezTo>
                  <a:lnTo>
                    <a:pt x="34388" y="112312"/>
                  </a:lnTo>
                  <a:lnTo>
                    <a:pt x="0" y="112312"/>
                  </a:lnTo>
                  <a:close/>
                </a:path>
              </a:pathLst>
            </a:custGeom>
            <a:solidFill>
              <a:srgbClr val="222426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01" name="Graphic 38">
            <a:extLst>
              <a:ext uri="{FF2B5EF4-FFF2-40B4-BE49-F238E27FC236}">
                <a16:creationId xmlns:a16="http://schemas.microsoft.com/office/drawing/2014/main" id="{BBB65509-3DED-0226-200B-8AC3AE3BD1FF}"/>
              </a:ext>
            </a:extLst>
          </p:cNvPr>
          <p:cNvGrpSpPr/>
          <p:nvPr/>
        </p:nvGrpSpPr>
        <p:grpSpPr>
          <a:xfrm>
            <a:off x="4219933" y="3780195"/>
            <a:ext cx="381486" cy="381486"/>
            <a:chOff x="4219933" y="3780195"/>
            <a:chExt cx="381486" cy="381486"/>
          </a:xfrm>
        </p:grpSpPr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7568C1D3-CB7E-63D0-AE77-2F7E62DF3670}"/>
                </a:ext>
              </a:extLst>
            </p:cNvPr>
            <p:cNvSpPr/>
            <p:nvPr/>
          </p:nvSpPr>
          <p:spPr>
            <a:xfrm>
              <a:off x="4219933" y="3780195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EDEDED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707ABA47-3DE7-BBB6-EB70-56C3A1AA3F13}"/>
                </a:ext>
              </a:extLst>
            </p:cNvPr>
            <p:cNvSpPr/>
            <p:nvPr/>
          </p:nvSpPr>
          <p:spPr>
            <a:xfrm>
              <a:off x="4285645" y="3891988"/>
              <a:ext cx="155463" cy="157624"/>
            </a:xfrm>
            <a:custGeom>
              <a:avLst/>
              <a:gdLst>
                <a:gd name="connsiteX0" fmla="*/ 79156 w 155463"/>
                <a:gd name="connsiteY0" fmla="*/ 63804 h 157624"/>
                <a:gd name="connsiteX1" fmla="*/ 79156 w 155463"/>
                <a:gd name="connsiteY1" fmla="*/ 95558 h 157624"/>
                <a:gd name="connsiteX2" fmla="*/ 121446 w 155463"/>
                <a:gd name="connsiteY2" fmla="*/ 95558 h 157624"/>
                <a:gd name="connsiteX3" fmla="*/ 105934 w 155463"/>
                <a:gd name="connsiteY3" fmla="*/ 119410 h 157624"/>
                <a:gd name="connsiteX4" fmla="*/ 82960 w 155463"/>
                <a:gd name="connsiteY4" fmla="*/ 126726 h 157624"/>
                <a:gd name="connsiteX5" fmla="*/ 65986 w 155463"/>
                <a:gd name="connsiteY5" fmla="*/ 123946 h 157624"/>
                <a:gd name="connsiteX6" fmla="*/ 33354 w 155463"/>
                <a:gd name="connsiteY6" fmla="*/ 82973 h 157624"/>
                <a:gd name="connsiteX7" fmla="*/ 34378 w 155463"/>
                <a:gd name="connsiteY7" fmla="*/ 68340 h 157624"/>
                <a:gd name="connsiteX8" fmla="*/ 86326 w 155463"/>
                <a:gd name="connsiteY8" fmla="*/ 31904 h 157624"/>
                <a:gd name="connsiteX9" fmla="*/ 109446 w 155463"/>
                <a:gd name="connsiteY9" fmla="*/ 43171 h 157624"/>
                <a:gd name="connsiteX10" fmla="*/ 132274 w 155463"/>
                <a:gd name="connsiteY10" fmla="*/ 19904 h 157624"/>
                <a:gd name="connsiteX11" fmla="*/ 118373 w 155463"/>
                <a:gd name="connsiteY11" fmla="*/ 9515 h 157624"/>
                <a:gd name="connsiteX12" fmla="*/ 80619 w 155463"/>
                <a:gd name="connsiteY12" fmla="*/ 3 h 157624"/>
                <a:gd name="connsiteX13" fmla="*/ 73302 w 155463"/>
                <a:gd name="connsiteY13" fmla="*/ 3 h 157624"/>
                <a:gd name="connsiteX14" fmla="*/ 137 w 155463"/>
                <a:gd name="connsiteY14" fmla="*/ 74193 h 157624"/>
                <a:gd name="connsiteX15" fmla="*/ 1746 w 155463"/>
                <a:gd name="connsiteY15" fmla="*/ 95558 h 157624"/>
                <a:gd name="connsiteX16" fmla="*/ 33061 w 155463"/>
                <a:gd name="connsiteY16" fmla="*/ 142823 h 157624"/>
                <a:gd name="connsiteX17" fmla="*/ 75205 w 155463"/>
                <a:gd name="connsiteY17" fmla="*/ 157456 h 157624"/>
                <a:gd name="connsiteX18" fmla="*/ 101105 w 155463"/>
                <a:gd name="connsiteY18" fmla="*/ 154968 h 157624"/>
                <a:gd name="connsiteX19" fmla="*/ 139883 w 155463"/>
                <a:gd name="connsiteY19" fmla="*/ 129360 h 157624"/>
                <a:gd name="connsiteX20" fmla="*/ 153785 w 155463"/>
                <a:gd name="connsiteY20" fmla="*/ 63804 h 157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5463" h="157624">
                  <a:moveTo>
                    <a:pt x="79156" y="63804"/>
                  </a:moveTo>
                  <a:lnTo>
                    <a:pt x="79156" y="95558"/>
                  </a:lnTo>
                  <a:lnTo>
                    <a:pt x="121446" y="95558"/>
                  </a:lnTo>
                  <a:cubicBezTo>
                    <a:pt x="119738" y="105289"/>
                    <a:pt x="114136" y="113902"/>
                    <a:pt x="105934" y="119410"/>
                  </a:cubicBezTo>
                  <a:cubicBezTo>
                    <a:pt x="99058" y="123838"/>
                    <a:pt x="91130" y="126362"/>
                    <a:pt x="82960" y="126726"/>
                  </a:cubicBezTo>
                  <a:cubicBezTo>
                    <a:pt x="77172" y="126968"/>
                    <a:pt x="71395" y="126023"/>
                    <a:pt x="65986" y="123946"/>
                  </a:cubicBezTo>
                  <a:cubicBezTo>
                    <a:pt x="47843" y="118116"/>
                    <a:pt x="34977" y="101960"/>
                    <a:pt x="33354" y="82973"/>
                  </a:cubicBezTo>
                  <a:cubicBezTo>
                    <a:pt x="32852" y="78073"/>
                    <a:pt x="33199" y="73122"/>
                    <a:pt x="34378" y="68340"/>
                  </a:cubicBezTo>
                  <a:cubicBezTo>
                    <a:pt x="39509" y="44484"/>
                    <a:pt x="62148" y="28604"/>
                    <a:pt x="86326" y="31904"/>
                  </a:cubicBezTo>
                  <a:cubicBezTo>
                    <a:pt x="95002" y="33214"/>
                    <a:pt x="103069" y="37145"/>
                    <a:pt x="109446" y="43171"/>
                  </a:cubicBezTo>
                  <a:lnTo>
                    <a:pt x="132274" y="19904"/>
                  </a:lnTo>
                  <a:cubicBezTo>
                    <a:pt x="128022" y="15958"/>
                    <a:pt x="123361" y="12475"/>
                    <a:pt x="118373" y="9515"/>
                  </a:cubicBezTo>
                  <a:cubicBezTo>
                    <a:pt x="106814" y="3155"/>
                    <a:pt x="93811" y="-120"/>
                    <a:pt x="80619" y="3"/>
                  </a:cubicBezTo>
                  <a:lnTo>
                    <a:pt x="73302" y="3"/>
                  </a:lnTo>
                  <a:cubicBezTo>
                    <a:pt x="33754" y="2873"/>
                    <a:pt x="2456" y="34609"/>
                    <a:pt x="137" y="74193"/>
                  </a:cubicBezTo>
                  <a:cubicBezTo>
                    <a:pt x="-281" y="81355"/>
                    <a:pt x="260" y="88540"/>
                    <a:pt x="1746" y="95558"/>
                  </a:cubicBezTo>
                  <a:cubicBezTo>
                    <a:pt x="5899" y="114678"/>
                    <a:pt x="17074" y="131544"/>
                    <a:pt x="33061" y="142823"/>
                  </a:cubicBezTo>
                  <a:cubicBezTo>
                    <a:pt x="45315" y="151834"/>
                    <a:pt x="60004" y="156934"/>
                    <a:pt x="75205" y="157456"/>
                  </a:cubicBezTo>
                  <a:cubicBezTo>
                    <a:pt x="83916" y="158017"/>
                    <a:pt x="92661" y="157177"/>
                    <a:pt x="101105" y="154968"/>
                  </a:cubicBezTo>
                  <a:cubicBezTo>
                    <a:pt x="116631" y="151236"/>
                    <a:pt x="130354" y="142173"/>
                    <a:pt x="139883" y="129360"/>
                  </a:cubicBezTo>
                  <a:cubicBezTo>
                    <a:pt x="153378" y="110368"/>
                    <a:pt x="158410" y="86638"/>
                    <a:pt x="153785" y="63804"/>
                  </a:cubicBezTo>
                  <a:close/>
                </a:path>
              </a:pathLst>
            </a:custGeom>
            <a:solidFill>
              <a:srgbClr val="222426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0EC7105F-B2D6-A487-3432-E4DBCD160891}"/>
                </a:ext>
              </a:extLst>
            </p:cNvPr>
            <p:cNvSpPr/>
            <p:nvPr/>
          </p:nvSpPr>
          <p:spPr>
            <a:xfrm>
              <a:off x="4458746" y="3928575"/>
              <a:ext cx="76677" cy="76677"/>
            </a:xfrm>
            <a:custGeom>
              <a:avLst/>
              <a:gdLst>
                <a:gd name="connsiteX0" fmla="*/ 75946 w 76677"/>
                <a:gd name="connsiteY0" fmla="*/ 27510 h 76677"/>
                <a:gd name="connsiteX1" fmla="*/ 49167 w 76677"/>
                <a:gd name="connsiteY1" fmla="*/ 27510 h 76677"/>
                <a:gd name="connsiteX2" fmla="*/ 49167 w 76677"/>
                <a:gd name="connsiteY2" fmla="*/ 732 h 76677"/>
                <a:gd name="connsiteX3" fmla="*/ 49167 w 76677"/>
                <a:gd name="connsiteY3" fmla="*/ 0 h 76677"/>
                <a:gd name="connsiteX4" fmla="*/ 48436 w 76677"/>
                <a:gd name="connsiteY4" fmla="*/ 0 h 76677"/>
                <a:gd name="connsiteX5" fmla="*/ 28388 w 76677"/>
                <a:gd name="connsiteY5" fmla="*/ 0 h 76677"/>
                <a:gd name="connsiteX6" fmla="*/ 27510 w 76677"/>
                <a:gd name="connsiteY6" fmla="*/ 0 h 76677"/>
                <a:gd name="connsiteX7" fmla="*/ 27510 w 76677"/>
                <a:gd name="connsiteY7" fmla="*/ 732 h 76677"/>
                <a:gd name="connsiteX8" fmla="*/ 27510 w 76677"/>
                <a:gd name="connsiteY8" fmla="*/ 27510 h 76677"/>
                <a:gd name="connsiteX9" fmla="*/ 878 w 76677"/>
                <a:gd name="connsiteY9" fmla="*/ 27510 h 76677"/>
                <a:gd name="connsiteX10" fmla="*/ 0 w 76677"/>
                <a:gd name="connsiteY10" fmla="*/ 27510 h 76677"/>
                <a:gd name="connsiteX11" fmla="*/ 0 w 76677"/>
                <a:gd name="connsiteY11" fmla="*/ 28388 h 76677"/>
                <a:gd name="connsiteX12" fmla="*/ 0 w 76677"/>
                <a:gd name="connsiteY12" fmla="*/ 48289 h 76677"/>
                <a:gd name="connsiteX13" fmla="*/ 0 w 76677"/>
                <a:gd name="connsiteY13" fmla="*/ 49167 h 76677"/>
                <a:gd name="connsiteX14" fmla="*/ 878 w 76677"/>
                <a:gd name="connsiteY14" fmla="*/ 49167 h 76677"/>
                <a:gd name="connsiteX15" fmla="*/ 27510 w 76677"/>
                <a:gd name="connsiteY15" fmla="*/ 49167 h 76677"/>
                <a:gd name="connsiteX16" fmla="*/ 27510 w 76677"/>
                <a:gd name="connsiteY16" fmla="*/ 75946 h 76677"/>
                <a:gd name="connsiteX17" fmla="*/ 27510 w 76677"/>
                <a:gd name="connsiteY17" fmla="*/ 76678 h 76677"/>
                <a:gd name="connsiteX18" fmla="*/ 28388 w 76677"/>
                <a:gd name="connsiteY18" fmla="*/ 76678 h 76677"/>
                <a:gd name="connsiteX19" fmla="*/ 48436 w 76677"/>
                <a:gd name="connsiteY19" fmla="*/ 76678 h 76677"/>
                <a:gd name="connsiteX20" fmla="*/ 49167 w 76677"/>
                <a:gd name="connsiteY20" fmla="*/ 76678 h 76677"/>
                <a:gd name="connsiteX21" fmla="*/ 49167 w 76677"/>
                <a:gd name="connsiteY21" fmla="*/ 75946 h 76677"/>
                <a:gd name="connsiteX22" fmla="*/ 49167 w 76677"/>
                <a:gd name="connsiteY22" fmla="*/ 49167 h 76677"/>
                <a:gd name="connsiteX23" fmla="*/ 75946 w 76677"/>
                <a:gd name="connsiteY23" fmla="*/ 49167 h 76677"/>
                <a:gd name="connsiteX24" fmla="*/ 76678 w 76677"/>
                <a:gd name="connsiteY24" fmla="*/ 49167 h 76677"/>
                <a:gd name="connsiteX25" fmla="*/ 76678 w 76677"/>
                <a:gd name="connsiteY25" fmla="*/ 48289 h 76677"/>
                <a:gd name="connsiteX26" fmla="*/ 76678 w 76677"/>
                <a:gd name="connsiteY26" fmla="*/ 28388 h 76677"/>
                <a:gd name="connsiteX27" fmla="*/ 76678 w 76677"/>
                <a:gd name="connsiteY27" fmla="*/ 27510 h 76677"/>
                <a:gd name="connsiteX28" fmla="*/ 75946 w 76677"/>
                <a:gd name="connsiteY28" fmla="*/ 27510 h 76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6677" h="76677">
                  <a:moveTo>
                    <a:pt x="75946" y="27510"/>
                  </a:moveTo>
                  <a:lnTo>
                    <a:pt x="49167" y="27510"/>
                  </a:lnTo>
                  <a:lnTo>
                    <a:pt x="49167" y="732"/>
                  </a:lnTo>
                  <a:lnTo>
                    <a:pt x="49167" y="0"/>
                  </a:lnTo>
                  <a:lnTo>
                    <a:pt x="48436" y="0"/>
                  </a:lnTo>
                  <a:lnTo>
                    <a:pt x="28388" y="0"/>
                  </a:lnTo>
                  <a:lnTo>
                    <a:pt x="27510" y="0"/>
                  </a:lnTo>
                  <a:lnTo>
                    <a:pt x="27510" y="732"/>
                  </a:lnTo>
                  <a:lnTo>
                    <a:pt x="27510" y="27510"/>
                  </a:lnTo>
                  <a:lnTo>
                    <a:pt x="878" y="27510"/>
                  </a:lnTo>
                  <a:lnTo>
                    <a:pt x="0" y="27510"/>
                  </a:lnTo>
                  <a:lnTo>
                    <a:pt x="0" y="28388"/>
                  </a:lnTo>
                  <a:lnTo>
                    <a:pt x="0" y="48289"/>
                  </a:lnTo>
                  <a:lnTo>
                    <a:pt x="0" y="49167"/>
                  </a:lnTo>
                  <a:lnTo>
                    <a:pt x="878" y="49167"/>
                  </a:lnTo>
                  <a:lnTo>
                    <a:pt x="27510" y="49167"/>
                  </a:lnTo>
                  <a:lnTo>
                    <a:pt x="27510" y="75946"/>
                  </a:lnTo>
                  <a:lnTo>
                    <a:pt x="27510" y="76678"/>
                  </a:lnTo>
                  <a:lnTo>
                    <a:pt x="28388" y="76678"/>
                  </a:lnTo>
                  <a:lnTo>
                    <a:pt x="48436" y="76678"/>
                  </a:lnTo>
                  <a:lnTo>
                    <a:pt x="49167" y="76678"/>
                  </a:lnTo>
                  <a:lnTo>
                    <a:pt x="49167" y="75946"/>
                  </a:lnTo>
                  <a:lnTo>
                    <a:pt x="49167" y="49167"/>
                  </a:lnTo>
                  <a:lnTo>
                    <a:pt x="75946" y="49167"/>
                  </a:lnTo>
                  <a:lnTo>
                    <a:pt x="76678" y="49167"/>
                  </a:lnTo>
                  <a:lnTo>
                    <a:pt x="76678" y="48289"/>
                  </a:lnTo>
                  <a:lnTo>
                    <a:pt x="76678" y="28388"/>
                  </a:lnTo>
                  <a:lnTo>
                    <a:pt x="76678" y="27510"/>
                  </a:lnTo>
                  <a:lnTo>
                    <a:pt x="75946" y="27510"/>
                  </a:lnTo>
                  <a:close/>
                </a:path>
              </a:pathLst>
            </a:custGeom>
            <a:solidFill>
              <a:srgbClr val="222426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05" name="Graphic 40">
            <a:extLst>
              <a:ext uri="{FF2B5EF4-FFF2-40B4-BE49-F238E27FC236}">
                <a16:creationId xmlns:a16="http://schemas.microsoft.com/office/drawing/2014/main" id="{AD0FAAB0-435C-94E4-5EF8-FF7DF0C5B084}"/>
              </a:ext>
            </a:extLst>
          </p:cNvPr>
          <p:cNvGrpSpPr/>
          <p:nvPr/>
        </p:nvGrpSpPr>
        <p:grpSpPr>
          <a:xfrm>
            <a:off x="5302788" y="3780195"/>
            <a:ext cx="381486" cy="381486"/>
            <a:chOff x="5302788" y="3780195"/>
            <a:chExt cx="381486" cy="381486"/>
          </a:xfrm>
        </p:grpSpPr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43855AD2-A541-8EEF-47FD-4A6BABB99EB2}"/>
                </a:ext>
              </a:extLst>
            </p:cNvPr>
            <p:cNvSpPr/>
            <p:nvPr/>
          </p:nvSpPr>
          <p:spPr>
            <a:xfrm>
              <a:off x="5302788" y="3780195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EDEDED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6C593EA6-B7B1-903E-E1C3-1E9A7B2E569E}"/>
                </a:ext>
              </a:extLst>
            </p:cNvPr>
            <p:cNvSpPr/>
            <p:nvPr/>
          </p:nvSpPr>
          <p:spPr>
            <a:xfrm>
              <a:off x="5405220" y="3874522"/>
              <a:ext cx="184940" cy="185019"/>
            </a:xfrm>
            <a:custGeom>
              <a:avLst/>
              <a:gdLst>
                <a:gd name="connsiteX0" fmla="*/ 0 w 184940"/>
                <a:gd name="connsiteY0" fmla="*/ 185019 h 185019"/>
                <a:gd name="connsiteX1" fmla="*/ 2927 w 184940"/>
                <a:gd name="connsiteY1" fmla="*/ 174044 h 185019"/>
                <a:gd name="connsiteX2" fmla="*/ 11999 w 184940"/>
                <a:gd name="connsiteY2" fmla="*/ 140681 h 185019"/>
                <a:gd name="connsiteX3" fmla="*/ 11999 w 184940"/>
                <a:gd name="connsiteY3" fmla="*/ 135267 h 185019"/>
                <a:gd name="connsiteX4" fmla="*/ 49675 w 184940"/>
                <a:gd name="connsiteY4" fmla="*/ 10887 h 185019"/>
                <a:gd name="connsiteX5" fmla="*/ 174054 w 184940"/>
                <a:gd name="connsiteY5" fmla="*/ 48562 h 185019"/>
                <a:gd name="connsiteX6" fmla="*/ 136380 w 184940"/>
                <a:gd name="connsiteY6" fmla="*/ 172943 h 185019"/>
                <a:gd name="connsiteX7" fmla="*/ 51801 w 184940"/>
                <a:gd name="connsiteY7" fmla="*/ 174044 h 185019"/>
                <a:gd name="connsiteX8" fmla="*/ 46094 w 184940"/>
                <a:gd name="connsiteY8" fmla="*/ 174044 h 185019"/>
                <a:gd name="connsiteX9" fmla="*/ 0 w 184940"/>
                <a:gd name="connsiteY9" fmla="*/ 185019 h 185019"/>
                <a:gd name="connsiteX10" fmla="*/ 21511 w 184940"/>
                <a:gd name="connsiteY10" fmla="*/ 163948 h 185019"/>
                <a:gd name="connsiteX11" fmla="*/ 47411 w 184940"/>
                <a:gd name="connsiteY11" fmla="*/ 157070 h 185019"/>
                <a:gd name="connsiteX12" fmla="*/ 53704 w 184940"/>
                <a:gd name="connsiteY12" fmla="*/ 157948 h 185019"/>
                <a:gd name="connsiteX13" fmla="*/ 104627 w 184940"/>
                <a:gd name="connsiteY13" fmla="*/ 167606 h 185019"/>
                <a:gd name="connsiteX14" fmla="*/ 168619 w 184940"/>
                <a:gd name="connsiteY14" fmla="*/ 79805 h 185019"/>
                <a:gd name="connsiteX15" fmla="*/ 80820 w 184940"/>
                <a:gd name="connsiteY15" fmla="*/ 15813 h 185019"/>
                <a:gd name="connsiteX16" fmla="*/ 16827 w 184940"/>
                <a:gd name="connsiteY16" fmla="*/ 103614 h 185019"/>
                <a:gd name="connsiteX17" fmla="*/ 25462 w 184940"/>
                <a:gd name="connsiteY17" fmla="*/ 128828 h 185019"/>
                <a:gd name="connsiteX18" fmla="*/ 27071 w 184940"/>
                <a:gd name="connsiteY18" fmla="*/ 143461 h 185019"/>
                <a:gd name="connsiteX19" fmla="*/ 21657 w 184940"/>
                <a:gd name="connsiteY19" fmla="*/ 163948 h 185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4940" h="185019">
                  <a:moveTo>
                    <a:pt x="0" y="185019"/>
                  </a:moveTo>
                  <a:cubicBezTo>
                    <a:pt x="1024" y="181068"/>
                    <a:pt x="1902" y="177556"/>
                    <a:pt x="2927" y="174044"/>
                  </a:cubicBezTo>
                  <a:cubicBezTo>
                    <a:pt x="6000" y="162923"/>
                    <a:pt x="9073" y="151802"/>
                    <a:pt x="11999" y="140681"/>
                  </a:cubicBezTo>
                  <a:cubicBezTo>
                    <a:pt x="12580" y="138923"/>
                    <a:pt x="12580" y="137024"/>
                    <a:pt x="11999" y="135267"/>
                  </a:cubicBezTo>
                  <a:cubicBezTo>
                    <a:pt x="-11944" y="90517"/>
                    <a:pt x="4924" y="34829"/>
                    <a:pt x="49675" y="10887"/>
                  </a:cubicBezTo>
                  <a:cubicBezTo>
                    <a:pt x="94425" y="-13056"/>
                    <a:pt x="150111" y="3812"/>
                    <a:pt x="174054" y="48562"/>
                  </a:cubicBezTo>
                  <a:cubicBezTo>
                    <a:pt x="197997" y="93312"/>
                    <a:pt x="181129" y="149000"/>
                    <a:pt x="136380" y="172943"/>
                  </a:cubicBezTo>
                  <a:cubicBezTo>
                    <a:pt x="110041" y="187033"/>
                    <a:pt x="78498" y="187444"/>
                    <a:pt x="51801" y="174044"/>
                  </a:cubicBezTo>
                  <a:cubicBezTo>
                    <a:pt x="49956" y="173386"/>
                    <a:pt x="47940" y="173386"/>
                    <a:pt x="46094" y="174044"/>
                  </a:cubicBezTo>
                  <a:cubicBezTo>
                    <a:pt x="21218" y="179459"/>
                    <a:pt x="5122" y="183702"/>
                    <a:pt x="0" y="185019"/>
                  </a:cubicBezTo>
                  <a:close/>
                  <a:moveTo>
                    <a:pt x="21511" y="163948"/>
                  </a:moveTo>
                  <a:lnTo>
                    <a:pt x="47411" y="157070"/>
                  </a:lnTo>
                  <a:cubicBezTo>
                    <a:pt x="49539" y="156470"/>
                    <a:pt x="51822" y="156788"/>
                    <a:pt x="53704" y="157948"/>
                  </a:cubicBezTo>
                  <a:cubicBezTo>
                    <a:pt x="68984" y="167136"/>
                    <a:pt x="87044" y="170560"/>
                    <a:pt x="104627" y="167606"/>
                  </a:cubicBezTo>
                  <a:cubicBezTo>
                    <a:pt x="146544" y="161031"/>
                    <a:pt x="175194" y="121722"/>
                    <a:pt x="168619" y="79805"/>
                  </a:cubicBezTo>
                  <a:cubicBezTo>
                    <a:pt x="162046" y="37890"/>
                    <a:pt x="122737" y="9239"/>
                    <a:pt x="80820" y="15813"/>
                  </a:cubicBezTo>
                  <a:cubicBezTo>
                    <a:pt x="38904" y="22387"/>
                    <a:pt x="10253" y="61697"/>
                    <a:pt x="16827" y="103614"/>
                  </a:cubicBezTo>
                  <a:cubicBezTo>
                    <a:pt x="18214" y="112456"/>
                    <a:pt x="21136" y="120990"/>
                    <a:pt x="25462" y="128828"/>
                  </a:cubicBezTo>
                  <a:cubicBezTo>
                    <a:pt x="28352" y="133152"/>
                    <a:pt x="28952" y="138613"/>
                    <a:pt x="27071" y="143461"/>
                  </a:cubicBezTo>
                  <a:cubicBezTo>
                    <a:pt x="25023" y="149900"/>
                    <a:pt x="23559" y="156631"/>
                    <a:pt x="21657" y="163948"/>
                  </a:cubicBezTo>
                  <a:close/>
                </a:path>
              </a:pathLst>
            </a:custGeom>
            <a:solidFill>
              <a:srgbClr val="222426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31F080CB-E796-B1C2-8B10-768094A83E36}"/>
                </a:ext>
              </a:extLst>
            </p:cNvPr>
            <p:cNvSpPr/>
            <p:nvPr/>
          </p:nvSpPr>
          <p:spPr>
            <a:xfrm>
              <a:off x="5451656" y="3924080"/>
              <a:ext cx="92875" cy="86237"/>
            </a:xfrm>
            <a:custGeom>
              <a:avLst/>
              <a:gdLst>
                <a:gd name="connsiteX0" fmla="*/ 70629 w 92875"/>
                <a:gd name="connsiteY0" fmla="*/ 86148 h 86237"/>
                <a:gd name="connsiteX1" fmla="*/ 4341 w 92875"/>
                <a:gd name="connsiteY1" fmla="*/ 37273 h 86237"/>
                <a:gd name="connsiteX2" fmla="*/ 8292 w 92875"/>
                <a:gd name="connsiteY2" fmla="*/ 2446 h 86237"/>
                <a:gd name="connsiteX3" fmla="*/ 20145 w 92875"/>
                <a:gd name="connsiteY3" fmla="*/ 690 h 86237"/>
                <a:gd name="connsiteX4" fmla="*/ 22633 w 92875"/>
                <a:gd name="connsiteY4" fmla="*/ 3471 h 86237"/>
                <a:gd name="connsiteX5" fmla="*/ 30095 w 92875"/>
                <a:gd name="connsiteY5" fmla="*/ 21469 h 86237"/>
                <a:gd name="connsiteX6" fmla="*/ 24535 w 92875"/>
                <a:gd name="connsiteY6" fmla="*/ 33176 h 86237"/>
                <a:gd name="connsiteX7" fmla="*/ 24535 w 92875"/>
                <a:gd name="connsiteY7" fmla="*/ 38298 h 86237"/>
                <a:gd name="connsiteX8" fmla="*/ 55996 w 92875"/>
                <a:gd name="connsiteY8" fmla="*/ 65223 h 86237"/>
                <a:gd name="connsiteX9" fmla="*/ 60825 w 92875"/>
                <a:gd name="connsiteY9" fmla="*/ 63906 h 86237"/>
                <a:gd name="connsiteX10" fmla="*/ 72678 w 92875"/>
                <a:gd name="connsiteY10" fmla="*/ 54101 h 86237"/>
                <a:gd name="connsiteX11" fmla="*/ 92872 w 92875"/>
                <a:gd name="connsiteY11" fmla="*/ 65515 h 86237"/>
                <a:gd name="connsiteX12" fmla="*/ 72918 w 92875"/>
                <a:gd name="connsiteY12" fmla="*/ 86234 h 86237"/>
                <a:gd name="connsiteX13" fmla="*/ 70629 w 92875"/>
                <a:gd name="connsiteY13" fmla="*/ 86148 h 8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2875" h="86237">
                  <a:moveTo>
                    <a:pt x="70629" y="86148"/>
                  </a:moveTo>
                  <a:cubicBezTo>
                    <a:pt x="41869" y="81680"/>
                    <a:pt x="17113" y="63427"/>
                    <a:pt x="4341" y="37273"/>
                  </a:cubicBezTo>
                  <a:cubicBezTo>
                    <a:pt x="-2689" y="26178"/>
                    <a:pt x="-1045" y="11684"/>
                    <a:pt x="8292" y="2446"/>
                  </a:cubicBezTo>
                  <a:cubicBezTo>
                    <a:pt x="11732" y="-7"/>
                    <a:pt x="16141" y="-660"/>
                    <a:pt x="20145" y="690"/>
                  </a:cubicBezTo>
                  <a:cubicBezTo>
                    <a:pt x="21169" y="690"/>
                    <a:pt x="22194" y="2446"/>
                    <a:pt x="22633" y="3471"/>
                  </a:cubicBezTo>
                  <a:cubicBezTo>
                    <a:pt x="25266" y="9470"/>
                    <a:pt x="27900" y="15470"/>
                    <a:pt x="30095" y="21469"/>
                  </a:cubicBezTo>
                  <a:cubicBezTo>
                    <a:pt x="31412" y="24689"/>
                    <a:pt x="29071" y="27762"/>
                    <a:pt x="24535" y="33176"/>
                  </a:cubicBezTo>
                  <a:cubicBezTo>
                    <a:pt x="23140" y="34598"/>
                    <a:pt x="23140" y="36875"/>
                    <a:pt x="24535" y="38298"/>
                  </a:cubicBezTo>
                  <a:cubicBezTo>
                    <a:pt x="31711" y="50543"/>
                    <a:pt x="42790" y="60025"/>
                    <a:pt x="55996" y="65223"/>
                  </a:cubicBezTo>
                  <a:cubicBezTo>
                    <a:pt x="57714" y="65989"/>
                    <a:pt x="59735" y="65438"/>
                    <a:pt x="60825" y="63906"/>
                  </a:cubicBezTo>
                  <a:cubicBezTo>
                    <a:pt x="68142" y="54833"/>
                    <a:pt x="68873" y="52345"/>
                    <a:pt x="72678" y="54101"/>
                  </a:cubicBezTo>
                  <a:cubicBezTo>
                    <a:pt x="91262" y="63028"/>
                    <a:pt x="92725" y="63320"/>
                    <a:pt x="92872" y="65515"/>
                  </a:cubicBezTo>
                  <a:cubicBezTo>
                    <a:pt x="93082" y="76746"/>
                    <a:pt x="84149" y="86022"/>
                    <a:pt x="72918" y="86234"/>
                  </a:cubicBezTo>
                  <a:cubicBezTo>
                    <a:pt x="72154" y="86249"/>
                    <a:pt x="71390" y="86220"/>
                    <a:pt x="70629" y="86148"/>
                  </a:cubicBezTo>
                  <a:close/>
                </a:path>
              </a:pathLst>
            </a:custGeom>
            <a:solidFill>
              <a:srgbClr val="222426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09" name="Graphic 42">
            <a:extLst>
              <a:ext uri="{FF2B5EF4-FFF2-40B4-BE49-F238E27FC236}">
                <a16:creationId xmlns:a16="http://schemas.microsoft.com/office/drawing/2014/main" id="{97EA621E-DD8E-BD58-26CB-EE8A84E6D366}"/>
              </a:ext>
            </a:extLst>
          </p:cNvPr>
          <p:cNvGrpSpPr/>
          <p:nvPr/>
        </p:nvGrpSpPr>
        <p:grpSpPr>
          <a:xfrm>
            <a:off x="6385642" y="3780195"/>
            <a:ext cx="381486" cy="381486"/>
            <a:chOff x="6385642" y="3780195"/>
            <a:chExt cx="381486" cy="381486"/>
          </a:xfrm>
        </p:grpSpPr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40D12FB4-59ED-DAED-F95A-A8693089C113}"/>
                </a:ext>
              </a:extLst>
            </p:cNvPr>
            <p:cNvSpPr/>
            <p:nvPr/>
          </p:nvSpPr>
          <p:spPr>
            <a:xfrm>
              <a:off x="6385642" y="3780195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EDEDED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CF476C71-7A17-2975-BB61-DC19EA5DA537}"/>
                </a:ext>
              </a:extLst>
            </p:cNvPr>
            <p:cNvSpPr/>
            <p:nvPr/>
          </p:nvSpPr>
          <p:spPr>
            <a:xfrm>
              <a:off x="6506669" y="3881959"/>
              <a:ext cx="147092" cy="190470"/>
            </a:xfrm>
            <a:custGeom>
              <a:avLst/>
              <a:gdLst>
                <a:gd name="connsiteX0" fmla="*/ 61302 w 147092"/>
                <a:gd name="connsiteY0" fmla="*/ 124318 h 190470"/>
                <a:gd name="connsiteX1" fmla="*/ 61302 w 147092"/>
                <a:gd name="connsiteY1" fmla="*/ 125781 h 190470"/>
                <a:gd name="connsiteX2" fmla="*/ 46669 w 147092"/>
                <a:gd name="connsiteY2" fmla="*/ 172022 h 190470"/>
                <a:gd name="connsiteX3" fmla="*/ 35109 w 147092"/>
                <a:gd name="connsiteY3" fmla="*/ 189289 h 190470"/>
                <a:gd name="connsiteX4" fmla="*/ 33206 w 147092"/>
                <a:gd name="connsiteY4" fmla="*/ 190460 h 190470"/>
                <a:gd name="connsiteX5" fmla="*/ 32036 w 147092"/>
                <a:gd name="connsiteY5" fmla="*/ 188411 h 190470"/>
                <a:gd name="connsiteX6" fmla="*/ 30426 w 147092"/>
                <a:gd name="connsiteY6" fmla="*/ 163388 h 190470"/>
                <a:gd name="connsiteX7" fmla="*/ 46376 w 147092"/>
                <a:gd name="connsiteY7" fmla="*/ 89344 h 190470"/>
                <a:gd name="connsiteX8" fmla="*/ 46376 w 147092"/>
                <a:gd name="connsiteY8" fmla="*/ 86857 h 190470"/>
                <a:gd name="connsiteX9" fmla="*/ 44181 w 147092"/>
                <a:gd name="connsiteY9" fmla="*/ 59200 h 190470"/>
                <a:gd name="connsiteX10" fmla="*/ 77545 w 147092"/>
                <a:gd name="connsiteY10" fmla="*/ 54079 h 190470"/>
                <a:gd name="connsiteX11" fmla="*/ 68326 w 147092"/>
                <a:gd name="connsiteY11" fmla="*/ 97978 h 190470"/>
                <a:gd name="connsiteX12" fmla="*/ 100226 w 147092"/>
                <a:gd name="connsiteY12" fmla="*/ 114074 h 190470"/>
                <a:gd name="connsiteX13" fmla="*/ 120273 w 147092"/>
                <a:gd name="connsiteY13" fmla="*/ 57590 h 190470"/>
                <a:gd name="connsiteX14" fmla="*/ 50766 w 147092"/>
                <a:gd name="connsiteY14" fmla="*/ 23934 h 190470"/>
                <a:gd name="connsiteX15" fmla="*/ 27499 w 147092"/>
                <a:gd name="connsiteY15" fmla="*/ 91978 h 190470"/>
                <a:gd name="connsiteX16" fmla="*/ 29987 w 147092"/>
                <a:gd name="connsiteY16" fmla="*/ 97685 h 190470"/>
                <a:gd name="connsiteX17" fmla="*/ 27353 w 147092"/>
                <a:gd name="connsiteY17" fmla="*/ 107782 h 190470"/>
                <a:gd name="connsiteX18" fmla="*/ 23351 w 147092"/>
                <a:gd name="connsiteY18" fmla="*/ 110723 h 190470"/>
                <a:gd name="connsiteX19" fmla="*/ 22085 w 147092"/>
                <a:gd name="connsiteY19" fmla="*/ 110270 h 190470"/>
                <a:gd name="connsiteX20" fmla="*/ 9500 w 147092"/>
                <a:gd name="connsiteY20" fmla="*/ 100905 h 190470"/>
                <a:gd name="connsiteX21" fmla="*/ 10671 w 147092"/>
                <a:gd name="connsiteY21" fmla="*/ 34616 h 190470"/>
                <a:gd name="connsiteX22" fmla="*/ 86617 w 147092"/>
                <a:gd name="connsiteY22" fmla="*/ 668 h 190470"/>
                <a:gd name="connsiteX23" fmla="*/ 146467 w 147092"/>
                <a:gd name="connsiteY23" fmla="*/ 54371 h 190470"/>
                <a:gd name="connsiteX24" fmla="*/ 130078 w 147092"/>
                <a:gd name="connsiteY24" fmla="*/ 117733 h 190470"/>
                <a:gd name="connsiteX25" fmla="*/ 64375 w 147092"/>
                <a:gd name="connsiteY25" fmla="*/ 128561 h 190470"/>
                <a:gd name="connsiteX26" fmla="*/ 61302 w 147092"/>
                <a:gd name="connsiteY26" fmla="*/ 124318 h 19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47092" h="190470">
                  <a:moveTo>
                    <a:pt x="61302" y="124318"/>
                  </a:moveTo>
                  <a:lnTo>
                    <a:pt x="61302" y="125781"/>
                  </a:lnTo>
                  <a:cubicBezTo>
                    <a:pt x="58757" y="141838"/>
                    <a:pt x="53824" y="157424"/>
                    <a:pt x="46669" y="172022"/>
                  </a:cubicBezTo>
                  <a:cubicBezTo>
                    <a:pt x="43224" y="178042"/>
                    <a:pt x="39362" y="183812"/>
                    <a:pt x="35109" y="189289"/>
                  </a:cubicBezTo>
                  <a:cubicBezTo>
                    <a:pt x="35109" y="189289"/>
                    <a:pt x="34231" y="190606"/>
                    <a:pt x="33206" y="190460"/>
                  </a:cubicBezTo>
                  <a:cubicBezTo>
                    <a:pt x="32182" y="190313"/>
                    <a:pt x="32036" y="189289"/>
                    <a:pt x="32036" y="188411"/>
                  </a:cubicBezTo>
                  <a:cubicBezTo>
                    <a:pt x="30840" y="180126"/>
                    <a:pt x="30302" y="171758"/>
                    <a:pt x="30426" y="163388"/>
                  </a:cubicBezTo>
                  <a:cubicBezTo>
                    <a:pt x="30426" y="152413"/>
                    <a:pt x="32182" y="148755"/>
                    <a:pt x="46376" y="89344"/>
                  </a:cubicBezTo>
                  <a:cubicBezTo>
                    <a:pt x="46587" y="88528"/>
                    <a:pt x="46587" y="87673"/>
                    <a:pt x="46376" y="86857"/>
                  </a:cubicBezTo>
                  <a:cubicBezTo>
                    <a:pt x="42510" y="78159"/>
                    <a:pt x="41734" y="68400"/>
                    <a:pt x="44181" y="59200"/>
                  </a:cubicBezTo>
                  <a:cubicBezTo>
                    <a:pt x="50473" y="39006"/>
                    <a:pt x="73447" y="37397"/>
                    <a:pt x="77545" y="54079"/>
                  </a:cubicBezTo>
                  <a:cubicBezTo>
                    <a:pt x="79886" y="64468"/>
                    <a:pt x="73447" y="77931"/>
                    <a:pt x="68326" y="97978"/>
                  </a:cubicBezTo>
                  <a:cubicBezTo>
                    <a:pt x="64228" y="114367"/>
                    <a:pt x="83691" y="126074"/>
                    <a:pt x="100226" y="114074"/>
                  </a:cubicBezTo>
                  <a:cubicBezTo>
                    <a:pt x="116762" y="102075"/>
                    <a:pt x="121444" y="76467"/>
                    <a:pt x="120273" y="57590"/>
                  </a:cubicBezTo>
                  <a:cubicBezTo>
                    <a:pt x="118079" y="19983"/>
                    <a:pt x="76374" y="11935"/>
                    <a:pt x="50766" y="23934"/>
                  </a:cubicBezTo>
                  <a:cubicBezTo>
                    <a:pt x="20768" y="37836"/>
                    <a:pt x="14037" y="75004"/>
                    <a:pt x="27499" y="91978"/>
                  </a:cubicBezTo>
                  <a:cubicBezTo>
                    <a:pt x="29255" y="94173"/>
                    <a:pt x="30572" y="95490"/>
                    <a:pt x="29987" y="97685"/>
                  </a:cubicBezTo>
                  <a:cubicBezTo>
                    <a:pt x="29402" y="99880"/>
                    <a:pt x="28377" y="104417"/>
                    <a:pt x="27353" y="107782"/>
                  </a:cubicBezTo>
                  <a:cubicBezTo>
                    <a:pt x="27060" y="109699"/>
                    <a:pt x="25268" y="111016"/>
                    <a:pt x="23351" y="110723"/>
                  </a:cubicBezTo>
                  <a:cubicBezTo>
                    <a:pt x="22904" y="110655"/>
                    <a:pt x="22474" y="110501"/>
                    <a:pt x="22085" y="110270"/>
                  </a:cubicBezTo>
                  <a:cubicBezTo>
                    <a:pt x="17179" y="108239"/>
                    <a:pt x="12855" y="105021"/>
                    <a:pt x="9500" y="100905"/>
                  </a:cubicBezTo>
                  <a:cubicBezTo>
                    <a:pt x="-3581" y="80614"/>
                    <a:pt x="-3118" y="54433"/>
                    <a:pt x="10671" y="34616"/>
                  </a:cubicBezTo>
                  <a:cubicBezTo>
                    <a:pt x="27590" y="9920"/>
                    <a:pt x="56932" y="-3196"/>
                    <a:pt x="86617" y="668"/>
                  </a:cubicBezTo>
                  <a:cubicBezTo>
                    <a:pt x="116557" y="2642"/>
                    <a:pt x="141272" y="24819"/>
                    <a:pt x="146467" y="54371"/>
                  </a:cubicBezTo>
                  <a:cubicBezTo>
                    <a:pt x="149120" y="76798"/>
                    <a:pt x="143272" y="99405"/>
                    <a:pt x="130078" y="117733"/>
                  </a:cubicBezTo>
                  <a:cubicBezTo>
                    <a:pt x="110616" y="141877"/>
                    <a:pt x="79008" y="143487"/>
                    <a:pt x="64375" y="128561"/>
                  </a:cubicBezTo>
                  <a:cubicBezTo>
                    <a:pt x="63351" y="127098"/>
                    <a:pt x="62473" y="125781"/>
                    <a:pt x="61302" y="124318"/>
                  </a:cubicBezTo>
                  <a:close/>
                </a:path>
              </a:pathLst>
            </a:custGeom>
            <a:solidFill>
              <a:srgbClr val="222426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12" name="Graphic 44">
            <a:extLst>
              <a:ext uri="{FF2B5EF4-FFF2-40B4-BE49-F238E27FC236}">
                <a16:creationId xmlns:a16="http://schemas.microsoft.com/office/drawing/2014/main" id="{1AB5F3E3-132E-4747-84D6-C75E12C3D058}"/>
              </a:ext>
            </a:extLst>
          </p:cNvPr>
          <p:cNvGrpSpPr/>
          <p:nvPr/>
        </p:nvGrpSpPr>
        <p:grpSpPr>
          <a:xfrm>
            <a:off x="7468496" y="3780195"/>
            <a:ext cx="381486" cy="381486"/>
            <a:chOff x="7468496" y="3780195"/>
            <a:chExt cx="381486" cy="381486"/>
          </a:xfrm>
        </p:grpSpPr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CB91B627-7A65-49C9-8E6C-054E8E8D8933}"/>
                </a:ext>
              </a:extLst>
            </p:cNvPr>
            <p:cNvSpPr/>
            <p:nvPr/>
          </p:nvSpPr>
          <p:spPr>
            <a:xfrm>
              <a:off x="7468496" y="3780195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EDEDED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B2118E1C-92E5-7EF5-C2EA-C24B38F54BD9}"/>
                </a:ext>
              </a:extLst>
            </p:cNvPr>
            <p:cNvSpPr/>
            <p:nvPr/>
          </p:nvSpPr>
          <p:spPr>
            <a:xfrm>
              <a:off x="7564337" y="3873500"/>
              <a:ext cx="189794" cy="189830"/>
            </a:xfrm>
            <a:custGeom>
              <a:avLst/>
              <a:gdLst>
                <a:gd name="connsiteX0" fmla="*/ 188188 w 189794"/>
                <a:gd name="connsiteY0" fmla="*/ 48051 h 189830"/>
                <a:gd name="connsiteX1" fmla="*/ 172823 w 189794"/>
                <a:gd name="connsiteY1" fmla="*/ 15711 h 189830"/>
                <a:gd name="connsiteX2" fmla="*/ 138142 w 189794"/>
                <a:gd name="connsiteY2" fmla="*/ 1078 h 189830"/>
                <a:gd name="connsiteX3" fmla="*/ 44344 w 189794"/>
                <a:gd name="connsiteY3" fmla="*/ 2249 h 189830"/>
                <a:gd name="connsiteX4" fmla="*/ 3224 w 189794"/>
                <a:gd name="connsiteY4" fmla="*/ 39417 h 189830"/>
                <a:gd name="connsiteX5" fmla="*/ 2200 w 189794"/>
                <a:gd name="connsiteY5" fmla="*/ 145946 h 189830"/>
                <a:gd name="connsiteX6" fmla="*/ 40393 w 189794"/>
                <a:gd name="connsiteY6" fmla="*/ 187358 h 189830"/>
                <a:gd name="connsiteX7" fmla="*/ 145312 w 189794"/>
                <a:gd name="connsiteY7" fmla="*/ 187358 h 189830"/>
                <a:gd name="connsiteX8" fmla="*/ 186871 w 189794"/>
                <a:gd name="connsiteY8" fmla="*/ 149458 h 189830"/>
                <a:gd name="connsiteX9" fmla="*/ 188188 w 189794"/>
                <a:gd name="connsiteY9" fmla="*/ 48051 h 189830"/>
                <a:gd name="connsiteX10" fmla="*/ 170774 w 189794"/>
                <a:gd name="connsiteY10" fmla="*/ 142873 h 189830"/>
                <a:gd name="connsiteX11" fmla="*/ 140630 w 189794"/>
                <a:gd name="connsiteY11" fmla="*/ 172140 h 189830"/>
                <a:gd name="connsiteX12" fmla="*/ 42734 w 189794"/>
                <a:gd name="connsiteY12" fmla="*/ 170091 h 189830"/>
                <a:gd name="connsiteX13" fmla="*/ 19175 w 189794"/>
                <a:gd name="connsiteY13" fmla="*/ 143312 h 189830"/>
                <a:gd name="connsiteX14" fmla="*/ 19175 w 189794"/>
                <a:gd name="connsiteY14" fmla="*/ 47612 h 189830"/>
                <a:gd name="connsiteX15" fmla="*/ 49173 w 189794"/>
                <a:gd name="connsiteY15" fmla="*/ 18345 h 189830"/>
                <a:gd name="connsiteX16" fmla="*/ 142532 w 189794"/>
                <a:gd name="connsiteY16" fmla="*/ 18345 h 189830"/>
                <a:gd name="connsiteX17" fmla="*/ 171798 w 189794"/>
                <a:gd name="connsiteY17" fmla="*/ 48490 h 189830"/>
                <a:gd name="connsiteX18" fmla="*/ 170774 w 189794"/>
                <a:gd name="connsiteY18" fmla="*/ 142873 h 189830"/>
                <a:gd name="connsiteX19" fmla="*/ 94389 w 189794"/>
                <a:gd name="connsiteY19" fmla="*/ 46734 h 189830"/>
                <a:gd name="connsiteX20" fmla="*/ 45807 w 189794"/>
                <a:gd name="connsiteY20" fmla="*/ 95316 h 189830"/>
                <a:gd name="connsiteX21" fmla="*/ 94389 w 189794"/>
                <a:gd name="connsiteY21" fmla="*/ 143898 h 189830"/>
                <a:gd name="connsiteX22" fmla="*/ 142971 w 189794"/>
                <a:gd name="connsiteY22" fmla="*/ 95316 h 189830"/>
                <a:gd name="connsiteX23" fmla="*/ 94389 w 189794"/>
                <a:gd name="connsiteY23" fmla="*/ 46734 h 189830"/>
                <a:gd name="connsiteX24" fmla="*/ 94389 w 189794"/>
                <a:gd name="connsiteY24" fmla="*/ 126192 h 189830"/>
                <a:gd name="connsiteX25" fmla="*/ 63223 w 189794"/>
                <a:gd name="connsiteY25" fmla="*/ 94438 h 189830"/>
                <a:gd name="connsiteX26" fmla="*/ 94977 w 189794"/>
                <a:gd name="connsiteY26" fmla="*/ 63272 h 189830"/>
                <a:gd name="connsiteX27" fmla="*/ 126143 w 189794"/>
                <a:gd name="connsiteY27" fmla="*/ 95023 h 189830"/>
                <a:gd name="connsiteX28" fmla="*/ 94392 w 189794"/>
                <a:gd name="connsiteY28" fmla="*/ 126192 h 189830"/>
                <a:gd name="connsiteX29" fmla="*/ 94389 w 189794"/>
                <a:gd name="connsiteY29" fmla="*/ 126192 h 189830"/>
                <a:gd name="connsiteX30" fmla="*/ 156726 w 189794"/>
                <a:gd name="connsiteY30" fmla="*/ 44246 h 189830"/>
                <a:gd name="connsiteX31" fmla="*/ 145312 w 189794"/>
                <a:gd name="connsiteY31" fmla="*/ 55660 h 189830"/>
                <a:gd name="connsiteX32" fmla="*/ 133899 w 189794"/>
                <a:gd name="connsiteY32" fmla="*/ 44246 h 189830"/>
                <a:gd name="connsiteX33" fmla="*/ 145312 w 189794"/>
                <a:gd name="connsiteY33" fmla="*/ 32832 h 189830"/>
                <a:gd name="connsiteX34" fmla="*/ 156887 w 189794"/>
                <a:gd name="connsiteY34" fmla="*/ 44083 h 189830"/>
                <a:gd name="connsiteX35" fmla="*/ 156873 w 189794"/>
                <a:gd name="connsiteY35" fmla="*/ 44831 h 18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89794" h="189830">
                  <a:moveTo>
                    <a:pt x="188188" y="48051"/>
                  </a:moveTo>
                  <a:cubicBezTo>
                    <a:pt x="187229" y="35745"/>
                    <a:pt x="181758" y="24228"/>
                    <a:pt x="172823" y="15711"/>
                  </a:cubicBezTo>
                  <a:cubicBezTo>
                    <a:pt x="163482" y="6694"/>
                    <a:pt x="151119" y="1477"/>
                    <a:pt x="138142" y="1078"/>
                  </a:cubicBezTo>
                  <a:cubicBezTo>
                    <a:pt x="106886" y="-679"/>
                    <a:pt x="75546" y="-288"/>
                    <a:pt x="44344" y="2249"/>
                  </a:cubicBezTo>
                  <a:cubicBezTo>
                    <a:pt x="24107" y="4588"/>
                    <a:pt x="7589" y="19519"/>
                    <a:pt x="3224" y="39417"/>
                  </a:cubicBezTo>
                  <a:cubicBezTo>
                    <a:pt x="-700" y="74802"/>
                    <a:pt x="-1043" y="110493"/>
                    <a:pt x="2200" y="145946"/>
                  </a:cubicBezTo>
                  <a:cubicBezTo>
                    <a:pt x="4683" y="166535"/>
                    <a:pt x="20071" y="183221"/>
                    <a:pt x="40393" y="187358"/>
                  </a:cubicBezTo>
                  <a:cubicBezTo>
                    <a:pt x="75288" y="190655"/>
                    <a:pt x="110417" y="190655"/>
                    <a:pt x="145312" y="187358"/>
                  </a:cubicBezTo>
                  <a:cubicBezTo>
                    <a:pt x="165932" y="185103"/>
                    <a:pt x="182731" y="169782"/>
                    <a:pt x="186871" y="149458"/>
                  </a:cubicBezTo>
                  <a:cubicBezTo>
                    <a:pt x="190264" y="115758"/>
                    <a:pt x="190704" y="81827"/>
                    <a:pt x="188188" y="48051"/>
                  </a:cubicBezTo>
                  <a:close/>
                  <a:moveTo>
                    <a:pt x="170774" y="142873"/>
                  </a:moveTo>
                  <a:cubicBezTo>
                    <a:pt x="169353" y="158745"/>
                    <a:pt x="156536" y="171189"/>
                    <a:pt x="140630" y="172140"/>
                  </a:cubicBezTo>
                  <a:cubicBezTo>
                    <a:pt x="107999" y="174247"/>
                    <a:pt x="75247" y="173562"/>
                    <a:pt x="42734" y="170091"/>
                  </a:cubicBezTo>
                  <a:cubicBezTo>
                    <a:pt x="29998" y="167062"/>
                    <a:pt x="20557" y="156330"/>
                    <a:pt x="19175" y="143312"/>
                  </a:cubicBezTo>
                  <a:cubicBezTo>
                    <a:pt x="16687" y="111460"/>
                    <a:pt x="16687" y="79464"/>
                    <a:pt x="19175" y="47612"/>
                  </a:cubicBezTo>
                  <a:cubicBezTo>
                    <a:pt x="20526" y="31764"/>
                    <a:pt x="33296" y="19305"/>
                    <a:pt x="49173" y="18345"/>
                  </a:cubicBezTo>
                  <a:cubicBezTo>
                    <a:pt x="80253" y="16149"/>
                    <a:pt x="111451" y="16149"/>
                    <a:pt x="142532" y="18345"/>
                  </a:cubicBezTo>
                  <a:cubicBezTo>
                    <a:pt x="158403" y="19766"/>
                    <a:pt x="170847" y="32583"/>
                    <a:pt x="171798" y="48490"/>
                  </a:cubicBezTo>
                  <a:cubicBezTo>
                    <a:pt x="173556" y="79939"/>
                    <a:pt x="173213" y="111469"/>
                    <a:pt x="170774" y="142873"/>
                  </a:cubicBezTo>
                  <a:close/>
                  <a:moveTo>
                    <a:pt x="94389" y="46734"/>
                  </a:moveTo>
                  <a:cubicBezTo>
                    <a:pt x="67558" y="46734"/>
                    <a:pt x="45807" y="68484"/>
                    <a:pt x="45807" y="95316"/>
                  </a:cubicBezTo>
                  <a:cubicBezTo>
                    <a:pt x="45807" y="122147"/>
                    <a:pt x="67558" y="143898"/>
                    <a:pt x="94389" y="143898"/>
                  </a:cubicBezTo>
                  <a:cubicBezTo>
                    <a:pt x="121220" y="143898"/>
                    <a:pt x="142971" y="122147"/>
                    <a:pt x="142971" y="95316"/>
                  </a:cubicBezTo>
                  <a:cubicBezTo>
                    <a:pt x="142971" y="68484"/>
                    <a:pt x="121220" y="46734"/>
                    <a:pt x="94389" y="46734"/>
                  </a:cubicBezTo>
                  <a:close/>
                  <a:moveTo>
                    <a:pt x="94389" y="126192"/>
                  </a:moveTo>
                  <a:cubicBezTo>
                    <a:pt x="77014" y="126029"/>
                    <a:pt x="63061" y="111813"/>
                    <a:pt x="63223" y="94438"/>
                  </a:cubicBezTo>
                  <a:cubicBezTo>
                    <a:pt x="63386" y="77062"/>
                    <a:pt x="77602" y="63110"/>
                    <a:pt x="94977" y="63272"/>
                  </a:cubicBezTo>
                  <a:cubicBezTo>
                    <a:pt x="112351" y="63434"/>
                    <a:pt x="126304" y="77649"/>
                    <a:pt x="126143" y="95023"/>
                  </a:cubicBezTo>
                  <a:cubicBezTo>
                    <a:pt x="125982" y="112398"/>
                    <a:pt x="111766" y="126353"/>
                    <a:pt x="94392" y="126192"/>
                  </a:cubicBezTo>
                  <a:cubicBezTo>
                    <a:pt x="94390" y="126192"/>
                    <a:pt x="94390" y="126192"/>
                    <a:pt x="94389" y="126192"/>
                  </a:cubicBezTo>
                  <a:close/>
                  <a:moveTo>
                    <a:pt x="156726" y="44246"/>
                  </a:moveTo>
                  <a:cubicBezTo>
                    <a:pt x="156726" y="50550"/>
                    <a:pt x="151616" y="55660"/>
                    <a:pt x="145312" y="55660"/>
                  </a:cubicBezTo>
                  <a:cubicBezTo>
                    <a:pt x="139008" y="55660"/>
                    <a:pt x="133899" y="50550"/>
                    <a:pt x="133899" y="44246"/>
                  </a:cubicBezTo>
                  <a:cubicBezTo>
                    <a:pt x="133899" y="37942"/>
                    <a:pt x="139008" y="32832"/>
                    <a:pt x="145312" y="32832"/>
                  </a:cubicBezTo>
                  <a:cubicBezTo>
                    <a:pt x="151615" y="32743"/>
                    <a:pt x="156798" y="37780"/>
                    <a:pt x="156887" y="44083"/>
                  </a:cubicBezTo>
                  <a:cubicBezTo>
                    <a:pt x="156890" y="44333"/>
                    <a:pt x="156886" y="44582"/>
                    <a:pt x="156873" y="44831"/>
                  </a:cubicBezTo>
                  <a:close/>
                </a:path>
              </a:pathLst>
            </a:custGeom>
            <a:solidFill>
              <a:srgbClr val="222426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DCF4C0C-702C-679E-CEA6-FBDABA3F3227}"/>
                </a:ext>
              </a:extLst>
            </p:cNvPr>
            <p:cNvSpPr/>
            <p:nvPr/>
          </p:nvSpPr>
          <p:spPr>
            <a:xfrm>
              <a:off x="7564337" y="3873500"/>
              <a:ext cx="189794" cy="189830"/>
            </a:xfrm>
            <a:custGeom>
              <a:avLst/>
              <a:gdLst>
                <a:gd name="connsiteX0" fmla="*/ 188188 w 189794"/>
                <a:gd name="connsiteY0" fmla="*/ 48051 h 189830"/>
                <a:gd name="connsiteX1" fmla="*/ 172823 w 189794"/>
                <a:gd name="connsiteY1" fmla="*/ 15711 h 189830"/>
                <a:gd name="connsiteX2" fmla="*/ 138142 w 189794"/>
                <a:gd name="connsiteY2" fmla="*/ 1078 h 189830"/>
                <a:gd name="connsiteX3" fmla="*/ 44344 w 189794"/>
                <a:gd name="connsiteY3" fmla="*/ 2249 h 189830"/>
                <a:gd name="connsiteX4" fmla="*/ 3224 w 189794"/>
                <a:gd name="connsiteY4" fmla="*/ 39417 h 189830"/>
                <a:gd name="connsiteX5" fmla="*/ 2200 w 189794"/>
                <a:gd name="connsiteY5" fmla="*/ 145946 h 189830"/>
                <a:gd name="connsiteX6" fmla="*/ 40393 w 189794"/>
                <a:gd name="connsiteY6" fmla="*/ 187358 h 189830"/>
                <a:gd name="connsiteX7" fmla="*/ 145312 w 189794"/>
                <a:gd name="connsiteY7" fmla="*/ 187358 h 189830"/>
                <a:gd name="connsiteX8" fmla="*/ 186871 w 189794"/>
                <a:gd name="connsiteY8" fmla="*/ 149458 h 189830"/>
                <a:gd name="connsiteX9" fmla="*/ 188188 w 189794"/>
                <a:gd name="connsiteY9" fmla="*/ 48051 h 189830"/>
                <a:gd name="connsiteX10" fmla="*/ 170774 w 189794"/>
                <a:gd name="connsiteY10" fmla="*/ 142873 h 189830"/>
                <a:gd name="connsiteX11" fmla="*/ 140630 w 189794"/>
                <a:gd name="connsiteY11" fmla="*/ 172140 h 189830"/>
                <a:gd name="connsiteX12" fmla="*/ 42734 w 189794"/>
                <a:gd name="connsiteY12" fmla="*/ 170091 h 189830"/>
                <a:gd name="connsiteX13" fmla="*/ 19175 w 189794"/>
                <a:gd name="connsiteY13" fmla="*/ 143312 h 189830"/>
                <a:gd name="connsiteX14" fmla="*/ 19175 w 189794"/>
                <a:gd name="connsiteY14" fmla="*/ 47612 h 189830"/>
                <a:gd name="connsiteX15" fmla="*/ 49173 w 189794"/>
                <a:gd name="connsiteY15" fmla="*/ 18345 h 189830"/>
                <a:gd name="connsiteX16" fmla="*/ 142532 w 189794"/>
                <a:gd name="connsiteY16" fmla="*/ 18345 h 189830"/>
                <a:gd name="connsiteX17" fmla="*/ 171798 w 189794"/>
                <a:gd name="connsiteY17" fmla="*/ 48490 h 189830"/>
                <a:gd name="connsiteX18" fmla="*/ 170774 w 189794"/>
                <a:gd name="connsiteY18" fmla="*/ 142873 h 189830"/>
                <a:gd name="connsiteX19" fmla="*/ 94389 w 189794"/>
                <a:gd name="connsiteY19" fmla="*/ 46734 h 189830"/>
                <a:gd name="connsiteX20" fmla="*/ 45807 w 189794"/>
                <a:gd name="connsiteY20" fmla="*/ 95316 h 189830"/>
                <a:gd name="connsiteX21" fmla="*/ 94389 w 189794"/>
                <a:gd name="connsiteY21" fmla="*/ 143898 h 189830"/>
                <a:gd name="connsiteX22" fmla="*/ 142971 w 189794"/>
                <a:gd name="connsiteY22" fmla="*/ 95316 h 189830"/>
                <a:gd name="connsiteX23" fmla="*/ 94389 w 189794"/>
                <a:gd name="connsiteY23" fmla="*/ 46734 h 189830"/>
                <a:gd name="connsiteX24" fmla="*/ 94389 w 189794"/>
                <a:gd name="connsiteY24" fmla="*/ 126192 h 189830"/>
                <a:gd name="connsiteX25" fmla="*/ 63223 w 189794"/>
                <a:gd name="connsiteY25" fmla="*/ 94438 h 189830"/>
                <a:gd name="connsiteX26" fmla="*/ 94977 w 189794"/>
                <a:gd name="connsiteY26" fmla="*/ 63272 h 189830"/>
                <a:gd name="connsiteX27" fmla="*/ 126143 w 189794"/>
                <a:gd name="connsiteY27" fmla="*/ 95023 h 189830"/>
                <a:gd name="connsiteX28" fmla="*/ 94392 w 189794"/>
                <a:gd name="connsiteY28" fmla="*/ 126192 h 189830"/>
                <a:gd name="connsiteX29" fmla="*/ 94389 w 189794"/>
                <a:gd name="connsiteY29" fmla="*/ 126192 h 189830"/>
                <a:gd name="connsiteX30" fmla="*/ 156726 w 189794"/>
                <a:gd name="connsiteY30" fmla="*/ 44246 h 189830"/>
                <a:gd name="connsiteX31" fmla="*/ 145312 w 189794"/>
                <a:gd name="connsiteY31" fmla="*/ 55660 h 189830"/>
                <a:gd name="connsiteX32" fmla="*/ 133899 w 189794"/>
                <a:gd name="connsiteY32" fmla="*/ 44246 h 189830"/>
                <a:gd name="connsiteX33" fmla="*/ 145312 w 189794"/>
                <a:gd name="connsiteY33" fmla="*/ 32832 h 189830"/>
                <a:gd name="connsiteX34" fmla="*/ 156887 w 189794"/>
                <a:gd name="connsiteY34" fmla="*/ 44083 h 189830"/>
                <a:gd name="connsiteX35" fmla="*/ 156873 w 189794"/>
                <a:gd name="connsiteY35" fmla="*/ 44831 h 18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89794" h="189830">
                  <a:moveTo>
                    <a:pt x="188188" y="48051"/>
                  </a:moveTo>
                  <a:cubicBezTo>
                    <a:pt x="187229" y="35745"/>
                    <a:pt x="181758" y="24228"/>
                    <a:pt x="172823" y="15711"/>
                  </a:cubicBezTo>
                  <a:cubicBezTo>
                    <a:pt x="163482" y="6694"/>
                    <a:pt x="151119" y="1477"/>
                    <a:pt x="138142" y="1078"/>
                  </a:cubicBezTo>
                  <a:cubicBezTo>
                    <a:pt x="106886" y="-679"/>
                    <a:pt x="75546" y="-288"/>
                    <a:pt x="44344" y="2249"/>
                  </a:cubicBezTo>
                  <a:cubicBezTo>
                    <a:pt x="24107" y="4588"/>
                    <a:pt x="7589" y="19519"/>
                    <a:pt x="3224" y="39417"/>
                  </a:cubicBezTo>
                  <a:cubicBezTo>
                    <a:pt x="-700" y="74802"/>
                    <a:pt x="-1043" y="110493"/>
                    <a:pt x="2200" y="145946"/>
                  </a:cubicBezTo>
                  <a:cubicBezTo>
                    <a:pt x="4683" y="166535"/>
                    <a:pt x="20071" y="183221"/>
                    <a:pt x="40393" y="187358"/>
                  </a:cubicBezTo>
                  <a:cubicBezTo>
                    <a:pt x="75288" y="190655"/>
                    <a:pt x="110417" y="190655"/>
                    <a:pt x="145312" y="187358"/>
                  </a:cubicBezTo>
                  <a:cubicBezTo>
                    <a:pt x="165932" y="185103"/>
                    <a:pt x="182731" y="169782"/>
                    <a:pt x="186871" y="149458"/>
                  </a:cubicBezTo>
                  <a:cubicBezTo>
                    <a:pt x="190264" y="115758"/>
                    <a:pt x="190704" y="81827"/>
                    <a:pt x="188188" y="48051"/>
                  </a:cubicBezTo>
                  <a:close/>
                  <a:moveTo>
                    <a:pt x="170774" y="142873"/>
                  </a:moveTo>
                  <a:cubicBezTo>
                    <a:pt x="169353" y="158745"/>
                    <a:pt x="156536" y="171189"/>
                    <a:pt x="140630" y="172140"/>
                  </a:cubicBezTo>
                  <a:cubicBezTo>
                    <a:pt x="107999" y="174247"/>
                    <a:pt x="75247" y="173562"/>
                    <a:pt x="42734" y="170091"/>
                  </a:cubicBezTo>
                  <a:cubicBezTo>
                    <a:pt x="29998" y="167062"/>
                    <a:pt x="20557" y="156330"/>
                    <a:pt x="19175" y="143312"/>
                  </a:cubicBezTo>
                  <a:cubicBezTo>
                    <a:pt x="16687" y="111460"/>
                    <a:pt x="16687" y="79464"/>
                    <a:pt x="19175" y="47612"/>
                  </a:cubicBezTo>
                  <a:cubicBezTo>
                    <a:pt x="20526" y="31764"/>
                    <a:pt x="33296" y="19305"/>
                    <a:pt x="49173" y="18345"/>
                  </a:cubicBezTo>
                  <a:cubicBezTo>
                    <a:pt x="80253" y="16149"/>
                    <a:pt x="111451" y="16149"/>
                    <a:pt x="142532" y="18345"/>
                  </a:cubicBezTo>
                  <a:cubicBezTo>
                    <a:pt x="158403" y="19766"/>
                    <a:pt x="170847" y="32583"/>
                    <a:pt x="171798" y="48490"/>
                  </a:cubicBezTo>
                  <a:cubicBezTo>
                    <a:pt x="173556" y="79939"/>
                    <a:pt x="173213" y="111469"/>
                    <a:pt x="170774" y="142873"/>
                  </a:cubicBezTo>
                  <a:close/>
                  <a:moveTo>
                    <a:pt x="94389" y="46734"/>
                  </a:moveTo>
                  <a:cubicBezTo>
                    <a:pt x="67558" y="46734"/>
                    <a:pt x="45807" y="68484"/>
                    <a:pt x="45807" y="95316"/>
                  </a:cubicBezTo>
                  <a:cubicBezTo>
                    <a:pt x="45807" y="122147"/>
                    <a:pt x="67558" y="143898"/>
                    <a:pt x="94389" y="143898"/>
                  </a:cubicBezTo>
                  <a:cubicBezTo>
                    <a:pt x="121220" y="143898"/>
                    <a:pt x="142971" y="122147"/>
                    <a:pt x="142971" y="95316"/>
                  </a:cubicBezTo>
                  <a:cubicBezTo>
                    <a:pt x="142971" y="68484"/>
                    <a:pt x="121220" y="46734"/>
                    <a:pt x="94389" y="46734"/>
                  </a:cubicBezTo>
                  <a:close/>
                  <a:moveTo>
                    <a:pt x="94389" y="126192"/>
                  </a:moveTo>
                  <a:cubicBezTo>
                    <a:pt x="77014" y="126029"/>
                    <a:pt x="63061" y="111813"/>
                    <a:pt x="63223" y="94438"/>
                  </a:cubicBezTo>
                  <a:cubicBezTo>
                    <a:pt x="63386" y="77062"/>
                    <a:pt x="77602" y="63110"/>
                    <a:pt x="94977" y="63272"/>
                  </a:cubicBezTo>
                  <a:cubicBezTo>
                    <a:pt x="112351" y="63434"/>
                    <a:pt x="126304" y="77649"/>
                    <a:pt x="126143" y="95023"/>
                  </a:cubicBezTo>
                  <a:cubicBezTo>
                    <a:pt x="125982" y="112398"/>
                    <a:pt x="111766" y="126353"/>
                    <a:pt x="94392" y="126192"/>
                  </a:cubicBezTo>
                  <a:cubicBezTo>
                    <a:pt x="94390" y="126192"/>
                    <a:pt x="94390" y="126192"/>
                    <a:pt x="94389" y="126192"/>
                  </a:cubicBezTo>
                  <a:close/>
                  <a:moveTo>
                    <a:pt x="156726" y="44246"/>
                  </a:moveTo>
                  <a:cubicBezTo>
                    <a:pt x="156726" y="50550"/>
                    <a:pt x="151616" y="55660"/>
                    <a:pt x="145312" y="55660"/>
                  </a:cubicBezTo>
                  <a:cubicBezTo>
                    <a:pt x="139008" y="55660"/>
                    <a:pt x="133899" y="50550"/>
                    <a:pt x="133899" y="44246"/>
                  </a:cubicBezTo>
                  <a:cubicBezTo>
                    <a:pt x="133899" y="37942"/>
                    <a:pt x="139008" y="32832"/>
                    <a:pt x="145312" y="32832"/>
                  </a:cubicBezTo>
                  <a:cubicBezTo>
                    <a:pt x="151615" y="32743"/>
                    <a:pt x="156798" y="37780"/>
                    <a:pt x="156887" y="44083"/>
                  </a:cubicBezTo>
                  <a:cubicBezTo>
                    <a:pt x="156890" y="44333"/>
                    <a:pt x="156886" y="44582"/>
                    <a:pt x="156873" y="44831"/>
                  </a:cubicBezTo>
                  <a:close/>
                </a:path>
              </a:pathLst>
            </a:custGeom>
            <a:solidFill>
              <a:srgbClr val="222426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16" name="Graphic 46">
            <a:extLst>
              <a:ext uri="{FF2B5EF4-FFF2-40B4-BE49-F238E27FC236}">
                <a16:creationId xmlns:a16="http://schemas.microsoft.com/office/drawing/2014/main" id="{11FA62E1-2285-7885-A427-A77F9E54E6B3}"/>
              </a:ext>
            </a:extLst>
          </p:cNvPr>
          <p:cNvGrpSpPr/>
          <p:nvPr/>
        </p:nvGrpSpPr>
        <p:grpSpPr>
          <a:xfrm>
            <a:off x="8551350" y="3780195"/>
            <a:ext cx="381486" cy="381486"/>
            <a:chOff x="8551350" y="3780195"/>
            <a:chExt cx="381486" cy="381486"/>
          </a:xfrm>
        </p:grpSpPr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FDC30F4A-FF76-5FD0-FF20-D0E957F4E7D1}"/>
                </a:ext>
              </a:extLst>
            </p:cNvPr>
            <p:cNvSpPr/>
            <p:nvPr/>
          </p:nvSpPr>
          <p:spPr>
            <a:xfrm>
              <a:off x="8551350" y="3780195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EDEDED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EC099D16-D2C9-0998-18ED-A0EF01C8648C}"/>
                </a:ext>
              </a:extLst>
            </p:cNvPr>
            <p:cNvSpPr/>
            <p:nvPr/>
          </p:nvSpPr>
          <p:spPr>
            <a:xfrm>
              <a:off x="8640465" y="3889436"/>
              <a:ext cx="201937" cy="164477"/>
            </a:xfrm>
            <a:custGeom>
              <a:avLst/>
              <a:gdLst>
                <a:gd name="connsiteX0" fmla="*/ 61898 w 201937"/>
                <a:gd name="connsiteY0" fmla="*/ 127962 h 164477"/>
                <a:gd name="connsiteX1" fmla="*/ 23120 w 201937"/>
                <a:gd name="connsiteY1" fmla="*/ 98696 h 164477"/>
                <a:gd name="connsiteX2" fmla="*/ 40973 w 201937"/>
                <a:gd name="connsiteY2" fmla="*/ 98696 h 164477"/>
                <a:gd name="connsiteX3" fmla="*/ 40973 w 201937"/>
                <a:gd name="connsiteY3" fmla="*/ 98696 h 164477"/>
                <a:gd name="connsiteX4" fmla="*/ 14048 w 201937"/>
                <a:gd name="connsiteY4" fmla="*/ 79526 h 164477"/>
                <a:gd name="connsiteX5" fmla="*/ 7902 w 201937"/>
                <a:gd name="connsiteY5" fmla="*/ 57430 h 164477"/>
                <a:gd name="connsiteX6" fmla="*/ 26340 w 201937"/>
                <a:gd name="connsiteY6" fmla="*/ 62552 h 164477"/>
                <a:gd name="connsiteX7" fmla="*/ 13755 w 201937"/>
                <a:gd name="connsiteY7" fmla="*/ 7238 h 164477"/>
                <a:gd name="connsiteX8" fmla="*/ 99505 w 201937"/>
                <a:gd name="connsiteY8" fmla="*/ 51138 h 164477"/>
                <a:gd name="connsiteX9" fmla="*/ 99505 w 201937"/>
                <a:gd name="connsiteY9" fmla="*/ 46601 h 164477"/>
                <a:gd name="connsiteX10" fmla="*/ 135714 w 201937"/>
                <a:gd name="connsiteY10" fmla="*/ 307 h 164477"/>
                <a:gd name="connsiteX11" fmla="*/ 170184 w 201937"/>
                <a:gd name="connsiteY11" fmla="*/ 12214 h 164477"/>
                <a:gd name="connsiteX12" fmla="*/ 172379 w 201937"/>
                <a:gd name="connsiteY12" fmla="*/ 12214 h 164477"/>
                <a:gd name="connsiteX13" fmla="*/ 196523 w 201937"/>
                <a:gd name="connsiteY13" fmla="*/ 2995 h 164477"/>
                <a:gd name="connsiteX14" fmla="*/ 196523 w 201937"/>
                <a:gd name="connsiteY14" fmla="*/ 2995 h 164477"/>
                <a:gd name="connsiteX15" fmla="*/ 196523 w 201937"/>
                <a:gd name="connsiteY15" fmla="*/ 2995 h 164477"/>
                <a:gd name="connsiteX16" fmla="*/ 178671 w 201937"/>
                <a:gd name="connsiteY16" fmla="*/ 25676 h 164477"/>
                <a:gd name="connsiteX17" fmla="*/ 201938 w 201937"/>
                <a:gd name="connsiteY17" fmla="*/ 19384 h 164477"/>
                <a:gd name="connsiteX18" fmla="*/ 201938 w 201937"/>
                <a:gd name="connsiteY18" fmla="*/ 19384 h 164477"/>
                <a:gd name="connsiteX19" fmla="*/ 197109 w 201937"/>
                <a:gd name="connsiteY19" fmla="*/ 25530 h 164477"/>
                <a:gd name="connsiteX20" fmla="*/ 182475 w 201937"/>
                <a:gd name="connsiteY20" fmla="*/ 40163 h 164477"/>
                <a:gd name="connsiteX21" fmla="*/ 181744 w 201937"/>
                <a:gd name="connsiteY21" fmla="*/ 41480 h 164477"/>
                <a:gd name="connsiteX22" fmla="*/ 181012 w 201937"/>
                <a:gd name="connsiteY22" fmla="*/ 60064 h 164477"/>
                <a:gd name="connsiteX23" fmla="*/ 170330 w 201937"/>
                <a:gd name="connsiteY23" fmla="*/ 96940 h 164477"/>
                <a:gd name="connsiteX24" fmla="*/ 147795 w 201937"/>
                <a:gd name="connsiteY24" fmla="*/ 129718 h 164477"/>
                <a:gd name="connsiteX25" fmla="*/ 90726 w 201937"/>
                <a:gd name="connsiteY25" fmla="*/ 161618 h 164477"/>
                <a:gd name="connsiteX26" fmla="*/ 67605 w 201937"/>
                <a:gd name="connsiteY26" fmla="*/ 164398 h 164477"/>
                <a:gd name="connsiteX27" fmla="*/ 1024 w 201937"/>
                <a:gd name="connsiteY27" fmla="*/ 146546 h 164477"/>
                <a:gd name="connsiteX28" fmla="*/ 0 w 201937"/>
                <a:gd name="connsiteY28" fmla="*/ 145814 h 164477"/>
                <a:gd name="connsiteX29" fmla="*/ 42582 w 201937"/>
                <a:gd name="connsiteY29" fmla="*/ 139522 h 164477"/>
                <a:gd name="connsiteX30" fmla="*/ 61898 w 201937"/>
                <a:gd name="connsiteY30" fmla="*/ 127962 h 164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01937" h="164477">
                  <a:moveTo>
                    <a:pt x="61898" y="127962"/>
                  </a:moveTo>
                  <a:cubicBezTo>
                    <a:pt x="44053" y="127475"/>
                    <a:pt x="28482" y="115723"/>
                    <a:pt x="23120" y="98696"/>
                  </a:cubicBezTo>
                  <a:cubicBezTo>
                    <a:pt x="28998" y="100012"/>
                    <a:pt x="35095" y="100012"/>
                    <a:pt x="40973" y="98696"/>
                  </a:cubicBezTo>
                  <a:lnTo>
                    <a:pt x="40973" y="98696"/>
                  </a:lnTo>
                  <a:cubicBezTo>
                    <a:pt x="29726" y="96319"/>
                    <a:pt x="19973" y="89376"/>
                    <a:pt x="14048" y="79526"/>
                  </a:cubicBezTo>
                  <a:cubicBezTo>
                    <a:pt x="9884" y="72919"/>
                    <a:pt x="7747" y="65238"/>
                    <a:pt x="7902" y="57430"/>
                  </a:cubicBezTo>
                  <a:cubicBezTo>
                    <a:pt x="13540" y="60611"/>
                    <a:pt x="19869" y="62369"/>
                    <a:pt x="26340" y="62552"/>
                  </a:cubicBezTo>
                  <a:cubicBezTo>
                    <a:pt x="8506" y="50119"/>
                    <a:pt x="3056" y="26162"/>
                    <a:pt x="13755" y="7238"/>
                  </a:cubicBezTo>
                  <a:cubicBezTo>
                    <a:pt x="34894" y="33278"/>
                    <a:pt x="66020" y="49213"/>
                    <a:pt x="99505" y="51138"/>
                  </a:cubicBezTo>
                  <a:cubicBezTo>
                    <a:pt x="99505" y="49382"/>
                    <a:pt x="99505" y="47918"/>
                    <a:pt x="99505" y="46601"/>
                  </a:cubicBezTo>
                  <a:cubicBezTo>
                    <a:pt x="96721" y="23819"/>
                    <a:pt x="112931" y="3093"/>
                    <a:pt x="135714" y="307"/>
                  </a:cubicBezTo>
                  <a:cubicBezTo>
                    <a:pt x="148424" y="-1246"/>
                    <a:pt x="161142" y="3146"/>
                    <a:pt x="170184" y="12214"/>
                  </a:cubicBezTo>
                  <a:cubicBezTo>
                    <a:pt x="170854" y="12638"/>
                    <a:pt x="171708" y="12638"/>
                    <a:pt x="172379" y="12214"/>
                  </a:cubicBezTo>
                  <a:cubicBezTo>
                    <a:pt x="180845" y="10376"/>
                    <a:pt x="188986" y="7268"/>
                    <a:pt x="196523" y="2995"/>
                  </a:cubicBezTo>
                  <a:lnTo>
                    <a:pt x="196523" y="2995"/>
                  </a:lnTo>
                  <a:lnTo>
                    <a:pt x="196523" y="2995"/>
                  </a:lnTo>
                  <a:cubicBezTo>
                    <a:pt x="193462" y="12439"/>
                    <a:pt x="187132" y="20482"/>
                    <a:pt x="178671" y="25676"/>
                  </a:cubicBezTo>
                  <a:cubicBezTo>
                    <a:pt x="186701" y="24774"/>
                    <a:pt x="194548" y="22652"/>
                    <a:pt x="201938" y="19384"/>
                  </a:cubicBezTo>
                  <a:lnTo>
                    <a:pt x="201938" y="19384"/>
                  </a:lnTo>
                  <a:lnTo>
                    <a:pt x="197109" y="25530"/>
                  </a:lnTo>
                  <a:cubicBezTo>
                    <a:pt x="192866" y="31004"/>
                    <a:pt x="187950" y="35921"/>
                    <a:pt x="182475" y="40163"/>
                  </a:cubicBezTo>
                  <a:cubicBezTo>
                    <a:pt x="182475" y="40163"/>
                    <a:pt x="181744" y="40895"/>
                    <a:pt x="181744" y="41480"/>
                  </a:cubicBezTo>
                  <a:cubicBezTo>
                    <a:pt x="182014" y="47684"/>
                    <a:pt x="181770" y="53900"/>
                    <a:pt x="181012" y="60064"/>
                  </a:cubicBezTo>
                  <a:cubicBezTo>
                    <a:pt x="179383" y="72836"/>
                    <a:pt x="175779" y="85275"/>
                    <a:pt x="170330" y="96940"/>
                  </a:cubicBezTo>
                  <a:cubicBezTo>
                    <a:pt x="164728" y="109063"/>
                    <a:pt x="157109" y="120146"/>
                    <a:pt x="147795" y="129718"/>
                  </a:cubicBezTo>
                  <a:cubicBezTo>
                    <a:pt x="132398" y="145829"/>
                    <a:pt x="112516" y="156943"/>
                    <a:pt x="90726" y="161618"/>
                  </a:cubicBezTo>
                  <a:cubicBezTo>
                    <a:pt x="83112" y="163201"/>
                    <a:pt x="75377" y="164131"/>
                    <a:pt x="67605" y="164398"/>
                  </a:cubicBezTo>
                  <a:cubicBezTo>
                    <a:pt x="44123" y="165265"/>
                    <a:pt x="20923" y="159044"/>
                    <a:pt x="1024" y="146546"/>
                  </a:cubicBezTo>
                  <a:lnTo>
                    <a:pt x="0" y="145814"/>
                  </a:lnTo>
                  <a:cubicBezTo>
                    <a:pt x="14500" y="147444"/>
                    <a:pt x="29174" y="145276"/>
                    <a:pt x="42582" y="139522"/>
                  </a:cubicBezTo>
                  <a:cubicBezTo>
                    <a:pt x="49521" y="136573"/>
                    <a:pt x="56021" y="132684"/>
                    <a:pt x="61898" y="127962"/>
                  </a:cubicBezTo>
                  <a:close/>
                </a:path>
              </a:pathLst>
            </a:custGeom>
            <a:solidFill>
              <a:srgbClr val="222426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19" name="Graphic 48">
            <a:extLst>
              <a:ext uri="{FF2B5EF4-FFF2-40B4-BE49-F238E27FC236}">
                <a16:creationId xmlns:a16="http://schemas.microsoft.com/office/drawing/2014/main" id="{B205C8BC-5224-4697-288D-184D7EF904BF}"/>
              </a:ext>
            </a:extLst>
          </p:cNvPr>
          <p:cNvGrpSpPr/>
          <p:nvPr/>
        </p:nvGrpSpPr>
        <p:grpSpPr>
          <a:xfrm>
            <a:off x="9634205" y="3780195"/>
            <a:ext cx="381486" cy="381486"/>
            <a:chOff x="9634205" y="3780195"/>
            <a:chExt cx="381486" cy="381486"/>
          </a:xfrm>
        </p:grpSpPr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D02175BB-999D-252F-60C9-1503B8C449B1}"/>
                </a:ext>
              </a:extLst>
            </p:cNvPr>
            <p:cNvSpPr/>
            <p:nvPr/>
          </p:nvSpPr>
          <p:spPr>
            <a:xfrm>
              <a:off x="9634205" y="3780195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EDEDED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A10DC31F-84AE-E1C7-ACA6-F053DACE9F97}"/>
                </a:ext>
              </a:extLst>
            </p:cNvPr>
            <p:cNvSpPr/>
            <p:nvPr/>
          </p:nvSpPr>
          <p:spPr>
            <a:xfrm>
              <a:off x="9764879" y="3863307"/>
              <a:ext cx="112821" cy="216135"/>
            </a:xfrm>
            <a:custGeom>
              <a:avLst/>
              <a:gdLst>
                <a:gd name="connsiteX0" fmla="*/ 89994 w 112821"/>
                <a:gd name="connsiteY0" fmla="*/ 36002 h 216135"/>
                <a:gd name="connsiteX1" fmla="*/ 110188 w 112821"/>
                <a:gd name="connsiteY1" fmla="*/ 36002 h 216135"/>
                <a:gd name="connsiteX2" fmla="*/ 112822 w 112821"/>
                <a:gd name="connsiteY2" fmla="*/ 36002 h 216135"/>
                <a:gd name="connsiteX3" fmla="*/ 112822 w 112821"/>
                <a:gd name="connsiteY3" fmla="*/ 1028 h 216135"/>
                <a:gd name="connsiteX4" fmla="*/ 101847 w 112821"/>
                <a:gd name="connsiteY4" fmla="*/ 4 h 216135"/>
                <a:gd name="connsiteX5" fmla="*/ 81214 w 112821"/>
                <a:gd name="connsiteY5" fmla="*/ 4 h 216135"/>
                <a:gd name="connsiteX6" fmla="*/ 51948 w 112821"/>
                <a:gd name="connsiteY6" fmla="*/ 8930 h 216135"/>
                <a:gd name="connsiteX7" fmla="*/ 34388 w 112821"/>
                <a:gd name="connsiteY7" fmla="*/ 38197 h 216135"/>
                <a:gd name="connsiteX8" fmla="*/ 33217 w 112821"/>
                <a:gd name="connsiteY8" fmla="*/ 52830 h 216135"/>
                <a:gd name="connsiteX9" fmla="*/ 33217 w 112821"/>
                <a:gd name="connsiteY9" fmla="*/ 76389 h 216135"/>
                <a:gd name="connsiteX10" fmla="*/ 33217 w 112821"/>
                <a:gd name="connsiteY10" fmla="*/ 79316 h 216135"/>
                <a:gd name="connsiteX11" fmla="*/ 0 w 112821"/>
                <a:gd name="connsiteY11" fmla="*/ 79316 h 216135"/>
                <a:gd name="connsiteX12" fmla="*/ 0 w 112821"/>
                <a:gd name="connsiteY12" fmla="*/ 118240 h 216135"/>
                <a:gd name="connsiteX13" fmla="*/ 33071 w 112821"/>
                <a:gd name="connsiteY13" fmla="*/ 118240 h 216135"/>
                <a:gd name="connsiteX14" fmla="*/ 33071 w 112821"/>
                <a:gd name="connsiteY14" fmla="*/ 216136 h 216135"/>
                <a:gd name="connsiteX15" fmla="*/ 74190 w 112821"/>
                <a:gd name="connsiteY15" fmla="*/ 216136 h 216135"/>
                <a:gd name="connsiteX16" fmla="*/ 74190 w 112821"/>
                <a:gd name="connsiteY16" fmla="*/ 118094 h 216135"/>
                <a:gd name="connsiteX17" fmla="*/ 107261 w 112821"/>
                <a:gd name="connsiteY17" fmla="*/ 118094 h 216135"/>
                <a:gd name="connsiteX18" fmla="*/ 112383 w 112821"/>
                <a:gd name="connsiteY18" fmla="*/ 79023 h 216135"/>
                <a:gd name="connsiteX19" fmla="*/ 73312 w 112821"/>
                <a:gd name="connsiteY19" fmla="*/ 79023 h 216135"/>
                <a:gd name="connsiteX20" fmla="*/ 73312 w 112821"/>
                <a:gd name="connsiteY20" fmla="*/ 51366 h 216135"/>
                <a:gd name="connsiteX21" fmla="*/ 89994 w 112821"/>
                <a:gd name="connsiteY21" fmla="*/ 36002 h 216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821" h="216135">
                  <a:moveTo>
                    <a:pt x="89994" y="36002"/>
                  </a:moveTo>
                  <a:cubicBezTo>
                    <a:pt x="96725" y="36002"/>
                    <a:pt x="103456" y="36002"/>
                    <a:pt x="110188" y="36002"/>
                  </a:cubicBezTo>
                  <a:lnTo>
                    <a:pt x="112822" y="36002"/>
                  </a:lnTo>
                  <a:lnTo>
                    <a:pt x="112822" y="1028"/>
                  </a:lnTo>
                  <a:cubicBezTo>
                    <a:pt x="109310" y="1028"/>
                    <a:pt x="105505" y="150"/>
                    <a:pt x="101847" y="4"/>
                  </a:cubicBezTo>
                  <a:cubicBezTo>
                    <a:pt x="94969" y="4"/>
                    <a:pt x="88092" y="4"/>
                    <a:pt x="81214" y="4"/>
                  </a:cubicBezTo>
                  <a:cubicBezTo>
                    <a:pt x="70769" y="-129"/>
                    <a:pt x="60540" y="2990"/>
                    <a:pt x="51948" y="8930"/>
                  </a:cubicBezTo>
                  <a:cubicBezTo>
                    <a:pt x="42386" y="15918"/>
                    <a:pt x="36055" y="26472"/>
                    <a:pt x="34388" y="38197"/>
                  </a:cubicBezTo>
                  <a:cubicBezTo>
                    <a:pt x="33649" y="43040"/>
                    <a:pt x="33257" y="47930"/>
                    <a:pt x="33217" y="52830"/>
                  </a:cubicBezTo>
                  <a:cubicBezTo>
                    <a:pt x="33217" y="60732"/>
                    <a:pt x="33217" y="68487"/>
                    <a:pt x="33217" y="76389"/>
                  </a:cubicBezTo>
                  <a:lnTo>
                    <a:pt x="33217" y="79316"/>
                  </a:lnTo>
                  <a:lnTo>
                    <a:pt x="0" y="79316"/>
                  </a:lnTo>
                  <a:lnTo>
                    <a:pt x="0" y="118240"/>
                  </a:lnTo>
                  <a:lnTo>
                    <a:pt x="33071" y="118240"/>
                  </a:lnTo>
                  <a:lnTo>
                    <a:pt x="33071" y="216136"/>
                  </a:lnTo>
                  <a:lnTo>
                    <a:pt x="74190" y="216136"/>
                  </a:lnTo>
                  <a:lnTo>
                    <a:pt x="74190" y="118094"/>
                  </a:lnTo>
                  <a:lnTo>
                    <a:pt x="107261" y="118094"/>
                  </a:lnTo>
                  <a:cubicBezTo>
                    <a:pt x="109017" y="105070"/>
                    <a:pt x="110627" y="92339"/>
                    <a:pt x="112383" y="79023"/>
                  </a:cubicBezTo>
                  <a:lnTo>
                    <a:pt x="73312" y="79023"/>
                  </a:lnTo>
                  <a:cubicBezTo>
                    <a:pt x="73312" y="79023"/>
                    <a:pt x="73312" y="59707"/>
                    <a:pt x="73312" y="51366"/>
                  </a:cubicBezTo>
                  <a:cubicBezTo>
                    <a:pt x="74190" y="39806"/>
                    <a:pt x="80775" y="36294"/>
                    <a:pt x="89994" y="36002"/>
                  </a:cubicBezTo>
                  <a:close/>
                </a:path>
              </a:pathLst>
            </a:custGeom>
            <a:solidFill>
              <a:srgbClr val="222426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22" name="Graphic 50">
            <a:extLst>
              <a:ext uri="{FF2B5EF4-FFF2-40B4-BE49-F238E27FC236}">
                <a16:creationId xmlns:a16="http://schemas.microsoft.com/office/drawing/2014/main" id="{C73D4C8C-2043-A3B1-4344-7F0367335418}"/>
              </a:ext>
            </a:extLst>
          </p:cNvPr>
          <p:cNvGrpSpPr/>
          <p:nvPr/>
        </p:nvGrpSpPr>
        <p:grpSpPr>
          <a:xfrm>
            <a:off x="2054225" y="4863050"/>
            <a:ext cx="381486" cy="381486"/>
            <a:chOff x="2054225" y="4863050"/>
            <a:chExt cx="381486" cy="381486"/>
          </a:xfrm>
        </p:grpSpPr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9A71899D-B1A3-B0D6-D04D-9E6793579DC5}"/>
                </a:ext>
              </a:extLst>
            </p:cNvPr>
            <p:cNvSpPr/>
            <p:nvPr/>
          </p:nvSpPr>
          <p:spPr>
            <a:xfrm>
              <a:off x="2054225" y="4863050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FFFF00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3D4FDB14-65C8-1157-5E72-47473B6FF101}"/>
                </a:ext>
              </a:extLst>
            </p:cNvPr>
            <p:cNvSpPr/>
            <p:nvPr/>
          </p:nvSpPr>
          <p:spPr>
            <a:xfrm>
              <a:off x="2151564" y="4962701"/>
              <a:ext cx="188200" cy="182036"/>
            </a:xfrm>
            <a:custGeom>
              <a:avLst/>
              <a:gdLst>
                <a:gd name="connsiteX0" fmla="*/ 94208 w 188200"/>
                <a:gd name="connsiteY0" fmla="*/ 6439 h 182036"/>
                <a:gd name="connsiteX1" fmla="*/ 139132 w 188200"/>
                <a:gd name="connsiteY1" fmla="*/ 51070 h 182036"/>
                <a:gd name="connsiteX2" fmla="*/ 139132 w 188200"/>
                <a:gd name="connsiteY2" fmla="*/ 51362 h 182036"/>
                <a:gd name="connsiteX3" fmla="*/ 139132 w 188200"/>
                <a:gd name="connsiteY3" fmla="*/ 78287 h 182036"/>
                <a:gd name="connsiteX4" fmla="*/ 143376 w 188200"/>
                <a:gd name="connsiteY4" fmla="*/ 78287 h 182036"/>
                <a:gd name="connsiteX5" fmla="*/ 148790 w 188200"/>
                <a:gd name="connsiteY5" fmla="*/ 76970 h 182036"/>
                <a:gd name="connsiteX6" fmla="*/ 155668 w 188200"/>
                <a:gd name="connsiteY6" fmla="*/ 74775 h 182036"/>
                <a:gd name="connsiteX7" fmla="*/ 160936 w 188200"/>
                <a:gd name="connsiteY7" fmla="*/ 77263 h 182036"/>
                <a:gd name="connsiteX8" fmla="*/ 154643 w 188200"/>
                <a:gd name="connsiteY8" fmla="*/ 87067 h 182036"/>
                <a:gd name="connsiteX9" fmla="*/ 140010 w 188200"/>
                <a:gd name="connsiteY9" fmla="*/ 98920 h 182036"/>
                <a:gd name="connsiteX10" fmla="*/ 159472 w 188200"/>
                <a:gd name="connsiteY10" fmla="*/ 126284 h 182036"/>
                <a:gd name="connsiteX11" fmla="*/ 178056 w 188200"/>
                <a:gd name="connsiteY11" fmla="*/ 134040 h 182036"/>
                <a:gd name="connsiteX12" fmla="*/ 179520 w 188200"/>
                <a:gd name="connsiteY12" fmla="*/ 134040 h 182036"/>
                <a:gd name="connsiteX13" fmla="*/ 180690 w 188200"/>
                <a:gd name="connsiteY13" fmla="*/ 134479 h 182036"/>
                <a:gd name="connsiteX14" fmla="*/ 171325 w 188200"/>
                <a:gd name="connsiteY14" fmla="*/ 144576 h 182036"/>
                <a:gd name="connsiteX15" fmla="*/ 156692 w 188200"/>
                <a:gd name="connsiteY15" fmla="*/ 151160 h 182036"/>
                <a:gd name="connsiteX16" fmla="*/ 152595 w 188200"/>
                <a:gd name="connsiteY16" fmla="*/ 159209 h 182036"/>
                <a:gd name="connsiteX17" fmla="*/ 135474 w 188200"/>
                <a:gd name="connsiteY17" fmla="*/ 157599 h 182036"/>
                <a:gd name="connsiteX18" fmla="*/ 126840 w 188200"/>
                <a:gd name="connsiteY18" fmla="*/ 158916 h 182036"/>
                <a:gd name="connsiteX19" fmla="*/ 94208 w 188200"/>
                <a:gd name="connsiteY19" fmla="*/ 175305 h 182036"/>
                <a:gd name="connsiteX20" fmla="*/ 61430 w 188200"/>
                <a:gd name="connsiteY20" fmla="*/ 158916 h 182036"/>
                <a:gd name="connsiteX21" fmla="*/ 52797 w 188200"/>
                <a:gd name="connsiteY21" fmla="*/ 157599 h 182036"/>
                <a:gd name="connsiteX22" fmla="*/ 35676 w 188200"/>
                <a:gd name="connsiteY22" fmla="*/ 159209 h 182036"/>
                <a:gd name="connsiteX23" fmla="*/ 31579 w 188200"/>
                <a:gd name="connsiteY23" fmla="*/ 151160 h 182036"/>
                <a:gd name="connsiteX24" fmla="*/ 16945 w 188200"/>
                <a:gd name="connsiteY24" fmla="*/ 144576 h 182036"/>
                <a:gd name="connsiteX25" fmla="*/ 7580 w 188200"/>
                <a:gd name="connsiteY25" fmla="*/ 134479 h 182036"/>
                <a:gd name="connsiteX26" fmla="*/ 8605 w 188200"/>
                <a:gd name="connsiteY26" fmla="*/ 134479 h 182036"/>
                <a:gd name="connsiteX27" fmla="*/ 10068 w 188200"/>
                <a:gd name="connsiteY27" fmla="*/ 134479 h 182036"/>
                <a:gd name="connsiteX28" fmla="*/ 28798 w 188200"/>
                <a:gd name="connsiteY28" fmla="*/ 126723 h 182036"/>
                <a:gd name="connsiteX29" fmla="*/ 48114 w 188200"/>
                <a:gd name="connsiteY29" fmla="*/ 99359 h 182036"/>
                <a:gd name="connsiteX30" fmla="*/ 33481 w 188200"/>
                <a:gd name="connsiteY30" fmla="*/ 87506 h 182036"/>
                <a:gd name="connsiteX31" fmla="*/ 27189 w 188200"/>
                <a:gd name="connsiteY31" fmla="*/ 77702 h 182036"/>
                <a:gd name="connsiteX32" fmla="*/ 31140 w 188200"/>
                <a:gd name="connsiteY32" fmla="*/ 75946 h 182036"/>
                <a:gd name="connsiteX33" fmla="*/ 38017 w 188200"/>
                <a:gd name="connsiteY33" fmla="*/ 78141 h 182036"/>
                <a:gd name="connsiteX34" fmla="*/ 43431 w 188200"/>
                <a:gd name="connsiteY34" fmla="*/ 79458 h 182036"/>
                <a:gd name="connsiteX35" fmla="*/ 47675 w 188200"/>
                <a:gd name="connsiteY35" fmla="*/ 79458 h 182036"/>
                <a:gd name="connsiteX36" fmla="*/ 47675 w 188200"/>
                <a:gd name="connsiteY36" fmla="*/ 51362 h 182036"/>
                <a:gd name="connsiteX37" fmla="*/ 92303 w 188200"/>
                <a:gd name="connsiteY37" fmla="*/ 6437 h 182036"/>
                <a:gd name="connsiteX38" fmla="*/ 92892 w 188200"/>
                <a:gd name="connsiteY38" fmla="*/ 6439 h 182036"/>
                <a:gd name="connsiteX39" fmla="*/ 94501 w 188200"/>
                <a:gd name="connsiteY39" fmla="*/ 6439 h 182036"/>
                <a:gd name="connsiteX40" fmla="*/ 94501 w 188200"/>
                <a:gd name="connsiteY40" fmla="*/ 0 h 182036"/>
                <a:gd name="connsiteX41" fmla="*/ 92892 w 188200"/>
                <a:gd name="connsiteY41" fmla="*/ 0 h 182036"/>
                <a:gd name="connsiteX42" fmla="*/ 41383 w 188200"/>
                <a:gd name="connsiteY42" fmla="*/ 51362 h 182036"/>
                <a:gd name="connsiteX43" fmla="*/ 41383 w 188200"/>
                <a:gd name="connsiteY43" fmla="*/ 71849 h 182036"/>
                <a:gd name="connsiteX44" fmla="*/ 41383 w 188200"/>
                <a:gd name="connsiteY44" fmla="*/ 71849 h 182036"/>
                <a:gd name="connsiteX45" fmla="*/ 31432 w 188200"/>
                <a:gd name="connsiteY45" fmla="*/ 68922 h 182036"/>
                <a:gd name="connsiteX46" fmla="*/ 21482 w 188200"/>
                <a:gd name="connsiteY46" fmla="*/ 73312 h 182036"/>
                <a:gd name="connsiteX47" fmla="*/ 18409 w 188200"/>
                <a:gd name="connsiteY47" fmla="*/ 82970 h 182036"/>
                <a:gd name="connsiteX48" fmla="*/ 30115 w 188200"/>
                <a:gd name="connsiteY48" fmla="*/ 93799 h 182036"/>
                <a:gd name="connsiteX49" fmla="*/ 32310 w 188200"/>
                <a:gd name="connsiteY49" fmla="*/ 94677 h 182036"/>
                <a:gd name="connsiteX50" fmla="*/ 40505 w 188200"/>
                <a:gd name="connsiteY50" fmla="*/ 99213 h 182036"/>
                <a:gd name="connsiteX51" fmla="*/ 23823 w 188200"/>
                <a:gd name="connsiteY51" fmla="*/ 121602 h 182036"/>
                <a:gd name="connsiteX52" fmla="*/ 9190 w 188200"/>
                <a:gd name="connsiteY52" fmla="*/ 128186 h 182036"/>
                <a:gd name="connsiteX53" fmla="*/ 7727 w 188200"/>
                <a:gd name="connsiteY53" fmla="*/ 128186 h 182036"/>
                <a:gd name="connsiteX54" fmla="*/ 410 w 188200"/>
                <a:gd name="connsiteY54" fmla="*/ 133601 h 182036"/>
                <a:gd name="connsiteX55" fmla="*/ 15043 w 188200"/>
                <a:gd name="connsiteY55" fmla="*/ 151453 h 182036"/>
                <a:gd name="connsiteX56" fmla="*/ 23238 w 188200"/>
                <a:gd name="connsiteY56" fmla="*/ 153063 h 182036"/>
                <a:gd name="connsiteX57" fmla="*/ 25579 w 188200"/>
                <a:gd name="connsiteY57" fmla="*/ 153063 h 182036"/>
                <a:gd name="connsiteX58" fmla="*/ 25579 w 188200"/>
                <a:gd name="connsiteY58" fmla="*/ 153063 h 182036"/>
                <a:gd name="connsiteX59" fmla="*/ 26750 w 188200"/>
                <a:gd name="connsiteY59" fmla="*/ 157160 h 182036"/>
                <a:gd name="connsiteX60" fmla="*/ 35676 w 188200"/>
                <a:gd name="connsiteY60" fmla="*/ 165355 h 182036"/>
                <a:gd name="connsiteX61" fmla="*/ 40212 w 188200"/>
                <a:gd name="connsiteY61" fmla="*/ 165355 h 182036"/>
                <a:gd name="connsiteX62" fmla="*/ 52797 w 188200"/>
                <a:gd name="connsiteY62" fmla="*/ 164330 h 182036"/>
                <a:gd name="connsiteX63" fmla="*/ 58796 w 188200"/>
                <a:gd name="connsiteY63" fmla="*/ 165062 h 182036"/>
                <a:gd name="connsiteX64" fmla="*/ 64503 w 188200"/>
                <a:gd name="connsiteY64" fmla="*/ 169013 h 182036"/>
                <a:gd name="connsiteX65" fmla="*/ 93770 w 188200"/>
                <a:gd name="connsiteY65" fmla="*/ 182036 h 182036"/>
                <a:gd name="connsiteX66" fmla="*/ 94501 w 188200"/>
                <a:gd name="connsiteY66" fmla="*/ 182036 h 182036"/>
                <a:gd name="connsiteX67" fmla="*/ 123767 w 188200"/>
                <a:gd name="connsiteY67" fmla="*/ 169013 h 182036"/>
                <a:gd name="connsiteX68" fmla="*/ 129621 w 188200"/>
                <a:gd name="connsiteY68" fmla="*/ 165062 h 182036"/>
                <a:gd name="connsiteX69" fmla="*/ 135474 w 188200"/>
                <a:gd name="connsiteY69" fmla="*/ 164330 h 182036"/>
                <a:gd name="connsiteX70" fmla="*/ 148059 w 188200"/>
                <a:gd name="connsiteY70" fmla="*/ 165355 h 182036"/>
                <a:gd name="connsiteX71" fmla="*/ 152595 w 188200"/>
                <a:gd name="connsiteY71" fmla="*/ 165355 h 182036"/>
                <a:gd name="connsiteX72" fmla="*/ 161521 w 188200"/>
                <a:gd name="connsiteY72" fmla="*/ 157160 h 182036"/>
                <a:gd name="connsiteX73" fmla="*/ 162838 w 188200"/>
                <a:gd name="connsiteY73" fmla="*/ 153063 h 182036"/>
                <a:gd name="connsiteX74" fmla="*/ 162838 w 188200"/>
                <a:gd name="connsiteY74" fmla="*/ 153063 h 182036"/>
                <a:gd name="connsiteX75" fmla="*/ 165326 w 188200"/>
                <a:gd name="connsiteY75" fmla="*/ 153063 h 182036"/>
                <a:gd name="connsiteX76" fmla="*/ 173374 w 188200"/>
                <a:gd name="connsiteY76" fmla="*/ 151453 h 182036"/>
                <a:gd name="connsiteX77" fmla="*/ 188007 w 188200"/>
                <a:gd name="connsiteY77" fmla="*/ 133601 h 182036"/>
                <a:gd name="connsiteX78" fmla="*/ 180690 w 188200"/>
                <a:gd name="connsiteY78" fmla="*/ 128186 h 182036"/>
                <a:gd name="connsiteX79" fmla="*/ 179227 w 188200"/>
                <a:gd name="connsiteY79" fmla="*/ 128186 h 182036"/>
                <a:gd name="connsiteX80" fmla="*/ 164594 w 188200"/>
                <a:gd name="connsiteY80" fmla="*/ 121602 h 182036"/>
                <a:gd name="connsiteX81" fmla="*/ 147912 w 188200"/>
                <a:gd name="connsiteY81" fmla="*/ 99213 h 182036"/>
                <a:gd name="connsiteX82" fmla="*/ 156107 w 188200"/>
                <a:gd name="connsiteY82" fmla="*/ 94677 h 182036"/>
                <a:gd name="connsiteX83" fmla="*/ 158302 w 188200"/>
                <a:gd name="connsiteY83" fmla="*/ 93799 h 182036"/>
                <a:gd name="connsiteX84" fmla="*/ 170008 w 188200"/>
                <a:gd name="connsiteY84" fmla="*/ 82970 h 182036"/>
                <a:gd name="connsiteX85" fmla="*/ 166935 w 188200"/>
                <a:gd name="connsiteY85" fmla="*/ 73312 h 182036"/>
                <a:gd name="connsiteX86" fmla="*/ 156985 w 188200"/>
                <a:gd name="connsiteY86" fmla="*/ 68922 h 182036"/>
                <a:gd name="connsiteX87" fmla="*/ 147034 w 188200"/>
                <a:gd name="connsiteY87" fmla="*/ 71849 h 182036"/>
                <a:gd name="connsiteX88" fmla="*/ 147034 w 188200"/>
                <a:gd name="connsiteY88" fmla="*/ 71849 h 182036"/>
                <a:gd name="connsiteX89" fmla="*/ 147034 w 188200"/>
                <a:gd name="connsiteY89" fmla="*/ 51362 h 182036"/>
                <a:gd name="connsiteX90" fmla="*/ 95525 w 188200"/>
                <a:gd name="connsiteY90" fmla="*/ 0 h 182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88200" h="182036">
                  <a:moveTo>
                    <a:pt x="94208" y="6439"/>
                  </a:moveTo>
                  <a:cubicBezTo>
                    <a:pt x="118939" y="6358"/>
                    <a:pt x="139052" y="26340"/>
                    <a:pt x="139132" y="51070"/>
                  </a:cubicBezTo>
                  <a:cubicBezTo>
                    <a:pt x="139132" y="51166"/>
                    <a:pt x="139132" y="51264"/>
                    <a:pt x="139132" y="51362"/>
                  </a:cubicBezTo>
                  <a:lnTo>
                    <a:pt x="139132" y="78287"/>
                  </a:lnTo>
                  <a:cubicBezTo>
                    <a:pt x="140543" y="78444"/>
                    <a:pt x="141965" y="78444"/>
                    <a:pt x="143376" y="78287"/>
                  </a:cubicBezTo>
                  <a:cubicBezTo>
                    <a:pt x="145262" y="78309"/>
                    <a:pt x="147123" y="77856"/>
                    <a:pt x="148790" y="76970"/>
                  </a:cubicBezTo>
                  <a:cubicBezTo>
                    <a:pt x="150864" y="75675"/>
                    <a:pt x="153228" y="74922"/>
                    <a:pt x="155668" y="74775"/>
                  </a:cubicBezTo>
                  <a:cubicBezTo>
                    <a:pt x="157693" y="74840"/>
                    <a:pt x="159600" y="75740"/>
                    <a:pt x="160936" y="77263"/>
                  </a:cubicBezTo>
                  <a:cubicBezTo>
                    <a:pt x="164740" y="81068"/>
                    <a:pt x="160936" y="84726"/>
                    <a:pt x="154643" y="87067"/>
                  </a:cubicBezTo>
                  <a:cubicBezTo>
                    <a:pt x="148351" y="89409"/>
                    <a:pt x="140010" y="91604"/>
                    <a:pt x="140010" y="98920"/>
                  </a:cubicBezTo>
                  <a:cubicBezTo>
                    <a:pt x="143096" y="110037"/>
                    <a:pt x="149984" y="119720"/>
                    <a:pt x="159472" y="126284"/>
                  </a:cubicBezTo>
                  <a:cubicBezTo>
                    <a:pt x="164595" y="130923"/>
                    <a:pt x="171155" y="133661"/>
                    <a:pt x="178056" y="134040"/>
                  </a:cubicBezTo>
                  <a:lnTo>
                    <a:pt x="179520" y="134040"/>
                  </a:lnTo>
                  <a:cubicBezTo>
                    <a:pt x="179520" y="134040"/>
                    <a:pt x="180690" y="134479"/>
                    <a:pt x="180690" y="134479"/>
                  </a:cubicBezTo>
                  <a:cubicBezTo>
                    <a:pt x="180690" y="134479"/>
                    <a:pt x="182154" y="141795"/>
                    <a:pt x="171325" y="144576"/>
                  </a:cubicBezTo>
                  <a:cubicBezTo>
                    <a:pt x="160497" y="147356"/>
                    <a:pt x="158302" y="145454"/>
                    <a:pt x="156692" y="151160"/>
                  </a:cubicBezTo>
                  <a:cubicBezTo>
                    <a:pt x="155082" y="156867"/>
                    <a:pt x="155375" y="159209"/>
                    <a:pt x="152595" y="159209"/>
                  </a:cubicBezTo>
                  <a:cubicBezTo>
                    <a:pt x="149814" y="159209"/>
                    <a:pt x="142644" y="157599"/>
                    <a:pt x="135474" y="157599"/>
                  </a:cubicBezTo>
                  <a:cubicBezTo>
                    <a:pt x="132536" y="157442"/>
                    <a:pt x="129597" y="157892"/>
                    <a:pt x="126840" y="158916"/>
                  </a:cubicBezTo>
                  <a:cubicBezTo>
                    <a:pt x="120256" y="161843"/>
                    <a:pt x="109720" y="174574"/>
                    <a:pt x="94208" y="175305"/>
                  </a:cubicBezTo>
                  <a:cubicBezTo>
                    <a:pt x="78697" y="176037"/>
                    <a:pt x="68015" y="161843"/>
                    <a:pt x="61430" y="158916"/>
                  </a:cubicBezTo>
                  <a:cubicBezTo>
                    <a:pt x="58673" y="157892"/>
                    <a:pt x="55735" y="157442"/>
                    <a:pt x="52797" y="157599"/>
                  </a:cubicBezTo>
                  <a:cubicBezTo>
                    <a:pt x="45626" y="157599"/>
                    <a:pt x="38164" y="159209"/>
                    <a:pt x="35676" y="159209"/>
                  </a:cubicBezTo>
                  <a:cubicBezTo>
                    <a:pt x="33188" y="159209"/>
                    <a:pt x="33774" y="156721"/>
                    <a:pt x="31579" y="151160"/>
                  </a:cubicBezTo>
                  <a:cubicBezTo>
                    <a:pt x="29384" y="145600"/>
                    <a:pt x="27189" y="147356"/>
                    <a:pt x="16945" y="144576"/>
                  </a:cubicBezTo>
                  <a:cubicBezTo>
                    <a:pt x="6702" y="141795"/>
                    <a:pt x="7288" y="135942"/>
                    <a:pt x="7580" y="134479"/>
                  </a:cubicBezTo>
                  <a:cubicBezTo>
                    <a:pt x="7873" y="133015"/>
                    <a:pt x="7580" y="134479"/>
                    <a:pt x="8605" y="134479"/>
                  </a:cubicBezTo>
                  <a:lnTo>
                    <a:pt x="10068" y="134479"/>
                  </a:lnTo>
                  <a:cubicBezTo>
                    <a:pt x="17014" y="134110"/>
                    <a:pt x="23624" y="131372"/>
                    <a:pt x="28798" y="126723"/>
                  </a:cubicBezTo>
                  <a:cubicBezTo>
                    <a:pt x="38259" y="120162"/>
                    <a:pt x="45099" y="110472"/>
                    <a:pt x="48114" y="99359"/>
                  </a:cubicBezTo>
                  <a:cubicBezTo>
                    <a:pt x="48114" y="92043"/>
                    <a:pt x="39188" y="89848"/>
                    <a:pt x="33481" y="87506"/>
                  </a:cubicBezTo>
                  <a:cubicBezTo>
                    <a:pt x="27774" y="85165"/>
                    <a:pt x="23384" y="81507"/>
                    <a:pt x="27189" y="77702"/>
                  </a:cubicBezTo>
                  <a:cubicBezTo>
                    <a:pt x="28299" y="76732"/>
                    <a:pt x="29676" y="76120"/>
                    <a:pt x="31140" y="75946"/>
                  </a:cubicBezTo>
                  <a:cubicBezTo>
                    <a:pt x="33580" y="76092"/>
                    <a:pt x="35944" y="76846"/>
                    <a:pt x="38017" y="78141"/>
                  </a:cubicBezTo>
                  <a:cubicBezTo>
                    <a:pt x="39683" y="79026"/>
                    <a:pt x="41545" y="79479"/>
                    <a:pt x="43431" y="79458"/>
                  </a:cubicBezTo>
                  <a:cubicBezTo>
                    <a:pt x="44842" y="79615"/>
                    <a:pt x="46265" y="79615"/>
                    <a:pt x="47675" y="79458"/>
                  </a:cubicBezTo>
                  <a:lnTo>
                    <a:pt x="47675" y="51362"/>
                  </a:lnTo>
                  <a:cubicBezTo>
                    <a:pt x="47593" y="26633"/>
                    <a:pt x="67575" y="6519"/>
                    <a:pt x="92303" y="6437"/>
                  </a:cubicBezTo>
                  <a:cubicBezTo>
                    <a:pt x="92499" y="6436"/>
                    <a:pt x="92695" y="6437"/>
                    <a:pt x="92892" y="6439"/>
                  </a:cubicBezTo>
                  <a:lnTo>
                    <a:pt x="94501" y="6439"/>
                  </a:lnTo>
                  <a:moveTo>
                    <a:pt x="94501" y="0"/>
                  </a:moveTo>
                  <a:lnTo>
                    <a:pt x="92892" y="0"/>
                  </a:lnTo>
                  <a:cubicBezTo>
                    <a:pt x="64502" y="0"/>
                    <a:pt x="41463" y="22972"/>
                    <a:pt x="41383" y="51362"/>
                  </a:cubicBezTo>
                  <a:lnTo>
                    <a:pt x="41383" y="71849"/>
                  </a:lnTo>
                  <a:lnTo>
                    <a:pt x="41383" y="71849"/>
                  </a:lnTo>
                  <a:cubicBezTo>
                    <a:pt x="38367" y="70047"/>
                    <a:pt x="34943" y="69041"/>
                    <a:pt x="31432" y="68922"/>
                  </a:cubicBezTo>
                  <a:cubicBezTo>
                    <a:pt x="27653" y="68956"/>
                    <a:pt x="24055" y="70544"/>
                    <a:pt x="21482" y="73312"/>
                  </a:cubicBezTo>
                  <a:cubicBezTo>
                    <a:pt x="18850" y="75779"/>
                    <a:pt x="17687" y="79436"/>
                    <a:pt x="18409" y="82970"/>
                  </a:cubicBezTo>
                  <a:cubicBezTo>
                    <a:pt x="19287" y="87506"/>
                    <a:pt x="23238" y="91165"/>
                    <a:pt x="30115" y="93799"/>
                  </a:cubicBezTo>
                  <a:lnTo>
                    <a:pt x="32310" y="94677"/>
                  </a:lnTo>
                  <a:cubicBezTo>
                    <a:pt x="35530" y="95847"/>
                    <a:pt x="39773" y="97310"/>
                    <a:pt x="40505" y="99213"/>
                  </a:cubicBezTo>
                  <a:cubicBezTo>
                    <a:pt x="37598" y="108328"/>
                    <a:pt x="31726" y="116209"/>
                    <a:pt x="23823" y="121602"/>
                  </a:cubicBezTo>
                  <a:cubicBezTo>
                    <a:pt x="19881" y="125462"/>
                    <a:pt x="14694" y="127796"/>
                    <a:pt x="9190" y="128186"/>
                  </a:cubicBezTo>
                  <a:lnTo>
                    <a:pt x="7727" y="128186"/>
                  </a:lnTo>
                  <a:cubicBezTo>
                    <a:pt x="4308" y="128014"/>
                    <a:pt x="1244" y="130280"/>
                    <a:pt x="410" y="133601"/>
                  </a:cubicBezTo>
                  <a:cubicBezTo>
                    <a:pt x="-1200" y="140039"/>
                    <a:pt x="1581" y="148234"/>
                    <a:pt x="15043" y="151453"/>
                  </a:cubicBezTo>
                  <a:cubicBezTo>
                    <a:pt x="17744" y="152135"/>
                    <a:pt x="20479" y="152674"/>
                    <a:pt x="23238" y="153063"/>
                  </a:cubicBezTo>
                  <a:lnTo>
                    <a:pt x="25579" y="153063"/>
                  </a:lnTo>
                  <a:lnTo>
                    <a:pt x="25579" y="153063"/>
                  </a:lnTo>
                  <a:cubicBezTo>
                    <a:pt x="26047" y="154405"/>
                    <a:pt x="26438" y="155773"/>
                    <a:pt x="26750" y="157160"/>
                  </a:cubicBezTo>
                  <a:cubicBezTo>
                    <a:pt x="27260" y="161739"/>
                    <a:pt x="31071" y="165236"/>
                    <a:pt x="35676" y="165355"/>
                  </a:cubicBezTo>
                  <a:lnTo>
                    <a:pt x="40212" y="165355"/>
                  </a:lnTo>
                  <a:cubicBezTo>
                    <a:pt x="44382" y="164759"/>
                    <a:pt x="48585" y="164418"/>
                    <a:pt x="52797" y="164330"/>
                  </a:cubicBezTo>
                  <a:cubicBezTo>
                    <a:pt x="54826" y="164155"/>
                    <a:pt x="56869" y="164403"/>
                    <a:pt x="58796" y="165062"/>
                  </a:cubicBezTo>
                  <a:cubicBezTo>
                    <a:pt x="60829" y="166180"/>
                    <a:pt x="62741" y="167504"/>
                    <a:pt x="64503" y="169013"/>
                  </a:cubicBezTo>
                  <a:cubicBezTo>
                    <a:pt x="72731" y="176190"/>
                    <a:pt x="82929" y="180728"/>
                    <a:pt x="93770" y="182036"/>
                  </a:cubicBezTo>
                  <a:lnTo>
                    <a:pt x="94501" y="182036"/>
                  </a:lnTo>
                  <a:cubicBezTo>
                    <a:pt x="105352" y="180765"/>
                    <a:pt x="115558" y="176223"/>
                    <a:pt x="123767" y="169013"/>
                  </a:cubicBezTo>
                  <a:cubicBezTo>
                    <a:pt x="125601" y="167529"/>
                    <a:pt x="127559" y="166208"/>
                    <a:pt x="129621" y="165062"/>
                  </a:cubicBezTo>
                  <a:cubicBezTo>
                    <a:pt x="131486" y="164358"/>
                    <a:pt x="133493" y="164106"/>
                    <a:pt x="135474" y="164330"/>
                  </a:cubicBezTo>
                  <a:cubicBezTo>
                    <a:pt x="139685" y="164418"/>
                    <a:pt x="143888" y="164759"/>
                    <a:pt x="148059" y="165355"/>
                  </a:cubicBezTo>
                  <a:lnTo>
                    <a:pt x="152595" y="165355"/>
                  </a:lnTo>
                  <a:cubicBezTo>
                    <a:pt x="157200" y="165236"/>
                    <a:pt x="161010" y="161739"/>
                    <a:pt x="161521" y="157160"/>
                  </a:cubicBezTo>
                  <a:cubicBezTo>
                    <a:pt x="161822" y="155754"/>
                    <a:pt x="162264" y="154381"/>
                    <a:pt x="162838" y="153063"/>
                  </a:cubicBezTo>
                  <a:lnTo>
                    <a:pt x="162838" y="153063"/>
                  </a:lnTo>
                  <a:lnTo>
                    <a:pt x="165326" y="153063"/>
                  </a:lnTo>
                  <a:cubicBezTo>
                    <a:pt x="167228" y="153063"/>
                    <a:pt x="169862" y="152331"/>
                    <a:pt x="173374" y="151453"/>
                  </a:cubicBezTo>
                  <a:cubicBezTo>
                    <a:pt x="186251" y="148088"/>
                    <a:pt x="189031" y="140039"/>
                    <a:pt x="188007" y="133601"/>
                  </a:cubicBezTo>
                  <a:cubicBezTo>
                    <a:pt x="187226" y="130247"/>
                    <a:pt x="184126" y="127954"/>
                    <a:pt x="180690" y="128186"/>
                  </a:cubicBezTo>
                  <a:lnTo>
                    <a:pt x="179227" y="128186"/>
                  </a:lnTo>
                  <a:cubicBezTo>
                    <a:pt x="173735" y="127747"/>
                    <a:pt x="168565" y="125421"/>
                    <a:pt x="164594" y="121602"/>
                  </a:cubicBezTo>
                  <a:cubicBezTo>
                    <a:pt x="156691" y="116209"/>
                    <a:pt x="150820" y="108328"/>
                    <a:pt x="147912" y="99213"/>
                  </a:cubicBezTo>
                  <a:cubicBezTo>
                    <a:pt x="147912" y="97310"/>
                    <a:pt x="152887" y="95847"/>
                    <a:pt x="156107" y="94677"/>
                  </a:cubicBezTo>
                  <a:lnTo>
                    <a:pt x="158302" y="93799"/>
                  </a:lnTo>
                  <a:cubicBezTo>
                    <a:pt x="165179" y="91165"/>
                    <a:pt x="169130" y="87506"/>
                    <a:pt x="170008" y="82970"/>
                  </a:cubicBezTo>
                  <a:cubicBezTo>
                    <a:pt x="170730" y="79436"/>
                    <a:pt x="169566" y="75779"/>
                    <a:pt x="166935" y="73312"/>
                  </a:cubicBezTo>
                  <a:cubicBezTo>
                    <a:pt x="164363" y="70544"/>
                    <a:pt x="160764" y="68956"/>
                    <a:pt x="156985" y="68922"/>
                  </a:cubicBezTo>
                  <a:cubicBezTo>
                    <a:pt x="153477" y="69066"/>
                    <a:pt x="150060" y="70071"/>
                    <a:pt x="147034" y="71849"/>
                  </a:cubicBezTo>
                  <a:lnTo>
                    <a:pt x="147034" y="71849"/>
                  </a:lnTo>
                  <a:lnTo>
                    <a:pt x="147034" y="51362"/>
                  </a:lnTo>
                  <a:cubicBezTo>
                    <a:pt x="146954" y="22972"/>
                    <a:pt x="123915" y="0"/>
                    <a:pt x="95525" y="0"/>
                  </a:cubicBezTo>
                  <a:close/>
                </a:path>
              </a:pathLst>
            </a:custGeom>
            <a:solidFill>
              <a:srgbClr val="404040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36356CB2-5792-EA96-01AE-AE5ADBA8264B}"/>
                </a:ext>
              </a:extLst>
            </p:cNvPr>
            <p:cNvSpPr/>
            <p:nvPr/>
          </p:nvSpPr>
          <p:spPr>
            <a:xfrm>
              <a:off x="2157761" y="4969140"/>
              <a:ext cx="174493" cy="169305"/>
            </a:xfrm>
            <a:custGeom>
              <a:avLst/>
              <a:gdLst>
                <a:gd name="connsiteX0" fmla="*/ 86695 w 174493"/>
                <a:gd name="connsiteY0" fmla="*/ 169306 h 169305"/>
                <a:gd name="connsiteX1" fmla="*/ 119326 w 174493"/>
                <a:gd name="connsiteY1" fmla="*/ 152917 h 169305"/>
                <a:gd name="connsiteX2" fmla="*/ 145081 w 174493"/>
                <a:gd name="connsiteY2" fmla="*/ 152917 h 169305"/>
                <a:gd name="connsiteX3" fmla="*/ 149178 w 174493"/>
                <a:gd name="connsiteY3" fmla="*/ 144868 h 169305"/>
                <a:gd name="connsiteX4" fmla="*/ 163811 w 174493"/>
                <a:gd name="connsiteY4" fmla="*/ 138284 h 169305"/>
                <a:gd name="connsiteX5" fmla="*/ 174493 w 174493"/>
                <a:gd name="connsiteY5" fmla="*/ 128040 h 169305"/>
                <a:gd name="connsiteX6" fmla="*/ 153422 w 174493"/>
                <a:gd name="connsiteY6" fmla="*/ 119992 h 169305"/>
                <a:gd name="connsiteX7" fmla="*/ 133960 w 174493"/>
                <a:gd name="connsiteY7" fmla="*/ 92628 h 169305"/>
                <a:gd name="connsiteX8" fmla="*/ 148593 w 174493"/>
                <a:gd name="connsiteY8" fmla="*/ 80775 h 169305"/>
                <a:gd name="connsiteX9" fmla="*/ 154885 w 174493"/>
                <a:gd name="connsiteY9" fmla="*/ 70971 h 169305"/>
                <a:gd name="connsiteX10" fmla="*/ 142740 w 174493"/>
                <a:gd name="connsiteY10" fmla="*/ 70971 h 169305"/>
                <a:gd name="connsiteX11" fmla="*/ 133082 w 174493"/>
                <a:gd name="connsiteY11" fmla="*/ 71703 h 169305"/>
                <a:gd name="connsiteX12" fmla="*/ 133082 w 174493"/>
                <a:gd name="connsiteY12" fmla="*/ 44924 h 169305"/>
                <a:gd name="connsiteX13" fmla="*/ 88450 w 174493"/>
                <a:gd name="connsiteY13" fmla="*/ 0 h 169305"/>
                <a:gd name="connsiteX14" fmla="*/ 88158 w 174493"/>
                <a:gd name="connsiteY14" fmla="*/ 0 h 169305"/>
                <a:gd name="connsiteX15" fmla="*/ 86695 w 174493"/>
                <a:gd name="connsiteY15" fmla="*/ 0 h 169305"/>
                <a:gd name="connsiteX16" fmla="*/ 41771 w 174493"/>
                <a:gd name="connsiteY16" fmla="*/ 44631 h 169305"/>
                <a:gd name="connsiteX17" fmla="*/ 41771 w 174493"/>
                <a:gd name="connsiteY17" fmla="*/ 44924 h 169305"/>
                <a:gd name="connsiteX18" fmla="*/ 41771 w 174493"/>
                <a:gd name="connsiteY18" fmla="*/ 71849 h 169305"/>
                <a:gd name="connsiteX19" fmla="*/ 32113 w 174493"/>
                <a:gd name="connsiteY19" fmla="*/ 71117 h 169305"/>
                <a:gd name="connsiteX20" fmla="*/ 19967 w 174493"/>
                <a:gd name="connsiteY20" fmla="*/ 71117 h 169305"/>
                <a:gd name="connsiteX21" fmla="*/ 26260 w 174493"/>
                <a:gd name="connsiteY21" fmla="*/ 80922 h 169305"/>
                <a:gd name="connsiteX22" fmla="*/ 40893 w 174493"/>
                <a:gd name="connsiteY22" fmla="*/ 92774 h 169305"/>
                <a:gd name="connsiteX23" fmla="*/ 21577 w 174493"/>
                <a:gd name="connsiteY23" fmla="*/ 120138 h 169305"/>
                <a:gd name="connsiteX24" fmla="*/ 66 w 174493"/>
                <a:gd name="connsiteY24" fmla="*/ 128040 h 169305"/>
                <a:gd name="connsiteX25" fmla="*/ 9431 w 174493"/>
                <a:gd name="connsiteY25" fmla="*/ 138137 h 169305"/>
                <a:gd name="connsiteX26" fmla="*/ 24065 w 174493"/>
                <a:gd name="connsiteY26" fmla="*/ 144722 h 169305"/>
                <a:gd name="connsiteX27" fmla="*/ 28162 w 174493"/>
                <a:gd name="connsiteY27" fmla="*/ 152770 h 169305"/>
                <a:gd name="connsiteX28" fmla="*/ 53916 w 174493"/>
                <a:gd name="connsiteY28" fmla="*/ 152770 h 169305"/>
                <a:gd name="connsiteX29" fmla="*/ 86695 w 174493"/>
                <a:gd name="connsiteY29" fmla="*/ 169306 h 169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74493" h="169305">
                  <a:moveTo>
                    <a:pt x="86695" y="169306"/>
                  </a:moveTo>
                  <a:cubicBezTo>
                    <a:pt x="102206" y="168574"/>
                    <a:pt x="112742" y="155843"/>
                    <a:pt x="119326" y="152917"/>
                  </a:cubicBezTo>
                  <a:cubicBezTo>
                    <a:pt x="127839" y="151333"/>
                    <a:pt x="136569" y="151333"/>
                    <a:pt x="145081" y="152917"/>
                  </a:cubicBezTo>
                  <a:cubicBezTo>
                    <a:pt x="147861" y="152917"/>
                    <a:pt x="146983" y="150429"/>
                    <a:pt x="149178" y="144868"/>
                  </a:cubicBezTo>
                  <a:cubicBezTo>
                    <a:pt x="151373" y="139308"/>
                    <a:pt x="153568" y="141064"/>
                    <a:pt x="163811" y="138284"/>
                  </a:cubicBezTo>
                  <a:cubicBezTo>
                    <a:pt x="174054" y="135503"/>
                    <a:pt x="174493" y="129943"/>
                    <a:pt x="174493" y="128040"/>
                  </a:cubicBezTo>
                  <a:cubicBezTo>
                    <a:pt x="166719" y="128040"/>
                    <a:pt x="159216" y="125175"/>
                    <a:pt x="153422" y="119992"/>
                  </a:cubicBezTo>
                  <a:cubicBezTo>
                    <a:pt x="143934" y="113428"/>
                    <a:pt x="137046" y="103745"/>
                    <a:pt x="133960" y="92628"/>
                  </a:cubicBezTo>
                  <a:cubicBezTo>
                    <a:pt x="133960" y="85312"/>
                    <a:pt x="142886" y="83117"/>
                    <a:pt x="148593" y="80775"/>
                  </a:cubicBezTo>
                  <a:cubicBezTo>
                    <a:pt x="154300" y="78434"/>
                    <a:pt x="158690" y="74776"/>
                    <a:pt x="154885" y="70971"/>
                  </a:cubicBezTo>
                  <a:cubicBezTo>
                    <a:pt x="151080" y="67166"/>
                    <a:pt x="147276" y="68337"/>
                    <a:pt x="142740" y="70971"/>
                  </a:cubicBezTo>
                  <a:cubicBezTo>
                    <a:pt x="139697" y="72304"/>
                    <a:pt x="136291" y="72562"/>
                    <a:pt x="133082" y="71703"/>
                  </a:cubicBezTo>
                  <a:lnTo>
                    <a:pt x="133082" y="44924"/>
                  </a:lnTo>
                  <a:cubicBezTo>
                    <a:pt x="133162" y="20194"/>
                    <a:pt x="113181" y="81"/>
                    <a:pt x="88450" y="0"/>
                  </a:cubicBezTo>
                  <a:cubicBezTo>
                    <a:pt x="88354" y="0"/>
                    <a:pt x="88256" y="0"/>
                    <a:pt x="88158" y="0"/>
                  </a:cubicBezTo>
                  <a:lnTo>
                    <a:pt x="86695" y="0"/>
                  </a:lnTo>
                  <a:cubicBezTo>
                    <a:pt x="61964" y="-81"/>
                    <a:pt x="41852" y="19901"/>
                    <a:pt x="41771" y="44631"/>
                  </a:cubicBezTo>
                  <a:cubicBezTo>
                    <a:pt x="41770" y="44728"/>
                    <a:pt x="41770" y="44826"/>
                    <a:pt x="41771" y="44924"/>
                  </a:cubicBezTo>
                  <a:lnTo>
                    <a:pt x="41771" y="71849"/>
                  </a:lnTo>
                  <a:cubicBezTo>
                    <a:pt x="38562" y="72708"/>
                    <a:pt x="35156" y="72450"/>
                    <a:pt x="32113" y="71117"/>
                  </a:cubicBezTo>
                  <a:cubicBezTo>
                    <a:pt x="27577" y="68776"/>
                    <a:pt x="23772" y="67605"/>
                    <a:pt x="19967" y="71117"/>
                  </a:cubicBezTo>
                  <a:cubicBezTo>
                    <a:pt x="16163" y="74629"/>
                    <a:pt x="19967" y="78580"/>
                    <a:pt x="26260" y="80922"/>
                  </a:cubicBezTo>
                  <a:cubicBezTo>
                    <a:pt x="32552" y="83263"/>
                    <a:pt x="40893" y="85458"/>
                    <a:pt x="40893" y="92774"/>
                  </a:cubicBezTo>
                  <a:cubicBezTo>
                    <a:pt x="37878" y="103887"/>
                    <a:pt x="31038" y="113577"/>
                    <a:pt x="21577" y="120138"/>
                  </a:cubicBezTo>
                  <a:cubicBezTo>
                    <a:pt x="15633" y="125346"/>
                    <a:pt x="7968" y="128162"/>
                    <a:pt x="66" y="128040"/>
                  </a:cubicBezTo>
                  <a:cubicBezTo>
                    <a:pt x="66" y="129504"/>
                    <a:pt x="-1397" y="135357"/>
                    <a:pt x="9431" y="138137"/>
                  </a:cubicBezTo>
                  <a:cubicBezTo>
                    <a:pt x="20260" y="140918"/>
                    <a:pt x="22455" y="139015"/>
                    <a:pt x="24065" y="144722"/>
                  </a:cubicBezTo>
                  <a:cubicBezTo>
                    <a:pt x="25674" y="150429"/>
                    <a:pt x="25382" y="152770"/>
                    <a:pt x="28162" y="152770"/>
                  </a:cubicBezTo>
                  <a:cubicBezTo>
                    <a:pt x="36674" y="151187"/>
                    <a:pt x="45404" y="151187"/>
                    <a:pt x="53916" y="152770"/>
                  </a:cubicBezTo>
                  <a:cubicBezTo>
                    <a:pt x="61086" y="155843"/>
                    <a:pt x="72061" y="168574"/>
                    <a:pt x="86695" y="169306"/>
                  </a:cubicBezTo>
                  <a:close/>
                </a:path>
              </a:pathLst>
            </a:custGeom>
            <a:solidFill>
              <a:srgbClr val="222426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26" name="Graphic 52">
            <a:extLst>
              <a:ext uri="{FF2B5EF4-FFF2-40B4-BE49-F238E27FC236}">
                <a16:creationId xmlns:a16="http://schemas.microsoft.com/office/drawing/2014/main" id="{22E19EDB-818B-52F2-33A8-04F363DAECC3}"/>
              </a:ext>
            </a:extLst>
          </p:cNvPr>
          <p:cNvGrpSpPr/>
          <p:nvPr/>
        </p:nvGrpSpPr>
        <p:grpSpPr>
          <a:xfrm>
            <a:off x="3137079" y="4863050"/>
            <a:ext cx="381486" cy="381486"/>
            <a:chOff x="3137079" y="4863050"/>
            <a:chExt cx="381486" cy="381486"/>
          </a:xfrm>
        </p:grpSpPr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86008512-88B7-39D5-5EAA-EE7485B01A83}"/>
                </a:ext>
              </a:extLst>
            </p:cNvPr>
            <p:cNvSpPr/>
            <p:nvPr/>
          </p:nvSpPr>
          <p:spPr>
            <a:xfrm>
              <a:off x="3137079" y="4863050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00C1F4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E85A4289-7306-679E-2FE4-F2D92D574453}"/>
                </a:ext>
              </a:extLst>
            </p:cNvPr>
            <p:cNvSpPr/>
            <p:nvPr/>
          </p:nvSpPr>
          <p:spPr>
            <a:xfrm>
              <a:off x="3245071" y="4971189"/>
              <a:ext cx="39802" cy="165208"/>
            </a:xfrm>
            <a:custGeom>
              <a:avLst/>
              <a:gdLst>
                <a:gd name="connsiteX0" fmla="*/ 2780 w 39802"/>
                <a:gd name="connsiteY0" fmla="*/ 54874 h 165208"/>
                <a:gd name="connsiteX1" fmla="*/ 37022 w 39802"/>
                <a:gd name="connsiteY1" fmla="*/ 54874 h 165208"/>
                <a:gd name="connsiteX2" fmla="*/ 37022 w 39802"/>
                <a:gd name="connsiteY2" fmla="*/ 165208 h 165208"/>
                <a:gd name="connsiteX3" fmla="*/ 2780 w 39802"/>
                <a:gd name="connsiteY3" fmla="*/ 165208 h 165208"/>
                <a:gd name="connsiteX4" fmla="*/ 19901 w 39802"/>
                <a:gd name="connsiteY4" fmla="*/ 0 h 165208"/>
                <a:gd name="connsiteX5" fmla="*/ 39802 w 39802"/>
                <a:gd name="connsiteY5" fmla="*/ 19901 h 165208"/>
                <a:gd name="connsiteX6" fmla="*/ 19901 w 39802"/>
                <a:gd name="connsiteY6" fmla="*/ 39802 h 165208"/>
                <a:gd name="connsiteX7" fmla="*/ 0 w 39802"/>
                <a:gd name="connsiteY7" fmla="*/ 19901 h 165208"/>
                <a:gd name="connsiteX8" fmla="*/ 19901 w 39802"/>
                <a:gd name="connsiteY8" fmla="*/ 0 h 165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802" h="165208">
                  <a:moveTo>
                    <a:pt x="2780" y="54874"/>
                  </a:moveTo>
                  <a:lnTo>
                    <a:pt x="37022" y="54874"/>
                  </a:lnTo>
                  <a:lnTo>
                    <a:pt x="37022" y="165208"/>
                  </a:lnTo>
                  <a:lnTo>
                    <a:pt x="2780" y="165208"/>
                  </a:lnTo>
                  <a:close/>
                  <a:moveTo>
                    <a:pt x="19901" y="0"/>
                  </a:moveTo>
                  <a:cubicBezTo>
                    <a:pt x="30892" y="0"/>
                    <a:pt x="39802" y="8910"/>
                    <a:pt x="39802" y="19901"/>
                  </a:cubicBezTo>
                  <a:cubicBezTo>
                    <a:pt x="39802" y="30892"/>
                    <a:pt x="30892" y="39802"/>
                    <a:pt x="19901" y="39802"/>
                  </a:cubicBezTo>
                  <a:cubicBezTo>
                    <a:pt x="8910" y="39802"/>
                    <a:pt x="0" y="30892"/>
                    <a:pt x="0" y="19901"/>
                  </a:cubicBezTo>
                  <a:cubicBezTo>
                    <a:pt x="0" y="8910"/>
                    <a:pt x="8910" y="0"/>
                    <a:pt x="19901" y="0"/>
                  </a:cubicBezTo>
                </a:path>
              </a:pathLst>
            </a:custGeom>
            <a:solidFill>
              <a:srgbClr val="222426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8D1D867F-0579-7629-A65E-1D9BB8DA425D}"/>
                </a:ext>
              </a:extLst>
            </p:cNvPr>
            <p:cNvSpPr/>
            <p:nvPr/>
          </p:nvSpPr>
          <p:spPr>
            <a:xfrm>
              <a:off x="3303604" y="5023939"/>
              <a:ext cx="106968" cy="113189"/>
            </a:xfrm>
            <a:custGeom>
              <a:avLst/>
              <a:gdLst>
                <a:gd name="connsiteX0" fmla="*/ 0 w 106968"/>
                <a:gd name="connsiteY0" fmla="*/ 2124 h 113189"/>
                <a:gd name="connsiteX1" fmla="*/ 32925 w 106968"/>
                <a:gd name="connsiteY1" fmla="*/ 2124 h 113189"/>
                <a:gd name="connsiteX2" fmla="*/ 32925 w 106968"/>
                <a:gd name="connsiteY2" fmla="*/ 16757 h 113189"/>
                <a:gd name="connsiteX3" fmla="*/ 32925 w 106968"/>
                <a:gd name="connsiteY3" fmla="*/ 16757 h 113189"/>
                <a:gd name="connsiteX4" fmla="*/ 65849 w 106968"/>
                <a:gd name="connsiteY4" fmla="*/ 76 h 113189"/>
                <a:gd name="connsiteX5" fmla="*/ 106968 w 106968"/>
                <a:gd name="connsiteY5" fmla="*/ 52609 h 113189"/>
                <a:gd name="connsiteX6" fmla="*/ 106968 w 106968"/>
                <a:gd name="connsiteY6" fmla="*/ 113190 h 113189"/>
                <a:gd name="connsiteX7" fmla="*/ 72727 w 106968"/>
                <a:gd name="connsiteY7" fmla="*/ 113190 h 113189"/>
                <a:gd name="connsiteX8" fmla="*/ 72727 w 106968"/>
                <a:gd name="connsiteY8" fmla="*/ 58608 h 113189"/>
                <a:gd name="connsiteX9" fmla="*/ 54874 w 106968"/>
                <a:gd name="connsiteY9" fmla="*/ 29342 h 113189"/>
                <a:gd name="connsiteX10" fmla="*/ 34388 w 106968"/>
                <a:gd name="connsiteY10" fmla="*/ 57730 h 113189"/>
                <a:gd name="connsiteX11" fmla="*/ 34388 w 106968"/>
                <a:gd name="connsiteY11" fmla="*/ 112312 h 113189"/>
                <a:gd name="connsiteX12" fmla="*/ 0 w 106968"/>
                <a:gd name="connsiteY12" fmla="*/ 112312 h 113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6968" h="113189">
                  <a:moveTo>
                    <a:pt x="0" y="2124"/>
                  </a:moveTo>
                  <a:lnTo>
                    <a:pt x="32925" y="2124"/>
                  </a:lnTo>
                  <a:lnTo>
                    <a:pt x="32925" y="16757"/>
                  </a:lnTo>
                  <a:lnTo>
                    <a:pt x="32925" y="16757"/>
                  </a:lnTo>
                  <a:cubicBezTo>
                    <a:pt x="40041" y="5614"/>
                    <a:pt x="52654" y="-776"/>
                    <a:pt x="65849" y="76"/>
                  </a:cubicBezTo>
                  <a:cubicBezTo>
                    <a:pt x="100530" y="76"/>
                    <a:pt x="106968" y="22903"/>
                    <a:pt x="106968" y="52609"/>
                  </a:cubicBezTo>
                  <a:lnTo>
                    <a:pt x="106968" y="113190"/>
                  </a:lnTo>
                  <a:lnTo>
                    <a:pt x="72727" y="113190"/>
                  </a:lnTo>
                  <a:lnTo>
                    <a:pt x="72727" y="58608"/>
                  </a:lnTo>
                  <a:cubicBezTo>
                    <a:pt x="72727" y="45877"/>
                    <a:pt x="72727" y="29342"/>
                    <a:pt x="54874" y="29342"/>
                  </a:cubicBezTo>
                  <a:cubicBezTo>
                    <a:pt x="37022" y="29342"/>
                    <a:pt x="34388" y="43975"/>
                    <a:pt x="34388" y="57730"/>
                  </a:cubicBezTo>
                  <a:lnTo>
                    <a:pt x="34388" y="112312"/>
                  </a:lnTo>
                  <a:lnTo>
                    <a:pt x="0" y="112312"/>
                  </a:lnTo>
                  <a:close/>
                </a:path>
              </a:pathLst>
            </a:custGeom>
            <a:solidFill>
              <a:srgbClr val="222426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30" name="Graphic 54">
            <a:extLst>
              <a:ext uri="{FF2B5EF4-FFF2-40B4-BE49-F238E27FC236}">
                <a16:creationId xmlns:a16="http://schemas.microsoft.com/office/drawing/2014/main" id="{5003539E-F2C3-A67C-25F2-A70E898A34A6}"/>
              </a:ext>
            </a:extLst>
          </p:cNvPr>
          <p:cNvGrpSpPr/>
          <p:nvPr/>
        </p:nvGrpSpPr>
        <p:grpSpPr>
          <a:xfrm>
            <a:off x="4219933" y="4863050"/>
            <a:ext cx="381486" cy="381486"/>
            <a:chOff x="4219933" y="4863050"/>
            <a:chExt cx="381486" cy="381486"/>
          </a:xfrm>
        </p:grpSpPr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1C125287-FCBF-B4D2-BAC7-C4DBB1B552B8}"/>
                </a:ext>
              </a:extLst>
            </p:cNvPr>
            <p:cNvSpPr/>
            <p:nvPr/>
          </p:nvSpPr>
          <p:spPr>
            <a:xfrm>
              <a:off x="4219933" y="4863050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FF9282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F45F1DAC-AC84-517B-0288-1B63C75E887C}"/>
                </a:ext>
              </a:extLst>
            </p:cNvPr>
            <p:cNvSpPr/>
            <p:nvPr/>
          </p:nvSpPr>
          <p:spPr>
            <a:xfrm>
              <a:off x="4285645" y="4974843"/>
              <a:ext cx="155463" cy="157624"/>
            </a:xfrm>
            <a:custGeom>
              <a:avLst/>
              <a:gdLst>
                <a:gd name="connsiteX0" fmla="*/ 79156 w 155463"/>
                <a:gd name="connsiteY0" fmla="*/ 63804 h 157624"/>
                <a:gd name="connsiteX1" fmla="*/ 79156 w 155463"/>
                <a:gd name="connsiteY1" fmla="*/ 95558 h 157624"/>
                <a:gd name="connsiteX2" fmla="*/ 121446 w 155463"/>
                <a:gd name="connsiteY2" fmla="*/ 95558 h 157624"/>
                <a:gd name="connsiteX3" fmla="*/ 105934 w 155463"/>
                <a:gd name="connsiteY3" fmla="*/ 119410 h 157624"/>
                <a:gd name="connsiteX4" fmla="*/ 82960 w 155463"/>
                <a:gd name="connsiteY4" fmla="*/ 126726 h 157624"/>
                <a:gd name="connsiteX5" fmla="*/ 65986 w 155463"/>
                <a:gd name="connsiteY5" fmla="*/ 123946 h 157624"/>
                <a:gd name="connsiteX6" fmla="*/ 33354 w 155463"/>
                <a:gd name="connsiteY6" fmla="*/ 82973 h 157624"/>
                <a:gd name="connsiteX7" fmla="*/ 34378 w 155463"/>
                <a:gd name="connsiteY7" fmla="*/ 68340 h 157624"/>
                <a:gd name="connsiteX8" fmla="*/ 86326 w 155463"/>
                <a:gd name="connsiteY8" fmla="*/ 31904 h 157624"/>
                <a:gd name="connsiteX9" fmla="*/ 109446 w 155463"/>
                <a:gd name="connsiteY9" fmla="*/ 43171 h 157624"/>
                <a:gd name="connsiteX10" fmla="*/ 132274 w 155463"/>
                <a:gd name="connsiteY10" fmla="*/ 19904 h 157624"/>
                <a:gd name="connsiteX11" fmla="*/ 118373 w 155463"/>
                <a:gd name="connsiteY11" fmla="*/ 9515 h 157624"/>
                <a:gd name="connsiteX12" fmla="*/ 80619 w 155463"/>
                <a:gd name="connsiteY12" fmla="*/ 3 h 157624"/>
                <a:gd name="connsiteX13" fmla="*/ 73302 w 155463"/>
                <a:gd name="connsiteY13" fmla="*/ 3 h 157624"/>
                <a:gd name="connsiteX14" fmla="*/ 137 w 155463"/>
                <a:gd name="connsiteY14" fmla="*/ 74193 h 157624"/>
                <a:gd name="connsiteX15" fmla="*/ 1746 w 155463"/>
                <a:gd name="connsiteY15" fmla="*/ 95558 h 157624"/>
                <a:gd name="connsiteX16" fmla="*/ 33061 w 155463"/>
                <a:gd name="connsiteY16" fmla="*/ 142823 h 157624"/>
                <a:gd name="connsiteX17" fmla="*/ 75205 w 155463"/>
                <a:gd name="connsiteY17" fmla="*/ 157456 h 157624"/>
                <a:gd name="connsiteX18" fmla="*/ 101105 w 155463"/>
                <a:gd name="connsiteY18" fmla="*/ 154968 h 157624"/>
                <a:gd name="connsiteX19" fmla="*/ 139883 w 155463"/>
                <a:gd name="connsiteY19" fmla="*/ 129360 h 157624"/>
                <a:gd name="connsiteX20" fmla="*/ 153785 w 155463"/>
                <a:gd name="connsiteY20" fmla="*/ 63804 h 157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55463" h="157624">
                  <a:moveTo>
                    <a:pt x="79156" y="63804"/>
                  </a:moveTo>
                  <a:lnTo>
                    <a:pt x="79156" y="95558"/>
                  </a:lnTo>
                  <a:lnTo>
                    <a:pt x="121446" y="95558"/>
                  </a:lnTo>
                  <a:cubicBezTo>
                    <a:pt x="119738" y="105289"/>
                    <a:pt x="114136" y="113902"/>
                    <a:pt x="105934" y="119410"/>
                  </a:cubicBezTo>
                  <a:cubicBezTo>
                    <a:pt x="99058" y="123838"/>
                    <a:pt x="91130" y="126362"/>
                    <a:pt x="82960" y="126726"/>
                  </a:cubicBezTo>
                  <a:cubicBezTo>
                    <a:pt x="77172" y="126968"/>
                    <a:pt x="71395" y="126023"/>
                    <a:pt x="65986" y="123946"/>
                  </a:cubicBezTo>
                  <a:cubicBezTo>
                    <a:pt x="47843" y="118116"/>
                    <a:pt x="34977" y="101960"/>
                    <a:pt x="33354" y="82973"/>
                  </a:cubicBezTo>
                  <a:cubicBezTo>
                    <a:pt x="32852" y="78073"/>
                    <a:pt x="33199" y="73122"/>
                    <a:pt x="34378" y="68340"/>
                  </a:cubicBezTo>
                  <a:cubicBezTo>
                    <a:pt x="39509" y="44484"/>
                    <a:pt x="62148" y="28604"/>
                    <a:pt x="86326" y="31904"/>
                  </a:cubicBezTo>
                  <a:cubicBezTo>
                    <a:pt x="95002" y="33214"/>
                    <a:pt x="103069" y="37145"/>
                    <a:pt x="109446" y="43171"/>
                  </a:cubicBezTo>
                  <a:lnTo>
                    <a:pt x="132274" y="19904"/>
                  </a:lnTo>
                  <a:cubicBezTo>
                    <a:pt x="128022" y="15958"/>
                    <a:pt x="123361" y="12475"/>
                    <a:pt x="118373" y="9515"/>
                  </a:cubicBezTo>
                  <a:cubicBezTo>
                    <a:pt x="106814" y="3155"/>
                    <a:pt x="93811" y="-120"/>
                    <a:pt x="80619" y="3"/>
                  </a:cubicBezTo>
                  <a:lnTo>
                    <a:pt x="73302" y="3"/>
                  </a:lnTo>
                  <a:cubicBezTo>
                    <a:pt x="33754" y="2873"/>
                    <a:pt x="2456" y="34609"/>
                    <a:pt x="137" y="74193"/>
                  </a:cubicBezTo>
                  <a:cubicBezTo>
                    <a:pt x="-281" y="81355"/>
                    <a:pt x="260" y="88540"/>
                    <a:pt x="1746" y="95558"/>
                  </a:cubicBezTo>
                  <a:cubicBezTo>
                    <a:pt x="5899" y="114678"/>
                    <a:pt x="17074" y="131544"/>
                    <a:pt x="33061" y="142823"/>
                  </a:cubicBezTo>
                  <a:cubicBezTo>
                    <a:pt x="45315" y="151834"/>
                    <a:pt x="60004" y="156934"/>
                    <a:pt x="75205" y="157456"/>
                  </a:cubicBezTo>
                  <a:cubicBezTo>
                    <a:pt x="83916" y="158017"/>
                    <a:pt x="92661" y="157177"/>
                    <a:pt x="101105" y="154968"/>
                  </a:cubicBezTo>
                  <a:cubicBezTo>
                    <a:pt x="116631" y="151236"/>
                    <a:pt x="130354" y="142173"/>
                    <a:pt x="139883" y="129360"/>
                  </a:cubicBezTo>
                  <a:cubicBezTo>
                    <a:pt x="153378" y="110368"/>
                    <a:pt x="158410" y="86638"/>
                    <a:pt x="153785" y="63804"/>
                  </a:cubicBezTo>
                  <a:close/>
                </a:path>
              </a:pathLst>
            </a:custGeom>
            <a:solidFill>
              <a:srgbClr val="222426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A8A426CD-C75D-3D26-B4FD-0D8741017DBC}"/>
                </a:ext>
              </a:extLst>
            </p:cNvPr>
            <p:cNvSpPr/>
            <p:nvPr/>
          </p:nvSpPr>
          <p:spPr>
            <a:xfrm>
              <a:off x="4458746" y="5011430"/>
              <a:ext cx="76677" cy="76677"/>
            </a:xfrm>
            <a:custGeom>
              <a:avLst/>
              <a:gdLst>
                <a:gd name="connsiteX0" fmla="*/ 75946 w 76677"/>
                <a:gd name="connsiteY0" fmla="*/ 27510 h 76677"/>
                <a:gd name="connsiteX1" fmla="*/ 49167 w 76677"/>
                <a:gd name="connsiteY1" fmla="*/ 27510 h 76677"/>
                <a:gd name="connsiteX2" fmla="*/ 49167 w 76677"/>
                <a:gd name="connsiteY2" fmla="*/ 732 h 76677"/>
                <a:gd name="connsiteX3" fmla="*/ 49167 w 76677"/>
                <a:gd name="connsiteY3" fmla="*/ 0 h 76677"/>
                <a:gd name="connsiteX4" fmla="*/ 48436 w 76677"/>
                <a:gd name="connsiteY4" fmla="*/ 0 h 76677"/>
                <a:gd name="connsiteX5" fmla="*/ 28388 w 76677"/>
                <a:gd name="connsiteY5" fmla="*/ 0 h 76677"/>
                <a:gd name="connsiteX6" fmla="*/ 27510 w 76677"/>
                <a:gd name="connsiteY6" fmla="*/ 0 h 76677"/>
                <a:gd name="connsiteX7" fmla="*/ 27510 w 76677"/>
                <a:gd name="connsiteY7" fmla="*/ 732 h 76677"/>
                <a:gd name="connsiteX8" fmla="*/ 27510 w 76677"/>
                <a:gd name="connsiteY8" fmla="*/ 27510 h 76677"/>
                <a:gd name="connsiteX9" fmla="*/ 878 w 76677"/>
                <a:gd name="connsiteY9" fmla="*/ 27510 h 76677"/>
                <a:gd name="connsiteX10" fmla="*/ 0 w 76677"/>
                <a:gd name="connsiteY10" fmla="*/ 27510 h 76677"/>
                <a:gd name="connsiteX11" fmla="*/ 0 w 76677"/>
                <a:gd name="connsiteY11" fmla="*/ 28388 h 76677"/>
                <a:gd name="connsiteX12" fmla="*/ 0 w 76677"/>
                <a:gd name="connsiteY12" fmla="*/ 48289 h 76677"/>
                <a:gd name="connsiteX13" fmla="*/ 0 w 76677"/>
                <a:gd name="connsiteY13" fmla="*/ 49167 h 76677"/>
                <a:gd name="connsiteX14" fmla="*/ 878 w 76677"/>
                <a:gd name="connsiteY14" fmla="*/ 49167 h 76677"/>
                <a:gd name="connsiteX15" fmla="*/ 27510 w 76677"/>
                <a:gd name="connsiteY15" fmla="*/ 49167 h 76677"/>
                <a:gd name="connsiteX16" fmla="*/ 27510 w 76677"/>
                <a:gd name="connsiteY16" fmla="*/ 75946 h 76677"/>
                <a:gd name="connsiteX17" fmla="*/ 27510 w 76677"/>
                <a:gd name="connsiteY17" fmla="*/ 76678 h 76677"/>
                <a:gd name="connsiteX18" fmla="*/ 28388 w 76677"/>
                <a:gd name="connsiteY18" fmla="*/ 76678 h 76677"/>
                <a:gd name="connsiteX19" fmla="*/ 48436 w 76677"/>
                <a:gd name="connsiteY19" fmla="*/ 76678 h 76677"/>
                <a:gd name="connsiteX20" fmla="*/ 49167 w 76677"/>
                <a:gd name="connsiteY20" fmla="*/ 76678 h 76677"/>
                <a:gd name="connsiteX21" fmla="*/ 49167 w 76677"/>
                <a:gd name="connsiteY21" fmla="*/ 75946 h 76677"/>
                <a:gd name="connsiteX22" fmla="*/ 49167 w 76677"/>
                <a:gd name="connsiteY22" fmla="*/ 49167 h 76677"/>
                <a:gd name="connsiteX23" fmla="*/ 75946 w 76677"/>
                <a:gd name="connsiteY23" fmla="*/ 49167 h 76677"/>
                <a:gd name="connsiteX24" fmla="*/ 76678 w 76677"/>
                <a:gd name="connsiteY24" fmla="*/ 49167 h 76677"/>
                <a:gd name="connsiteX25" fmla="*/ 76678 w 76677"/>
                <a:gd name="connsiteY25" fmla="*/ 48289 h 76677"/>
                <a:gd name="connsiteX26" fmla="*/ 76678 w 76677"/>
                <a:gd name="connsiteY26" fmla="*/ 28388 h 76677"/>
                <a:gd name="connsiteX27" fmla="*/ 76678 w 76677"/>
                <a:gd name="connsiteY27" fmla="*/ 27510 h 76677"/>
                <a:gd name="connsiteX28" fmla="*/ 75946 w 76677"/>
                <a:gd name="connsiteY28" fmla="*/ 27510 h 76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6677" h="76677">
                  <a:moveTo>
                    <a:pt x="75946" y="27510"/>
                  </a:moveTo>
                  <a:lnTo>
                    <a:pt x="49167" y="27510"/>
                  </a:lnTo>
                  <a:lnTo>
                    <a:pt x="49167" y="732"/>
                  </a:lnTo>
                  <a:lnTo>
                    <a:pt x="49167" y="0"/>
                  </a:lnTo>
                  <a:lnTo>
                    <a:pt x="48436" y="0"/>
                  </a:lnTo>
                  <a:lnTo>
                    <a:pt x="28388" y="0"/>
                  </a:lnTo>
                  <a:lnTo>
                    <a:pt x="27510" y="0"/>
                  </a:lnTo>
                  <a:lnTo>
                    <a:pt x="27510" y="732"/>
                  </a:lnTo>
                  <a:lnTo>
                    <a:pt x="27510" y="27510"/>
                  </a:lnTo>
                  <a:lnTo>
                    <a:pt x="878" y="27510"/>
                  </a:lnTo>
                  <a:lnTo>
                    <a:pt x="0" y="27510"/>
                  </a:lnTo>
                  <a:lnTo>
                    <a:pt x="0" y="28388"/>
                  </a:lnTo>
                  <a:lnTo>
                    <a:pt x="0" y="48289"/>
                  </a:lnTo>
                  <a:lnTo>
                    <a:pt x="0" y="49167"/>
                  </a:lnTo>
                  <a:lnTo>
                    <a:pt x="878" y="49167"/>
                  </a:lnTo>
                  <a:lnTo>
                    <a:pt x="27510" y="49167"/>
                  </a:lnTo>
                  <a:lnTo>
                    <a:pt x="27510" y="75946"/>
                  </a:lnTo>
                  <a:lnTo>
                    <a:pt x="27510" y="76678"/>
                  </a:lnTo>
                  <a:lnTo>
                    <a:pt x="28388" y="76678"/>
                  </a:lnTo>
                  <a:lnTo>
                    <a:pt x="48436" y="76678"/>
                  </a:lnTo>
                  <a:lnTo>
                    <a:pt x="49167" y="76678"/>
                  </a:lnTo>
                  <a:lnTo>
                    <a:pt x="49167" y="75946"/>
                  </a:lnTo>
                  <a:lnTo>
                    <a:pt x="49167" y="49167"/>
                  </a:lnTo>
                  <a:lnTo>
                    <a:pt x="75946" y="49167"/>
                  </a:lnTo>
                  <a:lnTo>
                    <a:pt x="76678" y="49167"/>
                  </a:lnTo>
                  <a:lnTo>
                    <a:pt x="76678" y="48289"/>
                  </a:lnTo>
                  <a:lnTo>
                    <a:pt x="76678" y="28388"/>
                  </a:lnTo>
                  <a:lnTo>
                    <a:pt x="76678" y="27510"/>
                  </a:lnTo>
                  <a:lnTo>
                    <a:pt x="75946" y="27510"/>
                  </a:lnTo>
                  <a:close/>
                </a:path>
              </a:pathLst>
            </a:custGeom>
            <a:solidFill>
              <a:srgbClr val="222426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34" name="Graphic 56">
            <a:extLst>
              <a:ext uri="{FF2B5EF4-FFF2-40B4-BE49-F238E27FC236}">
                <a16:creationId xmlns:a16="http://schemas.microsoft.com/office/drawing/2014/main" id="{E8208B4E-F64B-5A4D-DD34-941B7C4ECA7C}"/>
              </a:ext>
            </a:extLst>
          </p:cNvPr>
          <p:cNvGrpSpPr/>
          <p:nvPr/>
        </p:nvGrpSpPr>
        <p:grpSpPr>
          <a:xfrm>
            <a:off x="5302788" y="4863050"/>
            <a:ext cx="381486" cy="381486"/>
            <a:chOff x="5302788" y="4863050"/>
            <a:chExt cx="381486" cy="381486"/>
          </a:xfrm>
        </p:grpSpPr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78885E4-85FA-4258-C3DD-89D7FF34C686}"/>
                </a:ext>
              </a:extLst>
            </p:cNvPr>
            <p:cNvSpPr/>
            <p:nvPr/>
          </p:nvSpPr>
          <p:spPr>
            <a:xfrm>
              <a:off x="5302788" y="4863050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2ED458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D3CDF86E-DA0F-6C89-694D-325E3EC07792}"/>
                </a:ext>
              </a:extLst>
            </p:cNvPr>
            <p:cNvSpPr/>
            <p:nvPr/>
          </p:nvSpPr>
          <p:spPr>
            <a:xfrm>
              <a:off x="5405220" y="4957377"/>
              <a:ext cx="184940" cy="185019"/>
            </a:xfrm>
            <a:custGeom>
              <a:avLst/>
              <a:gdLst>
                <a:gd name="connsiteX0" fmla="*/ 0 w 184940"/>
                <a:gd name="connsiteY0" fmla="*/ 185019 h 185019"/>
                <a:gd name="connsiteX1" fmla="*/ 2927 w 184940"/>
                <a:gd name="connsiteY1" fmla="*/ 174044 h 185019"/>
                <a:gd name="connsiteX2" fmla="*/ 11999 w 184940"/>
                <a:gd name="connsiteY2" fmla="*/ 140681 h 185019"/>
                <a:gd name="connsiteX3" fmla="*/ 11999 w 184940"/>
                <a:gd name="connsiteY3" fmla="*/ 135267 h 185019"/>
                <a:gd name="connsiteX4" fmla="*/ 49675 w 184940"/>
                <a:gd name="connsiteY4" fmla="*/ 10887 h 185019"/>
                <a:gd name="connsiteX5" fmla="*/ 174054 w 184940"/>
                <a:gd name="connsiteY5" fmla="*/ 48562 h 185019"/>
                <a:gd name="connsiteX6" fmla="*/ 136380 w 184940"/>
                <a:gd name="connsiteY6" fmla="*/ 172943 h 185019"/>
                <a:gd name="connsiteX7" fmla="*/ 51801 w 184940"/>
                <a:gd name="connsiteY7" fmla="*/ 174044 h 185019"/>
                <a:gd name="connsiteX8" fmla="*/ 46094 w 184940"/>
                <a:gd name="connsiteY8" fmla="*/ 174044 h 185019"/>
                <a:gd name="connsiteX9" fmla="*/ 0 w 184940"/>
                <a:gd name="connsiteY9" fmla="*/ 185019 h 185019"/>
                <a:gd name="connsiteX10" fmla="*/ 21511 w 184940"/>
                <a:gd name="connsiteY10" fmla="*/ 163948 h 185019"/>
                <a:gd name="connsiteX11" fmla="*/ 47411 w 184940"/>
                <a:gd name="connsiteY11" fmla="*/ 157070 h 185019"/>
                <a:gd name="connsiteX12" fmla="*/ 53704 w 184940"/>
                <a:gd name="connsiteY12" fmla="*/ 157948 h 185019"/>
                <a:gd name="connsiteX13" fmla="*/ 104627 w 184940"/>
                <a:gd name="connsiteY13" fmla="*/ 167606 h 185019"/>
                <a:gd name="connsiteX14" fmla="*/ 168619 w 184940"/>
                <a:gd name="connsiteY14" fmla="*/ 79805 h 185019"/>
                <a:gd name="connsiteX15" fmla="*/ 80820 w 184940"/>
                <a:gd name="connsiteY15" fmla="*/ 15813 h 185019"/>
                <a:gd name="connsiteX16" fmla="*/ 16827 w 184940"/>
                <a:gd name="connsiteY16" fmla="*/ 103614 h 185019"/>
                <a:gd name="connsiteX17" fmla="*/ 25462 w 184940"/>
                <a:gd name="connsiteY17" fmla="*/ 128828 h 185019"/>
                <a:gd name="connsiteX18" fmla="*/ 27071 w 184940"/>
                <a:gd name="connsiteY18" fmla="*/ 143461 h 185019"/>
                <a:gd name="connsiteX19" fmla="*/ 21657 w 184940"/>
                <a:gd name="connsiteY19" fmla="*/ 163948 h 185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84940" h="185019">
                  <a:moveTo>
                    <a:pt x="0" y="185019"/>
                  </a:moveTo>
                  <a:cubicBezTo>
                    <a:pt x="1024" y="181068"/>
                    <a:pt x="1902" y="177556"/>
                    <a:pt x="2927" y="174044"/>
                  </a:cubicBezTo>
                  <a:cubicBezTo>
                    <a:pt x="6000" y="162923"/>
                    <a:pt x="9073" y="151802"/>
                    <a:pt x="11999" y="140681"/>
                  </a:cubicBezTo>
                  <a:cubicBezTo>
                    <a:pt x="12580" y="138923"/>
                    <a:pt x="12580" y="137024"/>
                    <a:pt x="11999" y="135267"/>
                  </a:cubicBezTo>
                  <a:cubicBezTo>
                    <a:pt x="-11944" y="90517"/>
                    <a:pt x="4924" y="34829"/>
                    <a:pt x="49675" y="10887"/>
                  </a:cubicBezTo>
                  <a:cubicBezTo>
                    <a:pt x="94425" y="-13056"/>
                    <a:pt x="150111" y="3812"/>
                    <a:pt x="174054" y="48562"/>
                  </a:cubicBezTo>
                  <a:cubicBezTo>
                    <a:pt x="197997" y="93312"/>
                    <a:pt x="181129" y="149000"/>
                    <a:pt x="136380" y="172943"/>
                  </a:cubicBezTo>
                  <a:cubicBezTo>
                    <a:pt x="110041" y="187033"/>
                    <a:pt x="78498" y="187444"/>
                    <a:pt x="51801" y="174044"/>
                  </a:cubicBezTo>
                  <a:cubicBezTo>
                    <a:pt x="49956" y="173386"/>
                    <a:pt x="47940" y="173386"/>
                    <a:pt x="46094" y="174044"/>
                  </a:cubicBezTo>
                  <a:cubicBezTo>
                    <a:pt x="21218" y="179605"/>
                    <a:pt x="5122" y="183702"/>
                    <a:pt x="0" y="185019"/>
                  </a:cubicBezTo>
                  <a:close/>
                  <a:moveTo>
                    <a:pt x="21511" y="163948"/>
                  </a:moveTo>
                  <a:lnTo>
                    <a:pt x="47411" y="157070"/>
                  </a:lnTo>
                  <a:cubicBezTo>
                    <a:pt x="49539" y="156470"/>
                    <a:pt x="51822" y="156788"/>
                    <a:pt x="53704" y="157948"/>
                  </a:cubicBezTo>
                  <a:cubicBezTo>
                    <a:pt x="68984" y="167136"/>
                    <a:pt x="87044" y="170560"/>
                    <a:pt x="104627" y="167606"/>
                  </a:cubicBezTo>
                  <a:cubicBezTo>
                    <a:pt x="146544" y="161031"/>
                    <a:pt x="175194" y="121722"/>
                    <a:pt x="168619" y="79805"/>
                  </a:cubicBezTo>
                  <a:cubicBezTo>
                    <a:pt x="162046" y="37890"/>
                    <a:pt x="122737" y="9239"/>
                    <a:pt x="80820" y="15813"/>
                  </a:cubicBezTo>
                  <a:cubicBezTo>
                    <a:pt x="38904" y="22387"/>
                    <a:pt x="10253" y="61697"/>
                    <a:pt x="16827" y="103614"/>
                  </a:cubicBezTo>
                  <a:cubicBezTo>
                    <a:pt x="18214" y="112456"/>
                    <a:pt x="21136" y="120990"/>
                    <a:pt x="25462" y="128828"/>
                  </a:cubicBezTo>
                  <a:cubicBezTo>
                    <a:pt x="28352" y="133152"/>
                    <a:pt x="28952" y="138613"/>
                    <a:pt x="27071" y="143461"/>
                  </a:cubicBezTo>
                  <a:cubicBezTo>
                    <a:pt x="25023" y="149900"/>
                    <a:pt x="23559" y="156631"/>
                    <a:pt x="21657" y="163948"/>
                  </a:cubicBezTo>
                  <a:close/>
                </a:path>
              </a:pathLst>
            </a:custGeom>
            <a:solidFill>
              <a:srgbClr val="222426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98AFD40-28BF-5537-CDC3-7FBCD2086A6F}"/>
                </a:ext>
              </a:extLst>
            </p:cNvPr>
            <p:cNvSpPr/>
            <p:nvPr/>
          </p:nvSpPr>
          <p:spPr>
            <a:xfrm>
              <a:off x="5451656" y="5006935"/>
              <a:ext cx="92875" cy="86237"/>
            </a:xfrm>
            <a:custGeom>
              <a:avLst/>
              <a:gdLst>
                <a:gd name="connsiteX0" fmla="*/ 70629 w 92875"/>
                <a:gd name="connsiteY0" fmla="*/ 86148 h 86237"/>
                <a:gd name="connsiteX1" fmla="*/ 4341 w 92875"/>
                <a:gd name="connsiteY1" fmla="*/ 37273 h 86237"/>
                <a:gd name="connsiteX2" fmla="*/ 8292 w 92875"/>
                <a:gd name="connsiteY2" fmla="*/ 2446 h 86237"/>
                <a:gd name="connsiteX3" fmla="*/ 20145 w 92875"/>
                <a:gd name="connsiteY3" fmla="*/ 690 h 86237"/>
                <a:gd name="connsiteX4" fmla="*/ 22633 w 92875"/>
                <a:gd name="connsiteY4" fmla="*/ 3471 h 86237"/>
                <a:gd name="connsiteX5" fmla="*/ 30095 w 92875"/>
                <a:gd name="connsiteY5" fmla="*/ 21469 h 86237"/>
                <a:gd name="connsiteX6" fmla="*/ 24535 w 92875"/>
                <a:gd name="connsiteY6" fmla="*/ 33176 h 86237"/>
                <a:gd name="connsiteX7" fmla="*/ 24535 w 92875"/>
                <a:gd name="connsiteY7" fmla="*/ 38298 h 86237"/>
                <a:gd name="connsiteX8" fmla="*/ 55996 w 92875"/>
                <a:gd name="connsiteY8" fmla="*/ 65223 h 86237"/>
                <a:gd name="connsiteX9" fmla="*/ 60825 w 92875"/>
                <a:gd name="connsiteY9" fmla="*/ 63906 h 86237"/>
                <a:gd name="connsiteX10" fmla="*/ 72678 w 92875"/>
                <a:gd name="connsiteY10" fmla="*/ 54101 h 86237"/>
                <a:gd name="connsiteX11" fmla="*/ 92872 w 92875"/>
                <a:gd name="connsiteY11" fmla="*/ 65515 h 86237"/>
                <a:gd name="connsiteX12" fmla="*/ 72918 w 92875"/>
                <a:gd name="connsiteY12" fmla="*/ 86234 h 86237"/>
                <a:gd name="connsiteX13" fmla="*/ 70629 w 92875"/>
                <a:gd name="connsiteY13" fmla="*/ 86148 h 86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2875" h="86237">
                  <a:moveTo>
                    <a:pt x="70629" y="86148"/>
                  </a:moveTo>
                  <a:cubicBezTo>
                    <a:pt x="41869" y="81680"/>
                    <a:pt x="17113" y="63427"/>
                    <a:pt x="4341" y="37273"/>
                  </a:cubicBezTo>
                  <a:cubicBezTo>
                    <a:pt x="-2689" y="26178"/>
                    <a:pt x="-1045" y="11684"/>
                    <a:pt x="8292" y="2446"/>
                  </a:cubicBezTo>
                  <a:cubicBezTo>
                    <a:pt x="11732" y="-7"/>
                    <a:pt x="16141" y="-660"/>
                    <a:pt x="20145" y="690"/>
                  </a:cubicBezTo>
                  <a:cubicBezTo>
                    <a:pt x="21169" y="690"/>
                    <a:pt x="22194" y="2446"/>
                    <a:pt x="22633" y="3471"/>
                  </a:cubicBezTo>
                  <a:cubicBezTo>
                    <a:pt x="25266" y="9470"/>
                    <a:pt x="27900" y="15470"/>
                    <a:pt x="30095" y="21469"/>
                  </a:cubicBezTo>
                  <a:cubicBezTo>
                    <a:pt x="31412" y="24689"/>
                    <a:pt x="29071" y="27762"/>
                    <a:pt x="24535" y="33176"/>
                  </a:cubicBezTo>
                  <a:cubicBezTo>
                    <a:pt x="23140" y="34598"/>
                    <a:pt x="23140" y="36875"/>
                    <a:pt x="24535" y="38298"/>
                  </a:cubicBezTo>
                  <a:cubicBezTo>
                    <a:pt x="31711" y="50543"/>
                    <a:pt x="42790" y="60025"/>
                    <a:pt x="55996" y="65223"/>
                  </a:cubicBezTo>
                  <a:cubicBezTo>
                    <a:pt x="57714" y="65989"/>
                    <a:pt x="59735" y="65438"/>
                    <a:pt x="60825" y="63906"/>
                  </a:cubicBezTo>
                  <a:cubicBezTo>
                    <a:pt x="68142" y="54833"/>
                    <a:pt x="68873" y="52345"/>
                    <a:pt x="72678" y="54101"/>
                  </a:cubicBezTo>
                  <a:cubicBezTo>
                    <a:pt x="91262" y="63028"/>
                    <a:pt x="92725" y="63320"/>
                    <a:pt x="92872" y="65515"/>
                  </a:cubicBezTo>
                  <a:cubicBezTo>
                    <a:pt x="93082" y="76746"/>
                    <a:pt x="84149" y="86022"/>
                    <a:pt x="72918" y="86234"/>
                  </a:cubicBezTo>
                  <a:cubicBezTo>
                    <a:pt x="72154" y="86249"/>
                    <a:pt x="71390" y="86220"/>
                    <a:pt x="70629" y="86148"/>
                  </a:cubicBezTo>
                  <a:close/>
                </a:path>
              </a:pathLst>
            </a:custGeom>
            <a:solidFill>
              <a:srgbClr val="222426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38" name="Graphic 58">
            <a:extLst>
              <a:ext uri="{FF2B5EF4-FFF2-40B4-BE49-F238E27FC236}">
                <a16:creationId xmlns:a16="http://schemas.microsoft.com/office/drawing/2014/main" id="{2BB490B9-D742-5490-23DD-82AF314F83BF}"/>
              </a:ext>
            </a:extLst>
          </p:cNvPr>
          <p:cNvGrpSpPr/>
          <p:nvPr/>
        </p:nvGrpSpPr>
        <p:grpSpPr>
          <a:xfrm>
            <a:off x="6385642" y="4863050"/>
            <a:ext cx="381486" cy="381486"/>
            <a:chOff x="6385642" y="4863050"/>
            <a:chExt cx="381486" cy="381486"/>
          </a:xfrm>
        </p:grpSpPr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73638D21-2494-54FF-D593-F8FAA3C7DB90}"/>
                </a:ext>
              </a:extLst>
            </p:cNvPr>
            <p:cNvSpPr/>
            <p:nvPr/>
          </p:nvSpPr>
          <p:spPr>
            <a:xfrm>
              <a:off x="6385642" y="4863050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FF666D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C027A057-03A9-7957-6406-D6F2969E5F93}"/>
                </a:ext>
              </a:extLst>
            </p:cNvPr>
            <p:cNvSpPr/>
            <p:nvPr/>
          </p:nvSpPr>
          <p:spPr>
            <a:xfrm>
              <a:off x="6506669" y="4964814"/>
              <a:ext cx="147092" cy="190470"/>
            </a:xfrm>
            <a:custGeom>
              <a:avLst/>
              <a:gdLst>
                <a:gd name="connsiteX0" fmla="*/ 61302 w 147092"/>
                <a:gd name="connsiteY0" fmla="*/ 124318 h 190470"/>
                <a:gd name="connsiteX1" fmla="*/ 61302 w 147092"/>
                <a:gd name="connsiteY1" fmla="*/ 125781 h 190470"/>
                <a:gd name="connsiteX2" fmla="*/ 46669 w 147092"/>
                <a:gd name="connsiteY2" fmla="*/ 172022 h 190470"/>
                <a:gd name="connsiteX3" fmla="*/ 35109 w 147092"/>
                <a:gd name="connsiteY3" fmla="*/ 189289 h 190470"/>
                <a:gd name="connsiteX4" fmla="*/ 33206 w 147092"/>
                <a:gd name="connsiteY4" fmla="*/ 190460 h 190470"/>
                <a:gd name="connsiteX5" fmla="*/ 32036 w 147092"/>
                <a:gd name="connsiteY5" fmla="*/ 188411 h 190470"/>
                <a:gd name="connsiteX6" fmla="*/ 30426 w 147092"/>
                <a:gd name="connsiteY6" fmla="*/ 163388 h 190470"/>
                <a:gd name="connsiteX7" fmla="*/ 46376 w 147092"/>
                <a:gd name="connsiteY7" fmla="*/ 89344 h 190470"/>
                <a:gd name="connsiteX8" fmla="*/ 46376 w 147092"/>
                <a:gd name="connsiteY8" fmla="*/ 86857 h 190470"/>
                <a:gd name="connsiteX9" fmla="*/ 44181 w 147092"/>
                <a:gd name="connsiteY9" fmla="*/ 59200 h 190470"/>
                <a:gd name="connsiteX10" fmla="*/ 77545 w 147092"/>
                <a:gd name="connsiteY10" fmla="*/ 54079 h 190470"/>
                <a:gd name="connsiteX11" fmla="*/ 68326 w 147092"/>
                <a:gd name="connsiteY11" fmla="*/ 97978 h 190470"/>
                <a:gd name="connsiteX12" fmla="*/ 100226 w 147092"/>
                <a:gd name="connsiteY12" fmla="*/ 114074 h 190470"/>
                <a:gd name="connsiteX13" fmla="*/ 120273 w 147092"/>
                <a:gd name="connsiteY13" fmla="*/ 57590 h 190470"/>
                <a:gd name="connsiteX14" fmla="*/ 50766 w 147092"/>
                <a:gd name="connsiteY14" fmla="*/ 23934 h 190470"/>
                <a:gd name="connsiteX15" fmla="*/ 27499 w 147092"/>
                <a:gd name="connsiteY15" fmla="*/ 91978 h 190470"/>
                <a:gd name="connsiteX16" fmla="*/ 29987 w 147092"/>
                <a:gd name="connsiteY16" fmla="*/ 97685 h 190470"/>
                <a:gd name="connsiteX17" fmla="*/ 27353 w 147092"/>
                <a:gd name="connsiteY17" fmla="*/ 107782 h 190470"/>
                <a:gd name="connsiteX18" fmla="*/ 23351 w 147092"/>
                <a:gd name="connsiteY18" fmla="*/ 110723 h 190470"/>
                <a:gd name="connsiteX19" fmla="*/ 22085 w 147092"/>
                <a:gd name="connsiteY19" fmla="*/ 110270 h 190470"/>
                <a:gd name="connsiteX20" fmla="*/ 9500 w 147092"/>
                <a:gd name="connsiteY20" fmla="*/ 100905 h 190470"/>
                <a:gd name="connsiteX21" fmla="*/ 10671 w 147092"/>
                <a:gd name="connsiteY21" fmla="*/ 34616 h 190470"/>
                <a:gd name="connsiteX22" fmla="*/ 86617 w 147092"/>
                <a:gd name="connsiteY22" fmla="*/ 668 h 190470"/>
                <a:gd name="connsiteX23" fmla="*/ 146467 w 147092"/>
                <a:gd name="connsiteY23" fmla="*/ 54371 h 190470"/>
                <a:gd name="connsiteX24" fmla="*/ 130078 w 147092"/>
                <a:gd name="connsiteY24" fmla="*/ 117733 h 190470"/>
                <a:gd name="connsiteX25" fmla="*/ 64375 w 147092"/>
                <a:gd name="connsiteY25" fmla="*/ 128561 h 190470"/>
                <a:gd name="connsiteX26" fmla="*/ 61302 w 147092"/>
                <a:gd name="connsiteY26" fmla="*/ 124318 h 190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47092" h="190470">
                  <a:moveTo>
                    <a:pt x="61302" y="124318"/>
                  </a:moveTo>
                  <a:lnTo>
                    <a:pt x="61302" y="125781"/>
                  </a:lnTo>
                  <a:cubicBezTo>
                    <a:pt x="58757" y="141838"/>
                    <a:pt x="53824" y="157424"/>
                    <a:pt x="46669" y="172022"/>
                  </a:cubicBezTo>
                  <a:cubicBezTo>
                    <a:pt x="43224" y="178042"/>
                    <a:pt x="39362" y="183812"/>
                    <a:pt x="35109" y="189289"/>
                  </a:cubicBezTo>
                  <a:cubicBezTo>
                    <a:pt x="35109" y="189289"/>
                    <a:pt x="34231" y="190606"/>
                    <a:pt x="33206" y="190460"/>
                  </a:cubicBezTo>
                  <a:cubicBezTo>
                    <a:pt x="32182" y="190313"/>
                    <a:pt x="32036" y="189289"/>
                    <a:pt x="32036" y="188411"/>
                  </a:cubicBezTo>
                  <a:cubicBezTo>
                    <a:pt x="30834" y="180126"/>
                    <a:pt x="30297" y="171758"/>
                    <a:pt x="30426" y="163388"/>
                  </a:cubicBezTo>
                  <a:cubicBezTo>
                    <a:pt x="30426" y="152413"/>
                    <a:pt x="32182" y="148755"/>
                    <a:pt x="46376" y="89344"/>
                  </a:cubicBezTo>
                  <a:cubicBezTo>
                    <a:pt x="46587" y="88528"/>
                    <a:pt x="46587" y="87673"/>
                    <a:pt x="46376" y="86857"/>
                  </a:cubicBezTo>
                  <a:cubicBezTo>
                    <a:pt x="42510" y="78159"/>
                    <a:pt x="41734" y="68400"/>
                    <a:pt x="44181" y="59200"/>
                  </a:cubicBezTo>
                  <a:cubicBezTo>
                    <a:pt x="50473" y="39006"/>
                    <a:pt x="73447" y="37397"/>
                    <a:pt x="77545" y="54079"/>
                  </a:cubicBezTo>
                  <a:cubicBezTo>
                    <a:pt x="79886" y="64468"/>
                    <a:pt x="73447" y="77931"/>
                    <a:pt x="68326" y="97978"/>
                  </a:cubicBezTo>
                  <a:cubicBezTo>
                    <a:pt x="64228" y="114367"/>
                    <a:pt x="83691" y="126074"/>
                    <a:pt x="100226" y="114074"/>
                  </a:cubicBezTo>
                  <a:cubicBezTo>
                    <a:pt x="116762" y="102075"/>
                    <a:pt x="121444" y="76467"/>
                    <a:pt x="120273" y="57590"/>
                  </a:cubicBezTo>
                  <a:cubicBezTo>
                    <a:pt x="118079" y="19983"/>
                    <a:pt x="76374" y="11935"/>
                    <a:pt x="50766" y="23934"/>
                  </a:cubicBezTo>
                  <a:cubicBezTo>
                    <a:pt x="20768" y="37836"/>
                    <a:pt x="14037" y="75004"/>
                    <a:pt x="27499" y="91978"/>
                  </a:cubicBezTo>
                  <a:cubicBezTo>
                    <a:pt x="29255" y="94173"/>
                    <a:pt x="30572" y="95490"/>
                    <a:pt x="29987" y="97685"/>
                  </a:cubicBezTo>
                  <a:cubicBezTo>
                    <a:pt x="29402" y="99880"/>
                    <a:pt x="28377" y="104417"/>
                    <a:pt x="27353" y="107782"/>
                  </a:cubicBezTo>
                  <a:cubicBezTo>
                    <a:pt x="27060" y="109699"/>
                    <a:pt x="25268" y="111016"/>
                    <a:pt x="23351" y="110723"/>
                  </a:cubicBezTo>
                  <a:cubicBezTo>
                    <a:pt x="22904" y="110655"/>
                    <a:pt x="22474" y="110501"/>
                    <a:pt x="22085" y="110270"/>
                  </a:cubicBezTo>
                  <a:cubicBezTo>
                    <a:pt x="17179" y="108239"/>
                    <a:pt x="12855" y="105021"/>
                    <a:pt x="9500" y="100905"/>
                  </a:cubicBezTo>
                  <a:cubicBezTo>
                    <a:pt x="-3581" y="80614"/>
                    <a:pt x="-3118" y="54433"/>
                    <a:pt x="10671" y="34616"/>
                  </a:cubicBezTo>
                  <a:cubicBezTo>
                    <a:pt x="27590" y="9920"/>
                    <a:pt x="56932" y="-3196"/>
                    <a:pt x="86617" y="668"/>
                  </a:cubicBezTo>
                  <a:cubicBezTo>
                    <a:pt x="116557" y="2642"/>
                    <a:pt x="141272" y="24819"/>
                    <a:pt x="146467" y="54371"/>
                  </a:cubicBezTo>
                  <a:cubicBezTo>
                    <a:pt x="149120" y="76798"/>
                    <a:pt x="143272" y="99405"/>
                    <a:pt x="130078" y="117733"/>
                  </a:cubicBezTo>
                  <a:cubicBezTo>
                    <a:pt x="110616" y="141877"/>
                    <a:pt x="79008" y="143487"/>
                    <a:pt x="64375" y="128561"/>
                  </a:cubicBezTo>
                  <a:cubicBezTo>
                    <a:pt x="63351" y="127098"/>
                    <a:pt x="62473" y="125781"/>
                    <a:pt x="61302" y="124318"/>
                  </a:cubicBezTo>
                  <a:close/>
                </a:path>
              </a:pathLst>
            </a:custGeom>
            <a:solidFill>
              <a:srgbClr val="222426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41" name="Graphic 60">
            <a:extLst>
              <a:ext uri="{FF2B5EF4-FFF2-40B4-BE49-F238E27FC236}">
                <a16:creationId xmlns:a16="http://schemas.microsoft.com/office/drawing/2014/main" id="{8141F0D5-142A-C5E2-4C8E-C4D6BED87514}"/>
              </a:ext>
            </a:extLst>
          </p:cNvPr>
          <p:cNvGrpSpPr/>
          <p:nvPr/>
        </p:nvGrpSpPr>
        <p:grpSpPr>
          <a:xfrm>
            <a:off x="7468496" y="4863050"/>
            <a:ext cx="381486" cy="381486"/>
            <a:chOff x="7468496" y="4863050"/>
            <a:chExt cx="381486" cy="381486"/>
          </a:xfrm>
        </p:grpSpPr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A6C26A5A-9028-0A38-FE11-52C80AAFFE46}"/>
                </a:ext>
              </a:extLst>
            </p:cNvPr>
            <p:cNvSpPr/>
            <p:nvPr/>
          </p:nvSpPr>
          <p:spPr>
            <a:xfrm>
              <a:off x="7468496" y="4863050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gradFill>
              <a:gsLst>
                <a:gs pos="1000">
                  <a:srgbClr val="7585FF"/>
                </a:gs>
                <a:gs pos="18000">
                  <a:srgbClr val="7884FE"/>
                </a:gs>
                <a:gs pos="28000">
                  <a:srgbClr val="8081FC"/>
                </a:gs>
                <a:gs pos="36000">
                  <a:srgbClr val="8E7CF7"/>
                </a:gs>
                <a:gs pos="44000">
                  <a:srgbClr val="A375F1"/>
                </a:gs>
                <a:gs pos="51000">
                  <a:srgbClr val="BD6CEA"/>
                </a:gs>
                <a:gs pos="57000">
                  <a:srgbClr val="DD62E0"/>
                </a:gs>
                <a:gs pos="62000">
                  <a:srgbClr val="FF56D6"/>
                </a:gs>
                <a:gs pos="76000">
                  <a:srgbClr val="FF6778"/>
                </a:gs>
                <a:gs pos="100000">
                  <a:srgbClr val="FFFF9E"/>
                </a:gs>
              </a:gsLst>
              <a:lin ang="7587604" scaled="1"/>
            </a:gra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1CD9729A-05C9-DD5C-8BA1-B826E54A8576}"/>
                </a:ext>
              </a:extLst>
            </p:cNvPr>
            <p:cNvSpPr/>
            <p:nvPr/>
          </p:nvSpPr>
          <p:spPr>
            <a:xfrm>
              <a:off x="7564337" y="4956355"/>
              <a:ext cx="189794" cy="189830"/>
            </a:xfrm>
            <a:custGeom>
              <a:avLst/>
              <a:gdLst>
                <a:gd name="connsiteX0" fmla="*/ 188188 w 189794"/>
                <a:gd name="connsiteY0" fmla="*/ 48051 h 189830"/>
                <a:gd name="connsiteX1" fmla="*/ 172823 w 189794"/>
                <a:gd name="connsiteY1" fmla="*/ 15711 h 189830"/>
                <a:gd name="connsiteX2" fmla="*/ 138142 w 189794"/>
                <a:gd name="connsiteY2" fmla="*/ 1078 h 189830"/>
                <a:gd name="connsiteX3" fmla="*/ 44344 w 189794"/>
                <a:gd name="connsiteY3" fmla="*/ 2249 h 189830"/>
                <a:gd name="connsiteX4" fmla="*/ 3224 w 189794"/>
                <a:gd name="connsiteY4" fmla="*/ 39417 h 189830"/>
                <a:gd name="connsiteX5" fmla="*/ 2200 w 189794"/>
                <a:gd name="connsiteY5" fmla="*/ 145946 h 189830"/>
                <a:gd name="connsiteX6" fmla="*/ 40393 w 189794"/>
                <a:gd name="connsiteY6" fmla="*/ 187358 h 189830"/>
                <a:gd name="connsiteX7" fmla="*/ 145312 w 189794"/>
                <a:gd name="connsiteY7" fmla="*/ 187358 h 189830"/>
                <a:gd name="connsiteX8" fmla="*/ 186871 w 189794"/>
                <a:gd name="connsiteY8" fmla="*/ 149458 h 189830"/>
                <a:gd name="connsiteX9" fmla="*/ 188188 w 189794"/>
                <a:gd name="connsiteY9" fmla="*/ 48051 h 189830"/>
                <a:gd name="connsiteX10" fmla="*/ 170774 w 189794"/>
                <a:gd name="connsiteY10" fmla="*/ 142873 h 189830"/>
                <a:gd name="connsiteX11" fmla="*/ 140630 w 189794"/>
                <a:gd name="connsiteY11" fmla="*/ 172140 h 189830"/>
                <a:gd name="connsiteX12" fmla="*/ 42734 w 189794"/>
                <a:gd name="connsiteY12" fmla="*/ 170091 h 189830"/>
                <a:gd name="connsiteX13" fmla="*/ 19175 w 189794"/>
                <a:gd name="connsiteY13" fmla="*/ 143312 h 189830"/>
                <a:gd name="connsiteX14" fmla="*/ 19175 w 189794"/>
                <a:gd name="connsiteY14" fmla="*/ 47612 h 189830"/>
                <a:gd name="connsiteX15" fmla="*/ 49173 w 189794"/>
                <a:gd name="connsiteY15" fmla="*/ 18345 h 189830"/>
                <a:gd name="connsiteX16" fmla="*/ 142532 w 189794"/>
                <a:gd name="connsiteY16" fmla="*/ 18345 h 189830"/>
                <a:gd name="connsiteX17" fmla="*/ 171798 w 189794"/>
                <a:gd name="connsiteY17" fmla="*/ 48490 h 189830"/>
                <a:gd name="connsiteX18" fmla="*/ 170774 w 189794"/>
                <a:gd name="connsiteY18" fmla="*/ 142873 h 189830"/>
                <a:gd name="connsiteX19" fmla="*/ 94389 w 189794"/>
                <a:gd name="connsiteY19" fmla="*/ 46734 h 189830"/>
                <a:gd name="connsiteX20" fmla="*/ 45807 w 189794"/>
                <a:gd name="connsiteY20" fmla="*/ 95316 h 189830"/>
                <a:gd name="connsiteX21" fmla="*/ 94389 w 189794"/>
                <a:gd name="connsiteY21" fmla="*/ 143898 h 189830"/>
                <a:gd name="connsiteX22" fmla="*/ 142971 w 189794"/>
                <a:gd name="connsiteY22" fmla="*/ 95316 h 189830"/>
                <a:gd name="connsiteX23" fmla="*/ 94389 w 189794"/>
                <a:gd name="connsiteY23" fmla="*/ 46734 h 189830"/>
                <a:gd name="connsiteX24" fmla="*/ 94389 w 189794"/>
                <a:gd name="connsiteY24" fmla="*/ 126192 h 189830"/>
                <a:gd name="connsiteX25" fmla="*/ 63223 w 189794"/>
                <a:gd name="connsiteY25" fmla="*/ 94438 h 189830"/>
                <a:gd name="connsiteX26" fmla="*/ 94977 w 189794"/>
                <a:gd name="connsiteY26" fmla="*/ 63272 h 189830"/>
                <a:gd name="connsiteX27" fmla="*/ 126143 w 189794"/>
                <a:gd name="connsiteY27" fmla="*/ 95023 h 189830"/>
                <a:gd name="connsiteX28" fmla="*/ 94392 w 189794"/>
                <a:gd name="connsiteY28" fmla="*/ 126192 h 189830"/>
                <a:gd name="connsiteX29" fmla="*/ 94389 w 189794"/>
                <a:gd name="connsiteY29" fmla="*/ 126192 h 189830"/>
                <a:gd name="connsiteX30" fmla="*/ 156726 w 189794"/>
                <a:gd name="connsiteY30" fmla="*/ 44246 h 189830"/>
                <a:gd name="connsiteX31" fmla="*/ 145312 w 189794"/>
                <a:gd name="connsiteY31" fmla="*/ 55660 h 189830"/>
                <a:gd name="connsiteX32" fmla="*/ 133899 w 189794"/>
                <a:gd name="connsiteY32" fmla="*/ 44246 h 189830"/>
                <a:gd name="connsiteX33" fmla="*/ 145312 w 189794"/>
                <a:gd name="connsiteY33" fmla="*/ 32832 h 189830"/>
                <a:gd name="connsiteX34" fmla="*/ 156887 w 189794"/>
                <a:gd name="connsiteY34" fmla="*/ 44083 h 189830"/>
                <a:gd name="connsiteX35" fmla="*/ 156873 w 189794"/>
                <a:gd name="connsiteY35" fmla="*/ 44831 h 18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89794" h="189830">
                  <a:moveTo>
                    <a:pt x="188188" y="48051"/>
                  </a:moveTo>
                  <a:cubicBezTo>
                    <a:pt x="187229" y="35745"/>
                    <a:pt x="181758" y="24228"/>
                    <a:pt x="172823" y="15711"/>
                  </a:cubicBezTo>
                  <a:cubicBezTo>
                    <a:pt x="163482" y="6694"/>
                    <a:pt x="151119" y="1477"/>
                    <a:pt x="138142" y="1078"/>
                  </a:cubicBezTo>
                  <a:cubicBezTo>
                    <a:pt x="106886" y="-679"/>
                    <a:pt x="75546" y="-288"/>
                    <a:pt x="44344" y="2249"/>
                  </a:cubicBezTo>
                  <a:cubicBezTo>
                    <a:pt x="24107" y="4588"/>
                    <a:pt x="7589" y="19519"/>
                    <a:pt x="3224" y="39417"/>
                  </a:cubicBezTo>
                  <a:cubicBezTo>
                    <a:pt x="-700" y="74802"/>
                    <a:pt x="-1043" y="110493"/>
                    <a:pt x="2200" y="145946"/>
                  </a:cubicBezTo>
                  <a:cubicBezTo>
                    <a:pt x="4683" y="166535"/>
                    <a:pt x="20071" y="183221"/>
                    <a:pt x="40393" y="187358"/>
                  </a:cubicBezTo>
                  <a:cubicBezTo>
                    <a:pt x="75288" y="190655"/>
                    <a:pt x="110417" y="190655"/>
                    <a:pt x="145312" y="187358"/>
                  </a:cubicBezTo>
                  <a:cubicBezTo>
                    <a:pt x="165932" y="185103"/>
                    <a:pt x="182731" y="169782"/>
                    <a:pt x="186871" y="149458"/>
                  </a:cubicBezTo>
                  <a:cubicBezTo>
                    <a:pt x="190264" y="115758"/>
                    <a:pt x="190704" y="81827"/>
                    <a:pt x="188188" y="48051"/>
                  </a:cubicBezTo>
                  <a:close/>
                  <a:moveTo>
                    <a:pt x="170774" y="142873"/>
                  </a:moveTo>
                  <a:cubicBezTo>
                    <a:pt x="169353" y="158745"/>
                    <a:pt x="156536" y="171189"/>
                    <a:pt x="140630" y="172140"/>
                  </a:cubicBezTo>
                  <a:cubicBezTo>
                    <a:pt x="107999" y="174247"/>
                    <a:pt x="75247" y="173562"/>
                    <a:pt x="42734" y="170091"/>
                  </a:cubicBezTo>
                  <a:cubicBezTo>
                    <a:pt x="29998" y="167062"/>
                    <a:pt x="20557" y="156330"/>
                    <a:pt x="19175" y="143312"/>
                  </a:cubicBezTo>
                  <a:cubicBezTo>
                    <a:pt x="16687" y="111460"/>
                    <a:pt x="16687" y="79464"/>
                    <a:pt x="19175" y="47612"/>
                  </a:cubicBezTo>
                  <a:cubicBezTo>
                    <a:pt x="20526" y="31764"/>
                    <a:pt x="33296" y="19305"/>
                    <a:pt x="49173" y="18345"/>
                  </a:cubicBezTo>
                  <a:cubicBezTo>
                    <a:pt x="80253" y="16149"/>
                    <a:pt x="111451" y="16149"/>
                    <a:pt x="142532" y="18345"/>
                  </a:cubicBezTo>
                  <a:cubicBezTo>
                    <a:pt x="158403" y="19766"/>
                    <a:pt x="170847" y="32583"/>
                    <a:pt x="171798" y="48490"/>
                  </a:cubicBezTo>
                  <a:cubicBezTo>
                    <a:pt x="173556" y="79939"/>
                    <a:pt x="173213" y="111469"/>
                    <a:pt x="170774" y="142873"/>
                  </a:cubicBezTo>
                  <a:close/>
                  <a:moveTo>
                    <a:pt x="94389" y="46734"/>
                  </a:moveTo>
                  <a:cubicBezTo>
                    <a:pt x="67558" y="46734"/>
                    <a:pt x="45807" y="68484"/>
                    <a:pt x="45807" y="95316"/>
                  </a:cubicBezTo>
                  <a:cubicBezTo>
                    <a:pt x="45807" y="122147"/>
                    <a:pt x="67558" y="143898"/>
                    <a:pt x="94389" y="143898"/>
                  </a:cubicBezTo>
                  <a:cubicBezTo>
                    <a:pt x="121220" y="143898"/>
                    <a:pt x="142971" y="122147"/>
                    <a:pt x="142971" y="95316"/>
                  </a:cubicBezTo>
                  <a:cubicBezTo>
                    <a:pt x="142971" y="68484"/>
                    <a:pt x="121220" y="46734"/>
                    <a:pt x="94389" y="46734"/>
                  </a:cubicBezTo>
                  <a:close/>
                  <a:moveTo>
                    <a:pt x="94389" y="126192"/>
                  </a:moveTo>
                  <a:cubicBezTo>
                    <a:pt x="77014" y="126029"/>
                    <a:pt x="63061" y="111813"/>
                    <a:pt x="63223" y="94438"/>
                  </a:cubicBezTo>
                  <a:cubicBezTo>
                    <a:pt x="63386" y="77062"/>
                    <a:pt x="77602" y="63110"/>
                    <a:pt x="94977" y="63272"/>
                  </a:cubicBezTo>
                  <a:cubicBezTo>
                    <a:pt x="112351" y="63434"/>
                    <a:pt x="126304" y="77649"/>
                    <a:pt x="126143" y="95023"/>
                  </a:cubicBezTo>
                  <a:cubicBezTo>
                    <a:pt x="125982" y="112398"/>
                    <a:pt x="111766" y="126353"/>
                    <a:pt x="94392" y="126192"/>
                  </a:cubicBezTo>
                  <a:cubicBezTo>
                    <a:pt x="94390" y="126192"/>
                    <a:pt x="94390" y="126192"/>
                    <a:pt x="94389" y="126192"/>
                  </a:cubicBezTo>
                  <a:close/>
                  <a:moveTo>
                    <a:pt x="156726" y="44246"/>
                  </a:moveTo>
                  <a:cubicBezTo>
                    <a:pt x="156726" y="50550"/>
                    <a:pt x="151616" y="55660"/>
                    <a:pt x="145312" y="55660"/>
                  </a:cubicBezTo>
                  <a:cubicBezTo>
                    <a:pt x="139008" y="55660"/>
                    <a:pt x="133899" y="50550"/>
                    <a:pt x="133899" y="44246"/>
                  </a:cubicBezTo>
                  <a:cubicBezTo>
                    <a:pt x="133899" y="37942"/>
                    <a:pt x="139008" y="32832"/>
                    <a:pt x="145312" y="32832"/>
                  </a:cubicBezTo>
                  <a:cubicBezTo>
                    <a:pt x="151615" y="32743"/>
                    <a:pt x="156798" y="37780"/>
                    <a:pt x="156887" y="44083"/>
                  </a:cubicBezTo>
                  <a:cubicBezTo>
                    <a:pt x="156890" y="44333"/>
                    <a:pt x="156886" y="44582"/>
                    <a:pt x="156873" y="44831"/>
                  </a:cubicBezTo>
                  <a:close/>
                </a:path>
              </a:pathLst>
            </a:custGeom>
            <a:solidFill>
              <a:srgbClr val="222426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1B73BAC1-68BB-B08A-4E5E-848E2202F081}"/>
                </a:ext>
              </a:extLst>
            </p:cNvPr>
            <p:cNvSpPr/>
            <p:nvPr/>
          </p:nvSpPr>
          <p:spPr>
            <a:xfrm>
              <a:off x="7564337" y="4956355"/>
              <a:ext cx="189794" cy="189830"/>
            </a:xfrm>
            <a:custGeom>
              <a:avLst/>
              <a:gdLst>
                <a:gd name="connsiteX0" fmla="*/ 188188 w 189794"/>
                <a:gd name="connsiteY0" fmla="*/ 48051 h 189830"/>
                <a:gd name="connsiteX1" fmla="*/ 172823 w 189794"/>
                <a:gd name="connsiteY1" fmla="*/ 15711 h 189830"/>
                <a:gd name="connsiteX2" fmla="*/ 138142 w 189794"/>
                <a:gd name="connsiteY2" fmla="*/ 1078 h 189830"/>
                <a:gd name="connsiteX3" fmla="*/ 44344 w 189794"/>
                <a:gd name="connsiteY3" fmla="*/ 2249 h 189830"/>
                <a:gd name="connsiteX4" fmla="*/ 3224 w 189794"/>
                <a:gd name="connsiteY4" fmla="*/ 39417 h 189830"/>
                <a:gd name="connsiteX5" fmla="*/ 2200 w 189794"/>
                <a:gd name="connsiteY5" fmla="*/ 145946 h 189830"/>
                <a:gd name="connsiteX6" fmla="*/ 40393 w 189794"/>
                <a:gd name="connsiteY6" fmla="*/ 187358 h 189830"/>
                <a:gd name="connsiteX7" fmla="*/ 145312 w 189794"/>
                <a:gd name="connsiteY7" fmla="*/ 187358 h 189830"/>
                <a:gd name="connsiteX8" fmla="*/ 186871 w 189794"/>
                <a:gd name="connsiteY8" fmla="*/ 149458 h 189830"/>
                <a:gd name="connsiteX9" fmla="*/ 188188 w 189794"/>
                <a:gd name="connsiteY9" fmla="*/ 48051 h 189830"/>
                <a:gd name="connsiteX10" fmla="*/ 170774 w 189794"/>
                <a:gd name="connsiteY10" fmla="*/ 142873 h 189830"/>
                <a:gd name="connsiteX11" fmla="*/ 140630 w 189794"/>
                <a:gd name="connsiteY11" fmla="*/ 172140 h 189830"/>
                <a:gd name="connsiteX12" fmla="*/ 42734 w 189794"/>
                <a:gd name="connsiteY12" fmla="*/ 170091 h 189830"/>
                <a:gd name="connsiteX13" fmla="*/ 19175 w 189794"/>
                <a:gd name="connsiteY13" fmla="*/ 143312 h 189830"/>
                <a:gd name="connsiteX14" fmla="*/ 19175 w 189794"/>
                <a:gd name="connsiteY14" fmla="*/ 47612 h 189830"/>
                <a:gd name="connsiteX15" fmla="*/ 49173 w 189794"/>
                <a:gd name="connsiteY15" fmla="*/ 18345 h 189830"/>
                <a:gd name="connsiteX16" fmla="*/ 142532 w 189794"/>
                <a:gd name="connsiteY16" fmla="*/ 18345 h 189830"/>
                <a:gd name="connsiteX17" fmla="*/ 171798 w 189794"/>
                <a:gd name="connsiteY17" fmla="*/ 48490 h 189830"/>
                <a:gd name="connsiteX18" fmla="*/ 170774 w 189794"/>
                <a:gd name="connsiteY18" fmla="*/ 142873 h 189830"/>
                <a:gd name="connsiteX19" fmla="*/ 94389 w 189794"/>
                <a:gd name="connsiteY19" fmla="*/ 46734 h 189830"/>
                <a:gd name="connsiteX20" fmla="*/ 45807 w 189794"/>
                <a:gd name="connsiteY20" fmla="*/ 95316 h 189830"/>
                <a:gd name="connsiteX21" fmla="*/ 94389 w 189794"/>
                <a:gd name="connsiteY21" fmla="*/ 143898 h 189830"/>
                <a:gd name="connsiteX22" fmla="*/ 142971 w 189794"/>
                <a:gd name="connsiteY22" fmla="*/ 95316 h 189830"/>
                <a:gd name="connsiteX23" fmla="*/ 94389 w 189794"/>
                <a:gd name="connsiteY23" fmla="*/ 46734 h 189830"/>
                <a:gd name="connsiteX24" fmla="*/ 94389 w 189794"/>
                <a:gd name="connsiteY24" fmla="*/ 126192 h 189830"/>
                <a:gd name="connsiteX25" fmla="*/ 63223 w 189794"/>
                <a:gd name="connsiteY25" fmla="*/ 94438 h 189830"/>
                <a:gd name="connsiteX26" fmla="*/ 94977 w 189794"/>
                <a:gd name="connsiteY26" fmla="*/ 63272 h 189830"/>
                <a:gd name="connsiteX27" fmla="*/ 126143 w 189794"/>
                <a:gd name="connsiteY27" fmla="*/ 95023 h 189830"/>
                <a:gd name="connsiteX28" fmla="*/ 94392 w 189794"/>
                <a:gd name="connsiteY28" fmla="*/ 126192 h 189830"/>
                <a:gd name="connsiteX29" fmla="*/ 94389 w 189794"/>
                <a:gd name="connsiteY29" fmla="*/ 126192 h 189830"/>
                <a:gd name="connsiteX30" fmla="*/ 156726 w 189794"/>
                <a:gd name="connsiteY30" fmla="*/ 44246 h 189830"/>
                <a:gd name="connsiteX31" fmla="*/ 145312 w 189794"/>
                <a:gd name="connsiteY31" fmla="*/ 55660 h 189830"/>
                <a:gd name="connsiteX32" fmla="*/ 133899 w 189794"/>
                <a:gd name="connsiteY32" fmla="*/ 44246 h 189830"/>
                <a:gd name="connsiteX33" fmla="*/ 145312 w 189794"/>
                <a:gd name="connsiteY33" fmla="*/ 32832 h 189830"/>
                <a:gd name="connsiteX34" fmla="*/ 156887 w 189794"/>
                <a:gd name="connsiteY34" fmla="*/ 44083 h 189830"/>
                <a:gd name="connsiteX35" fmla="*/ 156873 w 189794"/>
                <a:gd name="connsiteY35" fmla="*/ 44831 h 189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89794" h="189830">
                  <a:moveTo>
                    <a:pt x="188188" y="48051"/>
                  </a:moveTo>
                  <a:cubicBezTo>
                    <a:pt x="187229" y="35745"/>
                    <a:pt x="181758" y="24228"/>
                    <a:pt x="172823" y="15711"/>
                  </a:cubicBezTo>
                  <a:cubicBezTo>
                    <a:pt x="163482" y="6694"/>
                    <a:pt x="151119" y="1477"/>
                    <a:pt x="138142" y="1078"/>
                  </a:cubicBezTo>
                  <a:cubicBezTo>
                    <a:pt x="106886" y="-679"/>
                    <a:pt x="75546" y="-288"/>
                    <a:pt x="44344" y="2249"/>
                  </a:cubicBezTo>
                  <a:cubicBezTo>
                    <a:pt x="24107" y="4588"/>
                    <a:pt x="7589" y="19519"/>
                    <a:pt x="3224" y="39417"/>
                  </a:cubicBezTo>
                  <a:cubicBezTo>
                    <a:pt x="-700" y="74802"/>
                    <a:pt x="-1043" y="110493"/>
                    <a:pt x="2200" y="145946"/>
                  </a:cubicBezTo>
                  <a:cubicBezTo>
                    <a:pt x="4683" y="166535"/>
                    <a:pt x="20071" y="183221"/>
                    <a:pt x="40393" y="187358"/>
                  </a:cubicBezTo>
                  <a:cubicBezTo>
                    <a:pt x="75288" y="190655"/>
                    <a:pt x="110417" y="190655"/>
                    <a:pt x="145312" y="187358"/>
                  </a:cubicBezTo>
                  <a:cubicBezTo>
                    <a:pt x="165932" y="185103"/>
                    <a:pt x="182731" y="169782"/>
                    <a:pt x="186871" y="149458"/>
                  </a:cubicBezTo>
                  <a:cubicBezTo>
                    <a:pt x="190264" y="115758"/>
                    <a:pt x="190704" y="81827"/>
                    <a:pt x="188188" y="48051"/>
                  </a:cubicBezTo>
                  <a:close/>
                  <a:moveTo>
                    <a:pt x="170774" y="142873"/>
                  </a:moveTo>
                  <a:cubicBezTo>
                    <a:pt x="169353" y="158745"/>
                    <a:pt x="156536" y="171189"/>
                    <a:pt x="140630" y="172140"/>
                  </a:cubicBezTo>
                  <a:cubicBezTo>
                    <a:pt x="107999" y="174247"/>
                    <a:pt x="75247" y="173562"/>
                    <a:pt x="42734" y="170091"/>
                  </a:cubicBezTo>
                  <a:cubicBezTo>
                    <a:pt x="29998" y="167062"/>
                    <a:pt x="20557" y="156330"/>
                    <a:pt x="19175" y="143312"/>
                  </a:cubicBezTo>
                  <a:cubicBezTo>
                    <a:pt x="16687" y="111460"/>
                    <a:pt x="16687" y="79464"/>
                    <a:pt x="19175" y="47612"/>
                  </a:cubicBezTo>
                  <a:cubicBezTo>
                    <a:pt x="20526" y="31764"/>
                    <a:pt x="33296" y="19305"/>
                    <a:pt x="49173" y="18345"/>
                  </a:cubicBezTo>
                  <a:cubicBezTo>
                    <a:pt x="80253" y="16149"/>
                    <a:pt x="111451" y="16149"/>
                    <a:pt x="142532" y="18345"/>
                  </a:cubicBezTo>
                  <a:cubicBezTo>
                    <a:pt x="158403" y="19766"/>
                    <a:pt x="170847" y="32583"/>
                    <a:pt x="171798" y="48490"/>
                  </a:cubicBezTo>
                  <a:cubicBezTo>
                    <a:pt x="173556" y="79939"/>
                    <a:pt x="173213" y="111469"/>
                    <a:pt x="170774" y="142873"/>
                  </a:cubicBezTo>
                  <a:close/>
                  <a:moveTo>
                    <a:pt x="94389" y="46734"/>
                  </a:moveTo>
                  <a:cubicBezTo>
                    <a:pt x="67558" y="46734"/>
                    <a:pt x="45807" y="68484"/>
                    <a:pt x="45807" y="95316"/>
                  </a:cubicBezTo>
                  <a:cubicBezTo>
                    <a:pt x="45807" y="122147"/>
                    <a:pt x="67558" y="143898"/>
                    <a:pt x="94389" y="143898"/>
                  </a:cubicBezTo>
                  <a:cubicBezTo>
                    <a:pt x="121220" y="143898"/>
                    <a:pt x="142971" y="122147"/>
                    <a:pt x="142971" y="95316"/>
                  </a:cubicBezTo>
                  <a:cubicBezTo>
                    <a:pt x="142971" y="68484"/>
                    <a:pt x="121220" y="46734"/>
                    <a:pt x="94389" y="46734"/>
                  </a:cubicBezTo>
                  <a:close/>
                  <a:moveTo>
                    <a:pt x="94389" y="126192"/>
                  </a:moveTo>
                  <a:cubicBezTo>
                    <a:pt x="77014" y="126029"/>
                    <a:pt x="63061" y="111813"/>
                    <a:pt x="63223" y="94438"/>
                  </a:cubicBezTo>
                  <a:cubicBezTo>
                    <a:pt x="63386" y="77062"/>
                    <a:pt x="77602" y="63110"/>
                    <a:pt x="94977" y="63272"/>
                  </a:cubicBezTo>
                  <a:cubicBezTo>
                    <a:pt x="112351" y="63434"/>
                    <a:pt x="126304" y="77649"/>
                    <a:pt x="126143" y="95023"/>
                  </a:cubicBezTo>
                  <a:cubicBezTo>
                    <a:pt x="125982" y="112398"/>
                    <a:pt x="111766" y="126353"/>
                    <a:pt x="94392" y="126192"/>
                  </a:cubicBezTo>
                  <a:cubicBezTo>
                    <a:pt x="94390" y="126192"/>
                    <a:pt x="94390" y="126192"/>
                    <a:pt x="94389" y="126192"/>
                  </a:cubicBezTo>
                  <a:close/>
                  <a:moveTo>
                    <a:pt x="156726" y="44246"/>
                  </a:moveTo>
                  <a:cubicBezTo>
                    <a:pt x="156726" y="50550"/>
                    <a:pt x="151616" y="55660"/>
                    <a:pt x="145312" y="55660"/>
                  </a:cubicBezTo>
                  <a:cubicBezTo>
                    <a:pt x="139008" y="55660"/>
                    <a:pt x="133899" y="50550"/>
                    <a:pt x="133899" y="44246"/>
                  </a:cubicBezTo>
                  <a:cubicBezTo>
                    <a:pt x="133899" y="37942"/>
                    <a:pt x="139008" y="32832"/>
                    <a:pt x="145312" y="32832"/>
                  </a:cubicBezTo>
                  <a:cubicBezTo>
                    <a:pt x="151615" y="32743"/>
                    <a:pt x="156798" y="37780"/>
                    <a:pt x="156887" y="44083"/>
                  </a:cubicBezTo>
                  <a:cubicBezTo>
                    <a:pt x="156890" y="44333"/>
                    <a:pt x="156886" y="44582"/>
                    <a:pt x="156873" y="44831"/>
                  </a:cubicBezTo>
                  <a:close/>
                </a:path>
              </a:pathLst>
            </a:custGeom>
            <a:solidFill>
              <a:srgbClr val="222426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45" name="Graphic 62">
            <a:extLst>
              <a:ext uri="{FF2B5EF4-FFF2-40B4-BE49-F238E27FC236}">
                <a16:creationId xmlns:a16="http://schemas.microsoft.com/office/drawing/2014/main" id="{83132B1E-4C7E-04CA-0090-FF3F2B3C7481}"/>
              </a:ext>
            </a:extLst>
          </p:cNvPr>
          <p:cNvGrpSpPr/>
          <p:nvPr/>
        </p:nvGrpSpPr>
        <p:grpSpPr>
          <a:xfrm>
            <a:off x="8551350" y="4863050"/>
            <a:ext cx="381486" cy="381486"/>
            <a:chOff x="8551350" y="4863050"/>
            <a:chExt cx="381486" cy="381486"/>
          </a:xfrm>
        </p:grpSpPr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C878F08F-158B-8FAA-17B2-F59969E12F07}"/>
                </a:ext>
              </a:extLst>
            </p:cNvPr>
            <p:cNvSpPr/>
            <p:nvPr/>
          </p:nvSpPr>
          <p:spPr>
            <a:xfrm>
              <a:off x="8551350" y="4863050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4EE7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1E953DF1-D076-3DC7-CE7A-78B15CE54084}"/>
                </a:ext>
              </a:extLst>
            </p:cNvPr>
            <p:cNvSpPr/>
            <p:nvPr/>
          </p:nvSpPr>
          <p:spPr>
            <a:xfrm>
              <a:off x="8640465" y="4972291"/>
              <a:ext cx="201937" cy="164477"/>
            </a:xfrm>
            <a:custGeom>
              <a:avLst/>
              <a:gdLst>
                <a:gd name="connsiteX0" fmla="*/ 61898 w 201937"/>
                <a:gd name="connsiteY0" fmla="*/ 127962 h 164477"/>
                <a:gd name="connsiteX1" fmla="*/ 23120 w 201937"/>
                <a:gd name="connsiteY1" fmla="*/ 98696 h 164477"/>
                <a:gd name="connsiteX2" fmla="*/ 40973 w 201937"/>
                <a:gd name="connsiteY2" fmla="*/ 98696 h 164477"/>
                <a:gd name="connsiteX3" fmla="*/ 40973 w 201937"/>
                <a:gd name="connsiteY3" fmla="*/ 98696 h 164477"/>
                <a:gd name="connsiteX4" fmla="*/ 14048 w 201937"/>
                <a:gd name="connsiteY4" fmla="*/ 79526 h 164477"/>
                <a:gd name="connsiteX5" fmla="*/ 7902 w 201937"/>
                <a:gd name="connsiteY5" fmla="*/ 57430 h 164477"/>
                <a:gd name="connsiteX6" fmla="*/ 26340 w 201937"/>
                <a:gd name="connsiteY6" fmla="*/ 62552 h 164477"/>
                <a:gd name="connsiteX7" fmla="*/ 13755 w 201937"/>
                <a:gd name="connsiteY7" fmla="*/ 7238 h 164477"/>
                <a:gd name="connsiteX8" fmla="*/ 99505 w 201937"/>
                <a:gd name="connsiteY8" fmla="*/ 51138 h 164477"/>
                <a:gd name="connsiteX9" fmla="*/ 99505 w 201937"/>
                <a:gd name="connsiteY9" fmla="*/ 46601 h 164477"/>
                <a:gd name="connsiteX10" fmla="*/ 135714 w 201937"/>
                <a:gd name="connsiteY10" fmla="*/ 307 h 164477"/>
                <a:gd name="connsiteX11" fmla="*/ 170184 w 201937"/>
                <a:gd name="connsiteY11" fmla="*/ 12214 h 164477"/>
                <a:gd name="connsiteX12" fmla="*/ 172379 w 201937"/>
                <a:gd name="connsiteY12" fmla="*/ 12214 h 164477"/>
                <a:gd name="connsiteX13" fmla="*/ 196523 w 201937"/>
                <a:gd name="connsiteY13" fmla="*/ 2995 h 164477"/>
                <a:gd name="connsiteX14" fmla="*/ 196523 w 201937"/>
                <a:gd name="connsiteY14" fmla="*/ 2995 h 164477"/>
                <a:gd name="connsiteX15" fmla="*/ 196523 w 201937"/>
                <a:gd name="connsiteY15" fmla="*/ 2995 h 164477"/>
                <a:gd name="connsiteX16" fmla="*/ 178671 w 201937"/>
                <a:gd name="connsiteY16" fmla="*/ 25676 h 164477"/>
                <a:gd name="connsiteX17" fmla="*/ 201938 w 201937"/>
                <a:gd name="connsiteY17" fmla="*/ 19384 h 164477"/>
                <a:gd name="connsiteX18" fmla="*/ 201938 w 201937"/>
                <a:gd name="connsiteY18" fmla="*/ 19384 h 164477"/>
                <a:gd name="connsiteX19" fmla="*/ 197109 w 201937"/>
                <a:gd name="connsiteY19" fmla="*/ 25530 h 164477"/>
                <a:gd name="connsiteX20" fmla="*/ 182475 w 201937"/>
                <a:gd name="connsiteY20" fmla="*/ 40163 h 164477"/>
                <a:gd name="connsiteX21" fmla="*/ 181744 w 201937"/>
                <a:gd name="connsiteY21" fmla="*/ 41480 h 164477"/>
                <a:gd name="connsiteX22" fmla="*/ 181012 w 201937"/>
                <a:gd name="connsiteY22" fmla="*/ 60064 h 164477"/>
                <a:gd name="connsiteX23" fmla="*/ 170330 w 201937"/>
                <a:gd name="connsiteY23" fmla="*/ 96940 h 164477"/>
                <a:gd name="connsiteX24" fmla="*/ 147795 w 201937"/>
                <a:gd name="connsiteY24" fmla="*/ 129718 h 164477"/>
                <a:gd name="connsiteX25" fmla="*/ 90726 w 201937"/>
                <a:gd name="connsiteY25" fmla="*/ 161618 h 164477"/>
                <a:gd name="connsiteX26" fmla="*/ 67605 w 201937"/>
                <a:gd name="connsiteY26" fmla="*/ 164398 h 164477"/>
                <a:gd name="connsiteX27" fmla="*/ 1024 w 201937"/>
                <a:gd name="connsiteY27" fmla="*/ 146546 h 164477"/>
                <a:gd name="connsiteX28" fmla="*/ 0 w 201937"/>
                <a:gd name="connsiteY28" fmla="*/ 145814 h 164477"/>
                <a:gd name="connsiteX29" fmla="*/ 42582 w 201937"/>
                <a:gd name="connsiteY29" fmla="*/ 139522 h 164477"/>
                <a:gd name="connsiteX30" fmla="*/ 61898 w 201937"/>
                <a:gd name="connsiteY30" fmla="*/ 127962 h 164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01937" h="164477">
                  <a:moveTo>
                    <a:pt x="61898" y="127962"/>
                  </a:moveTo>
                  <a:cubicBezTo>
                    <a:pt x="44053" y="127475"/>
                    <a:pt x="28482" y="115723"/>
                    <a:pt x="23120" y="98696"/>
                  </a:cubicBezTo>
                  <a:cubicBezTo>
                    <a:pt x="28998" y="100012"/>
                    <a:pt x="35095" y="100012"/>
                    <a:pt x="40973" y="98696"/>
                  </a:cubicBezTo>
                  <a:lnTo>
                    <a:pt x="40973" y="98696"/>
                  </a:lnTo>
                  <a:cubicBezTo>
                    <a:pt x="29726" y="96319"/>
                    <a:pt x="19973" y="89376"/>
                    <a:pt x="14048" y="79526"/>
                  </a:cubicBezTo>
                  <a:cubicBezTo>
                    <a:pt x="9884" y="72919"/>
                    <a:pt x="7747" y="65238"/>
                    <a:pt x="7902" y="57430"/>
                  </a:cubicBezTo>
                  <a:cubicBezTo>
                    <a:pt x="13540" y="60611"/>
                    <a:pt x="19869" y="62369"/>
                    <a:pt x="26340" y="62552"/>
                  </a:cubicBezTo>
                  <a:cubicBezTo>
                    <a:pt x="8506" y="50119"/>
                    <a:pt x="3056" y="26162"/>
                    <a:pt x="13755" y="7238"/>
                  </a:cubicBezTo>
                  <a:cubicBezTo>
                    <a:pt x="34894" y="33278"/>
                    <a:pt x="66020" y="49213"/>
                    <a:pt x="99505" y="51138"/>
                  </a:cubicBezTo>
                  <a:cubicBezTo>
                    <a:pt x="99505" y="49382"/>
                    <a:pt x="99505" y="47918"/>
                    <a:pt x="99505" y="46601"/>
                  </a:cubicBezTo>
                  <a:cubicBezTo>
                    <a:pt x="96721" y="23819"/>
                    <a:pt x="112931" y="3093"/>
                    <a:pt x="135714" y="307"/>
                  </a:cubicBezTo>
                  <a:cubicBezTo>
                    <a:pt x="148424" y="-1246"/>
                    <a:pt x="161142" y="3146"/>
                    <a:pt x="170184" y="12214"/>
                  </a:cubicBezTo>
                  <a:cubicBezTo>
                    <a:pt x="170854" y="12638"/>
                    <a:pt x="171708" y="12638"/>
                    <a:pt x="172379" y="12214"/>
                  </a:cubicBezTo>
                  <a:cubicBezTo>
                    <a:pt x="180845" y="10376"/>
                    <a:pt x="188986" y="7268"/>
                    <a:pt x="196523" y="2995"/>
                  </a:cubicBezTo>
                  <a:lnTo>
                    <a:pt x="196523" y="2995"/>
                  </a:lnTo>
                  <a:lnTo>
                    <a:pt x="196523" y="2995"/>
                  </a:lnTo>
                  <a:cubicBezTo>
                    <a:pt x="193462" y="12439"/>
                    <a:pt x="187132" y="20482"/>
                    <a:pt x="178671" y="25676"/>
                  </a:cubicBezTo>
                  <a:cubicBezTo>
                    <a:pt x="186701" y="24774"/>
                    <a:pt x="194548" y="22652"/>
                    <a:pt x="201938" y="19384"/>
                  </a:cubicBezTo>
                  <a:lnTo>
                    <a:pt x="201938" y="19384"/>
                  </a:lnTo>
                  <a:cubicBezTo>
                    <a:pt x="200328" y="21432"/>
                    <a:pt x="198718" y="23627"/>
                    <a:pt x="197109" y="25530"/>
                  </a:cubicBezTo>
                  <a:cubicBezTo>
                    <a:pt x="192906" y="31039"/>
                    <a:pt x="187985" y="35961"/>
                    <a:pt x="182475" y="40163"/>
                  </a:cubicBezTo>
                  <a:cubicBezTo>
                    <a:pt x="182475" y="40163"/>
                    <a:pt x="181744" y="40895"/>
                    <a:pt x="181744" y="41480"/>
                  </a:cubicBezTo>
                  <a:cubicBezTo>
                    <a:pt x="182014" y="47684"/>
                    <a:pt x="181770" y="53900"/>
                    <a:pt x="181012" y="60064"/>
                  </a:cubicBezTo>
                  <a:cubicBezTo>
                    <a:pt x="179383" y="72836"/>
                    <a:pt x="175779" y="85275"/>
                    <a:pt x="170330" y="96940"/>
                  </a:cubicBezTo>
                  <a:cubicBezTo>
                    <a:pt x="164728" y="109063"/>
                    <a:pt x="157109" y="120146"/>
                    <a:pt x="147795" y="129718"/>
                  </a:cubicBezTo>
                  <a:cubicBezTo>
                    <a:pt x="132398" y="145829"/>
                    <a:pt x="112516" y="156943"/>
                    <a:pt x="90726" y="161618"/>
                  </a:cubicBezTo>
                  <a:cubicBezTo>
                    <a:pt x="83112" y="163201"/>
                    <a:pt x="75377" y="164131"/>
                    <a:pt x="67605" y="164398"/>
                  </a:cubicBezTo>
                  <a:cubicBezTo>
                    <a:pt x="44123" y="165265"/>
                    <a:pt x="20923" y="159044"/>
                    <a:pt x="1024" y="146546"/>
                  </a:cubicBezTo>
                  <a:lnTo>
                    <a:pt x="0" y="145814"/>
                  </a:lnTo>
                  <a:cubicBezTo>
                    <a:pt x="14500" y="147444"/>
                    <a:pt x="29174" y="145276"/>
                    <a:pt x="42582" y="139522"/>
                  </a:cubicBezTo>
                  <a:cubicBezTo>
                    <a:pt x="49521" y="136573"/>
                    <a:pt x="56021" y="132684"/>
                    <a:pt x="61898" y="127962"/>
                  </a:cubicBezTo>
                  <a:close/>
                </a:path>
              </a:pathLst>
            </a:custGeom>
            <a:solidFill>
              <a:srgbClr val="222426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48" name="Graphic 64">
            <a:extLst>
              <a:ext uri="{FF2B5EF4-FFF2-40B4-BE49-F238E27FC236}">
                <a16:creationId xmlns:a16="http://schemas.microsoft.com/office/drawing/2014/main" id="{C7FEB25A-C9C8-B1B3-AE00-C99AB5D8F103}"/>
              </a:ext>
            </a:extLst>
          </p:cNvPr>
          <p:cNvGrpSpPr/>
          <p:nvPr/>
        </p:nvGrpSpPr>
        <p:grpSpPr>
          <a:xfrm>
            <a:off x="9634205" y="4863050"/>
            <a:ext cx="381486" cy="381486"/>
            <a:chOff x="9634205" y="4863050"/>
            <a:chExt cx="381486" cy="381486"/>
          </a:xfrm>
        </p:grpSpPr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0AC02C52-0D7D-9100-CBDE-5E6491845632}"/>
                </a:ext>
              </a:extLst>
            </p:cNvPr>
            <p:cNvSpPr/>
            <p:nvPr/>
          </p:nvSpPr>
          <p:spPr>
            <a:xfrm>
              <a:off x="9634205" y="4863050"/>
              <a:ext cx="381486" cy="381486"/>
            </a:xfrm>
            <a:custGeom>
              <a:avLst/>
              <a:gdLst>
                <a:gd name="connsiteX0" fmla="*/ 349732 w 381486"/>
                <a:gd name="connsiteY0" fmla="*/ 0 h 381486"/>
                <a:gd name="connsiteX1" fmla="*/ 381486 w 381486"/>
                <a:gd name="connsiteY1" fmla="*/ 0 h 381486"/>
                <a:gd name="connsiteX2" fmla="*/ 381486 w 381486"/>
                <a:gd name="connsiteY2" fmla="*/ 381486 h 381486"/>
                <a:gd name="connsiteX3" fmla="*/ 349732 w 381486"/>
                <a:gd name="connsiteY3" fmla="*/ 381486 h 381486"/>
                <a:gd name="connsiteX4" fmla="*/ 31754 w 381486"/>
                <a:gd name="connsiteY4" fmla="*/ 381486 h 381486"/>
                <a:gd name="connsiteX5" fmla="*/ 0 w 381486"/>
                <a:gd name="connsiteY5" fmla="*/ 381486 h 381486"/>
                <a:gd name="connsiteX6" fmla="*/ 0 w 381486"/>
                <a:gd name="connsiteY6" fmla="*/ 0 h 381486"/>
                <a:gd name="connsiteX7" fmla="*/ 31754 w 381486"/>
                <a:gd name="connsiteY7" fmla="*/ 0 h 381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1486" h="381486">
                  <a:moveTo>
                    <a:pt x="349732" y="0"/>
                  </a:moveTo>
                  <a:cubicBezTo>
                    <a:pt x="367270" y="0"/>
                    <a:pt x="381486" y="0"/>
                    <a:pt x="381486" y="0"/>
                  </a:cubicBezTo>
                  <a:lnTo>
                    <a:pt x="381486" y="381486"/>
                  </a:lnTo>
                  <a:cubicBezTo>
                    <a:pt x="381486" y="381486"/>
                    <a:pt x="367270" y="381486"/>
                    <a:pt x="349732" y="381486"/>
                  </a:cubicBezTo>
                  <a:lnTo>
                    <a:pt x="31754" y="381486"/>
                  </a:lnTo>
                  <a:cubicBezTo>
                    <a:pt x="14217" y="381486"/>
                    <a:pt x="0" y="381486"/>
                    <a:pt x="0" y="381486"/>
                  </a:cubicBezTo>
                  <a:lnTo>
                    <a:pt x="0" y="0"/>
                  </a:lnTo>
                  <a:cubicBezTo>
                    <a:pt x="0" y="0"/>
                    <a:pt x="14217" y="0"/>
                    <a:pt x="31754" y="0"/>
                  </a:cubicBezTo>
                  <a:close/>
                </a:path>
              </a:pathLst>
            </a:custGeom>
            <a:solidFill>
              <a:srgbClr val="5AA2FF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6522996D-720F-1A90-48CA-02B4BC31EB9D}"/>
                </a:ext>
              </a:extLst>
            </p:cNvPr>
            <p:cNvSpPr/>
            <p:nvPr/>
          </p:nvSpPr>
          <p:spPr>
            <a:xfrm>
              <a:off x="9764879" y="4946162"/>
              <a:ext cx="112821" cy="216135"/>
            </a:xfrm>
            <a:custGeom>
              <a:avLst/>
              <a:gdLst>
                <a:gd name="connsiteX0" fmla="*/ 89994 w 112821"/>
                <a:gd name="connsiteY0" fmla="*/ 36002 h 216135"/>
                <a:gd name="connsiteX1" fmla="*/ 110188 w 112821"/>
                <a:gd name="connsiteY1" fmla="*/ 36002 h 216135"/>
                <a:gd name="connsiteX2" fmla="*/ 112822 w 112821"/>
                <a:gd name="connsiteY2" fmla="*/ 36002 h 216135"/>
                <a:gd name="connsiteX3" fmla="*/ 112822 w 112821"/>
                <a:gd name="connsiteY3" fmla="*/ 1028 h 216135"/>
                <a:gd name="connsiteX4" fmla="*/ 101847 w 112821"/>
                <a:gd name="connsiteY4" fmla="*/ 4 h 216135"/>
                <a:gd name="connsiteX5" fmla="*/ 81214 w 112821"/>
                <a:gd name="connsiteY5" fmla="*/ 4 h 216135"/>
                <a:gd name="connsiteX6" fmla="*/ 51948 w 112821"/>
                <a:gd name="connsiteY6" fmla="*/ 8930 h 216135"/>
                <a:gd name="connsiteX7" fmla="*/ 34388 w 112821"/>
                <a:gd name="connsiteY7" fmla="*/ 38197 h 216135"/>
                <a:gd name="connsiteX8" fmla="*/ 33217 w 112821"/>
                <a:gd name="connsiteY8" fmla="*/ 52830 h 216135"/>
                <a:gd name="connsiteX9" fmla="*/ 33217 w 112821"/>
                <a:gd name="connsiteY9" fmla="*/ 76389 h 216135"/>
                <a:gd name="connsiteX10" fmla="*/ 33217 w 112821"/>
                <a:gd name="connsiteY10" fmla="*/ 79316 h 216135"/>
                <a:gd name="connsiteX11" fmla="*/ 0 w 112821"/>
                <a:gd name="connsiteY11" fmla="*/ 79316 h 216135"/>
                <a:gd name="connsiteX12" fmla="*/ 0 w 112821"/>
                <a:gd name="connsiteY12" fmla="*/ 118240 h 216135"/>
                <a:gd name="connsiteX13" fmla="*/ 33071 w 112821"/>
                <a:gd name="connsiteY13" fmla="*/ 118240 h 216135"/>
                <a:gd name="connsiteX14" fmla="*/ 33071 w 112821"/>
                <a:gd name="connsiteY14" fmla="*/ 216136 h 216135"/>
                <a:gd name="connsiteX15" fmla="*/ 74190 w 112821"/>
                <a:gd name="connsiteY15" fmla="*/ 216136 h 216135"/>
                <a:gd name="connsiteX16" fmla="*/ 74190 w 112821"/>
                <a:gd name="connsiteY16" fmla="*/ 118094 h 216135"/>
                <a:gd name="connsiteX17" fmla="*/ 107261 w 112821"/>
                <a:gd name="connsiteY17" fmla="*/ 118094 h 216135"/>
                <a:gd name="connsiteX18" fmla="*/ 112383 w 112821"/>
                <a:gd name="connsiteY18" fmla="*/ 79023 h 216135"/>
                <a:gd name="connsiteX19" fmla="*/ 73312 w 112821"/>
                <a:gd name="connsiteY19" fmla="*/ 79023 h 216135"/>
                <a:gd name="connsiteX20" fmla="*/ 73312 w 112821"/>
                <a:gd name="connsiteY20" fmla="*/ 51366 h 216135"/>
                <a:gd name="connsiteX21" fmla="*/ 89994 w 112821"/>
                <a:gd name="connsiteY21" fmla="*/ 36002 h 216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821" h="216135">
                  <a:moveTo>
                    <a:pt x="89994" y="36002"/>
                  </a:moveTo>
                  <a:cubicBezTo>
                    <a:pt x="96725" y="36002"/>
                    <a:pt x="103456" y="36002"/>
                    <a:pt x="110188" y="36002"/>
                  </a:cubicBezTo>
                  <a:lnTo>
                    <a:pt x="112822" y="36002"/>
                  </a:lnTo>
                  <a:lnTo>
                    <a:pt x="112822" y="1028"/>
                  </a:lnTo>
                  <a:cubicBezTo>
                    <a:pt x="109310" y="1028"/>
                    <a:pt x="105505" y="150"/>
                    <a:pt x="101847" y="4"/>
                  </a:cubicBezTo>
                  <a:cubicBezTo>
                    <a:pt x="94969" y="4"/>
                    <a:pt x="88092" y="4"/>
                    <a:pt x="81214" y="4"/>
                  </a:cubicBezTo>
                  <a:cubicBezTo>
                    <a:pt x="70769" y="-129"/>
                    <a:pt x="60540" y="2990"/>
                    <a:pt x="51948" y="8930"/>
                  </a:cubicBezTo>
                  <a:cubicBezTo>
                    <a:pt x="42386" y="15918"/>
                    <a:pt x="36055" y="26472"/>
                    <a:pt x="34388" y="38197"/>
                  </a:cubicBezTo>
                  <a:cubicBezTo>
                    <a:pt x="33649" y="43040"/>
                    <a:pt x="33257" y="47930"/>
                    <a:pt x="33217" y="52830"/>
                  </a:cubicBezTo>
                  <a:cubicBezTo>
                    <a:pt x="33217" y="60732"/>
                    <a:pt x="33217" y="68487"/>
                    <a:pt x="33217" y="76389"/>
                  </a:cubicBezTo>
                  <a:lnTo>
                    <a:pt x="33217" y="79316"/>
                  </a:lnTo>
                  <a:lnTo>
                    <a:pt x="0" y="79316"/>
                  </a:lnTo>
                  <a:lnTo>
                    <a:pt x="0" y="118240"/>
                  </a:lnTo>
                  <a:lnTo>
                    <a:pt x="33071" y="118240"/>
                  </a:lnTo>
                  <a:lnTo>
                    <a:pt x="33071" y="216136"/>
                  </a:lnTo>
                  <a:lnTo>
                    <a:pt x="74190" y="216136"/>
                  </a:lnTo>
                  <a:lnTo>
                    <a:pt x="74190" y="118094"/>
                  </a:lnTo>
                  <a:lnTo>
                    <a:pt x="107261" y="118094"/>
                  </a:lnTo>
                  <a:cubicBezTo>
                    <a:pt x="109017" y="105070"/>
                    <a:pt x="110627" y="92339"/>
                    <a:pt x="112383" y="79023"/>
                  </a:cubicBezTo>
                  <a:lnTo>
                    <a:pt x="73312" y="79023"/>
                  </a:lnTo>
                  <a:cubicBezTo>
                    <a:pt x="73312" y="79023"/>
                    <a:pt x="73312" y="59707"/>
                    <a:pt x="73312" y="51366"/>
                  </a:cubicBezTo>
                  <a:cubicBezTo>
                    <a:pt x="74190" y="39806"/>
                    <a:pt x="80775" y="36294"/>
                    <a:pt x="89994" y="36002"/>
                  </a:cubicBezTo>
                  <a:close/>
                </a:path>
              </a:pathLst>
            </a:custGeom>
            <a:solidFill>
              <a:srgbClr val="222426"/>
            </a:solidFill>
            <a:ln w="14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</p:spTree>
    <p:extLst>
      <p:ext uri="{BB962C8B-B14F-4D97-AF65-F5344CB8AC3E}">
        <p14:creationId xmlns:p14="http://schemas.microsoft.com/office/powerpoint/2010/main" val="303642937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>
            <a:extLst>
              <a:ext uri="{FF2B5EF4-FFF2-40B4-BE49-F238E27FC236}">
                <a16:creationId xmlns:a16="http://schemas.microsoft.com/office/drawing/2014/main" id="{AB37B252-0DF7-94D0-D2E9-54B7C060FE88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ocial Icons - Vector</a:t>
            </a:r>
            <a:endParaRPr lang="en-CA" dirty="0">
              <a:solidFill>
                <a:schemeClr val="tx1"/>
              </a:solidFill>
            </a:endParaRPr>
          </a:p>
        </p:txBody>
      </p:sp>
      <p:grpSp>
        <p:nvGrpSpPr>
          <p:cNvPr id="2" name="Graphic 4">
            <a:extLst>
              <a:ext uri="{FF2B5EF4-FFF2-40B4-BE49-F238E27FC236}">
                <a16:creationId xmlns:a16="http://schemas.microsoft.com/office/drawing/2014/main" id="{D8F17E33-DE17-B876-D8C9-CAAD10E9598D}"/>
              </a:ext>
            </a:extLst>
          </p:cNvPr>
          <p:cNvGrpSpPr/>
          <p:nvPr/>
        </p:nvGrpSpPr>
        <p:grpSpPr>
          <a:xfrm>
            <a:off x="10742932" y="4101570"/>
            <a:ext cx="735857" cy="793893"/>
            <a:chOff x="10742932" y="4101570"/>
            <a:chExt cx="735857" cy="793893"/>
          </a:xfrm>
          <a:solidFill>
            <a:srgbClr val="2A2E2D"/>
          </a:solidFill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708F9C66-31A3-AF82-E9CA-A6F32204867C}"/>
                </a:ext>
              </a:extLst>
            </p:cNvPr>
            <p:cNvSpPr/>
            <p:nvPr/>
          </p:nvSpPr>
          <p:spPr>
            <a:xfrm>
              <a:off x="11029353" y="4401671"/>
              <a:ext cx="449436" cy="493791"/>
            </a:xfrm>
            <a:custGeom>
              <a:avLst/>
              <a:gdLst>
                <a:gd name="connsiteX0" fmla="*/ 159543 w 449436"/>
                <a:gd name="connsiteY0" fmla="*/ 13667 h 493791"/>
                <a:gd name="connsiteX1" fmla="*/ 153736 w 449436"/>
                <a:gd name="connsiteY1" fmla="*/ 87671 h 493791"/>
                <a:gd name="connsiteX2" fmla="*/ 143633 w 449436"/>
                <a:gd name="connsiteY2" fmla="*/ 165493 h 493791"/>
                <a:gd name="connsiteX3" fmla="*/ 89224 w 449436"/>
                <a:gd name="connsiteY3" fmla="*/ 173448 h 493791"/>
                <a:gd name="connsiteX4" fmla="*/ 11958 w 449436"/>
                <a:gd name="connsiteY4" fmla="*/ 193493 h 493791"/>
                <a:gd name="connsiteX5" fmla="*/ 5542 w 449436"/>
                <a:gd name="connsiteY5" fmla="*/ 201925 h 493791"/>
                <a:gd name="connsiteX6" fmla="*/ 0 w 449436"/>
                <a:gd name="connsiteY6" fmla="*/ 305335 h 493791"/>
                <a:gd name="connsiteX7" fmla="*/ 8724 w 449436"/>
                <a:gd name="connsiteY7" fmla="*/ 314085 h 493791"/>
                <a:gd name="connsiteX8" fmla="*/ 147160 w 449436"/>
                <a:gd name="connsiteY8" fmla="*/ 313210 h 493791"/>
                <a:gd name="connsiteX9" fmla="*/ 138701 w 449436"/>
                <a:gd name="connsiteY9" fmla="*/ 302126 h 493791"/>
                <a:gd name="connsiteX10" fmla="*/ 141353 w 449436"/>
                <a:gd name="connsiteY10" fmla="*/ 481317 h 493791"/>
                <a:gd name="connsiteX11" fmla="*/ 147770 w 449436"/>
                <a:gd name="connsiteY11" fmla="*/ 489775 h 493791"/>
                <a:gd name="connsiteX12" fmla="*/ 217611 w 449436"/>
                <a:gd name="connsiteY12" fmla="*/ 492639 h 493791"/>
                <a:gd name="connsiteX13" fmla="*/ 291111 w 449436"/>
                <a:gd name="connsiteY13" fmla="*/ 492639 h 493791"/>
                <a:gd name="connsiteX14" fmla="*/ 299861 w 449436"/>
                <a:gd name="connsiteY14" fmla="*/ 483889 h 493791"/>
                <a:gd name="connsiteX15" fmla="*/ 307206 w 449436"/>
                <a:gd name="connsiteY15" fmla="*/ 378437 h 493791"/>
                <a:gd name="connsiteX16" fmla="*/ 312509 w 449436"/>
                <a:gd name="connsiteY16" fmla="*/ 323312 h 493791"/>
                <a:gd name="connsiteX17" fmla="*/ 359919 w 449436"/>
                <a:gd name="connsiteY17" fmla="*/ 324930 h 493791"/>
                <a:gd name="connsiteX18" fmla="*/ 429892 w 449436"/>
                <a:gd name="connsiteY18" fmla="*/ 325195 h 493791"/>
                <a:gd name="connsiteX19" fmla="*/ 438642 w 449436"/>
                <a:gd name="connsiteY19" fmla="*/ 316445 h 493791"/>
                <a:gd name="connsiteX20" fmla="*/ 449408 w 449436"/>
                <a:gd name="connsiteY20" fmla="*/ 194713 h 493791"/>
                <a:gd name="connsiteX21" fmla="*/ 440658 w 449436"/>
                <a:gd name="connsiteY21" fmla="*/ 185963 h 493791"/>
                <a:gd name="connsiteX22" fmla="*/ 316884 w 449436"/>
                <a:gd name="connsiteY22" fmla="*/ 165042 h 493791"/>
                <a:gd name="connsiteX23" fmla="*/ 319191 w 449436"/>
                <a:gd name="connsiteY23" fmla="*/ 98144 h 493791"/>
                <a:gd name="connsiteX24" fmla="*/ 328233 w 449436"/>
                <a:gd name="connsiteY24" fmla="*/ 17326 h 493791"/>
                <a:gd name="connsiteX25" fmla="*/ 322134 w 449436"/>
                <a:gd name="connsiteY25" fmla="*/ 6561 h 493791"/>
                <a:gd name="connsiteX26" fmla="*/ 227501 w 449436"/>
                <a:gd name="connsiteY26" fmla="*/ 64 h 493791"/>
                <a:gd name="connsiteX27" fmla="*/ 163865 w 449436"/>
                <a:gd name="connsiteY27" fmla="*/ 5977 h 493791"/>
                <a:gd name="connsiteX28" fmla="*/ 172694 w 449436"/>
                <a:gd name="connsiteY28" fmla="*/ 21091 h 493791"/>
                <a:gd name="connsiteX29" fmla="*/ 235854 w 449436"/>
                <a:gd name="connsiteY29" fmla="*/ 17379 h 493791"/>
                <a:gd name="connsiteX30" fmla="*/ 317441 w 449436"/>
                <a:gd name="connsiteY30" fmla="*/ 23424 h 493791"/>
                <a:gd name="connsiteX31" fmla="*/ 311316 w 449436"/>
                <a:gd name="connsiteY31" fmla="*/ 12792 h 493791"/>
                <a:gd name="connsiteX32" fmla="*/ 299570 w 449436"/>
                <a:gd name="connsiteY32" fmla="*/ 181906 h 493791"/>
                <a:gd name="connsiteX33" fmla="*/ 308320 w 449436"/>
                <a:gd name="connsiteY33" fmla="*/ 190656 h 493791"/>
                <a:gd name="connsiteX34" fmla="*/ 407620 w 449436"/>
                <a:gd name="connsiteY34" fmla="*/ 200361 h 493791"/>
                <a:gd name="connsiteX35" fmla="*/ 428832 w 449436"/>
                <a:gd name="connsiteY35" fmla="*/ 229528 h 493791"/>
                <a:gd name="connsiteX36" fmla="*/ 423529 w 449436"/>
                <a:gd name="connsiteY36" fmla="*/ 290380 h 493791"/>
                <a:gd name="connsiteX37" fmla="*/ 391074 w 449436"/>
                <a:gd name="connsiteY37" fmla="*/ 307562 h 493791"/>
                <a:gd name="connsiteX38" fmla="*/ 344434 w 449436"/>
                <a:gd name="connsiteY38" fmla="*/ 307403 h 493791"/>
                <a:gd name="connsiteX39" fmla="*/ 298668 w 449436"/>
                <a:gd name="connsiteY39" fmla="*/ 310717 h 493791"/>
                <a:gd name="connsiteX40" fmla="*/ 291085 w 449436"/>
                <a:gd name="connsiteY40" fmla="*/ 362131 h 493791"/>
                <a:gd name="connsiteX41" fmla="*/ 284005 w 449436"/>
                <a:gd name="connsiteY41" fmla="*/ 459283 h 493791"/>
                <a:gd name="connsiteX42" fmla="*/ 282441 w 449436"/>
                <a:gd name="connsiteY42" fmla="*/ 483332 h 493791"/>
                <a:gd name="connsiteX43" fmla="*/ 285252 w 449436"/>
                <a:gd name="connsiteY43" fmla="*/ 475192 h 493791"/>
                <a:gd name="connsiteX44" fmla="*/ 269634 w 449436"/>
                <a:gd name="connsiteY44" fmla="*/ 475192 h 493791"/>
                <a:gd name="connsiteX45" fmla="*/ 173702 w 449436"/>
                <a:gd name="connsiteY45" fmla="*/ 474317 h 493791"/>
                <a:gd name="connsiteX46" fmla="*/ 157236 w 449436"/>
                <a:gd name="connsiteY46" fmla="*/ 473548 h 493791"/>
                <a:gd name="connsiteX47" fmla="*/ 158588 w 449436"/>
                <a:gd name="connsiteY47" fmla="*/ 478347 h 493791"/>
                <a:gd name="connsiteX48" fmla="*/ 155247 w 449436"/>
                <a:gd name="connsiteY48" fmla="*/ 441888 h 493791"/>
                <a:gd name="connsiteX49" fmla="*/ 155698 w 449436"/>
                <a:gd name="connsiteY49" fmla="*/ 306661 h 493791"/>
                <a:gd name="connsiteX50" fmla="*/ 149202 w 449436"/>
                <a:gd name="connsiteY50" fmla="*/ 295864 h 493791"/>
                <a:gd name="connsiteX51" fmla="*/ 147266 w 449436"/>
                <a:gd name="connsiteY51" fmla="*/ 295604 h 493791"/>
                <a:gd name="connsiteX52" fmla="*/ 60747 w 449436"/>
                <a:gd name="connsiteY52" fmla="*/ 295100 h 493791"/>
                <a:gd name="connsiteX53" fmla="*/ 18879 w 449436"/>
                <a:gd name="connsiteY53" fmla="*/ 253471 h 493791"/>
                <a:gd name="connsiteX54" fmla="*/ 54834 w 449436"/>
                <a:gd name="connsiteY54" fmla="*/ 198240 h 493791"/>
                <a:gd name="connsiteX55" fmla="*/ 155592 w 449436"/>
                <a:gd name="connsiteY55" fmla="*/ 186732 h 493791"/>
                <a:gd name="connsiteX56" fmla="*/ 164342 w 449436"/>
                <a:gd name="connsiteY56" fmla="*/ 177982 h 493791"/>
                <a:gd name="connsiteX57" fmla="*/ 177281 w 449436"/>
                <a:gd name="connsiteY57" fmla="*/ 13587 h 493791"/>
                <a:gd name="connsiteX58" fmla="*/ 159543 w 449436"/>
                <a:gd name="connsiteY58" fmla="*/ 13667 h 493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49436" h="493791">
                  <a:moveTo>
                    <a:pt x="159543" y="13667"/>
                  </a:moveTo>
                  <a:lnTo>
                    <a:pt x="153736" y="87671"/>
                  </a:lnTo>
                  <a:cubicBezTo>
                    <a:pt x="152463" y="103872"/>
                    <a:pt x="155406" y="154542"/>
                    <a:pt x="143633" y="165493"/>
                  </a:cubicBezTo>
                  <a:cubicBezTo>
                    <a:pt x="133929" y="174508"/>
                    <a:pt x="102163" y="171539"/>
                    <a:pt x="89224" y="173448"/>
                  </a:cubicBezTo>
                  <a:cubicBezTo>
                    <a:pt x="62889" y="177650"/>
                    <a:pt x="37015" y="184361"/>
                    <a:pt x="11958" y="193493"/>
                  </a:cubicBezTo>
                  <a:cubicBezTo>
                    <a:pt x="8244" y="194652"/>
                    <a:pt x="5669" y="198035"/>
                    <a:pt x="5542" y="201925"/>
                  </a:cubicBezTo>
                  <a:cubicBezTo>
                    <a:pt x="2042" y="236395"/>
                    <a:pt x="239" y="270679"/>
                    <a:pt x="0" y="305335"/>
                  </a:cubicBezTo>
                  <a:cubicBezTo>
                    <a:pt x="42" y="310139"/>
                    <a:pt x="3919" y="314027"/>
                    <a:pt x="8724" y="314085"/>
                  </a:cubicBezTo>
                  <a:cubicBezTo>
                    <a:pt x="54895" y="312475"/>
                    <a:pt x="101042" y="312184"/>
                    <a:pt x="147160" y="313210"/>
                  </a:cubicBezTo>
                  <a:cubicBezTo>
                    <a:pt x="144349" y="309498"/>
                    <a:pt x="141512" y="305812"/>
                    <a:pt x="138701" y="302126"/>
                  </a:cubicBezTo>
                  <a:cubicBezTo>
                    <a:pt x="128679" y="360593"/>
                    <a:pt x="134751" y="422691"/>
                    <a:pt x="141353" y="481317"/>
                  </a:cubicBezTo>
                  <a:cubicBezTo>
                    <a:pt x="141502" y="485204"/>
                    <a:pt x="144066" y="488585"/>
                    <a:pt x="147770" y="489775"/>
                  </a:cubicBezTo>
                  <a:cubicBezTo>
                    <a:pt x="167789" y="496802"/>
                    <a:pt x="196982" y="492427"/>
                    <a:pt x="217611" y="492639"/>
                  </a:cubicBezTo>
                  <a:cubicBezTo>
                    <a:pt x="242111" y="492832"/>
                    <a:pt x="266611" y="492832"/>
                    <a:pt x="291111" y="492639"/>
                  </a:cubicBezTo>
                  <a:cubicBezTo>
                    <a:pt x="295897" y="492527"/>
                    <a:pt x="299750" y="488675"/>
                    <a:pt x="299861" y="483889"/>
                  </a:cubicBezTo>
                  <a:cubicBezTo>
                    <a:pt x="302036" y="448729"/>
                    <a:pt x="304483" y="413578"/>
                    <a:pt x="307206" y="378437"/>
                  </a:cubicBezTo>
                  <a:cubicBezTo>
                    <a:pt x="308055" y="367460"/>
                    <a:pt x="305138" y="331877"/>
                    <a:pt x="312509" y="323312"/>
                  </a:cubicBezTo>
                  <a:cubicBezTo>
                    <a:pt x="314949" y="320502"/>
                    <a:pt x="349312" y="324877"/>
                    <a:pt x="359919" y="324930"/>
                  </a:cubicBezTo>
                  <a:lnTo>
                    <a:pt x="429892" y="325195"/>
                  </a:lnTo>
                  <a:cubicBezTo>
                    <a:pt x="434678" y="325083"/>
                    <a:pt x="438531" y="321231"/>
                    <a:pt x="438642" y="316445"/>
                  </a:cubicBezTo>
                  <a:cubicBezTo>
                    <a:pt x="442177" y="275876"/>
                    <a:pt x="445767" y="235300"/>
                    <a:pt x="449408" y="194713"/>
                  </a:cubicBezTo>
                  <a:cubicBezTo>
                    <a:pt x="449858" y="189702"/>
                    <a:pt x="445033" y="186414"/>
                    <a:pt x="440658" y="185963"/>
                  </a:cubicBezTo>
                  <a:cubicBezTo>
                    <a:pt x="412976" y="183311"/>
                    <a:pt x="332210" y="188615"/>
                    <a:pt x="316884" y="165042"/>
                  </a:cubicBezTo>
                  <a:cubicBezTo>
                    <a:pt x="309672" y="153933"/>
                    <a:pt x="318290" y="111455"/>
                    <a:pt x="319191" y="98144"/>
                  </a:cubicBezTo>
                  <a:cubicBezTo>
                    <a:pt x="321074" y="71046"/>
                    <a:pt x="324282" y="44186"/>
                    <a:pt x="328233" y="17326"/>
                  </a:cubicBezTo>
                  <a:cubicBezTo>
                    <a:pt x="328869" y="13136"/>
                    <a:pt x="327252" y="7276"/>
                    <a:pt x="322134" y="6561"/>
                  </a:cubicBezTo>
                  <a:cubicBezTo>
                    <a:pt x="290820" y="1825"/>
                    <a:pt x="259168" y="-347"/>
                    <a:pt x="227501" y="64"/>
                  </a:cubicBezTo>
                  <a:cubicBezTo>
                    <a:pt x="208702" y="462"/>
                    <a:pt x="181577" y="-2004"/>
                    <a:pt x="163865" y="5977"/>
                  </a:cubicBezTo>
                  <a:cubicBezTo>
                    <a:pt x="153630" y="10617"/>
                    <a:pt x="162512" y="25705"/>
                    <a:pt x="172694" y="21091"/>
                  </a:cubicBezTo>
                  <a:cubicBezTo>
                    <a:pt x="188312" y="14038"/>
                    <a:pt x="218884" y="17458"/>
                    <a:pt x="235854" y="17379"/>
                  </a:cubicBezTo>
                  <a:cubicBezTo>
                    <a:pt x="263162" y="17389"/>
                    <a:pt x="290430" y="19413"/>
                    <a:pt x="317441" y="23424"/>
                  </a:cubicBezTo>
                  <a:lnTo>
                    <a:pt x="311316" y="12792"/>
                  </a:lnTo>
                  <a:cubicBezTo>
                    <a:pt x="303046" y="68776"/>
                    <a:pt x="299119" y="125317"/>
                    <a:pt x="299570" y="181906"/>
                  </a:cubicBezTo>
                  <a:cubicBezTo>
                    <a:pt x="299708" y="186679"/>
                    <a:pt x="303547" y="190518"/>
                    <a:pt x="308320" y="190656"/>
                  </a:cubicBezTo>
                  <a:cubicBezTo>
                    <a:pt x="339184" y="193679"/>
                    <a:pt x="378082" y="191425"/>
                    <a:pt x="407620" y="200361"/>
                  </a:cubicBezTo>
                  <a:cubicBezTo>
                    <a:pt x="432517" y="207891"/>
                    <a:pt x="427639" y="205849"/>
                    <a:pt x="428832" y="229528"/>
                  </a:cubicBezTo>
                  <a:cubicBezTo>
                    <a:pt x="429733" y="246206"/>
                    <a:pt x="428540" y="274418"/>
                    <a:pt x="423529" y="290380"/>
                  </a:cubicBezTo>
                  <a:cubicBezTo>
                    <a:pt x="417298" y="309948"/>
                    <a:pt x="411438" y="307642"/>
                    <a:pt x="391074" y="307562"/>
                  </a:cubicBezTo>
                  <a:lnTo>
                    <a:pt x="344434" y="307403"/>
                  </a:lnTo>
                  <a:cubicBezTo>
                    <a:pt x="332237" y="307403"/>
                    <a:pt x="308187" y="300695"/>
                    <a:pt x="298668" y="310717"/>
                  </a:cubicBezTo>
                  <a:cubicBezTo>
                    <a:pt x="289520" y="320342"/>
                    <a:pt x="292092" y="350331"/>
                    <a:pt x="291085" y="362131"/>
                  </a:cubicBezTo>
                  <a:cubicBezTo>
                    <a:pt x="288433" y="394479"/>
                    <a:pt x="286126" y="426881"/>
                    <a:pt x="284005" y="459283"/>
                  </a:cubicBezTo>
                  <a:cubicBezTo>
                    <a:pt x="283475" y="467237"/>
                    <a:pt x="283528" y="475430"/>
                    <a:pt x="282441" y="483332"/>
                  </a:cubicBezTo>
                  <a:cubicBezTo>
                    <a:pt x="285649" y="460078"/>
                    <a:pt x="295354" y="480389"/>
                    <a:pt x="285252" y="475192"/>
                  </a:cubicBezTo>
                  <a:cubicBezTo>
                    <a:pt x="282786" y="473919"/>
                    <a:pt x="271994" y="475192"/>
                    <a:pt x="269634" y="475192"/>
                  </a:cubicBezTo>
                  <a:cubicBezTo>
                    <a:pt x="237816" y="475192"/>
                    <a:pt x="205653" y="475563"/>
                    <a:pt x="173702" y="474317"/>
                  </a:cubicBezTo>
                  <a:cubicBezTo>
                    <a:pt x="168399" y="474105"/>
                    <a:pt x="162671" y="473415"/>
                    <a:pt x="157236" y="473548"/>
                  </a:cubicBezTo>
                  <a:cubicBezTo>
                    <a:pt x="147611" y="473786"/>
                    <a:pt x="160550" y="483650"/>
                    <a:pt x="158588" y="478347"/>
                  </a:cubicBezTo>
                  <a:cubicBezTo>
                    <a:pt x="154743" y="467980"/>
                    <a:pt x="156096" y="452733"/>
                    <a:pt x="155247" y="441888"/>
                  </a:cubicBezTo>
                  <a:cubicBezTo>
                    <a:pt x="151774" y="397422"/>
                    <a:pt x="148114" y="350862"/>
                    <a:pt x="155698" y="306661"/>
                  </a:cubicBezTo>
                  <a:cubicBezTo>
                    <a:pt x="156886" y="301885"/>
                    <a:pt x="153977" y="297051"/>
                    <a:pt x="149202" y="295864"/>
                  </a:cubicBezTo>
                  <a:cubicBezTo>
                    <a:pt x="148568" y="295707"/>
                    <a:pt x="147918" y="295620"/>
                    <a:pt x="147266" y="295604"/>
                  </a:cubicBezTo>
                  <a:cubicBezTo>
                    <a:pt x="118417" y="294967"/>
                    <a:pt x="89595" y="294676"/>
                    <a:pt x="60747" y="295100"/>
                  </a:cubicBezTo>
                  <a:cubicBezTo>
                    <a:pt x="19966" y="295683"/>
                    <a:pt x="16678" y="294278"/>
                    <a:pt x="18879" y="253471"/>
                  </a:cubicBezTo>
                  <a:cubicBezTo>
                    <a:pt x="20523" y="222713"/>
                    <a:pt x="22591" y="206618"/>
                    <a:pt x="54834" y="198240"/>
                  </a:cubicBezTo>
                  <a:cubicBezTo>
                    <a:pt x="87774" y="190022"/>
                    <a:pt x="121647" y="186154"/>
                    <a:pt x="155592" y="186732"/>
                  </a:cubicBezTo>
                  <a:cubicBezTo>
                    <a:pt x="160383" y="186634"/>
                    <a:pt x="164244" y="182773"/>
                    <a:pt x="164342" y="177982"/>
                  </a:cubicBezTo>
                  <a:cubicBezTo>
                    <a:pt x="168656" y="123183"/>
                    <a:pt x="172967" y="68386"/>
                    <a:pt x="177281" y="13587"/>
                  </a:cubicBezTo>
                  <a:cubicBezTo>
                    <a:pt x="177918" y="2451"/>
                    <a:pt x="160418" y="2504"/>
                    <a:pt x="159543" y="13667"/>
                  </a:cubicBezTo>
                  <a:close/>
                </a:path>
              </a:pathLst>
            </a:custGeom>
            <a:solidFill>
              <a:srgbClr val="2A2E2D"/>
            </a:solidFill>
            <a:ln w="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00672AB2-5AFF-8837-0EDF-CCB53D14EF4E}"/>
                </a:ext>
              </a:extLst>
            </p:cNvPr>
            <p:cNvSpPr/>
            <p:nvPr/>
          </p:nvSpPr>
          <p:spPr>
            <a:xfrm>
              <a:off x="10742932" y="4101570"/>
              <a:ext cx="448961" cy="745331"/>
            </a:xfrm>
            <a:custGeom>
              <a:avLst/>
              <a:gdLst>
                <a:gd name="connsiteX0" fmla="*/ 433581 w 448961"/>
                <a:gd name="connsiteY0" fmla="*/ 604562 h 745331"/>
                <a:gd name="connsiteX1" fmla="*/ 295144 w 448961"/>
                <a:gd name="connsiteY1" fmla="*/ 605437 h 745331"/>
                <a:gd name="connsiteX2" fmla="*/ 300712 w 448961"/>
                <a:gd name="connsiteY2" fmla="*/ 502027 h 745331"/>
                <a:gd name="connsiteX3" fmla="*/ 432626 w 448961"/>
                <a:gd name="connsiteY3" fmla="*/ 478163 h 745331"/>
                <a:gd name="connsiteX4" fmla="*/ 296470 w 448961"/>
                <a:gd name="connsiteY4" fmla="*/ 333602 h 745331"/>
                <a:gd name="connsiteX5" fmla="*/ 348387 w 448961"/>
                <a:gd name="connsiteY5" fmla="*/ 316261 h 745331"/>
                <a:gd name="connsiteX6" fmla="*/ 409133 w 448961"/>
                <a:gd name="connsiteY6" fmla="*/ 60309 h 745331"/>
                <a:gd name="connsiteX7" fmla="*/ 85833 w 448961"/>
                <a:gd name="connsiteY7" fmla="*/ 143726 h 745331"/>
                <a:gd name="connsiteX8" fmla="*/ 220875 w 448961"/>
                <a:gd name="connsiteY8" fmla="*/ 334318 h 745331"/>
                <a:gd name="connsiteX9" fmla="*/ 3 w 448961"/>
                <a:gd name="connsiteY9" fmla="*/ 741646 h 745331"/>
                <a:gd name="connsiteX10" fmla="*/ 433077 w 448961"/>
                <a:gd name="connsiteY10" fmla="*/ 745331 h 745331"/>
                <a:gd name="connsiteX11" fmla="*/ 433581 w 448961"/>
                <a:gd name="connsiteY11" fmla="*/ 604562 h 745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8961" h="745331">
                  <a:moveTo>
                    <a:pt x="433581" y="604562"/>
                  </a:moveTo>
                  <a:cubicBezTo>
                    <a:pt x="387444" y="603342"/>
                    <a:pt x="341299" y="603633"/>
                    <a:pt x="295144" y="605437"/>
                  </a:cubicBezTo>
                  <a:cubicBezTo>
                    <a:pt x="295036" y="570890"/>
                    <a:pt x="296894" y="536364"/>
                    <a:pt x="300712" y="502027"/>
                  </a:cubicBezTo>
                  <a:cubicBezTo>
                    <a:pt x="342866" y="486118"/>
                    <a:pt x="387569" y="478031"/>
                    <a:pt x="432626" y="478163"/>
                  </a:cubicBezTo>
                  <a:cubicBezTo>
                    <a:pt x="407596" y="409223"/>
                    <a:pt x="365887" y="349962"/>
                    <a:pt x="296470" y="333602"/>
                  </a:cubicBezTo>
                  <a:cubicBezTo>
                    <a:pt x="314532" y="330399"/>
                    <a:pt x="332024" y="324555"/>
                    <a:pt x="348387" y="316261"/>
                  </a:cubicBezTo>
                  <a:cubicBezTo>
                    <a:pt x="452619" y="262302"/>
                    <a:pt x="480963" y="147968"/>
                    <a:pt x="409133" y="60309"/>
                  </a:cubicBezTo>
                  <a:cubicBezTo>
                    <a:pt x="337304" y="-27351"/>
                    <a:pt x="116670" y="-35199"/>
                    <a:pt x="85833" y="143726"/>
                  </a:cubicBezTo>
                  <a:cubicBezTo>
                    <a:pt x="65734" y="260075"/>
                    <a:pt x="138704" y="320848"/>
                    <a:pt x="220875" y="334318"/>
                  </a:cubicBezTo>
                  <a:cubicBezTo>
                    <a:pt x="-3232" y="396814"/>
                    <a:pt x="3" y="741646"/>
                    <a:pt x="3" y="741646"/>
                  </a:cubicBezTo>
                  <a:cubicBezTo>
                    <a:pt x="176462" y="740320"/>
                    <a:pt x="267940" y="740877"/>
                    <a:pt x="433077" y="745331"/>
                  </a:cubicBezTo>
                  <a:cubicBezTo>
                    <a:pt x="429842" y="704895"/>
                    <a:pt x="426368" y="640384"/>
                    <a:pt x="433581" y="604562"/>
                  </a:cubicBezTo>
                  <a:close/>
                </a:path>
              </a:pathLst>
            </a:custGeom>
            <a:solidFill>
              <a:srgbClr val="2A2E2D"/>
            </a:solidFill>
            <a:ln w="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8" name="Graphic 6">
            <a:extLst>
              <a:ext uri="{FF2B5EF4-FFF2-40B4-BE49-F238E27FC236}">
                <a16:creationId xmlns:a16="http://schemas.microsoft.com/office/drawing/2014/main" id="{FF24B70D-D799-5372-887C-C82098B2F79C}"/>
              </a:ext>
            </a:extLst>
          </p:cNvPr>
          <p:cNvGrpSpPr/>
          <p:nvPr/>
        </p:nvGrpSpPr>
        <p:grpSpPr>
          <a:xfrm>
            <a:off x="10679300" y="1326964"/>
            <a:ext cx="865668" cy="540377"/>
            <a:chOff x="10679300" y="1326964"/>
            <a:chExt cx="865668" cy="540377"/>
          </a:xfrm>
          <a:solidFill>
            <a:srgbClr val="2A2E2D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1F9E0839-E37E-84F0-53A5-63B21A7C9AA7}"/>
                </a:ext>
              </a:extLst>
            </p:cNvPr>
            <p:cNvSpPr/>
            <p:nvPr/>
          </p:nvSpPr>
          <p:spPr>
            <a:xfrm>
              <a:off x="10703045" y="1443091"/>
              <a:ext cx="822221" cy="339435"/>
            </a:xfrm>
            <a:custGeom>
              <a:avLst/>
              <a:gdLst>
                <a:gd name="connsiteX0" fmla="*/ 435286 w 822221"/>
                <a:gd name="connsiteY0" fmla="*/ 17643 h 339435"/>
                <a:gd name="connsiteX1" fmla="*/ 759170 w 822221"/>
                <a:gd name="connsiteY1" fmla="*/ 144651 h 339435"/>
                <a:gd name="connsiteX2" fmla="*/ 802178 w 822221"/>
                <a:gd name="connsiteY2" fmla="*/ 206644 h 339435"/>
                <a:gd name="connsiteX3" fmla="*/ 804618 w 822221"/>
                <a:gd name="connsiteY3" fmla="*/ 211947 h 339435"/>
                <a:gd name="connsiteX4" fmla="*/ 793640 w 822221"/>
                <a:gd name="connsiteY4" fmla="*/ 213617 h 339435"/>
                <a:gd name="connsiteX5" fmla="*/ 717117 w 822221"/>
                <a:gd name="connsiteY5" fmla="*/ 252595 h 339435"/>
                <a:gd name="connsiteX6" fmla="*/ 191266 w 822221"/>
                <a:gd name="connsiteY6" fmla="*/ 287542 h 339435"/>
                <a:gd name="connsiteX7" fmla="*/ 77992 w 822221"/>
                <a:gd name="connsiteY7" fmla="*/ 236765 h 339435"/>
                <a:gd name="connsiteX8" fmla="*/ 36363 w 822221"/>
                <a:gd name="connsiteY8" fmla="*/ 206485 h 339435"/>
                <a:gd name="connsiteX9" fmla="*/ 16954 w 822221"/>
                <a:gd name="connsiteY9" fmla="*/ 193227 h 339435"/>
                <a:gd name="connsiteX10" fmla="*/ 56727 w 822221"/>
                <a:gd name="connsiteY10" fmla="*/ 147912 h 339435"/>
                <a:gd name="connsiteX11" fmla="*/ 435206 w 822221"/>
                <a:gd name="connsiteY11" fmla="*/ 17590 h 339435"/>
                <a:gd name="connsiteX12" fmla="*/ 435206 w 822221"/>
                <a:gd name="connsiteY12" fmla="*/ 90 h 339435"/>
                <a:gd name="connsiteX13" fmla="*/ 1151 w 822221"/>
                <a:gd name="connsiteY13" fmla="*/ 185352 h 339435"/>
                <a:gd name="connsiteX14" fmla="*/ 2503 w 822221"/>
                <a:gd name="connsiteY14" fmla="*/ 195958 h 339435"/>
                <a:gd name="connsiteX15" fmla="*/ 152871 w 822221"/>
                <a:gd name="connsiteY15" fmla="*/ 292235 h 339435"/>
                <a:gd name="connsiteX16" fmla="*/ 411104 w 822221"/>
                <a:gd name="connsiteY16" fmla="*/ 339406 h 339435"/>
                <a:gd name="connsiteX17" fmla="*/ 817902 w 822221"/>
                <a:gd name="connsiteY17" fmla="*/ 218390 h 339435"/>
                <a:gd name="connsiteX18" fmla="*/ 821932 w 822221"/>
                <a:gd name="connsiteY18" fmla="*/ 208526 h 339435"/>
                <a:gd name="connsiteX19" fmla="*/ 435286 w 822221"/>
                <a:gd name="connsiteY19" fmla="*/ 143 h 339435"/>
                <a:gd name="connsiteX20" fmla="*/ 435286 w 822221"/>
                <a:gd name="connsiteY20" fmla="*/ 17643 h 339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22221" h="339435">
                  <a:moveTo>
                    <a:pt x="435286" y="17643"/>
                  </a:moveTo>
                  <a:cubicBezTo>
                    <a:pt x="553730" y="21938"/>
                    <a:pt x="676734" y="54287"/>
                    <a:pt x="759170" y="144651"/>
                  </a:cubicBezTo>
                  <a:cubicBezTo>
                    <a:pt x="773515" y="160375"/>
                    <a:pt x="796849" y="184822"/>
                    <a:pt x="802178" y="206644"/>
                  </a:cubicBezTo>
                  <a:cubicBezTo>
                    <a:pt x="802443" y="207784"/>
                    <a:pt x="804830" y="210674"/>
                    <a:pt x="804618" y="211947"/>
                  </a:cubicBezTo>
                  <a:cubicBezTo>
                    <a:pt x="805413" y="205689"/>
                    <a:pt x="800243" y="211523"/>
                    <a:pt x="793640" y="213617"/>
                  </a:cubicBezTo>
                  <a:cubicBezTo>
                    <a:pt x="767974" y="221757"/>
                    <a:pt x="742307" y="241750"/>
                    <a:pt x="717117" y="252595"/>
                  </a:cubicBezTo>
                  <a:cubicBezTo>
                    <a:pt x="550309" y="324425"/>
                    <a:pt x="365604" y="344470"/>
                    <a:pt x="191266" y="287542"/>
                  </a:cubicBezTo>
                  <a:cubicBezTo>
                    <a:pt x="151943" y="274682"/>
                    <a:pt x="113337" y="258375"/>
                    <a:pt x="77992" y="236765"/>
                  </a:cubicBezTo>
                  <a:cubicBezTo>
                    <a:pt x="63208" y="227983"/>
                    <a:pt x="49272" y="217846"/>
                    <a:pt x="36363" y="206485"/>
                  </a:cubicBezTo>
                  <a:cubicBezTo>
                    <a:pt x="32890" y="203329"/>
                    <a:pt x="17617" y="185272"/>
                    <a:pt x="16954" y="193227"/>
                  </a:cubicBezTo>
                  <a:cubicBezTo>
                    <a:pt x="18068" y="179969"/>
                    <a:pt x="48242" y="156106"/>
                    <a:pt x="56727" y="147912"/>
                  </a:cubicBezTo>
                  <a:cubicBezTo>
                    <a:pt x="157909" y="51238"/>
                    <a:pt x="298281" y="15336"/>
                    <a:pt x="435206" y="17590"/>
                  </a:cubicBezTo>
                  <a:cubicBezTo>
                    <a:pt x="446475" y="17775"/>
                    <a:pt x="446475" y="275"/>
                    <a:pt x="435206" y="90"/>
                  </a:cubicBezTo>
                  <a:cubicBezTo>
                    <a:pt x="281550" y="-2403"/>
                    <a:pt x="90507" y="46783"/>
                    <a:pt x="1151" y="185352"/>
                  </a:cubicBezTo>
                  <a:cubicBezTo>
                    <a:pt x="-788" y="188799"/>
                    <a:pt x="-238" y="193108"/>
                    <a:pt x="2503" y="195958"/>
                  </a:cubicBezTo>
                  <a:cubicBezTo>
                    <a:pt x="40261" y="242731"/>
                    <a:pt x="98011" y="271023"/>
                    <a:pt x="152871" y="292235"/>
                  </a:cubicBezTo>
                  <a:cubicBezTo>
                    <a:pt x="235174" y="324210"/>
                    <a:pt x="322813" y="340220"/>
                    <a:pt x="411104" y="339406"/>
                  </a:cubicBezTo>
                  <a:cubicBezTo>
                    <a:pt x="547711" y="337656"/>
                    <a:pt x="704469" y="297379"/>
                    <a:pt x="817902" y="218390"/>
                  </a:cubicBezTo>
                  <a:cubicBezTo>
                    <a:pt x="821288" y="216362"/>
                    <a:pt x="822929" y="212345"/>
                    <a:pt x="821932" y="208526"/>
                  </a:cubicBezTo>
                  <a:cubicBezTo>
                    <a:pt x="765455" y="59670"/>
                    <a:pt x="577090" y="5287"/>
                    <a:pt x="435286" y="143"/>
                  </a:cubicBezTo>
                  <a:cubicBezTo>
                    <a:pt x="424017" y="-255"/>
                    <a:pt x="424044" y="17219"/>
                    <a:pt x="435286" y="17643"/>
                  </a:cubicBezTo>
                  <a:close/>
                </a:path>
              </a:pathLst>
            </a:custGeom>
            <a:solidFill>
              <a:srgbClr val="2A2E2D"/>
            </a:solidFill>
            <a:ln w="26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5A07700-957E-8E35-1C41-A3911340B85E}"/>
                </a:ext>
              </a:extLst>
            </p:cNvPr>
            <p:cNvSpPr/>
            <p:nvPr/>
          </p:nvSpPr>
          <p:spPr>
            <a:xfrm>
              <a:off x="10700042" y="1331042"/>
              <a:ext cx="325202" cy="304367"/>
            </a:xfrm>
            <a:custGeom>
              <a:avLst/>
              <a:gdLst>
                <a:gd name="connsiteX0" fmla="*/ 17464 w 325202"/>
                <a:gd name="connsiteY0" fmla="*/ 298223 h 304367"/>
                <a:gd name="connsiteX1" fmla="*/ 318970 w 325202"/>
                <a:gd name="connsiteY1" fmla="*/ 17161 h 304367"/>
                <a:gd name="connsiteX2" fmla="*/ 314330 w 325202"/>
                <a:gd name="connsiteY2" fmla="*/ 297 h 304367"/>
                <a:gd name="connsiteX3" fmla="*/ 468 w 325202"/>
                <a:gd name="connsiteY3" fmla="*/ 293689 h 304367"/>
                <a:gd name="connsiteX4" fmla="*/ 17358 w 325202"/>
                <a:gd name="connsiteY4" fmla="*/ 298329 h 304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5202" h="304367">
                  <a:moveTo>
                    <a:pt x="17464" y="298223"/>
                  </a:moveTo>
                  <a:cubicBezTo>
                    <a:pt x="62854" y="158862"/>
                    <a:pt x="176770" y="52670"/>
                    <a:pt x="318970" y="17161"/>
                  </a:cubicBezTo>
                  <a:cubicBezTo>
                    <a:pt x="329894" y="14509"/>
                    <a:pt x="325254" y="-2434"/>
                    <a:pt x="314330" y="297"/>
                  </a:cubicBezTo>
                  <a:cubicBezTo>
                    <a:pt x="166180" y="37545"/>
                    <a:pt x="47608" y="148383"/>
                    <a:pt x="468" y="293689"/>
                  </a:cubicBezTo>
                  <a:cubicBezTo>
                    <a:pt x="-3006" y="304295"/>
                    <a:pt x="13885" y="309014"/>
                    <a:pt x="17358" y="298329"/>
                  </a:cubicBezTo>
                  <a:close/>
                </a:path>
              </a:pathLst>
            </a:custGeom>
            <a:solidFill>
              <a:srgbClr val="2A2E2D"/>
            </a:solidFill>
            <a:ln w="26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3DB0008-D211-3DCA-D6B9-C97BF00369B4}"/>
                </a:ext>
              </a:extLst>
            </p:cNvPr>
            <p:cNvSpPr/>
            <p:nvPr/>
          </p:nvSpPr>
          <p:spPr>
            <a:xfrm>
              <a:off x="11261408" y="1326964"/>
              <a:ext cx="269856" cy="328656"/>
            </a:xfrm>
            <a:custGeom>
              <a:avLst/>
              <a:gdLst>
                <a:gd name="connsiteX0" fmla="*/ 8412 w 269856"/>
                <a:gd name="connsiteY0" fmla="*/ 17553 h 328656"/>
                <a:gd name="connsiteX1" fmla="*/ 252353 w 269856"/>
                <a:gd name="connsiteY1" fmla="*/ 320225 h 328656"/>
                <a:gd name="connsiteX2" fmla="*/ 269853 w 269856"/>
                <a:gd name="connsiteY2" fmla="*/ 320225 h 328656"/>
                <a:gd name="connsiteX3" fmla="*/ 8412 w 269856"/>
                <a:gd name="connsiteY3" fmla="*/ 26 h 328656"/>
                <a:gd name="connsiteX4" fmla="*/ 8412 w 269856"/>
                <a:gd name="connsiteY4" fmla="*/ 17526 h 32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856" h="328656">
                  <a:moveTo>
                    <a:pt x="8412" y="17553"/>
                  </a:moveTo>
                  <a:cubicBezTo>
                    <a:pt x="140989" y="27072"/>
                    <a:pt x="249277" y="197857"/>
                    <a:pt x="252353" y="320225"/>
                  </a:cubicBezTo>
                  <a:cubicBezTo>
                    <a:pt x="252644" y="331441"/>
                    <a:pt x="270145" y="331494"/>
                    <a:pt x="269853" y="320225"/>
                  </a:cubicBezTo>
                  <a:cubicBezTo>
                    <a:pt x="266379" y="187649"/>
                    <a:pt x="151144" y="10314"/>
                    <a:pt x="8412" y="26"/>
                  </a:cubicBezTo>
                  <a:cubicBezTo>
                    <a:pt x="-2831" y="-769"/>
                    <a:pt x="-2777" y="16704"/>
                    <a:pt x="8412" y="17526"/>
                  </a:cubicBezTo>
                  <a:close/>
                </a:path>
              </a:pathLst>
            </a:custGeom>
            <a:solidFill>
              <a:srgbClr val="2A2E2D"/>
            </a:solidFill>
            <a:ln w="26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D3C0A0E-9D7B-9EA9-5695-9CA3362F1933}"/>
                </a:ext>
              </a:extLst>
            </p:cNvPr>
            <p:cNvSpPr/>
            <p:nvPr/>
          </p:nvSpPr>
          <p:spPr>
            <a:xfrm>
              <a:off x="10878378" y="1487431"/>
              <a:ext cx="82385" cy="281222"/>
            </a:xfrm>
            <a:custGeom>
              <a:avLst/>
              <a:gdLst>
                <a:gd name="connsiteX0" fmla="*/ 30515 w 82385"/>
                <a:gd name="connsiteY0" fmla="*/ 4246 h 281222"/>
                <a:gd name="connsiteX1" fmla="*/ 67451 w 82385"/>
                <a:gd name="connsiteY1" fmla="*/ 278653 h 281222"/>
                <a:gd name="connsiteX2" fmla="*/ 79834 w 82385"/>
                <a:gd name="connsiteY2" fmla="*/ 266270 h 281222"/>
                <a:gd name="connsiteX3" fmla="*/ 45629 w 82385"/>
                <a:gd name="connsiteY3" fmla="*/ 13076 h 281222"/>
                <a:gd name="connsiteX4" fmla="*/ 30515 w 82385"/>
                <a:gd name="connsiteY4" fmla="*/ 4246 h 281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85" h="281222">
                  <a:moveTo>
                    <a:pt x="30515" y="4246"/>
                  </a:moveTo>
                  <a:cubicBezTo>
                    <a:pt x="-20845" y="96069"/>
                    <a:pt x="-6606" y="203880"/>
                    <a:pt x="67451" y="278653"/>
                  </a:cubicBezTo>
                  <a:cubicBezTo>
                    <a:pt x="75406" y="286608"/>
                    <a:pt x="87762" y="274278"/>
                    <a:pt x="79834" y="266270"/>
                  </a:cubicBezTo>
                  <a:cubicBezTo>
                    <a:pt x="11265" y="197171"/>
                    <a:pt x="-1966" y="98163"/>
                    <a:pt x="45629" y="13076"/>
                  </a:cubicBezTo>
                  <a:cubicBezTo>
                    <a:pt x="51118" y="3239"/>
                    <a:pt x="36030" y="-5485"/>
                    <a:pt x="30515" y="4246"/>
                  </a:cubicBezTo>
                  <a:close/>
                </a:path>
              </a:pathLst>
            </a:custGeom>
            <a:solidFill>
              <a:srgbClr val="2A2E2D"/>
            </a:solidFill>
            <a:ln w="26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4DDD417F-A46B-8D4A-7923-E1F9D34F48EF}"/>
                </a:ext>
              </a:extLst>
            </p:cNvPr>
            <p:cNvSpPr/>
            <p:nvPr/>
          </p:nvSpPr>
          <p:spPr>
            <a:xfrm>
              <a:off x="11246351" y="1474422"/>
              <a:ext cx="95292" cy="294710"/>
            </a:xfrm>
            <a:custGeom>
              <a:avLst/>
              <a:gdLst>
                <a:gd name="connsiteX0" fmla="*/ 52158 w 95292"/>
                <a:gd name="connsiteY0" fmla="*/ 13225 h 294710"/>
                <a:gd name="connsiteX1" fmla="*/ 3715 w 95292"/>
                <a:gd name="connsiteY1" fmla="*/ 277927 h 294710"/>
                <a:gd name="connsiteX2" fmla="*/ 12544 w 95292"/>
                <a:gd name="connsiteY2" fmla="*/ 293014 h 294710"/>
                <a:gd name="connsiteX3" fmla="*/ 67272 w 95292"/>
                <a:gd name="connsiteY3" fmla="*/ 4395 h 294710"/>
                <a:gd name="connsiteX4" fmla="*/ 52158 w 95292"/>
                <a:gd name="connsiteY4" fmla="*/ 13225 h 294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92" h="294710">
                  <a:moveTo>
                    <a:pt x="52158" y="13225"/>
                  </a:moveTo>
                  <a:cubicBezTo>
                    <a:pt x="96518" y="99612"/>
                    <a:pt x="85567" y="216517"/>
                    <a:pt x="3715" y="277927"/>
                  </a:cubicBezTo>
                  <a:cubicBezTo>
                    <a:pt x="-5168" y="284582"/>
                    <a:pt x="3529" y="299776"/>
                    <a:pt x="12544" y="293014"/>
                  </a:cubicBezTo>
                  <a:cubicBezTo>
                    <a:pt x="102511" y="225533"/>
                    <a:pt x="116458" y="100221"/>
                    <a:pt x="67272" y="4395"/>
                  </a:cubicBezTo>
                  <a:cubicBezTo>
                    <a:pt x="62128" y="-5601"/>
                    <a:pt x="47041" y="3228"/>
                    <a:pt x="52158" y="13225"/>
                  </a:cubicBezTo>
                  <a:close/>
                </a:path>
              </a:pathLst>
            </a:custGeom>
            <a:solidFill>
              <a:srgbClr val="2A2E2D"/>
            </a:solidFill>
            <a:ln w="26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58E18DB-1593-5E7B-C305-C90E39EE5985}"/>
                </a:ext>
              </a:extLst>
            </p:cNvPr>
            <p:cNvSpPr/>
            <p:nvPr/>
          </p:nvSpPr>
          <p:spPr>
            <a:xfrm>
              <a:off x="10957393" y="1451979"/>
              <a:ext cx="327106" cy="283214"/>
            </a:xfrm>
            <a:custGeom>
              <a:avLst/>
              <a:gdLst>
                <a:gd name="connsiteX0" fmla="*/ 36323 w 327106"/>
                <a:gd name="connsiteY0" fmla="*/ 25831 h 283214"/>
                <a:gd name="connsiteX1" fmla="*/ 25133 w 327106"/>
                <a:gd name="connsiteY1" fmla="*/ 222946 h 283214"/>
                <a:gd name="connsiteX2" fmla="*/ 301450 w 327106"/>
                <a:gd name="connsiteY2" fmla="*/ 204995 h 283214"/>
                <a:gd name="connsiteX3" fmla="*/ 274616 w 327106"/>
                <a:gd name="connsiteY3" fmla="*/ 11168 h 283214"/>
                <a:gd name="connsiteX4" fmla="*/ 36323 w 327106"/>
                <a:gd name="connsiteY4" fmla="*/ 25831 h 283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7106" h="283214">
                  <a:moveTo>
                    <a:pt x="36323" y="25831"/>
                  </a:moveTo>
                  <a:cubicBezTo>
                    <a:pt x="36323" y="25831"/>
                    <a:pt x="-37337" y="125661"/>
                    <a:pt x="25133" y="222946"/>
                  </a:cubicBezTo>
                  <a:cubicBezTo>
                    <a:pt x="87604" y="320230"/>
                    <a:pt x="247067" y="289101"/>
                    <a:pt x="301450" y="204995"/>
                  </a:cubicBezTo>
                  <a:cubicBezTo>
                    <a:pt x="355832" y="120888"/>
                    <a:pt x="312586" y="43464"/>
                    <a:pt x="274616" y="11168"/>
                  </a:cubicBezTo>
                  <a:cubicBezTo>
                    <a:pt x="222858" y="-6385"/>
                    <a:pt x="129100" y="-4503"/>
                    <a:pt x="36323" y="25831"/>
                  </a:cubicBezTo>
                  <a:close/>
                </a:path>
              </a:pathLst>
            </a:custGeom>
            <a:solidFill>
              <a:srgbClr val="2A2E2D"/>
            </a:solidFill>
            <a:ln w="26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63FC630A-D6C5-7FFD-7A97-047D17CA0C9A}"/>
                </a:ext>
              </a:extLst>
            </p:cNvPr>
            <p:cNvSpPr/>
            <p:nvPr/>
          </p:nvSpPr>
          <p:spPr>
            <a:xfrm>
              <a:off x="10679300" y="1669125"/>
              <a:ext cx="65238" cy="69947"/>
            </a:xfrm>
            <a:custGeom>
              <a:avLst/>
              <a:gdLst>
                <a:gd name="connsiteX0" fmla="*/ 16835 w 65238"/>
                <a:gd name="connsiteY0" fmla="*/ 66201 h 69947"/>
                <a:gd name="connsiteX1" fmla="*/ 62600 w 65238"/>
                <a:gd name="connsiteY1" fmla="*/ 14788 h 69947"/>
                <a:gd name="connsiteX2" fmla="*/ 50377 w 65238"/>
                <a:gd name="connsiteY2" fmla="*/ 2565 h 69947"/>
                <a:gd name="connsiteX3" fmla="*/ 1721 w 65238"/>
                <a:gd name="connsiteY3" fmla="*/ 57425 h 69947"/>
                <a:gd name="connsiteX4" fmla="*/ 16835 w 65238"/>
                <a:gd name="connsiteY4" fmla="*/ 66254 h 69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238" h="69947">
                  <a:moveTo>
                    <a:pt x="16835" y="66201"/>
                  </a:moveTo>
                  <a:cubicBezTo>
                    <a:pt x="30806" y="47962"/>
                    <a:pt x="46103" y="30780"/>
                    <a:pt x="62600" y="14788"/>
                  </a:cubicBezTo>
                  <a:cubicBezTo>
                    <a:pt x="70687" y="6993"/>
                    <a:pt x="58331" y="-5390"/>
                    <a:pt x="50377" y="2565"/>
                  </a:cubicBezTo>
                  <a:cubicBezTo>
                    <a:pt x="32830" y="19630"/>
                    <a:pt x="16567" y="37965"/>
                    <a:pt x="1721" y="57425"/>
                  </a:cubicBezTo>
                  <a:cubicBezTo>
                    <a:pt x="-5093" y="66387"/>
                    <a:pt x="10073" y="75111"/>
                    <a:pt x="16835" y="66254"/>
                  </a:cubicBezTo>
                  <a:close/>
                </a:path>
              </a:pathLst>
            </a:custGeom>
            <a:solidFill>
              <a:srgbClr val="2A2E2D"/>
            </a:solidFill>
            <a:ln w="26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3B980E9-1936-22C2-3D57-C5A1DD5BD060}"/>
                </a:ext>
              </a:extLst>
            </p:cNvPr>
            <p:cNvSpPr/>
            <p:nvPr/>
          </p:nvSpPr>
          <p:spPr>
            <a:xfrm>
              <a:off x="10781227" y="1727770"/>
              <a:ext cx="55513" cy="80498"/>
            </a:xfrm>
            <a:custGeom>
              <a:avLst/>
              <a:gdLst>
                <a:gd name="connsiteX0" fmla="*/ 16408 w 55513"/>
                <a:gd name="connsiteY0" fmla="*/ 76284 h 80498"/>
                <a:gd name="connsiteX1" fmla="*/ 54219 w 55513"/>
                <a:gd name="connsiteY1" fmla="*/ 13045 h 80498"/>
                <a:gd name="connsiteX2" fmla="*/ 39105 w 55513"/>
                <a:gd name="connsiteY2" fmla="*/ 4215 h 80498"/>
                <a:gd name="connsiteX3" fmla="*/ 1295 w 55513"/>
                <a:gd name="connsiteY3" fmla="*/ 67454 h 80498"/>
                <a:gd name="connsiteX4" fmla="*/ 16408 w 55513"/>
                <a:gd name="connsiteY4" fmla="*/ 76284 h 80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13" h="80498">
                  <a:moveTo>
                    <a:pt x="16408" y="76284"/>
                  </a:moveTo>
                  <a:lnTo>
                    <a:pt x="54219" y="13045"/>
                  </a:lnTo>
                  <a:cubicBezTo>
                    <a:pt x="59999" y="3366"/>
                    <a:pt x="44886" y="-5516"/>
                    <a:pt x="39105" y="4215"/>
                  </a:cubicBezTo>
                  <a:cubicBezTo>
                    <a:pt x="26519" y="25287"/>
                    <a:pt x="13916" y="46366"/>
                    <a:pt x="1295" y="67454"/>
                  </a:cubicBezTo>
                  <a:cubicBezTo>
                    <a:pt x="-4486" y="77132"/>
                    <a:pt x="10628" y="86015"/>
                    <a:pt x="16408" y="76284"/>
                  </a:cubicBezTo>
                  <a:close/>
                </a:path>
              </a:pathLst>
            </a:custGeom>
            <a:solidFill>
              <a:srgbClr val="2A2E2D"/>
            </a:solidFill>
            <a:ln w="26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37ADB36-E8D7-25C6-72BB-A28DC8D0CF9A}"/>
                </a:ext>
              </a:extLst>
            </p:cNvPr>
            <p:cNvSpPr/>
            <p:nvPr/>
          </p:nvSpPr>
          <p:spPr>
            <a:xfrm>
              <a:off x="10916500" y="1758152"/>
              <a:ext cx="38836" cy="92729"/>
            </a:xfrm>
            <a:custGeom>
              <a:avLst/>
              <a:gdLst>
                <a:gd name="connsiteX0" fmla="*/ 17053 w 38836"/>
                <a:gd name="connsiteY0" fmla="*/ 86417 h 92729"/>
                <a:gd name="connsiteX1" fmla="*/ 38265 w 38836"/>
                <a:gd name="connsiteY1" fmla="*/ 10609 h 92729"/>
                <a:gd name="connsiteX2" fmla="*/ 21401 w 38836"/>
                <a:gd name="connsiteY2" fmla="*/ 5969 h 92729"/>
                <a:gd name="connsiteX3" fmla="*/ 189 w 38836"/>
                <a:gd name="connsiteY3" fmla="*/ 81777 h 92729"/>
                <a:gd name="connsiteX4" fmla="*/ 17053 w 38836"/>
                <a:gd name="connsiteY4" fmla="*/ 86417 h 92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836" h="92729">
                  <a:moveTo>
                    <a:pt x="17053" y="86417"/>
                  </a:moveTo>
                  <a:cubicBezTo>
                    <a:pt x="22166" y="60641"/>
                    <a:pt x="29258" y="35295"/>
                    <a:pt x="38265" y="10609"/>
                  </a:cubicBezTo>
                  <a:cubicBezTo>
                    <a:pt x="42136" y="3"/>
                    <a:pt x="25219" y="-4557"/>
                    <a:pt x="21401" y="5969"/>
                  </a:cubicBezTo>
                  <a:cubicBezTo>
                    <a:pt x="12375" y="30650"/>
                    <a:pt x="5283" y="55996"/>
                    <a:pt x="189" y="81777"/>
                  </a:cubicBezTo>
                  <a:cubicBezTo>
                    <a:pt x="-1959" y="92780"/>
                    <a:pt x="14878" y="97474"/>
                    <a:pt x="17053" y="86417"/>
                  </a:cubicBezTo>
                  <a:close/>
                </a:path>
              </a:pathLst>
            </a:custGeom>
            <a:solidFill>
              <a:srgbClr val="2A2E2D"/>
            </a:solidFill>
            <a:ln w="26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A8E1E48-CE5F-46F5-EBF2-F835E24C97F1}"/>
                </a:ext>
              </a:extLst>
            </p:cNvPr>
            <p:cNvSpPr/>
            <p:nvPr/>
          </p:nvSpPr>
          <p:spPr>
            <a:xfrm>
              <a:off x="11061736" y="1771872"/>
              <a:ext cx="21463" cy="95470"/>
            </a:xfrm>
            <a:custGeom>
              <a:avLst/>
              <a:gdLst>
                <a:gd name="connsiteX0" fmla="*/ 21257 w 21463"/>
                <a:gd name="connsiteY0" fmla="*/ 84523 h 95470"/>
                <a:gd name="connsiteX1" fmla="*/ 20541 w 21463"/>
                <a:gd name="connsiteY1" fmla="*/ 10970 h 95470"/>
                <a:gd name="connsiteX2" fmla="*/ 3677 w 21463"/>
                <a:gd name="connsiteY2" fmla="*/ 6303 h 95470"/>
                <a:gd name="connsiteX3" fmla="*/ 4393 w 21463"/>
                <a:gd name="connsiteY3" fmla="*/ 89190 h 95470"/>
                <a:gd name="connsiteX4" fmla="*/ 21257 w 21463"/>
                <a:gd name="connsiteY4" fmla="*/ 84523 h 95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63" h="95470">
                  <a:moveTo>
                    <a:pt x="21257" y="84523"/>
                  </a:moveTo>
                  <a:cubicBezTo>
                    <a:pt x="16261" y="60283"/>
                    <a:pt x="16017" y="35303"/>
                    <a:pt x="20541" y="10970"/>
                  </a:cubicBezTo>
                  <a:cubicBezTo>
                    <a:pt x="22583" y="-34"/>
                    <a:pt x="5719" y="-4754"/>
                    <a:pt x="3677" y="6303"/>
                  </a:cubicBezTo>
                  <a:cubicBezTo>
                    <a:pt x="-1456" y="33717"/>
                    <a:pt x="-1212" y="61869"/>
                    <a:pt x="4393" y="89190"/>
                  </a:cubicBezTo>
                  <a:cubicBezTo>
                    <a:pt x="6647" y="100194"/>
                    <a:pt x="23511" y="95527"/>
                    <a:pt x="21257" y="84523"/>
                  </a:cubicBezTo>
                  <a:close/>
                </a:path>
              </a:pathLst>
            </a:custGeom>
            <a:solidFill>
              <a:srgbClr val="2A2E2D"/>
            </a:solidFill>
            <a:ln w="26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01B457B-48F2-62FE-2CFD-5C84215E979A}"/>
                </a:ext>
              </a:extLst>
            </p:cNvPr>
            <p:cNvSpPr/>
            <p:nvPr/>
          </p:nvSpPr>
          <p:spPr>
            <a:xfrm>
              <a:off x="11220615" y="1767015"/>
              <a:ext cx="27186" cy="97410"/>
            </a:xfrm>
            <a:custGeom>
              <a:avLst/>
              <a:gdLst>
                <a:gd name="connsiteX0" fmla="*/ 27117 w 27186"/>
                <a:gd name="connsiteY0" fmla="*/ 89088 h 97410"/>
                <a:gd name="connsiteX1" fmla="*/ 17545 w 27186"/>
                <a:gd name="connsiteY1" fmla="*/ 8323 h 97410"/>
                <a:gd name="connsiteX2" fmla="*/ 72 w 27186"/>
                <a:gd name="connsiteY2" fmla="*/ 8323 h 97410"/>
                <a:gd name="connsiteX3" fmla="*/ 9617 w 27186"/>
                <a:gd name="connsiteY3" fmla="*/ 89088 h 97410"/>
                <a:gd name="connsiteX4" fmla="*/ 27117 w 27186"/>
                <a:gd name="connsiteY4" fmla="*/ 89088 h 97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186" h="97410">
                  <a:moveTo>
                    <a:pt x="27117" y="89088"/>
                  </a:moveTo>
                  <a:cubicBezTo>
                    <a:pt x="23935" y="62167"/>
                    <a:pt x="20746" y="35244"/>
                    <a:pt x="17545" y="8323"/>
                  </a:cubicBezTo>
                  <a:cubicBezTo>
                    <a:pt x="16246" y="-2708"/>
                    <a:pt x="-1254" y="-2840"/>
                    <a:pt x="72" y="8323"/>
                  </a:cubicBezTo>
                  <a:lnTo>
                    <a:pt x="9617" y="89088"/>
                  </a:lnTo>
                  <a:cubicBezTo>
                    <a:pt x="10916" y="100119"/>
                    <a:pt x="28417" y="100251"/>
                    <a:pt x="27117" y="89088"/>
                  </a:cubicBezTo>
                  <a:close/>
                </a:path>
              </a:pathLst>
            </a:custGeom>
            <a:solidFill>
              <a:srgbClr val="2A2E2D"/>
            </a:solidFill>
            <a:ln w="26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2193CE4-512C-CAAA-0C38-07B775BA4030}"/>
                </a:ext>
              </a:extLst>
            </p:cNvPr>
            <p:cNvSpPr/>
            <p:nvPr/>
          </p:nvSpPr>
          <p:spPr>
            <a:xfrm>
              <a:off x="11365322" y="1722301"/>
              <a:ext cx="42435" cy="100717"/>
            </a:xfrm>
            <a:custGeom>
              <a:avLst/>
              <a:gdLst>
                <a:gd name="connsiteX0" fmla="*/ 42032 w 42435"/>
                <a:gd name="connsiteY0" fmla="*/ 89920 h 100717"/>
                <a:gd name="connsiteX1" fmla="*/ 17267 w 42435"/>
                <a:gd name="connsiteY1" fmla="*/ 6131 h 100717"/>
                <a:gd name="connsiteX2" fmla="*/ 403 w 42435"/>
                <a:gd name="connsiteY2" fmla="*/ 10798 h 100717"/>
                <a:gd name="connsiteX3" fmla="*/ 25169 w 42435"/>
                <a:gd name="connsiteY3" fmla="*/ 94586 h 100717"/>
                <a:gd name="connsiteX4" fmla="*/ 42032 w 42435"/>
                <a:gd name="connsiteY4" fmla="*/ 89920 h 10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35" h="100717">
                  <a:moveTo>
                    <a:pt x="42032" y="89920"/>
                  </a:moveTo>
                  <a:cubicBezTo>
                    <a:pt x="33794" y="61991"/>
                    <a:pt x="25540" y="34060"/>
                    <a:pt x="17267" y="6131"/>
                  </a:cubicBezTo>
                  <a:cubicBezTo>
                    <a:pt x="14085" y="-4634"/>
                    <a:pt x="-2805" y="-47"/>
                    <a:pt x="403" y="10798"/>
                  </a:cubicBezTo>
                  <a:cubicBezTo>
                    <a:pt x="8658" y="38711"/>
                    <a:pt x="16914" y="66639"/>
                    <a:pt x="25169" y="94586"/>
                  </a:cubicBezTo>
                  <a:cubicBezTo>
                    <a:pt x="28350" y="105352"/>
                    <a:pt x="45241" y="100765"/>
                    <a:pt x="42032" y="89920"/>
                  </a:cubicBezTo>
                  <a:close/>
                </a:path>
              </a:pathLst>
            </a:custGeom>
            <a:solidFill>
              <a:srgbClr val="2A2E2D"/>
            </a:solidFill>
            <a:ln w="26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AB73042-DA21-5995-A9CF-25767FC06F29}"/>
                </a:ext>
              </a:extLst>
            </p:cNvPr>
            <p:cNvSpPr/>
            <p:nvPr/>
          </p:nvSpPr>
          <p:spPr>
            <a:xfrm>
              <a:off x="11482072" y="1669345"/>
              <a:ext cx="62896" cy="103577"/>
            </a:xfrm>
            <a:custGeom>
              <a:avLst/>
              <a:gdLst>
                <a:gd name="connsiteX0" fmla="*/ 61624 w 62896"/>
                <a:gd name="connsiteY0" fmla="*/ 90534 h 103577"/>
                <a:gd name="connsiteX1" fmla="*/ 16044 w 62896"/>
                <a:gd name="connsiteY1" fmla="*/ 4492 h 103577"/>
                <a:gd name="connsiteX2" fmla="*/ 931 w 62896"/>
                <a:gd name="connsiteY2" fmla="*/ 13322 h 103577"/>
                <a:gd name="connsiteX3" fmla="*/ 46510 w 62896"/>
                <a:gd name="connsiteY3" fmla="*/ 99364 h 103577"/>
                <a:gd name="connsiteX4" fmla="*/ 61624 w 62896"/>
                <a:gd name="connsiteY4" fmla="*/ 90534 h 10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896" h="103577">
                  <a:moveTo>
                    <a:pt x="61624" y="90534"/>
                  </a:moveTo>
                  <a:cubicBezTo>
                    <a:pt x="45132" y="62534"/>
                    <a:pt x="29938" y="33853"/>
                    <a:pt x="16044" y="4492"/>
                  </a:cubicBezTo>
                  <a:cubicBezTo>
                    <a:pt x="11219" y="-5663"/>
                    <a:pt x="-3869" y="3193"/>
                    <a:pt x="931" y="13322"/>
                  </a:cubicBezTo>
                  <a:cubicBezTo>
                    <a:pt x="14859" y="42701"/>
                    <a:pt x="30052" y="71382"/>
                    <a:pt x="46510" y="99364"/>
                  </a:cubicBezTo>
                  <a:cubicBezTo>
                    <a:pt x="52211" y="109069"/>
                    <a:pt x="67351" y="100265"/>
                    <a:pt x="61624" y="90534"/>
                  </a:cubicBezTo>
                  <a:close/>
                </a:path>
              </a:pathLst>
            </a:custGeom>
            <a:solidFill>
              <a:srgbClr val="2A2E2D"/>
            </a:solidFill>
            <a:ln w="26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34" name="Graphic 8">
            <a:extLst>
              <a:ext uri="{FF2B5EF4-FFF2-40B4-BE49-F238E27FC236}">
                <a16:creationId xmlns:a16="http://schemas.microsoft.com/office/drawing/2014/main" id="{582A9B47-6A6B-02B6-F8E4-A5B946C8B886}"/>
              </a:ext>
            </a:extLst>
          </p:cNvPr>
          <p:cNvGrpSpPr/>
          <p:nvPr/>
        </p:nvGrpSpPr>
        <p:grpSpPr>
          <a:xfrm>
            <a:off x="2973031" y="5480386"/>
            <a:ext cx="800763" cy="767827"/>
            <a:chOff x="2973031" y="5480386"/>
            <a:chExt cx="800763" cy="767827"/>
          </a:xfrm>
          <a:solidFill>
            <a:srgbClr val="2A2E2D"/>
          </a:solidFill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EFBB59DF-F515-F4C1-38A9-B2DF17D768CD}"/>
                </a:ext>
              </a:extLst>
            </p:cNvPr>
            <p:cNvSpPr/>
            <p:nvPr/>
          </p:nvSpPr>
          <p:spPr>
            <a:xfrm>
              <a:off x="3434901" y="5480386"/>
              <a:ext cx="338892" cy="650550"/>
            </a:xfrm>
            <a:custGeom>
              <a:avLst/>
              <a:gdLst>
                <a:gd name="connsiteX0" fmla="*/ 90550 w 338892"/>
                <a:gd name="connsiteY0" fmla="*/ 264169 h 650550"/>
                <a:gd name="connsiteX1" fmla="*/ 0 w 338892"/>
                <a:gd name="connsiteY1" fmla="*/ 365352 h 650550"/>
                <a:gd name="connsiteX2" fmla="*/ 154690 w 338892"/>
                <a:gd name="connsiteY2" fmla="*/ 650550 h 650550"/>
                <a:gd name="connsiteX3" fmla="*/ 338892 w 338892"/>
                <a:gd name="connsiteY3" fmla="*/ 650550 h 650550"/>
                <a:gd name="connsiteX4" fmla="*/ 175425 w 338892"/>
                <a:gd name="connsiteY4" fmla="*/ 256824 h 650550"/>
                <a:gd name="connsiteX5" fmla="*/ 265975 w 338892"/>
                <a:gd name="connsiteY5" fmla="*/ 155642 h 650550"/>
                <a:gd name="connsiteX6" fmla="*/ 101023 w 338892"/>
                <a:gd name="connsiteY6" fmla="*/ 6599 h 650550"/>
                <a:gd name="connsiteX7" fmla="*/ 5303 w 338892"/>
                <a:gd name="connsiteY7" fmla="*/ 113244 h 650550"/>
                <a:gd name="connsiteX8" fmla="*/ 90550 w 338892"/>
                <a:gd name="connsiteY8" fmla="*/ 264169 h 65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8892" h="650550">
                  <a:moveTo>
                    <a:pt x="90550" y="264169"/>
                  </a:moveTo>
                  <a:cubicBezTo>
                    <a:pt x="79554" y="311109"/>
                    <a:pt x="45437" y="349233"/>
                    <a:pt x="0" y="365352"/>
                  </a:cubicBezTo>
                  <a:cubicBezTo>
                    <a:pt x="101819" y="397356"/>
                    <a:pt x="140213" y="545417"/>
                    <a:pt x="154690" y="650550"/>
                  </a:cubicBezTo>
                  <a:lnTo>
                    <a:pt x="338892" y="650550"/>
                  </a:lnTo>
                  <a:cubicBezTo>
                    <a:pt x="338892" y="650550"/>
                    <a:pt x="336930" y="307575"/>
                    <a:pt x="175425" y="256824"/>
                  </a:cubicBezTo>
                  <a:cubicBezTo>
                    <a:pt x="220857" y="240696"/>
                    <a:pt x="254969" y="202577"/>
                    <a:pt x="265975" y="155642"/>
                  </a:cubicBezTo>
                  <a:cubicBezTo>
                    <a:pt x="290926" y="50058"/>
                    <a:pt x="201251" y="-22912"/>
                    <a:pt x="101023" y="6599"/>
                  </a:cubicBezTo>
                  <a:cubicBezTo>
                    <a:pt x="48974" y="21925"/>
                    <a:pt x="15564" y="65782"/>
                    <a:pt x="5303" y="113244"/>
                  </a:cubicBezTo>
                  <a:cubicBezTo>
                    <a:pt x="67110" y="129524"/>
                    <a:pt x="108474" y="188256"/>
                    <a:pt x="90550" y="264169"/>
                  </a:cubicBezTo>
                  <a:close/>
                </a:path>
              </a:pathLst>
            </a:custGeom>
            <a:solidFill>
              <a:srgbClr val="2A2E2D"/>
            </a:solidFill>
            <a:ln w="26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7482779-67A5-D350-5AE4-89B29D2B226C}"/>
                </a:ext>
              </a:extLst>
            </p:cNvPr>
            <p:cNvSpPr/>
            <p:nvPr/>
          </p:nvSpPr>
          <p:spPr>
            <a:xfrm>
              <a:off x="3153651" y="5580460"/>
              <a:ext cx="453466" cy="667754"/>
            </a:xfrm>
            <a:custGeom>
              <a:avLst/>
              <a:gdLst>
                <a:gd name="connsiteX0" fmla="*/ 8778 w 453466"/>
                <a:gd name="connsiteY0" fmla="*/ 667754 h 667754"/>
                <a:gd name="connsiteX1" fmla="*/ 444717 w 453466"/>
                <a:gd name="connsiteY1" fmla="*/ 667754 h 667754"/>
                <a:gd name="connsiteX2" fmla="*/ 453467 w 453466"/>
                <a:gd name="connsiteY2" fmla="*/ 659004 h 667754"/>
                <a:gd name="connsiteX3" fmla="*/ 283583 w 453466"/>
                <a:gd name="connsiteY3" fmla="*/ 256847 h 667754"/>
                <a:gd name="connsiteX4" fmla="*/ 283583 w 453466"/>
                <a:gd name="connsiteY4" fmla="*/ 273790 h 667754"/>
                <a:gd name="connsiteX5" fmla="*/ 382273 w 453466"/>
                <a:gd name="connsiteY5" fmla="*/ 102978 h 667754"/>
                <a:gd name="connsiteX6" fmla="*/ 230658 w 453466"/>
                <a:gd name="connsiteY6" fmla="*/ 1239 h 667754"/>
                <a:gd name="connsiteX7" fmla="*/ 187332 w 453466"/>
                <a:gd name="connsiteY7" fmla="*/ 276362 h 667754"/>
                <a:gd name="connsiteX8" fmla="*/ 187332 w 453466"/>
                <a:gd name="connsiteY8" fmla="*/ 259472 h 667754"/>
                <a:gd name="connsiteX9" fmla="*/ 28 w 453466"/>
                <a:gd name="connsiteY9" fmla="*/ 659084 h 667754"/>
                <a:gd name="connsiteX10" fmla="*/ 17528 w 453466"/>
                <a:gd name="connsiteY10" fmla="*/ 659084 h 667754"/>
                <a:gd name="connsiteX11" fmla="*/ 45051 w 453466"/>
                <a:gd name="connsiteY11" fmla="*/ 500496 h 667754"/>
                <a:gd name="connsiteX12" fmla="*/ 191973 w 453466"/>
                <a:gd name="connsiteY12" fmla="*/ 276282 h 667754"/>
                <a:gd name="connsiteX13" fmla="*/ 191973 w 453466"/>
                <a:gd name="connsiteY13" fmla="*/ 259392 h 667754"/>
                <a:gd name="connsiteX14" fmla="*/ 221139 w 453466"/>
                <a:gd name="connsiteY14" fmla="*/ 20436 h 667754"/>
                <a:gd name="connsiteX15" fmla="*/ 362943 w 453466"/>
                <a:gd name="connsiteY15" fmla="*/ 97012 h 667754"/>
                <a:gd name="connsiteX16" fmla="*/ 278890 w 453466"/>
                <a:gd name="connsiteY16" fmla="*/ 256847 h 667754"/>
                <a:gd name="connsiteX17" fmla="*/ 278890 w 453466"/>
                <a:gd name="connsiteY17" fmla="*/ 273710 h 667754"/>
                <a:gd name="connsiteX18" fmla="*/ 435516 w 453466"/>
                <a:gd name="connsiteY18" fmla="*/ 643254 h 667754"/>
                <a:gd name="connsiteX19" fmla="*/ 435940 w 453466"/>
                <a:gd name="connsiteY19" fmla="*/ 658076 h 667754"/>
                <a:gd name="connsiteX20" fmla="*/ 443895 w 453466"/>
                <a:gd name="connsiteY20" fmla="*/ 650254 h 667754"/>
                <a:gd name="connsiteX21" fmla="*/ 438061 w 453466"/>
                <a:gd name="connsiteY21" fmla="*/ 650254 h 667754"/>
                <a:gd name="connsiteX22" fmla="*/ 375034 w 453466"/>
                <a:gd name="connsiteY22" fmla="*/ 650254 h 667754"/>
                <a:gd name="connsiteX23" fmla="*/ 8778 w 453466"/>
                <a:gd name="connsiteY23" fmla="*/ 650254 h 667754"/>
                <a:gd name="connsiteX24" fmla="*/ 8778 w 453466"/>
                <a:gd name="connsiteY24" fmla="*/ 667754 h 667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3466" h="667754">
                  <a:moveTo>
                    <a:pt x="8778" y="667754"/>
                  </a:moveTo>
                  <a:lnTo>
                    <a:pt x="444717" y="667754"/>
                  </a:lnTo>
                  <a:cubicBezTo>
                    <a:pt x="449527" y="667696"/>
                    <a:pt x="453408" y="663814"/>
                    <a:pt x="453467" y="659004"/>
                  </a:cubicBezTo>
                  <a:cubicBezTo>
                    <a:pt x="452406" y="528337"/>
                    <a:pt x="428383" y="307014"/>
                    <a:pt x="283583" y="256847"/>
                  </a:cubicBezTo>
                  <a:lnTo>
                    <a:pt x="283583" y="273790"/>
                  </a:lnTo>
                  <a:cubicBezTo>
                    <a:pt x="351409" y="246055"/>
                    <a:pt x="396857" y="177857"/>
                    <a:pt x="382273" y="102978"/>
                  </a:cubicBezTo>
                  <a:cubicBezTo>
                    <a:pt x="368512" y="32262"/>
                    <a:pt x="299678" y="-7697"/>
                    <a:pt x="230658" y="1239"/>
                  </a:cubicBezTo>
                  <a:cubicBezTo>
                    <a:pt x="89597" y="19535"/>
                    <a:pt x="46430" y="222774"/>
                    <a:pt x="187332" y="276362"/>
                  </a:cubicBezTo>
                  <a:lnTo>
                    <a:pt x="187332" y="259472"/>
                  </a:lnTo>
                  <a:cubicBezTo>
                    <a:pt x="46801" y="316480"/>
                    <a:pt x="9680" y="525155"/>
                    <a:pt x="28" y="659084"/>
                  </a:cubicBezTo>
                  <a:cubicBezTo>
                    <a:pt x="-794" y="670326"/>
                    <a:pt x="16706" y="670273"/>
                    <a:pt x="17528" y="659084"/>
                  </a:cubicBezTo>
                  <a:cubicBezTo>
                    <a:pt x="21760" y="605480"/>
                    <a:pt x="30974" y="552389"/>
                    <a:pt x="45051" y="500496"/>
                  </a:cubicBezTo>
                  <a:cubicBezTo>
                    <a:pt x="67218" y="416813"/>
                    <a:pt x="104870" y="311627"/>
                    <a:pt x="191973" y="276282"/>
                  </a:cubicBezTo>
                  <a:cubicBezTo>
                    <a:pt x="200086" y="272968"/>
                    <a:pt x="200404" y="262600"/>
                    <a:pt x="191973" y="259392"/>
                  </a:cubicBezTo>
                  <a:cubicBezTo>
                    <a:pt x="73157" y="214316"/>
                    <a:pt x="106885" y="45705"/>
                    <a:pt x="221139" y="20436"/>
                  </a:cubicBezTo>
                  <a:cubicBezTo>
                    <a:pt x="280348" y="7337"/>
                    <a:pt x="345762" y="35921"/>
                    <a:pt x="362943" y="97012"/>
                  </a:cubicBezTo>
                  <a:cubicBezTo>
                    <a:pt x="381928" y="164308"/>
                    <a:pt x="340962" y="231445"/>
                    <a:pt x="278890" y="256847"/>
                  </a:cubicBezTo>
                  <a:cubicBezTo>
                    <a:pt x="270935" y="260081"/>
                    <a:pt x="270246" y="270714"/>
                    <a:pt x="278890" y="273710"/>
                  </a:cubicBezTo>
                  <a:cubicBezTo>
                    <a:pt x="421277" y="323029"/>
                    <a:pt x="416292" y="522954"/>
                    <a:pt x="435516" y="643254"/>
                  </a:cubicBezTo>
                  <a:cubicBezTo>
                    <a:pt x="436232" y="647682"/>
                    <a:pt x="434402" y="653860"/>
                    <a:pt x="435940" y="658076"/>
                  </a:cubicBezTo>
                  <a:cubicBezTo>
                    <a:pt x="436364" y="659190"/>
                    <a:pt x="444823" y="650572"/>
                    <a:pt x="443895" y="650254"/>
                  </a:cubicBezTo>
                  <a:cubicBezTo>
                    <a:pt x="442224" y="649750"/>
                    <a:pt x="439599" y="651050"/>
                    <a:pt x="438061" y="650254"/>
                  </a:cubicBezTo>
                  <a:cubicBezTo>
                    <a:pt x="425148" y="643572"/>
                    <a:pt x="389141" y="650254"/>
                    <a:pt x="375034" y="650254"/>
                  </a:cubicBezTo>
                  <a:lnTo>
                    <a:pt x="8778" y="650254"/>
                  </a:lnTo>
                  <a:cubicBezTo>
                    <a:pt x="-2491" y="650307"/>
                    <a:pt x="-2491" y="667754"/>
                    <a:pt x="8778" y="667754"/>
                  </a:cubicBezTo>
                  <a:close/>
                </a:path>
              </a:pathLst>
            </a:custGeom>
            <a:solidFill>
              <a:srgbClr val="2A2E2D"/>
            </a:solidFill>
            <a:ln w="26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FD340984-B353-77D5-BFF4-E5BB92BFA343}"/>
                </a:ext>
              </a:extLst>
            </p:cNvPr>
            <p:cNvSpPr/>
            <p:nvPr/>
          </p:nvSpPr>
          <p:spPr>
            <a:xfrm>
              <a:off x="2973031" y="5513939"/>
              <a:ext cx="370207" cy="650539"/>
            </a:xfrm>
            <a:custGeom>
              <a:avLst/>
              <a:gdLst>
                <a:gd name="connsiteX0" fmla="*/ 0 w 370207"/>
                <a:gd name="connsiteY0" fmla="*/ 650540 h 650539"/>
                <a:gd name="connsiteX1" fmla="*/ 198865 w 370207"/>
                <a:gd name="connsiteY1" fmla="*/ 650540 h 650539"/>
                <a:gd name="connsiteX2" fmla="*/ 370207 w 370207"/>
                <a:gd name="connsiteY2" fmla="*/ 334291 h 650539"/>
                <a:gd name="connsiteX3" fmla="*/ 326961 w 370207"/>
                <a:gd name="connsiteY3" fmla="*/ 309712 h 650539"/>
                <a:gd name="connsiteX4" fmla="*/ 363605 w 370207"/>
                <a:gd name="connsiteY4" fmla="*/ 91438 h 650539"/>
                <a:gd name="connsiteX5" fmla="*/ 198043 w 370207"/>
                <a:gd name="connsiteY5" fmla="*/ 6589 h 650539"/>
                <a:gd name="connsiteX6" fmla="*/ 137615 w 370207"/>
                <a:gd name="connsiteY6" fmla="*/ 234859 h 650539"/>
                <a:gd name="connsiteX7" fmla="*/ 180888 w 370207"/>
                <a:gd name="connsiteY7" fmla="*/ 259439 h 650539"/>
                <a:gd name="connsiteX8" fmla="*/ 0 w 370207"/>
                <a:gd name="connsiteY8" fmla="*/ 650540 h 650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0207" h="650539">
                  <a:moveTo>
                    <a:pt x="0" y="650540"/>
                  </a:moveTo>
                  <a:lnTo>
                    <a:pt x="198865" y="650540"/>
                  </a:lnTo>
                  <a:cubicBezTo>
                    <a:pt x="215808" y="548933"/>
                    <a:pt x="260328" y="375337"/>
                    <a:pt x="370207" y="334291"/>
                  </a:cubicBezTo>
                  <a:cubicBezTo>
                    <a:pt x="354255" y="329155"/>
                    <a:pt x="339534" y="320790"/>
                    <a:pt x="326961" y="309712"/>
                  </a:cubicBezTo>
                  <a:cubicBezTo>
                    <a:pt x="261335" y="251378"/>
                    <a:pt x="282733" y="133677"/>
                    <a:pt x="363605" y="91438"/>
                  </a:cubicBezTo>
                  <a:cubicBezTo>
                    <a:pt x="347696" y="23002"/>
                    <a:pt x="276104" y="-16427"/>
                    <a:pt x="198043" y="6589"/>
                  </a:cubicBezTo>
                  <a:cubicBezTo>
                    <a:pt x="97868" y="36180"/>
                    <a:pt x="65917" y="171302"/>
                    <a:pt x="137615" y="234859"/>
                  </a:cubicBezTo>
                  <a:cubicBezTo>
                    <a:pt x="150187" y="245953"/>
                    <a:pt x="164921" y="254321"/>
                    <a:pt x="180888" y="259439"/>
                  </a:cubicBezTo>
                  <a:cubicBezTo>
                    <a:pt x="23148" y="318409"/>
                    <a:pt x="0" y="650540"/>
                    <a:pt x="0" y="650540"/>
                  </a:cubicBezTo>
                  <a:close/>
                </a:path>
              </a:pathLst>
            </a:custGeom>
            <a:solidFill>
              <a:srgbClr val="2A2E2D"/>
            </a:solidFill>
            <a:ln w="26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42" name="Graphic 10">
            <a:extLst>
              <a:ext uri="{FF2B5EF4-FFF2-40B4-BE49-F238E27FC236}">
                <a16:creationId xmlns:a16="http://schemas.microsoft.com/office/drawing/2014/main" id="{E926282D-D527-106C-FA06-A2B76809E6CF}"/>
              </a:ext>
            </a:extLst>
          </p:cNvPr>
          <p:cNvGrpSpPr/>
          <p:nvPr/>
        </p:nvGrpSpPr>
        <p:grpSpPr>
          <a:xfrm>
            <a:off x="4849963" y="5475078"/>
            <a:ext cx="930205" cy="779424"/>
            <a:chOff x="4849963" y="5475078"/>
            <a:chExt cx="930205" cy="779424"/>
          </a:xfrm>
          <a:solidFill>
            <a:srgbClr val="2A2E2D"/>
          </a:solidFill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E54F4B1E-9A90-4743-01E0-06CBD83DDF27}"/>
                </a:ext>
              </a:extLst>
            </p:cNvPr>
            <p:cNvSpPr/>
            <p:nvPr/>
          </p:nvSpPr>
          <p:spPr>
            <a:xfrm>
              <a:off x="4849963" y="5826974"/>
              <a:ext cx="930205" cy="427528"/>
            </a:xfrm>
            <a:custGeom>
              <a:avLst/>
              <a:gdLst>
                <a:gd name="connsiteX0" fmla="*/ 581591 w 930205"/>
                <a:gd name="connsiteY0" fmla="*/ 107856 h 427528"/>
                <a:gd name="connsiteX1" fmla="*/ 647561 w 930205"/>
                <a:gd name="connsiteY1" fmla="*/ 131454 h 427528"/>
                <a:gd name="connsiteX2" fmla="*/ 733126 w 930205"/>
                <a:gd name="connsiteY2" fmla="*/ 94598 h 427528"/>
                <a:gd name="connsiteX3" fmla="*/ 923506 w 930205"/>
                <a:gd name="connsiteY3" fmla="*/ 17253 h 427528"/>
                <a:gd name="connsiteX4" fmla="*/ 912767 w 930205"/>
                <a:gd name="connsiteY4" fmla="*/ 6488 h 427528"/>
                <a:gd name="connsiteX5" fmla="*/ 832161 w 930205"/>
                <a:gd name="connsiteY5" fmla="*/ 201004 h 427528"/>
                <a:gd name="connsiteX6" fmla="*/ 795198 w 930205"/>
                <a:gd name="connsiteY6" fmla="*/ 288982 h 427528"/>
                <a:gd name="connsiteX7" fmla="*/ 724084 w 930205"/>
                <a:gd name="connsiteY7" fmla="*/ 330823 h 427528"/>
                <a:gd name="connsiteX8" fmla="*/ 590023 w 930205"/>
                <a:gd name="connsiteY8" fmla="*/ 380910 h 427528"/>
                <a:gd name="connsiteX9" fmla="*/ 504909 w 930205"/>
                <a:gd name="connsiteY9" fmla="*/ 409361 h 427528"/>
                <a:gd name="connsiteX10" fmla="*/ 478579 w 930205"/>
                <a:gd name="connsiteY10" fmla="*/ 391835 h 427528"/>
                <a:gd name="connsiteX11" fmla="*/ 418151 w 930205"/>
                <a:gd name="connsiteY11" fmla="*/ 356834 h 427528"/>
                <a:gd name="connsiteX12" fmla="*/ 310552 w 930205"/>
                <a:gd name="connsiteY12" fmla="*/ 300622 h 427528"/>
                <a:gd name="connsiteX13" fmla="*/ 286979 w 930205"/>
                <a:gd name="connsiteY13" fmla="*/ 288929 h 427528"/>
                <a:gd name="connsiteX14" fmla="*/ 218040 w 930205"/>
                <a:gd name="connsiteY14" fmla="*/ 310857 h 427528"/>
                <a:gd name="connsiteX15" fmla="*/ 4406 w 930205"/>
                <a:gd name="connsiteY15" fmla="*/ 411482 h 427528"/>
                <a:gd name="connsiteX16" fmla="*/ 16391 w 930205"/>
                <a:gd name="connsiteY16" fmla="*/ 423441 h 427528"/>
                <a:gd name="connsiteX17" fmla="*/ 122266 w 930205"/>
                <a:gd name="connsiteY17" fmla="*/ 242872 h 427528"/>
                <a:gd name="connsiteX18" fmla="*/ 199638 w 930205"/>
                <a:gd name="connsiteY18" fmla="*/ 120901 h 427528"/>
                <a:gd name="connsiteX19" fmla="*/ 331578 w 930205"/>
                <a:gd name="connsiteY19" fmla="*/ 56893 h 427528"/>
                <a:gd name="connsiteX20" fmla="*/ 322749 w 930205"/>
                <a:gd name="connsiteY20" fmla="*/ 41806 h 427528"/>
                <a:gd name="connsiteX21" fmla="*/ 185452 w 930205"/>
                <a:gd name="connsiteY21" fmla="*/ 108386 h 427528"/>
                <a:gd name="connsiteX22" fmla="*/ 116009 w 930205"/>
                <a:gd name="connsiteY22" fmla="*/ 219061 h 427528"/>
                <a:gd name="connsiteX23" fmla="*/ 1277 w 930205"/>
                <a:gd name="connsiteY23" fmla="*/ 414611 h 427528"/>
                <a:gd name="connsiteX24" fmla="*/ 13235 w 930205"/>
                <a:gd name="connsiteY24" fmla="*/ 426570 h 427528"/>
                <a:gd name="connsiteX25" fmla="*/ 230343 w 930205"/>
                <a:gd name="connsiteY25" fmla="*/ 324671 h 427528"/>
                <a:gd name="connsiteX26" fmla="*/ 285123 w 930205"/>
                <a:gd name="connsiteY26" fmla="*/ 307463 h 427528"/>
                <a:gd name="connsiteX27" fmla="*/ 325427 w 930205"/>
                <a:gd name="connsiteY27" fmla="*/ 327721 h 427528"/>
                <a:gd name="connsiteX28" fmla="*/ 445461 w 930205"/>
                <a:gd name="connsiteY28" fmla="*/ 392285 h 427528"/>
                <a:gd name="connsiteX29" fmla="*/ 509655 w 930205"/>
                <a:gd name="connsiteY29" fmla="*/ 426225 h 427528"/>
                <a:gd name="connsiteX30" fmla="*/ 594769 w 930205"/>
                <a:gd name="connsiteY30" fmla="*/ 397800 h 427528"/>
                <a:gd name="connsiteX31" fmla="*/ 733815 w 930205"/>
                <a:gd name="connsiteY31" fmla="*/ 345618 h 427528"/>
                <a:gd name="connsiteX32" fmla="*/ 806202 w 930205"/>
                <a:gd name="connsiteY32" fmla="*/ 307861 h 427528"/>
                <a:gd name="connsiteX33" fmla="*/ 833858 w 930205"/>
                <a:gd name="connsiteY33" fmla="*/ 242076 h 427528"/>
                <a:gd name="connsiteX34" fmla="*/ 929737 w 930205"/>
                <a:gd name="connsiteY34" fmla="*/ 11154 h 427528"/>
                <a:gd name="connsiteX35" fmla="*/ 918972 w 930205"/>
                <a:gd name="connsiteY35" fmla="*/ 389 h 427528"/>
                <a:gd name="connsiteX36" fmla="*/ 760278 w 930205"/>
                <a:gd name="connsiteY36" fmla="*/ 63310 h 427528"/>
                <a:gd name="connsiteX37" fmla="*/ 700671 w 930205"/>
                <a:gd name="connsiteY37" fmla="*/ 90780 h 427528"/>
                <a:gd name="connsiteX38" fmla="*/ 652334 w 930205"/>
                <a:gd name="connsiteY38" fmla="*/ 114644 h 427528"/>
                <a:gd name="connsiteX39" fmla="*/ 586337 w 930205"/>
                <a:gd name="connsiteY39" fmla="*/ 91045 h 427528"/>
                <a:gd name="connsiteX40" fmla="*/ 581697 w 930205"/>
                <a:gd name="connsiteY40" fmla="*/ 107909 h 427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930205" h="427528">
                  <a:moveTo>
                    <a:pt x="581591" y="107856"/>
                  </a:moveTo>
                  <a:cubicBezTo>
                    <a:pt x="601663" y="115041"/>
                    <a:pt x="626455" y="129360"/>
                    <a:pt x="647561" y="131454"/>
                  </a:cubicBezTo>
                  <a:cubicBezTo>
                    <a:pt x="673917" y="134106"/>
                    <a:pt x="708970" y="105814"/>
                    <a:pt x="733126" y="94598"/>
                  </a:cubicBezTo>
                  <a:cubicBezTo>
                    <a:pt x="795172" y="65723"/>
                    <a:pt x="858941" y="40003"/>
                    <a:pt x="923506" y="17253"/>
                  </a:cubicBezTo>
                  <a:lnTo>
                    <a:pt x="912767" y="6488"/>
                  </a:lnTo>
                  <a:cubicBezTo>
                    <a:pt x="886994" y="71768"/>
                    <a:pt x="859312" y="136413"/>
                    <a:pt x="832161" y="201004"/>
                  </a:cubicBezTo>
                  <a:cubicBezTo>
                    <a:pt x="819937" y="230171"/>
                    <a:pt x="809066" y="260531"/>
                    <a:pt x="795198" y="288982"/>
                  </a:cubicBezTo>
                  <a:cubicBezTo>
                    <a:pt x="783107" y="313853"/>
                    <a:pt x="750944" y="319739"/>
                    <a:pt x="724084" y="330823"/>
                  </a:cubicBezTo>
                  <a:cubicBezTo>
                    <a:pt x="679989" y="349012"/>
                    <a:pt x="635072" y="365293"/>
                    <a:pt x="590023" y="380910"/>
                  </a:cubicBezTo>
                  <a:cubicBezTo>
                    <a:pt x="569792" y="387937"/>
                    <a:pt x="527022" y="411854"/>
                    <a:pt x="504909" y="409361"/>
                  </a:cubicBezTo>
                  <a:cubicBezTo>
                    <a:pt x="499844" y="408778"/>
                    <a:pt x="487064" y="397138"/>
                    <a:pt x="478579" y="391835"/>
                  </a:cubicBezTo>
                  <a:cubicBezTo>
                    <a:pt x="458852" y="379505"/>
                    <a:pt x="438541" y="367971"/>
                    <a:pt x="418151" y="356834"/>
                  </a:cubicBezTo>
                  <a:cubicBezTo>
                    <a:pt x="382700" y="337346"/>
                    <a:pt x="346745" y="318758"/>
                    <a:pt x="310552" y="300622"/>
                  </a:cubicBezTo>
                  <a:cubicBezTo>
                    <a:pt x="303817" y="297254"/>
                    <a:pt x="294642" y="290201"/>
                    <a:pt x="286979" y="288929"/>
                  </a:cubicBezTo>
                  <a:cubicBezTo>
                    <a:pt x="266642" y="285508"/>
                    <a:pt x="237210" y="303088"/>
                    <a:pt x="218040" y="310857"/>
                  </a:cubicBezTo>
                  <a:cubicBezTo>
                    <a:pt x="145096" y="340448"/>
                    <a:pt x="74990" y="376747"/>
                    <a:pt x="4406" y="411482"/>
                  </a:cubicBezTo>
                  <a:lnTo>
                    <a:pt x="16391" y="423441"/>
                  </a:lnTo>
                  <a:lnTo>
                    <a:pt x="122266" y="242872"/>
                  </a:lnTo>
                  <a:cubicBezTo>
                    <a:pt x="143213" y="207182"/>
                    <a:pt x="166308" y="144076"/>
                    <a:pt x="199638" y="120901"/>
                  </a:cubicBezTo>
                  <a:cubicBezTo>
                    <a:pt x="238244" y="93988"/>
                    <a:pt x="289127" y="77496"/>
                    <a:pt x="331578" y="56893"/>
                  </a:cubicBezTo>
                  <a:cubicBezTo>
                    <a:pt x="341707" y="51988"/>
                    <a:pt x="332851" y="36901"/>
                    <a:pt x="322749" y="41806"/>
                  </a:cubicBezTo>
                  <a:cubicBezTo>
                    <a:pt x="278919" y="63018"/>
                    <a:pt x="224801" y="79961"/>
                    <a:pt x="185452" y="108386"/>
                  </a:cubicBezTo>
                  <a:cubicBezTo>
                    <a:pt x="155092" y="130314"/>
                    <a:pt x="134888" y="186871"/>
                    <a:pt x="116009" y="219061"/>
                  </a:cubicBezTo>
                  <a:cubicBezTo>
                    <a:pt x="77756" y="284235"/>
                    <a:pt x="39512" y="349418"/>
                    <a:pt x="1277" y="414611"/>
                  </a:cubicBezTo>
                  <a:cubicBezTo>
                    <a:pt x="-3390" y="422566"/>
                    <a:pt x="5679" y="430282"/>
                    <a:pt x="13235" y="426570"/>
                  </a:cubicBezTo>
                  <a:cubicBezTo>
                    <a:pt x="84827" y="391304"/>
                    <a:pt x="156153" y="354421"/>
                    <a:pt x="230343" y="324671"/>
                  </a:cubicBezTo>
                  <a:cubicBezTo>
                    <a:pt x="247525" y="317804"/>
                    <a:pt x="268790" y="304626"/>
                    <a:pt x="285123" y="307463"/>
                  </a:cubicBezTo>
                  <a:cubicBezTo>
                    <a:pt x="298195" y="309743"/>
                    <a:pt x="313760" y="321755"/>
                    <a:pt x="325427" y="327721"/>
                  </a:cubicBezTo>
                  <a:cubicBezTo>
                    <a:pt x="365916" y="348323"/>
                    <a:pt x="406139" y="369323"/>
                    <a:pt x="445461" y="392285"/>
                  </a:cubicBezTo>
                  <a:cubicBezTo>
                    <a:pt x="464605" y="403448"/>
                    <a:pt x="488072" y="427047"/>
                    <a:pt x="509655" y="426225"/>
                  </a:cubicBezTo>
                  <a:cubicBezTo>
                    <a:pt x="536170" y="425217"/>
                    <a:pt x="569871" y="406418"/>
                    <a:pt x="594769" y="397800"/>
                  </a:cubicBezTo>
                  <a:cubicBezTo>
                    <a:pt x="641542" y="381573"/>
                    <a:pt x="688103" y="364630"/>
                    <a:pt x="733815" y="345618"/>
                  </a:cubicBezTo>
                  <a:cubicBezTo>
                    <a:pt x="755690" y="336524"/>
                    <a:pt x="792149" y="327323"/>
                    <a:pt x="806202" y="307861"/>
                  </a:cubicBezTo>
                  <a:cubicBezTo>
                    <a:pt x="818956" y="290228"/>
                    <a:pt x="825505" y="261936"/>
                    <a:pt x="833858" y="242076"/>
                  </a:cubicBezTo>
                  <a:cubicBezTo>
                    <a:pt x="866127" y="165182"/>
                    <a:pt x="899138" y="88658"/>
                    <a:pt x="929737" y="11154"/>
                  </a:cubicBezTo>
                  <a:cubicBezTo>
                    <a:pt x="932123" y="5056"/>
                    <a:pt x="924911" y="-1706"/>
                    <a:pt x="918972" y="389"/>
                  </a:cubicBezTo>
                  <a:cubicBezTo>
                    <a:pt x="865331" y="19294"/>
                    <a:pt x="812380" y="40480"/>
                    <a:pt x="760278" y="63310"/>
                  </a:cubicBezTo>
                  <a:cubicBezTo>
                    <a:pt x="740232" y="72086"/>
                    <a:pt x="720346" y="81181"/>
                    <a:pt x="700671" y="90780"/>
                  </a:cubicBezTo>
                  <a:cubicBezTo>
                    <a:pt x="687864" y="97037"/>
                    <a:pt x="664902" y="114431"/>
                    <a:pt x="652334" y="114644"/>
                  </a:cubicBezTo>
                  <a:cubicBezTo>
                    <a:pt x="633031" y="114909"/>
                    <a:pt x="604818" y="97647"/>
                    <a:pt x="586337" y="91045"/>
                  </a:cubicBezTo>
                  <a:cubicBezTo>
                    <a:pt x="575731" y="87253"/>
                    <a:pt x="571144" y="104143"/>
                    <a:pt x="581697" y="107909"/>
                  </a:cubicBezTo>
                  <a:close/>
                </a:path>
              </a:pathLst>
            </a:custGeom>
            <a:solidFill>
              <a:srgbClr val="2A2E2D"/>
            </a:solidFill>
            <a:ln w="26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90D8917-A5D8-7386-08C9-7AFE14CAF8F9}"/>
                </a:ext>
              </a:extLst>
            </p:cNvPr>
            <p:cNvSpPr/>
            <p:nvPr/>
          </p:nvSpPr>
          <p:spPr>
            <a:xfrm>
              <a:off x="5143762" y="5475078"/>
              <a:ext cx="395045" cy="574170"/>
            </a:xfrm>
            <a:custGeom>
              <a:avLst/>
              <a:gdLst>
                <a:gd name="connsiteX0" fmla="*/ 373172 w 395045"/>
                <a:gd name="connsiteY0" fmla="*/ 91003 h 574170"/>
                <a:gd name="connsiteX1" fmla="*/ 140580 w 395045"/>
                <a:gd name="connsiteY1" fmla="*/ 14480 h 574170"/>
                <a:gd name="connsiteX2" fmla="*/ 844 w 395045"/>
                <a:gd name="connsiteY2" fmla="*/ 257016 h 574170"/>
                <a:gd name="connsiteX3" fmla="*/ 137371 w 395045"/>
                <a:gd name="connsiteY3" fmla="*/ 562578 h 574170"/>
                <a:gd name="connsiteX4" fmla="*/ 195413 w 395045"/>
                <a:gd name="connsiteY4" fmla="*/ 559343 h 574170"/>
                <a:gd name="connsiteX5" fmla="*/ 291637 w 395045"/>
                <a:gd name="connsiteY5" fmla="*/ 451930 h 574170"/>
                <a:gd name="connsiteX6" fmla="*/ 373172 w 395045"/>
                <a:gd name="connsiteY6" fmla="*/ 91003 h 574170"/>
                <a:gd name="connsiteX7" fmla="*/ 358058 w 395045"/>
                <a:gd name="connsiteY7" fmla="*/ 99806 h 574170"/>
                <a:gd name="connsiteX8" fmla="*/ 311259 w 395045"/>
                <a:gd name="connsiteY8" fmla="*/ 389460 h 574170"/>
                <a:gd name="connsiteX9" fmla="*/ 229671 w 395045"/>
                <a:gd name="connsiteY9" fmla="*/ 501805 h 574170"/>
                <a:gd name="connsiteX10" fmla="*/ 160731 w 395045"/>
                <a:gd name="connsiteY10" fmla="*/ 556639 h 574170"/>
                <a:gd name="connsiteX11" fmla="*/ 91977 w 395045"/>
                <a:gd name="connsiteY11" fmla="*/ 482051 h 574170"/>
                <a:gd name="connsiteX12" fmla="*/ 29109 w 395045"/>
                <a:gd name="connsiteY12" fmla="*/ 328793 h 574170"/>
                <a:gd name="connsiteX13" fmla="*/ 109424 w 395045"/>
                <a:gd name="connsiteY13" fmla="*/ 49851 h 574170"/>
                <a:gd name="connsiteX14" fmla="*/ 358058 w 395045"/>
                <a:gd name="connsiteY14" fmla="*/ 99806 h 574170"/>
                <a:gd name="connsiteX15" fmla="*/ 373172 w 395045"/>
                <a:gd name="connsiteY15" fmla="*/ 91003 h 574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5045" h="574170">
                  <a:moveTo>
                    <a:pt x="373172" y="91003"/>
                  </a:moveTo>
                  <a:cubicBezTo>
                    <a:pt x="326346" y="6817"/>
                    <a:pt x="228398" y="-19645"/>
                    <a:pt x="140580" y="14480"/>
                  </a:cubicBezTo>
                  <a:cubicBezTo>
                    <a:pt x="38549" y="54253"/>
                    <a:pt x="-6899" y="152121"/>
                    <a:pt x="844" y="257016"/>
                  </a:cubicBezTo>
                  <a:cubicBezTo>
                    <a:pt x="8401" y="359815"/>
                    <a:pt x="49791" y="497562"/>
                    <a:pt x="137371" y="562578"/>
                  </a:cubicBezTo>
                  <a:cubicBezTo>
                    <a:pt x="160784" y="579946"/>
                    <a:pt x="173273" y="576923"/>
                    <a:pt x="195413" y="559343"/>
                  </a:cubicBezTo>
                  <a:cubicBezTo>
                    <a:pt x="232906" y="529540"/>
                    <a:pt x="263982" y="490748"/>
                    <a:pt x="291637" y="451930"/>
                  </a:cubicBezTo>
                  <a:cubicBezTo>
                    <a:pt x="362062" y="353054"/>
                    <a:pt x="431638" y="210905"/>
                    <a:pt x="373172" y="91003"/>
                  </a:cubicBezTo>
                  <a:cubicBezTo>
                    <a:pt x="368240" y="80874"/>
                    <a:pt x="353153" y="89731"/>
                    <a:pt x="358058" y="99806"/>
                  </a:cubicBezTo>
                  <a:cubicBezTo>
                    <a:pt x="404142" y="194307"/>
                    <a:pt x="360444" y="305353"/>
                    <a:pt x="311259" y="389460"/>
                  </a:cubicBezTo>
                  <a:cubicBezTo>
                    <a:pt x="287933" y="429572"/>
                    <a:pt x="260596" y="467213"/>
                    <a:pt x="229671" y="501805"/>
                  </a:cubicBezTo>
                  <a:cubicBezTo>
                    <a:pt x="215273" y="517714"/>
                    <a:pt x="183428" y="559953"/>
                    <a:pt x="160731" y="556639"/>
                  </a:cubicBezTo>
                  <a:cubicBezTo>
                    <a:pt x="133871" y="552767"/>
                    <a:pt x="104519" y="501911"/>
                    <a:pt x="91977" y="482051"/>
                  </a:cubicBezTo>
                  <a:cubicBezTo>
                    <a:pt x="62476" y="434904"/>
                    <a:pt x="41216" y="383077"/>
                    <a:pt x="29109" y="328793"/>
                  </a:cubicBezTo>
                  <a:cubicBezTo>
                    <a:pt x="5829" y="225834"/>
                    <a:pt x="12484" y="112030"/>
                    <a:pt x="109424" y="49851"/>
                  </a:cubicBezTo>
                  <a:cubicBezTo>
                    <a:pt x="193478" y="-4081"/>
                    <a:pt x="307175" y="8355"/>
                    <a:pt x="358058" y="99806"/>
                  </a:cubicBezTo>
                  <a:cubicBezTo>
                    <a:pt x="363547" y="109670"/>
                    <a:pt x="378660" y="100761"/>
                    <a:pt x="373172" y="91003"/>
                  </a:cubicBezTo>
                  <a:close/>
                </a:path>
              </a:pathLst>
            </a:custGeom>
            <a:solidFill>
              <a:srgbClr val="2A2E2D"/>
            </a:solidFill>
            <a:ln w="26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4DB6A7-C94A-D3F7-B58E-F4D83D1E870B}"/>
                </a:ext>
              </a:extLst>
            </p:cNvPr>
            <p:cNvSpPr/>
            <p:nvPr/>
          </p:nvSpPr>
          <p:spPr>
            <a:xfrm>
              <a:off x="5238557" y="5564443"/>
              <a:ext cx="204871" cy="202662"/>
            </a:xfrm>
            <a:custGeom>
              <a:avLst/>
              <a:gdLst>
                <a:gd name="connsiteX0" fmla="*/ 187535 w 204871"/>
                <a:gd name="connsiteY0" fmla="*/ 114514 h 202662"/>
                <a:gd name="connsiteX1" fmla="*/ 94121 w 204871"/>
                <a:gd name="connsiteY1" fmla="*/ 185151 h 202662"/>
                <a:gd name="connsiteX2" fmla="*/ 18579 w 204871"/>
                <a:gd name="connsiteY2" fmla="*/ 96219 h 202662"/>
                <a:gd name="connsiteX3" fmla="*/ 113292 w 204871"/>
                <a:gd name="connsiteY3" fmla="*/ 17680 h 202662"/>
                <a:gd name="connsiteX4" fmla="*/ 187243 w 204871"/>
                <a:gd name="connsiteY4" fmla="*/ 116847 h 202662"/>
                <a:gd name="connsiteX5" fmla="*/ 204716 w 204871"/>
                <a:gd name="connsiteY5" fmla="*/ 116847 h 202662"/>
                <a:gd name="connsiteX6" fmla="*/ 117375 w 204871"/>
                <a:gd name="connsiteY6" fmla="*/ 339 h 202662"/>
                <a:gd name="connsiteX7" fmla="*/ 1185 w 204871"/>
                <a:gd name="connsiteY7" fmla="*/ 93885 h 202662"/>
                <a:gd name="connsiteX8" fmla="*/ 79060 w 204871"/>
                <a:gd name="connsiteY8" fmla="*/ 201856 h 202662"/>
                <a:gd name="connsiteX9" fmla="*/ 204425 w 204871"/>
                <a:gd name="connsiteY9" fmla="*/ 119181 h 202662"/>
                <a:gd name="connsiteX10" fmla="*/ 187535 w 204871"/>
                <a:gd name="connsiteY10" fmla="*/ 114514 h 202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4871" h="202662">
                  <a:moveTo>
                    <a:pt x="187535" y="114514"/>
                  </a:moveTo>
                  <a:cubicBezTo>
                    <a:pt x="181383" y="157442"/>
                    <a:pt x="134849" y="184382"/>
                    <a:pt x="94121" y="185151"/>
                  </a:cubicBezTo>
                  <a:cubicBezTo>
                    <a:pt x="44564" y="186079"/>
                    <a:pt x="11155" y="144132"/>
                    <a:pt x="18579" y="96219"/>
                  </a:cubicBezTo>
                  <a:cubicBezTo>
                    <a:pt x="25606" y="50851"/>
                    <a:pt x="66704" y="15426"/>
                    <a:pt x="113292" y="17680"/>
                  </a:cubicBezTo>
                  <a:cubicBezTo>
                    <a:pt x="164705" y="20173"/>
                    <a:pt x="189497" y="70976"/>
                    <a:pt x="187243" y="116847"/>
                  </a:cubicBezTo>
                  <a:cubicBezTo>
                    <a:pt x="186686" y="128090"/>
                    <a:pt x="204160" y="128063"/>
                    <a:pt x="204716" y="116847"/>
                  </a:cubicBezTo>
                  <a:cubicBezTo>
                    <a:pt x="207368" y="62915"/>
                    <a:pt x="175868" y="5112"/>
                    <a:pt x="117375" y="339"/>
                  </a:cubicBezTo>
                  <a:cubicBezTo>
                    <a:pt x="60924" y="-4274"/>
                    <a:pt x="9617" y="38760"/>
                    <a:pt x="1185" y="93885"/>
                  </a:cubicBezTo>
                  <a:cubicBezTo>
                    <a:pt x="-6770" y="145457"/>
                    <a:pt x="26003" y="195147"/>
                    <a:pt x="79060" y="201856"/>
                  </a:cubicBezTo>
                  <a:cubicBezTo>
                    <a:pt x="131004" y="208405"/>
                    <a:pt x="196470" y="174598"/>
                    <a:pt x="204425" y="119181"/>
                  </a:cubicBezTo>
                  <a:cubicBezTo>
                    <a:pt x="205989" y="108150"/>
                    <a:pt x="189152" y="103404"/>
                    <a:pt x="187535" y="114514"/>
                  </a:cubicBezTo>
                  <a:close/>
                </a:path>
              </a:pathLst>
            </a:custGeom>
            <a:solidFill>
              <a:srgbClr val="2A2E2D"/>
            </a:solidFill>
            <a:ln w="26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BD19D6F-E763-833A-AF92-25FD2B032DB2}"/>
                </a:ext>
              </a:extLst>
            </p:cNvPr>
            <p:cNvSpPr/>
            <p:nvPr/>
          </p:nvSpPr>
          <p:spPr>
            <a:xfrm>
              <a:off x="5118505" y="5917448"/>
              <a:ext cx="98081" cy="214780"/>
            </a:xfrm>
            <a:custGeom>
              <a:avLst/>
              <a:gdLst>
                <a:gd name="connsiteX0" fmla="*/ 80483 w 98081"/>
                <a:gd name="connsiteY0" fmla="*/ 5874 h 214780"/>
                <a:gd name="connsiteX1" fmla="*/ 28672 w 98081"/>
                <a:gd name="connsiteY1" fmla="*/ 128984 h 214780"/>
                <a:gd name="connsiteX2" fmla="*/ 1335 w 98081"/>
                <a:gd name="connsiteY2" fmla="*/ 208265 h 214780"/>
                <a:gd name="connsiteX3" fmla="*/ 9873 w 98081"/>
                <a:gd name="connsiteY3" fmla="*/ 214682 h 214780"/>
                <a:gd name="connsiteX4" fmla="*/ 20479 w 98081"/>
                <a:gd name="connsiteY4" fmla="*/ 209909 h 214780"/>
                <a:gd name="connsiteX5" fmla="*/ 21831 w 98081"/>
                <a:gd name="connsiteY5" fmla="*/ 199303 h 214780"/>
                <a:gd name="connsiteX6" fmla="*/ 20638 w 98081"/>
                <a:gd name="connsiteY6" fmla="*/ 197606 h 214780"/>
                <a:gd name="connsiteX7" fmla="*/ 5551 w 98081"/>
                <a:gd name="connsiteY7" fmla="*/ 206436 h 214780"/>
                <a:gd name="connsiteX8" fmla="*/ 36362 w 98081"/>
                <a:gd name="connsiteY8" fmla="*/ 155367 h 214780"/>
                <a:gd name="connsiteX9" fmla="*/ 54684 w 98081"/>
                <a:gd name="connsiteY9" fmla="*/ 111802 h 214780"/>
                <a:gd name="connsiteX10" fmla="*/ 97373 w 98081"/>
                <a:gd name="connsiteY10" fmla="*/ 10408 h 214780"/>
                <a:gd name="connsiteX11" fmla="*/ 80483 w 98081"/>
                <a:gd name="connsiteY11" fmla="*/ 5768 h 21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8081" h="214780">
                  <a:moveTo>
                    <a:pt x="80483" y="5874"/>
                  </a:moveTo>
                  <a:cubicBezTo>
                    <a:pt x="63230" y="46885"/>
                    <a:pt x="45960" y="87920"/>
                    <a:pt x="28672" y="128984"/>
                  </a:cubicBezTo>
                  <a:cubicBezTo>
                    <a:pt x="20214" y="149030"/>
                    <a:pt x="-6195" y="186231"/>
                    <a:pt x="1335" y="208265"/>
                  </a:cubicBezTo>
                  <a:cubicBezTo>
                    <a:pt x="2478" y="212036"/>
                    <a:pt x="5933" y="214632"/>
                    <a:pt x="9873" y="214682"/>
                  </a:cubicBezTo>
                  <a:cubicBezTo>
                    <a:pt x="14028" y="215241"/>
                    <a:pt x="18143" y="213391"/>
                    <a:pt x="20479" y="209909"/>
                  </a:cubicBezTo>
                  <a:cubicBezTo>
                    <a:pt x="22706" y="207019"/>
                    <a:pt x="24244" y="202723"/>
                    <a:pt x="21831" y="199303"/>
                  </a:cubicBezTo>
                  <a:lnTo>
                    <a:pt x="20638" y="197606"/>
                  </a:lnTo>
                  <a:cubicBezTo>
                    <a:pt x="14221" y="188458"/>
                    <a:pt x="-945" y="197182"/>
                    <a:pt x="5551" y="206436"/>
                  </a:cubicBezTo>
                  <a:cubicBezTo>
                    <a:pt x="11782" y="215292"/>
                    <a:pt x="35036" y="158549"/>
                    <a:pt x="36362" y="155367"/>
                  </a:cubicBezTo>
                  <a:lnTo>
                    <a:pt x="54684" y="111802"/>
                  </a:lnTo>
                  <a:cubicBezTo>
                    <a:pt x="68824" y="78003"/>
                    <a:pt x="83055" y="44207"/>
                    <a:pt x="97373" y="10408"/>
                  </a:cubicBezTo>
                  <a:cubicBezTo>
                    <a:pt x="101722" y="67"/>
                    <a:pt x="84805" y="-4467"/>
                    <a:pt x="80483" y="5768"/>
                  </a:cubicBezTo>
                  <a:close/>
                </a:path>
              </a:pathLst>
            </a:custGeom>
            <a:solidFill>
              <a:srgbClr val="2A2E2D"/>
            </a:solidFill>
            <a:ln w="26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C353950D-29E2-ED5C-C651-261C5B7A26E2}"/>
                </a:ext>
              </a:extLst>
            </p:cNvPr>
            <p:cNvSpPr/>
            <p:nvPr/>
          </p:nvSpPr>
          <p:spPr>
            <a:xfrm>
              <a:off x="5348570" y="5941258"/>
              <a:ext cx="158521" cy="309056"/>
            </a:xfrm>
            <a:custGeom>
              <a:avLst/>
              <a:gdLst>
                <a:gd name="connsiteX0" fmla="*/ 142273 w 158521"/>
                <a:gd name="connsiteY0" fmla="*/ 4310 h 309056"/>
                <a:gd name="connsiteX1" fmla="*/ 708 w 158521"/>
                <a:gd name="connsiteY1" fmla="*/ 298630 h 309056"/>
                <a:gd name="connsiteX2" fmla="*/ 17571 w 158521"/>
                <a:gd name="connsiteY2" fmla="*/ 303270 h 309056"/>
                <a:gd name="connsiteX3" fmla="*/ 157360 w 158521"/>
                <a:gd name="connsiteY3" fmla="*/ 13140 h 309056"/>
                <a:gd name="connsiteX4" fmla="*/ 142273 w 158521"/>
                <a:gd name="connsiteY4" fmla="*/ 4310 h 30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521" h="309056">
                  <a:moveTo>
                    <a:pt x="142273" y="4310"/>
                  </a:moveTo>
                  <a:cubicBezTo>
                    <a:pt x="89934" y="99855"/>
                    <a:pt x="42679" y="198100"/>
                    <a:pt x="708" y="298630"/>
                  </a:cubicBezTo>
                  <a:cubicBezTo>
                    <a:pt x="-3641" y="308998"/>
                    <a:pt x="13302" y="313532"/>
                    <a:pt x="17571" y="303270"/>
                  </a:cubicBezTo>
                  <a:cubicBezTo>
                    <a:pt x="59033" y="204169"/>
                    <a:pt x="105695" y="107325"/>
                    <a:pt x="157360" y="13140"/>
                  </a:cubicBezTo>
                  <a:cubicBezTo>
                    <a:pt x="162796" y="3276"/>
                    <a:pt x="147682" y="-5554"/>
                    <a:pt x="142273" y="4310"/>
                  </a:cubicBezTo>
                  <a:close/>
                </a:path>
              </a:pathLst>
            </a:custGeom>
            <a:solidFill>
              <a:srgbClr val="2A2E2D"/>
            </a:solidFill>
            <a:ln w="26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7128996D-4FE0-BD2B-B783-BE7616D67C0E}"/>
                </a:ext>
              </a:extLst>
            </p:cNvPr>
            <p:cNvSpPr/>
            <p:nvPr/>
          </p:nvSpPr>
          <p:spPr>
            <a:xfrm>
              <a:off x="5224219" y="5849543"/>
              <a:ext cx="63645" cy="98403"/>
            </a:xfrm>
            <a:custGeom>
              <a:avLst/>
              <a:gdLst>
                <a:gd name="connsiteX0" fmla="*/ 251 w 63645"/>
                <a:gd name="connsiteY0" fmla="*/ 10911 h 98403"/>
                <a:gd name="connsiteX1" fmla="*/ 48588 w 63645"/>
                <a:gd name="connsiteY1" fmla="*/ 95945 h 98403"/>
                <a:gd name="connsiteX2" fmla="*/ 60971 w 63645"/>
                <a:gd name="connsiteY2" fmla="*/ 83563 h 98403"/>
                <a:gd name="connsiteX3" fmla="*/ 17114 w 63645"/>
                <a:gd name="connsiteY3" fmla="*/ 6270 h 98403"/>
                <a:gd name="connsiteX4" fmla="*/ 251 w 63645"/>
                <a:gd name="connsiteY4" fmla="*/ 10911 h 98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645" h="98403">
                  <a:moveTo>
                    <a:pt x="251" y="10911"/>
                  </a:moveTo>
                  <a:cubicBezTo>
                    <a:pt x="7542" y="43434"/>
                    <a:pt x="24374" y="73041"/>
                    <a:pt x="48588" y="95945"/>
                  </a:cubicBezTo>
                  <a:cubicBezTo>
                    <a:pt x="56755" y="103688"/>
                    <a:pt x="69137" y="91358"/>
                    <a:pt x="60971" y="83563"/>
                  </a:cubicBezTo>
                  <a:cubicBezTo>
                    <a:pt x="38913" y="62793"/>
                    <a:pt x="23629" y="35859"/>
                    <a:pt x="17114" y="6270"/>
                  </a:cubicBezTo>
                  <a:cubicBezTo>
                    <a:pt x="14622" y="-4707"/>
                    <a:pt x="-2242" y="-67"/>
                    <a:pt x="251" y="10911"/>
                  </a:cubicBezTo>
                  <a:close/>
                </a:path>
              </a:pathLst>
            </a:custGeom>
            <a:solidFill>
              <a:srgbClr val="2A2E2D"/>
            </a:solidFill>
            <a:ln w="26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55" name="Graphic 12">
            <a:extLst>
              <a:ext uri="{FF2B5EF4-FFF2-40B4-BE49-F238E27FC236}">
                <a16:creationId xmlns:a16="http://schemas.microsoft.com/office/drawing/2014/main" id="{25882918-055B-EFBA-F105-803A6CAE1F86}"/>
              </a:ext>
            </a:extLst>
          </p:cNvPr>
          <p:cNvGrpSpPr/>
          <p:nvPr/>
        </p:nvGrpSpPr>
        <p:grpSpPr>
          <a:xfrm>
            <a:off x="8894036" y="4110862"/>
            <a:ext cx="752689" cy="773046"/>
            <a:chOff x="8894036" y="4110862"/>
            <a:chExt cx="752689" cy="773046"/>
          </a:xfrm>
          <a:solidFill>
            <a:srgbClr val="2A2E2D"/>
          </a:solidFill>
        </p:grpSpPr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DCA154AD-FD45-F1F0-73F6-9F1F6E847A6A}"/>
                </a:ext>
              </a:extLst>
            </p:cNvPr>
            <p:cNvSpPr/>
            <p:nvPr/>
          </p:nvSpPr>
          <p:spPr>
            <a:xfrm>
              <a:off x="9043433" y="4110862"/>
              <a:ext cx="603291" cy="644612"/>
            </a:xfrm>
            <a:custGeom>
              <a:avLst/>
              <a:gdLst>
                <a:gd name="connsiteX0" fmla="*/ 8395 w 603291"/>
                <a:gd name="connsiteY0" fmla="*/ 24500 h 644612"/>
                <a:gd name="connsiteX1" fmla="*/ 917 w 603291"/>
                <a:gd name="connsiteY1" fmla="*/ 635863 h 644612"/>
                <a:gd name="connsiteX2" fmla="*/ 9641 w 603291"/>
                <a:gd name="connsiteY2" fmla="*/ 644613 h 644612"/>
                <a:gd name="connsiteX3" fmla="*/ 546708 w 603291"/>
                <a:gd name="connsiteY3" fmla="*/ 622446 h 644612"/>
                <a:gd name="connsiteX4" fmla="*/ 601144 w 603291"/>
                <a:gd name="connsiteY4" fmla="*/ 583919 h 644612"/>
                <a:gd name="connsiteX5" fmla="*/ 601833 w 603291"/>
                <a:gd name="connsiteY5" fmla="*/ 346396 h 644612"/>
                <a:gd name="connsiteX6" fmla="*/ 602311 w 603291"/>
                <a:gd name="connsiteY6" fmla="*/ 8750 h 644612"/>
                <a:gd name="connsiteX7" fmla="*/ 593561 w 603291"/>
                <a:gd name="connsiteY7" fmla="*/ 0 h 644612"/>
                <a:gd name="connsiteX8" fmla="*/ 17145 w 603291"/>
                <a:gd name="connsiteY8" fmla="*/ 15750 h 644612"/>
                <a:gd name="connsiteX9" fmla="*/ 17145 w 603291"/>
                <a:gd name="connsiteY9" fmla="*/ 33250 h 644612"/>
                <a:gd name="connsiteX10" fmla="*/ 428132 w 603291"/>
                <a:gd name="connsiteY10" fmla="*/ 21530 h 644612"/>
                <a:gd name="connsiteX11" fmla="*/ 524303 w 603291"/>
                <a:gd name="connsiteY11" fmla="*/ 18879 h 644612"/>
                <a:gd name="connsiteX12" fmla="*/ 564738 w 603291"/>
                <a:gd name="connsiteY12" fmla="*/ 17951 h 644612"/>
                <a:gd name="connsiteX13" fmla="*/ 575795 w 603291"/>
                <a:gd name="connsiteY13" fmla="*/ 17765 h 644612"/>
                <a:gd name="connsiteX14" fmla="*/ 585473 w 603291"/>
                <a:gd name="connsiteY14" fmla="*/ 17765 h 644612"/>
                <a:gd name="connsiteX15" fmla="*/ 584757 w 603291"/>
                <a:gd name="connsiteY15" fmla="*/ 17208 h 644612"/>
                <a:gd name="connsiteX16" fmla="*/ 583988 w 603291"/>
                <a:gd name="connsiteY16" fmla="*/ 71777 h 644612"/>
                <a:gd name="connsiteX17" fmla="*/ 583723 w 603291"/>
                <a:gd name="connsiteY17" fmla="*/ 122660 h 644612"/>
                <a:gd name="connsiteX18" fmla="*/ 583962 w 603291"/>
                <a:gd name="connsiteY18" fmla="*/ 256085 h 644612"/>
                <a:gd name="connsiteX19" fmla="*/ 584996 w 603291"/>
                <a:gd name="connsiteY19" fmla="*/ 505911 h 644612"/>
                <a:gd name="connsiteX20" fmla="*/ 583962 w 603291"/>
                <a:gd name="connsiteY20" fmla="*/ 579491 h 644612"/>
                <a:gd name="connsiteX21" fmla="*/ 582901 w 603291"/>
                <a:gd name="connsiteY21" fmla="*/ 598556 h 644612"/>
                <a:gd name="connsiteX22" fmla="*/ 573144 w 603291"/>
                <a:gd name="connsiteY22" fmla="*/ 602215 h 644612"/>
                <a:gd name="connsiteX23" fmla="*/ 396685 w 603291"/>
                <a:gd name="connsiteY23" fmla="*/ 614226 h 644612"/>
                <a:gd name="connsiteX24" fmla="*/ 147441 w 603291"/>
                <a:gd name="connsiteY24" fmla="*/ 623374 h 644612"/>
                <a:gd name="connsiteX25" fmla="*/ 77626 w 603291"/>
                <a:gd name="connsiteY25" fmla="*/ 625442 h 644612"/>
                <a:gd name="connsiteX26" fmla="*/ 25285 w 603291"/>
                <a:gd name="connsiteY26" fmla="*/ 626927 h 644612"/>
                <a:gd name="connsiteX27" fmla="*/ 18179 w 603291"/>
                <a:gd name="connsiteY27" fmla="*/ 606219 h 644612"/>
                <a:gd name="connsiteX28" fmla="*/ 17728 w 603291"/>
                <a:gd name="connsiteY28" fmla="*/ 545075 h 644612"/>
                <a:gd name="connsiteX29" fmla="*/ 17728 w 603291"/>
                <a:gd name="connsiteY29" fmla="*/ 450733 h 644612"/>
                <a:gd name="connsiteX30" fmla="*/ 26001 w 603291"/>
                <a:gd name="connsiteY30" fmla="*/ 24712 h 644612"/>
                <a:gd name="connsiteX31" fmla="*/ 8501 w 603291"/>
                <a:gd name="connsiteY31" fmla="*/ 24712 h 644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603291" h="644612">
                  <a:moveTo>
                    <a:pt x="8395" y="24500"/>
                  </a:moveTo>
                  <a:cubicBezTo>
                    <a:pt x="1898" y="228190"/>
                    <a:pt x="-1840" y="432199"/>
                    <a:pt x="917" y="635863"/>
                  </a:cubicBezTo>
                  <a:cubicBezTo>
                    <a:pt x="960" y="640667"/>
                    <a:pt x="4837" y="644555"/>
                    <a:pt x="9641" y="644613"/>
                  </a:cubicBezTo>
                  <a:cubicBezTo>
                    <a:pt x="188327" y="639761"/>
                    <a:pt x="368658" y="639177"/>
                    <a:pt x="546708" y="622446"/>
                  </a:cubicBezTo>
                  <a:cubicBezTo>
                    <a:pt x="582185" y="619132"/>
                    <a:pt x="599182" y="621571"/>
                    <a:pt x="601144" y="583919"/>
                  </a:cubicBezTo>
                  <a:cubicBezTo>
                    <a:pt x="605254" y="505010"/>
                    <a:pt x="602284" y="425358"/>
                    <a:pt x="601833" y="346396"/>
                  </a:cubicBezTo>
                  <a:cubicBezTo>
                    <a:pt x="601170" y="233865"/>
                    <a:pt x="599792" y="121254"/>
                    <a:pt x="602311" y="8750"/>
                  </a:cubicBezTo>
                  <a:cubicBezTo>
                    <a:pt x="602252" y="3941"/>
                    <a:pt x="598370" y="57"/>
                    <a:pt x="593561" y="0"/>
                  </a:cubicBezTo>
                  <a:cubicBezTo>
                    <a:pt x="401351" y="1008"/>
                    <a:pt x="209328" y="14742"/>
                    <a:pt x="17145" y="15750"/>
                  </a:cubicBezTo>
                  <a:cubicBezTo>
                    <a:pt x="5876" y="15750"/>
                    <a:pt x="5876" y="33303"/>
                    <a:pt x="17145" y="33250"/>
                  </a:cubicBezTo>
                  <a:cubicBezTo>
                    <a:pt x="154096" y="32534"/>
                    <a:pt x="291127" y="25693"/>
                    <a:pt x="428132" y="21530"/>
                  </a:cubicBezTo>
                  <a:cubicBezTo>
                    <a:pt x="460181" y="20576"/>
                    <a:pt x="492238" y="19692"/>
                    <a:pt x="524303" y="18879"/>
                  </a:cubicBezTo>
                  <a:cubicBezTo>
                    <a:pt x="537772" y="18534"/>
                    <a:pt x="551269" y="18189"/>
                    <a:pt x="564738" y="17951"/>
                  </a:cubicBezTo>
                  <a:cubicBezTo>
                    <a:pt x="568424" y="17951"/>
                    <a:pt x="572110" y="17951"/>
                    <a:pt x="575795" y="17765"/>
                  </a:cubicBezTo>
                  <a:lnTo>
                    <a:pt x="585473" y="17765"/>
                  </a:lnTo>
                  <a:cubicBezTo>
                    <a:pt x="591447" y="17871"/>
                    <a:pt x="591209" y="17686"/>
                    <a:pt x="584757" y="17208"/>
                  </a:cubicBezTo>
                  <a:cubicBezTo>
                    <a:pt x="590538" y="25852"/>
                    <a:pt x="584095" y="60959"/>
                    <a:pt x="583988" y="71777"/>
                  </a:cubicBezTo>
                  <a:cubicBezTo>
                    <a:pt x="583829" y="88747"/>
                    <a:pt x="583742" y="105708"/>
                    <a:pt x="583723" y="122660"/>
                  </a:cubicBezTo>
                  <a:cubicBezTo>
                    <a:pt x="583591" y="167126"/>
                    <a:pt x="583723" y="211618"/>
                    <a:pt x="583962" y="256085"/>
                  </a:cubicBezTo>
                  <a:cubicBezTo>
                    <a:pt x="584360" y="339369"/>
                    <a:pt x="585261" y="422627"/>
                    <a:pt x="584996" y="505911"/>
                  </a:cubicBezTo>
                  <a:cubicBezTo>
                    <a:pt x="584996" y="530412"/>
                    <a:pt x="584996" y="554991"/>
                    <a:pt x="583962" y="579491"/>
                  </a:cubicBezTo>
                  <a:cubicBezTo>
                    <a:pt x="583776" y="584450"/>
                    <a:pt x="585182" y="594022"/>
                    <a:pt x="582901" y="598556"/>
                  </a:cubicBezTo>
                  <a:cubicBezTo>
                    <a:pt x="580621" y="603090"/>
                    <a:pt x="584466" y="599749"/>
                    <a:pt x="573144" y="602215"/>
                  </a:cubicBezTo>
                  <a:cubicBezTo>
                    <a:pt x="516799" y="614465"/>
                    <a:pt x="454064" y="611628"/>
                    <a:pt x="396685" y="614226"/>
                  </a:cubicBezTo>
                  <a:cubicBezTo>
                    <a:pt x="313612" y="618018"/>
                    <a:pt x="230513" y="620802"/>
                    <a:pt x="147441" y="623374"/>
                  </a:cubicBezTo>
                  <a:lnTo>
                    <a:pt x="77626" y="625442"/>
                  </a:lnTo>
                  <a:cubicBezTo>
                    <a:pt x="65217" y="625814"/>
                    <a:pt x="36368" y="632363"/>
                    <a:pt x="25285" y="626927"/>
                  </a:cubicBezTo>
                  <a:cubicBezTo>
                    <a:pt x="14202" y="621492"/>
                    <a:pt x="17781" y="627086"/>
                    <a:pt x="18179" y="606219"/>
                  </a:cubicBezTo>
                  <a:cubicBezTo>
                    <a:pt x="18577" y="585882"/>
                    <a:pt x="17808" y="565438"/>
                    <a:pt x="17728" y="545075"/>
                  </a:cubicBezTo>
                  <a:cubicBezTo>
                    <a:pt x="17622" y="513627"/>
                    <a:pt x="17622" y="482180"/>
                    <a:pt x="17728" y="450733"/>
                  </a:cubicBezTo>
                  <a:cubicBezTo>
                    <a:pt x="18418" y="308717"/>
                    <a:pt x="21467" y="166675"/>
                    <a:pt x="26001" y="24712"/>
                  </a:cubicBezTo>
                  <a:cubicBezTo>
                    <a:pt x="26346" y="13470"/>
                    <a:pt x="8872" y="13470"/>
                    <a:pt x="8501" y="24712"/>
                  </a:cubicBezTo>
                  <a:close/>
                </a:path>
              </a:pathLst>
            </a:custGeom>
            <a:solidFill>
              <a:srgbClr val="2A2E2D"/>
            </a:solidFill>
            <a:ln w="26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5E5AE99-D212-F2AB-581D-57FCBB86B325}"/>
                </a:ext>
              </a:extLst>
            </p:cNvPr>
            <p:cNvSpPr/>
            <p:nvPr/>
          </p:nvSpPr>
          <p:spPr>
            <a:xfrm>
              <a:off x="8894036" y="4240032"/>
              <a:ext cx="567586" cy="643877"/>
            </a:xfrm>
            <a:custGeom>
              <a:avLst/>
              <a:gdLst>
                <a:gd name="connsiteX0" fmla="*/ 152516 w 567586"/>
                <a:gd name="connsiteY0" fmla="*/ 119 h 643877"/>
                <a:gd name="connsiteX1" fmla="*/ 6417 w 567586"/>
                <a:gd name="connsiteY1" fmla="*/ 21570 h 643877"/>
                <a:gd name="connsiteX2" fmla="*/ 0 w 567586"/>
                <a:gd name="connsiteY2" fmla="*/ 29922 h 643877"/>
                <a:gd name="connsiteX3" fmla="*/ 6523 w 567586"/>
                <a:gd name="connsiteY3" fmla="*/ 635319 h 643877"/>
                <a:gd name="connsiteX4" fmla="*/ 17580 w 567586"/>
                <a:gd name="connsiteY4" fmla="*/ 643751 h 643877"/>
                <a:gd name="connsiteX5" fmla="*/ 558836 w 567586"/>
                <a:gd name="connsiteY5" fmla="*/ 614319 h 643877"/>
                <a:gd name="connsiteX6" fmla="*/ 567586 w 567586"/>
                <a:gd name="connsiteY6" fmla="*/ 605569 h 643877"/>
                <a:gd name="connsiteX7" fmla="*/ 567401 w 567586"/>
                <a:gd name="connsiteY7" fmla="*/ 498209 h 643877"/>
                <a:gd name="connsiteX8" fmla="*/ 549900 w 567586"/>
                <a:gd name="connsiteY8" fmla="*/ 498209 h 643877"/>
                <a:gd name="connsiteX9" fmla="*/ 549900 w 567586"/>
                <a:gd name="connsiteY9" fmla="*/ 563754 h 643877"/>
                <a:gd name="connsiteX10" fmla="*/ 507741 w 567586"/>
                <a:gd name="connsiteY10" fmla="*/ 595361 h 643877"/>
                <a:gd name="connsiteX11" fmla="*/ 337407 w 567586"/>
                <a:gd name="connsiteY11" fmla="*/ 596819 h 643877"/>
                <a:gd name="connsiteX12" fmla="*/ 12939 w 567586"/>
                <a:gd name="connsiteY12" fmla="*/ 626967 h 643877"/>
                <a:gd name="connsiteX13" fmla="*/ 24023 w 567586"/>
                <a:gd name="connsiteY13" fmla="*/ 635399 h 643877"/>
                <a:gd name="connsiteX14" fmla="*/ 24368 w 567586"/>
                <a:gd name="connsiteY14" fmla="*/ 263469 h 643877"/>
                <a:gd name="connsiteX15" fmla="*/ 19489 w 567586"/>
                <a:gd name="connsiteY15" fmla="*/ 81866 h 643877"/>
                <a:gd name="connsiteX16" fmla="*/ 59765 w 567586"/>
                <a:gd name="connsiteY16" fmla="*/ 31301 h 643877"/>
                <a:gd name="connsiteX17" fmla="*/ 157156 w 567586"/>
                <a:gd name="connsiteY17" fmla="*/ 16983 h 643877"/>
                <a:gd name="connsiteX18" fmla="*/ 152516 w 567586"/>
                <a:gd name="connsiteY18" fmla="*/ 119 h 643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7586" h="643877">
                  <a:moveTo>
                    <a:pt x="152516" y="119"/>
                  </a:moveTo>
                  <a:lnTo>
                    <a:pt x="6417" y="21570"/>
                  </a:lnTo>
                  <a:cubicBezTo>
                    <a:pt x="2654" y="22611"/>
                    <a:pt x="36" y="26019"/>
                    <a:pt x="0" y="29922"/>
                  </a:cubicBezTo>
                  <a:cubicBezTo>
                    <a:pt x="8167" y="231616"/>
                    <a:pt x="10341" y="433413"/>
                    <a:pt x="6523" y="635319"/>
                  </a:cubicBezTo>
                  <a:cubicBezTo>
                    <a:pt x="6523" y="641577"/>
                    <a:pt x="12171" y="644547"/>
                    <a:pt x="17580" y="643751"/>
                  </a:cubicBezTo>
                  <a:cubicBezTo>
                    <a:pt x="196759" y="617814"/>
                    <a:pt x="377901" y="607963"/>
                    <a:pt x="558836" y="614319"/>
                  </a:cubicBezTo>
                  <a:cubicBezTo>
                    <a:pt x="563646" y="614261"/>
                    <a:pt x="567528" y="610379"/>
                    <a:pt x="567586" y="605569"/>
                  </a:cubicBezTo>
                  <a:cubicBezTo>
                    <a:pt x="567215" y="569800"/>
                    <a:pt x="567772" y="533978"/>
                    <a:pt x="567401" y="498209"/>
                  </a:cubicBezTo>
                  <a:cubicBezTo>
                    <a:pt x="567401" y="486966"/>
                    <a:pt x="549794" y="486940"/>
                    <a:pt x="549900" y="498209"/>
                  </a:cubicBezTo>
                  <a:cubicBezTo>
                    <a:pt x="550139" y="520057"/>
                    <a:pt x="549900" y="541906"/>
                    <a:pt x="549900" y="563754"/>
                  </a:cubicBezTo>
                  <a:cubicBezTo>
                    <a:pt x="549900" y="599577"/>
                    <a:pt x="542131" y="596050"/>
                    <a:pt x="507741" y="595361"/>
                  </a:cubicBezTo>
                  <a:cubicBezTo>
                    <a:pt x="450945" y="594194"/>
                    <a:pt x="394168" y="594679"/>
                    <a:pt x="337407" y="596819"/>
                  </a:cubicBezTo>
                  <a:cubicBezTo>
                    <a:pt x="228791" y="601080"/>
                    <a:pt x="120481" y="611145"/>
                    <a:pt x="12939" y="626967"/>
                  </a:cubicBezTo>
                  <a:lnTo>
                    <a:pt x="24023" y="635399"/>
                  </a:lnTo>
                  <a:cubicBezTo>
                    <a:pt x="26356" y="511432"/>
                    <a:pt x="26471" y="387454"/>
                    <a:pt x="24368" y="263469"/>
                  </a:cubicBezTo>
                  <a:cubicBezTo>
                    <a:pt x="23307" y="202908"/>
                    <a:pt x="21681" y="142374"/>
                    <a:pt x="19489" y="81866"/>
                  </a:cubicBezTo>
                  <a:cubicBezTo>
                    <a:pt x="18083" y="42093"/>
                    <a:pt x="20205" y="37108"/>
                    <a:pt x="59765" y="31301"/>
                  </a:cubicBezTo>
                  <a:lnTo>
                    <a:pt x="157156" y="16983"/>
                  </a:lnTo>
                  <a:cubicBezTo>
                    <a:pt x="168239" y="15366"/>
                    <a:pt x="163546" y="-1578"/>
                    <a:pt x="152516" y="119"/>
                  </a:cubicBezTo>
                  <a:close/>
                </a:path>
              </a:pathLst>
            </a:custGeom>
            <a:solidFill>
              <a:srgbClr val="2A2E2D"/>
            </a:solidFill>
            <a:ln w="26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4E9A3DCE-4FB6-14A2-D3DA-DAB7347F49BA}"/>
                </a:ext>
              </a:extLst>
            </p:cNvPr>
            <p:cNvSpPr/>
            <p:nvPr/>
          </p:nvSpPr>
          <p:spPr>
            <a:xfrm>
              <a:off x="9131597" y="4216389"/>
              <a:ext cx="433178" cy="433820"/>
            </a:xfrm>
            <a:custGeom>
              <a:avLst/>
              <a:gdLst>
                <a:gd name="connsiteX0" fmla="*/ 11258 w 433178"/>
                <a:gd name="connsiteY0" fmla="*/ 14879 h 433820"/>
                <a:gd name="connsiteX1" fmla="*/ 11258 w 433178"/>
                <a:gd name="connsiteY1" fmla="*/ 433820 h 433820"/>
                <a:gd name="connsiteX2" fmla="*/ 413123 w 433178"/>
                <a:gd name="connsiteY2" fmla="*/ 417911 h 433820"/>
                <a:gd name="connsiteX3" fmla="*/ 428502 w 433178"/>
                <a:gd name="connsiteY3" fmla="*/ 4671 h 433820"/>
                <a:gd name="connsiteX4" fmla="*/ 11258 w 433178"/>
                <a:gd name="connsiteY4" fmla="*/ 14879 h 433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3178" h="433820">
                  <a:moveTo>
                    <a:pt x="11258" y="14879"/>
                  </a:moveTo>
                  <a:cubicBezTo>
                    <a:pt x="-5898" y="31451"/>
                    <a:pt x="-1443" y="398210"/>
                    <a:pt x="11258" y="433820"/>
                  </a:cubicBezTo>
                  <a:cubicBezTo>
                    <a:pt x="42175" y="433820"/>
                    <a:pt x="401616" y="415949"/>
                    <a:pt x="413123" y="417911"/>
                  </a:cubicBezTo>
                  <a:cubicBezTo>
                    <a:pt x="424631" y="419873"/>
                    <a:pt x="441442" y="19440"/>
                    <a:pt x="428502" y="4671"/>
                  </a:cubicBezTo>
                  <a:cubicBezTo>
                    <a:pt x="415563" y="-10098"/>
                    <a:pt x="11258" y="14879"/>
                    <a:pt x="11258" y="14879"/>
                  </a:cubicBezTo>
                  <a:close/>
                </a:path>
              </a:pathLst>
            </a:custGeom>
            <a:solidFill>
              <a:srgbClr val="2A2E2D"/>
            </a:solidFill>
            <a:ln w="26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2ED9106C-E0DA-572E-89A2-A4ADDA10DBC9}"/>
                </a:ext>
              </a:extLst>
            </p:cNvPr>
            <p:cNvSpPr/>
            <p:nvPr/>
          </p:nvSpPr>
          <p:spPr>
            <a:xfrm>
              <a:off x="8968278" y="4319060"/>
              <a:ext cx="434399" cy="468319"/>
            </a:xfrm>
            <a:custGeom>
              <a:avLst/>
              <a:gdLst>
                <a:gd name="connsiteX0" fmla="*/ 83921 w 434399"/>
                <a:gd name="connsiteY0" fmla="*/ 0 h 468319"/>
                <a:gd name="connsiteX1" fmla="*/ 0 w 434399"/>
                <a:gd name="connsiteY1" fmla="*/ 15724 h 468319"/>
                <a:gd name="connsiteX2" fmla="*/ 23015 w 434399"/>
                <a:gd name="connsiteY2" fmla="*/ 466245 h 468319"/>
                <a:gd name="connsiteX3" fmla="*/ 434400 w 434399"/>
                <a:gd name="connsiteY3" fmla="*/ 442381 h 468319"/>
                <a:gd name="connsiteX4" fmla="*/ 430582 w 434399"/>
                <a:gd name="connsiteY4" fmla="*/ 424642 h 468319"/>
                <a:gd name="connsiteX5" fmla="*/ 84849 w 434399"/>
                <a:gd name="connsiteY5" fmla="*/ 427665 h 468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4399" h="468319">
                  <a:moveTo>
                    <a:pt x="83921" y="0"/>
                  </a:moveTo>
                  <a:lnTo>
                    <a:pt x="0" y="15724"/>
                  </a:lnTo>
                  <a:cubicBezTo>
                    <a:pt x="0" y="15724"/>
                    <a:pt x="11481" y="455479"/>
                    <a:pt x="23015" y="466245"/>
                  </a:cubicBezTo>
                  <a:cubicBezTo>
                    <a:pt x="34549" y="477010"/>
                    <a:pt x="434400" y="442381"/>
                    <a:pt x="434400" y="442381"/>
                  </a:cubicBezTo>
                  <a:lnTo>
                    <a:pt x="430582" y="424642"/>
                  </a:lnTo>
                  <a:lnTo>
                    <a:pt x="84849" y="427665"/>
                  </a:lnTo>
                  <a:close/>
                </a:path>
              </a:pathLst>
            </a:custGeom>
            <a:solidFill>
              <a:srgbClr val="2A2E2D"/>
            </a:solidFill>
            <a:ln w="26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60" name="Graphic 14">
            <a:extLst>
              <a:ext uri="{FF2B5EF4-FFF2-40B4-BE49-F238E27FC236}">
                <a16:creationId xmlns:a16="http://schemas.microsoft.com/office/drawing/2014/main" id="{98C43ED9-B96F-08CD-91D2-4D3F81630F2C}"/>
              </a:ext>
            </a:extLst>
          </p:cNvPr>
          <p:cNvGrpSpPr/>
          <p:nvPr/>
        </p:nvGrpSpPr>
        <p:grpSpPr>
          <a:xfrm>
            <a:off x="10704483" y="5562581"/>
            <a:ext cx="814208" cy="603600"/>
            <a:chOff x="10704483" y="5562581"/>
            <a:chExt cx="814208" cy="603600"/>
          </a:xfrm>
          <a:solidFill>
            <a:srgbClr val="2A2E2D"/>
          </a:solidFill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AC6C5C4E-805C-2874-2021-A0D7E05C40DE}"/>
                </a:ext>
              </a:extLst>
            </p:cNvPr>
            <p:cNvSpPr/>
            <p:nvPr/>
          </p:nvSpPr>
          <p:spPr>
            <a:xfrm>
              <a:off x="10704483" y="5562581"/>
              <a:ext cx="600639" cy="603600"/>
            </a:xfrm>
            <a:custGeom>
              <a:avLst/>
              <a:gdLst>
                <a:gd name="connsiteX0" fmla="*/ 26306 w 600639"/>
                <a:gd name="connsiteY0" fmla="*/ 70027 h 603600"/>
                <a:gd name="connsiteX1" fmla="*/ 6075 w 600639"/>
                <a:gd name="connsiteY1" fmla="*/ 397730 h 603600"/>
                <a:gd name="connsiteX2" fmla="*/ 31132 w 600639"/>
                <a:gd name="connsiteY2" fmla="*/ 571405 h 603600"/>
                <a:gd name="connsiteX3" fmla="*/ 215175 w 600639"/>
                <a:gd name="connsiteY3" fmla="*/ 600731 h 603600"/>
                <a:gd name="connsiteX4" fmla="*/ 517608 w 600639"/>
                <a:gd name="connsiteY4" fmla="*/ 588189 h 603600"/>
                <a:gd name="connsiteX5" fmla="*/ 578249 w 600639"/>
                <a:gd name="connsiteY5" fmla="*/ 533727 h 603600"/>
                <a:gd name="connsiteX6" fmla="*/ 582624 w 600639"/>
                <a:gd name="connsiteY6" fmla="*/ 438961 h 603600"/>
                <a:gd name="connsiteX7" fmla="*/ 593628 w 600639"/>
                <a:gd name="connsiteY7" fmla="*/ 273002 h 603600"/>
                <a:gd name="connsiteX8" fmla="*/ 600628 w 600639"/>
                <a:gd name="connsiteY8" fmla="*/ 123084 h 603600"/>
                <a:gd name="connsiteX9" fmla="*/ 589491 w 600639"/>
                <a:gd name="connsiteY9" fmla="*/ 44095 h 603600"/>
                <a:gd name="connsiteX10" fmla="*/ 444585 w 600639"/>
                <a:gd name="connsiteY10" fmla="*/ 1697 h 603600"/>
                <a:gd name="connsiteX11" fmla="*/ 181898 w 600639"/>
                <a:gd name="connsiteY11" fmla="*/ 12303 h 603600"/>
                <a:gd name="connsiteX12" fmla="*/ 26624 w 600639"/>
                <a:gd name="connsiteY12" fmla="*/ 67747 h 603600"/>
                <a:gd name="connsiteX13" fmla="*/ 43488 w 600639"/>
                <a:gd name="connsiteY13" fmla="*/ 72387 h 603600"/>
                <a:gd name="connsiteX14" fmla="*/ 204463 w 600639"/>
                <a:gd name="connsiteY14" fmla="*/ 29167 h 603600"/>
                <a:gd name="connsiteX15" fmla="*/ 393146 w 600639"/>
                <a:gd name="connsiteY15" fmla="*/ 21610 h 603600"/>
                <a:gd name="connsiteX16" fmla="*/ 571196 w 600639"/>
                <a:gd name="connsiteY16" fmla="*/ 47012 h 603600"/>
                <a:gd name="connsiteX17" fmla="*/ 583048 w 600639"/>
                <a:gd name="connsiteY17" fmla="*/ 139603 h 603600"/>
                <a:gd name="connsiteX18" fmla="*/ 577268 w 600639"/>
                <a:gd name="connsiteY18" fmla="*/ 258922 h 603600"/>
                <a:gd name="connsiteX19" fmla="*/ 563666 w 600639"/>
                <a:gd name="connsiteY19" fmla="*/ 490082 h 603600"/>
                <a:gd name="connsiteX20" fmla="*/ 506127 w 600639"/>
                <a:gd name="connsiteY20" fmla="*/ 571697 h 603600"/>
                <a:gd name="connsiteX21" fmla="*/ 250891 w 600639"/>
                <a:gd name="connsiteY21" fmla="*/ 582303 h 603600"/>
                <a:gd name="connsiteX22" fmla="*/ 53564 w 600639"/>
                <a:gd name="connsiteY22" fmla="*/ 567030 h 603600"/>
                <a:gd name="connsiteX23" fmla="*/ 25511 w 600639"/>
                <a:gd name="connsiteY23" fmla="*/ 371426 h 603600"/>
                <a:gd name="connsiteX24" fmla="*/ 43806 w 600639"/>
                <a:gd name="connsiteY24" fmla="*/ 70027 h 603600"/>
                <a:gd name="connsiteX25" fmla="*/ 26306 w 600639"/>
                <a:gd name="connsiteY25" fmla="*/ 70027 h 60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00639" h="603600">
                  <a:moveTo>
                    <a:pt x="26306" y="70027"/>
                  </a:moveTo>
                  <a:cubicBezTo>
                    <a:pt x="21215" y="179376"/>
                    <a:pt x="14215" y="288619"/>
                    <a:pt x="6075" y="397730"/>
                  </a:cubicBezTo>
                  <a:cubicBezTo>
                    <a:pt x="1965" y="452828"/>
                    <a:pt x="-13917" y="527840"/>
                    <a:pt x="31132" y="571405"/>
                  </a:cubicBezTo>
                  <a:cubicBezTo>
                    <a:pt x="76182" y="614970"/>
                    <a:pt x="158724" y="602216"/>
                    <a:pt x="215175" y="600731"/>
                  </a:cubicBezTo>
                  <a:cubicBezTo>
                    <a:pt x="315058" y="598079"/>
                    <a:pt x="418309" y="599405"/>
                    <a:pt x="517608" y="588189"/>
                  </a:cubicBezTo>
                  <a:cubicBezTo>
                    <a:pt x="553351" y="584132"/>
                    <a:pt x="572681" y="570159"/>
                    <a:pt x="578249" y="533727"/>
                  </a:cubicBezTo>
                  <a:cubicBezTo>
                    <a:pt x="583022" y="502651"/>
                    <a:pt x="581510" y="470276"/>
                    <a:pt x="582624" y="438961"/>
                  </a:cubicBezTo>
                  <a:cubicBezTo>
                    <a:pt x="584613" y="383517"/>
                    <a:pt x="589279" y="328286"/>
                    <a:pt x="593628" y="273002"/>
                  </a:cubicBezTo>
                  <a:cubicBezTo>
                    <a:pt x="597579" y="223126"/>
                    <a:pt x="600760" y="173171"/>
                    <a:pt x="600628" y="123084"/>
                  </a:cubicBezTo>
                  <a:cubicBezTo>
                    <a:pt x="600628" y="97258"/>
                    <a:pt x="601450" y="67932"/>
                    <a:pt x="589491" y="44095"/>
                  </a:cubicBezTo>
                  <a:cubicBezTo>
                    <a:pt x="563321" y="-7955"/>
                    <a:pt x="492976" y="-583"/>
                    <a:pt x="444585" y="1697"/>
                  </a:cubicBezTo>
                  <a:cubicBezTo>
                    <a:pt x="357085" y="5833"/>
                    <a:pt x="269584" y="10049"/>
                    <a:pt x="181898" y="12303"/>
                  </a:cubicBezTo>
                  <a:cubicBezTo>
                    <a:pt x="136822" y="13470"/>
                    <a:pt x="40041" y="10447"/>
                    <a:pt x="26624" y="67747"/>
                  </a:cubicBezTo>
                  <a:cubicBezTo>
                    <a:pt x="23973" y="78697"/>
                    <a:pt x="40916" y="83364"/>
                    <a:pt x="43488" y="72387"/>
                  </a:cubicBezTo>
                  <a:cubicBezTo>
                    <a:pt x="55685" y="20762"/>
                    <a:pt x="164398" y="30360"/>
                    <a:pt x="204463" y="29167"/>
                  </a:cubicBezTo>
                  <a:cubicBezTo>
                    <a:pt x="267357" y="27178"/>
                    <a:pt x="330251" y="24447"/>
                    <a:pt x="393146" y="21610"/>
                  </a:cubicBezTo>
                  <a:cubicBezTo>
                    <a:pt x="441722" y="19436"/>
                    <a:pt x="539749" y="-2413"/>
                    <a:pt x="571196" y="47012"/>
                  </a:cubicBezTo>
                  <a:cubicBezTo>
                    <a:pt x="587529" y="72678"/>
                    <a:pt x="583366" y="110861"/>
                    <a:pt x="583048" y="139603"/>
                  </a:cubicBezTo>
                  <a:cubicBezTo>
                    <a:pt x="582597" y="179376"/>
                    <a:pt x="580397" y="219149"/>
                    <a:pt x="577268" y="258922"/>
                  </a:cubicBezTo>
                  <a:cubicBezTo>
                    <a:pt x="571382" y="336029"/>
                    <a:pt x="566264" y="412711"/>
                    <a:pt x="563666" y="490082"/>
                  </a:cubicBezTo>
                  <a:cubicBezTo>
                    <a:pt x="562048" y="538340"/>
                    <a:pt x="559900" y="567799"/>
                    <a:pt x="506127" y="571697"/>
                  </a:cubicBezTo>
                  <a:cubicBezTo>
                    <a:pt x="421278" y="577848"/>
                    <a:pt x="335819" y="579651"/>
                    <a:pt x="250891" y="582303"/>
                  </a:cubicBezTo>
                  <a:cubicBezTo>
                    <a:pt x="193750" y="584159"/>
                    <a:pt x="104129" y="600678"/>
                    <a:pt x="53564" y="567030"/>
                  </a:cubicBezTo>
                  <a:cubicBezTo>
                    <a:pt x="-4292" y="528450"/>
                    <a:pt x="21348" y="428514"/>
                    <a:pt x="25511" y="371426"/>
                  </a:cubicBezTo>
                  <a:cubicBezTo>
                    <a:pt x="32829" y="271040"/>
                    <a:pt x="39140" y="170573"/>
                    <a:pt x="43806" y="70027"/>
                  </a:cubicBezTo>
                  <a:cubicBezTo>
                    <a:pt x="44337" y="58784"/>
                    <a:pt x="26837" y="58811"/>
                    <a:pt x="26306" y="70027"/>
                  </a:cubicBezTo>
                  <a:close/>
                </a:path>
              </a:pathLst>
            </a:custGeom>
            <a:solidFill>
              <a:srgbClr val="2A2E2D"/>
            </a:solidFill>
            <a:ln w="26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5C1FE78A-3D97-AAA0-5FC4-2D1D32944C4B}"/>
                </a:ext>
              </a:extLst>
            </p:cNvPr>
            <p:cNvSpPr/>
            <p:nvPr/>
          </p:nvSpPr>
          <p:spPr>
            <a:xfrm>
              <a:off x="11287945" y="5631299"/>
              <a:ext cx="230746" cy="407355"/>
            </a:xfrm>
            <a:custGeom>
              <a:avLst/>
              <a:gdLst>
                <a:gd name="connsiteX0" fmla="*/ 13136 w 230746"/>
                <a:gd name="connsiteY0" fmla="*/ 163902 h 407355"/>
                <a:gd name="connsiteX1" fmla="*/ 226319 w 230746"/>
                <a:gd name="connsiteY1" fmla="*/ 16318 h 407355"/>
                <a:gd name="connsiteX2" fmla="*/ 213061 w 230746"/>
                <a:gd name="connsiteY2" fmla="*/ 8787 h 407355"/>
                <a:gd name="connsiteX3" fmla="*/ 195004 w 230746"/>
                <a:gd name="connsiteY3" fmla="*/ 398403 h 407355"/>
                <a:gd name="connsiteX4" fmla="*/ 208262 w 230746"/>
                <a:gd name="connsiteY4" fmla="*/ 390846 h 407355"/>
                <a:gd name="connsiteX5" fmla="*/ 12818 w 230746"/>
                <a:gd name="connsiteY5" fmla="*/ 268558 h 407355"/>
                <a:gd name="connsiteX6" fmla="*/ 3988 w 230746"/>
                <a:gd name="connsiteY6" fmla="*/ 283671 h 407355"/>
                <a:gd name="connsiteX7" fmla="*/ 199459 w 230746"/>
                <a:gd name="connsiteY7" fmla="*/ 405960 h 407355"/>
                <a:gd name="connsiteX8" fmla="*/ 212717 w 230746"/>
                <a:gd name="connsiteY8" fmla="*/ 398403 h 407355"/>
                <a:gd name="connsiteX9" fmla="*/ 230747 w 230746"/>
                <a:gd name="connsiteY9" fmla="*/ 8787 h 407355"/>
                <a:gd name="connsiteX10" fmla="*/ 221981 w 230746"/>
                <a:gd name="connsiteY10" fmla="*/ 0 h 407355"/>
                <a:gd name="connsiteX11" fmla="*/ 217489 w 230746"/>
                <a:gd name="connsiteY11" fmla="*/ 1230 h 407355"/>
                <a:gd name="connsiteX12" fmla="*/ 4200 w 230746"/>
                <a:gd name="connsiteY12" fmla="*/ 148708 h 407355"/>
                <a:gd name="connsiteX13" fmla="*/ 13030 w 230746"/>
                <a:gd name="connsiteY13" fmla="*/ 163822 h 407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0746" h="407355">
                  <a:moveTo>
                    <a:pt x="13136" y="163902"/>
                  </a:moveTo>
                  <a:lnTo>
                    <a:pt x="226319" y="16318"/>
                  </a:lnTo>
                  <a:lnTo>
                    <a:pt x="213061" y="8787"/>
                  </a:lnTo>
                  <a:cubicBezTo>
                    <a:pt x="203277" y="138474"/>
                    <a:pt x="200175" y="268452"/>
                    <a:pt x="195004" y="398403"/>
                  </a:cubicBezTo>
                  <a:lnTo>
                    <a:pt x="208262" y="390846"/>
                  </a:lnTo>
                  <a:cubicBezTo>
                    <a:pt x="145712" y="345982"/>
                    <a:pt x="76905" y="311062"/>
                    <a:pt x="12818" y="268558"/>
                  </a:cubicBezTo>
                  <a:cubicBezTo>
                    <a:pt x="3405" y="262327"/>
                    <a:pt x="-5345" y="277467"/>
                    <a:pt x="3988" y="283671"/>
                  </a:cubicBezTo>
                  <a:cubicBezTo>
                    <a:pt x="68076" y="326096"/>
                    <a:pt x="136856" y="361096"/>
                    <a:pt x="199459" y="405960"/>
                  </a:cubicBezTo>
                  <a:cubicBezTo>
                    <a:pt x="205160" y="410043"/>
                    <a:pt x="212372" y="404449"/>
                    <a:pt x="212717" y="398403"/>
                  </a:cubicBezTo>
                  <a:cubicBezTo>
                    <a:pt x="217887" y="268478"/>
                    <a:pt x="220989" y="138553"/>
                    <a:pt x="230747" y="8787"/>
                  </a:cubicBezTo>
                  <a:cubicBezTo>
                    <a:pt x="230752" y="3940"/>
                    <a:pt x="226828" y="6"/>
                    <a:pt x="221981" y="0"/>
                  </a:cubicBezTo>
                  <a:cubicBezTo>
                    <a:pt x="220401" y="-2"/>
                    <a:pt x="218850" y="423"/>
                    <a:pt x="217489" y="1230"/>
                  </a:cubicBezTo>
                  <a:lnTo>
                    <a:pt x="4200" y="148708"/>
                  </a:lnTo>
                  <a:cubicBezTo>
                    <a:pt x="-5001" y="155072"/>
                    <a:pt x="3723" y="170239"/>
                    <a:pt x="13030" y="163822"/>
                  </a:cubicBezTo>
                  <a:close/>
                </a:path>
              </a:pathLst>
            </a:custGeom>
            <a:solidFill>
              <a:srgbClr val="2A2E2D"/>
            </a:solidFill>
            <a:ln w="26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3994711A-5C60-6E58-53C7-8304FE9A75BA}"/>
                </a:ext>
              </a:extLst>
            </p:cNvPr>
            <p:cNvSpPr/>
            <p:nvPr/>
          </p:nvSpPr>
          <p:spPr>
            <a:xfrm>
              <a:off x="10912763" y="5726366"/>
              <a:ext cx="239401" cy="283654"/>
            </a:xfrm>
            <a:custGeom>
              <a:avLst/>
              <a:gdLst>
                <a:gd name="connsiteX0" fmla="*/ 49850 w 239401"/>
                <a:gd name="connsiteY0" fmla="*/ 0 h 283654"/>
                <a:gd name="connsiteX1" fmla="*/ 28956 w 239401"/>
                <a:gd name="connsiteY1" fmla="*/ 283528 h 283654"/>
                <a:gd name="connsiteX2" fmla="*/ 239169 w 239401"/>
                <a:gd name="connsiteY2" fmla="*/ 129262 h 283654"/>
                <a:gd name="connsiteX3" fmla="*/ 49850 w 239401"/>
                <a:gd name="connsiteY3" fmla="*/ 0 h 283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9401" h="283654">
                  <a:moveTo>
                    <a:pt x="49850" y="0"/>
                  </a:moveTo>
                  <a:cubicBezTo>
                    <a:pt x="-18268" y="-186"/>
                    <a:pt x="-7742" y="279365"/>
                    <a:pt x="28956" y="283528"/>
                  </a:cubicBezTo>
                  <a:cubicBezTo>
                    <a:pt x="65653" y="287691"/>
                    <a:pt x="232752" y="187622"/>
                    <a:pt x="239169" y="129262"/>
                  </a:cubicBezTo>
                  <a:cubicBezTo>
                    <a:pt x="245586" y="70902"/>
                    <a:pt x="117861" y="159"/>
                    <a:pt x="49850" y="0"/>
                  </a:cubicBezTo>
                  <a:close/>
                </a:path>
              </a:pathLst>
            </a:custGeom>
            <a:solidFill>
              <a:srgbClr val="2A2E2D"/>
            </a:solidFill>
            <a:ln w="26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0C1650BA-7B95-9728-2E53-EED453E10D05}"/>
                </a:ext>
              </a:extLst>
            </p:cNvPr>
            <p:cNvSpPr/>
            <p:nvPr/>
          </p:nvSpPr>
          <p:spPr>
            <a:xfrm>
              <a:off x="10775685" y="5995828"/>
              <a:ext cx="132438" cy="99894"/>
            </a:xfrm>
            <a:custGeom>
              <a:avLst/>
              <a:gdLst>
                <a:gd name="connsiteX0" fmla="*/ 1056 w 132438"/>
                <a:gd name="connsiteY0" fmla="*/ 8392 h 99894"/>
                <a:gd name="connsiteX1" fmla="*/ 24230 w 132438"/>
                <a:gd name="connsiteY1" fmla="*/ 88893 h 99894"/>
                <a:gd name="connsiteX2" fmla="*/ 124007 w 132438"/>
                <a:gd name="connsiteY2" fmla="*/ 95680 h 99894"/>
                <a:gd name="connsiteX3" fmla="*/ 124007 w 132438"/>
                <a:gd name="connsiteY3" fmla="*/ 78207 h 99894"/>
                <a:gd name="connsiteX4" fmla="*/ 53211 w 132438"/>
                <a:gd name="connsiteY4" fmla="*/ 80646 h 99894"/>
                <a:gd name="connsiteX5" fmla="*/ 18529 w 132438"/>
                <a:gd name="connsiteY5" fmla="*/ 8392 h 99894"/>
                <a:gd name="connsiteX6" fmla="*/ 1056 w 132438"/>
                <a:gd name="connsiteY6" fmla="*/ 8392 h 99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2438" h="99894">
                  <a:moveTo>
                    <a:pt x="1056" y="8392"/>
                  </a:moveTo>
                  <a:cubicBezTo>
                    <a:pt x="-1331" y="36631"/>
                    <a:pt x="-1861" y="70703"/>
                    <a:pt x="24230" y="88893"/>
                  </a:cubicBezTo>
                  <a:cubicBezTo>
                    <a:pt x="50745" y="107453"/>
                    <a:pt x="94151" y="97271"/>
                    <a:pt x="124007" y="95680"/>
                  </a:cubicBezTo>
                  <a:cubicBezTo>
                    <a:pt x="135223" y="95097"/>
                    <a:pt x="135276" y="77597"/>
                    <a:pt x="124007" y="78207"/>
                  </a:cubicBezTo>
                  <a:cubicBezTo>
                    <a:pt x="101204" y="79400"/>
                    <a:pt x="75882" y="83828"/>
                    <a:pt x="53211" y="80646"/>
                  </a:cubicBezTo>
                  <a:cubicBezTo>
                    <a:pt x="15772" y="75343"/>
                    <a:pt x="16090" y="38222"/>
                    <a:pt x="18529" y="8392"/>
                  </a:cubicBezTo>
                  <a:cubicBezTo>
                    <a:pt x="19484" y="-2824"/>
                    <a:pt x="1984" y="-2771"/>
                    <a:pt x="1056" y="8392"/>
                  </a:cubicBezTo>
                  <a:close/>
                </a:path>
              </a:pathLst>
            </a:custGeom>
            <a:solidFill>
              <a:srgbClr val="2A2E2D"/>
            </a:solidFill>
            <a:ln w="26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7EEFB670-1982-F3B2-9257-9979E5AF3677}"/>
                </a:ext>
              </a:extLst>
            </p:cNvPr>
            <p:cNvSpPr/>
            <p:nvPr/>
          </p:nvSpPr>
          <p:spPr>
            <a:xfrm>
              <a:off x="10933323" y="6068057"/>
              <a:ext cx="32355" cy="20312"/>
            </a:xfrm>
            <a:custGeom>
              <a:avLst/>
              <a:gdLst>
                <a:gd name="connsiteX0" fmla="*/ 10941 w 32355"/>
                <a:gd name="connsiteY0" fmla="*/ 20111 h 20312"/>
                <a:gd name="connsiteX1" fmla="*/ 26055 w 32355"/>
                <a:gd name="connsiteY1" fmla="*/ 17061 h 20312"/>
                <a:gd name="connsiteX2" fmla="*/ 21415 w 32355"/>
                <a:gd name="connsiteY2" fmla="*/ 198 h 20312"/>
                <a:gd name="connsiteX3" fmla="*/ 6301 w 32355"/>
                <a:gd name="connsiteY3" fmla="*/ 3247 h 20312"/>
                <a:gd name="connsiteX4" fmla="*/ 10941 w 32355"/>
                <a:gd name="connsiteY4" fmla="*/ 20111 h 20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55" h="20312">
                  <a:moveTo>
                    <a:pt x="10941" y="20111"/>
                  </a:moveTo>
                  <a:lnTo>
                    <a:pt x="26055" y="17061"/>
                  </a:lnTo>
                  <a:cubicBezTo>
                    <a:pt x="37085" y="14861"/>
                    <a:pt x="32419" y="-2003"/>
                    <a:pt x="21415" y="198"/>
                  </a:cubicBezTo>
                  <a:lnTo>
                    <a:pt x="6301" y="3247"/>
                  </a:lnTo>
                  <a:cubicBezTo>
                    <a:pt x="-4729" y="5474"/>
                    <a:pt x="-63" y="22338"/>
                    <a:pt x="10941" y="20111"/>
                  </a:cubicBezTo>
                  <a:close/>
                </a:path>
              </a:pathLst>
            </a:custGeom>
            <a:solidFill>
              <a:srgbClr val="2A2E2D"/>
            </a:solidFill>
            <a:ln w="26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66" name="Graphic 16">
            <a:extLst>
              <a:ext uri="{FF2B5EF4-FFF2-40B4-BE49-F238E27FC236}">
                <a16:creationId xmlns:a16="http://schemas.microsoft.com/office/drawing/2014/main" id="{870D21C8-7057-2B0E-3033-3E660D27D09A}"/>
              </a:ext>
            </a:extLst>
          </p:cNvPr>
          <p:cNvGrpSpPr/>
          <p:nvPr/>
        </p:nvGrpSpPr>
        <p:grpSpPr>
          <a:xfrm>
            <a:off x="945329" y="5472405"/>
            <a:ext cx="880983" cy="784702"/>
            <a:chOff x="945329" y="5472405"/>
            <a:chExt cx="880983" cy="784702"/>
          </a:xfrm>
          <a:solidFill>
            <a:srgbClr val="2A2E2D"/>
          </a:solidFill>
        </p:grpSpPr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3D33329C-13BA-3DD4-7921-8A5ABB4AF1EC}"/>
                </a:ext>
              </a:extLst>
            </p:cNvPr>
            <p:cNvSpPr/>
            <p:nvPr/>
          </p:nvSpPr>
          <p:spPr>
            <a:xfrm>
              <a:off x="945329" y="5760315"/>
              <a:ext cx="165772" cy="266022"/>
            </a:xfrm>
            <a:custGeom>
              <a:avLst/>
              <a:gdLst>
                <a:gd name="connsiteX0" fmla="*/ 95113 w 165772"/>
                <a:gd name="connsiteY0" fmla="*/ 654 h 266022"/>
                <a:gd name="connsiteX1" fmla="*/ 3264 w 165772"/>
                <a:gd name="connsiteY1" fmla="*/ 166772 h 266022"/>
                <a:gd name="connsiteX2" fmla="*/ 157450 w 165772"/>
                <a:gd name="connsiteY2" fmla="*/ 264481 h 266022"/>
                <a:gd name="connsiteX3" fmla="*/ 157450 w 165772"/>
                <a:gd name="connsiteY3" fmla="*/ 246981 h 266022"/>
                <a:gd name="connsiteX4" fmla="*/ 23124 w 165772"/>
                <a:gd name="connsiteY4" fmla="*/ 173958 h 266022"/>
                <a:gd name="connsiteX5" fmla="*/ 99753 w 165772"/>
                <a:gd name="connsiteY5" fmla="*/ 17518 h 266022"/>
                <a:gd name="connsiteX6" fmla="*/ 95113 w 165772"/>
                <a:gd name="connsiteY6" fmla="*/ 654 h 266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5772" h="266022">
                  <a:moveTo>
                    <a:pt x="95113" y="654"/>
                  </a:moveTo>
                  <a:cubicBezTo>
                    <a:pt x="28241" y="27169"/>
                    <a:pt x="-12115" y="95234"/>
                    <a:pt x="3264" y="166772"/>
                  </a:cubicBezTo>
                  <a:cubicBezTo>
                    <a:pt x="19438" y="241970"/>
                    <a:pt x="83207" y="273655"/>
                    <a:pt x="157450" y="264481"/>
                  </a:cubicBezTo>
                  <a:cubicBezTo>
                    <a:pt x="168481" y="263102"/>
                    <a:pt x="168613" y="245602"/>
                    <a:pt x="157450" y="246981"/>
                  </a:cubicBezTo>
                  <a:cubicBezTo>
                    <a:pt x="98507" y="254273"/>
                    <a:pt x="40783" y="234864"/>
                    <a:pt x="23124" y="173958"/>
                  </a:cubicBezTo>
                  <a:cubicBezTo>
                    <a:pt x="4351" y="108836"/>
                    <a:pt x="36567" y="42654"/>
                    <a:pt x="99753" y="17518"/>
                  </a:cubicBezTo>
                  <a:cubicBezTo>
                    <a:pt x="110094" y="13408"/>
                    <a:pt x="105586" y="-3509"/>
                    <a:pt x="95113" y="654"/>
                  </a:cubicBezTo>
                  <a:close/>
                </a:path>
              </a:pathLst>
            </a:custGeom>
            <a:solidFill>
              <a:srgbClr val="2A2E2D"/>
            </a:solidFill>
            <a:ln w="26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041C37B9-3FAA-67A2-D3B7-93B0C1D11301}"/>
                </a:ext>
              </a:extLst>
            </p:cNvPr>
            <p:cNvSpPr/>
            <p:nvPr/>
          </p:nvSpPr>
          <p:spPr>
            <a:xfrm>
              <a:off x="1044726" y="5472405"/>
              <a:ext cx="549916" cy="650637"/>
            </a:xfrm>
            <a:custGeom>
              <a:avLst/>
              <a:gdLst>
                <a:gd name="connsiteX0" fmla="*/ 527135 w 549916"/>
                <a:gd name="connsiteY0" fmla="*/ 629498 h 650637"/>
                <a:gd name="connsiteX1" fmla="*/ 460237 w 549916"/>
                <a:gd name="connsiteY1" fmla="*/ 571854 h 650637"/>
                <a:gd name="connsiteX2" fmla="*/ 386313 w 549916"/>
                <a:gd name="connsiteY2" fmla="*/ 528395 h 650637"/>
                <a:gd name="connsiteX3" fmla="*/ 176258 w 549916"/>
                <a:gd name="connsiteY3" fmla="*/ 552816 h 650637"/>
                <a:gd name="connsiteX4" fmla="*/ 145262 w 549916"/>
                <a:gd name="connsiteY4" fmla="*/ 562494 h 650637"/>
                <a:gd name="connsiteX5" fmla="*/ 96421 w 549916"/>
                <a:gd name="connsiteY5" fmla="*/ 550191 h 650637"/>
                <a:gd name="connsiteX6" fmla="*/ 62190 w 549916"/>
                <a:gd name="connsiteY6" fmla="*/ 508588 h 650637"/>
                <a:gd name="connsiteX7" fmla="*/ 54394 w 549916"/>
                <a:gd name="connsiteY7" fmla="*/ 476956 h 650637"/>
                <a:gd name="connsiteX8" fmla="*/ 26712 w 549916"/>
                <a:gd name="connsiteY8" fmla="*/ 341356 h 650637"/>
                <a:gd name="connsiteX9" fmla="*/ 22947 w 549916"/>
                <a:gd name="connsiteY9" fmla="*/ 246326 h 650637"/>
                <a:gd name="connsiteX10" fmla="*/ 83004 w 549916"/>
                <a:gd name="connsiteY10" fmla="*/ 211325 h 650637"/>
                <a:gd name="connsiteX11" fmla="*/ 197020 w 549916"/>
                <a:gd name="connsiteY11" fmla="*/ 195416 h 650637"/>
                <a:gd name="connsiteX12" fmla="*/ 356112 w 549916"/>
                <a:gd name="connsiteY12" fmla="*/ 112901 h 650637"/>
                <a:gd name="connsiteX13" fmla="*/ 419404 w 549916"/>
                <a:gd name="connsiteY13" fmla="*/ 34336 h 650637"/>
                <a:gd name="connsiteX14" fmla="*/ 452654 w 549916"/>
                <a:gd name="connsiteY14" fmla="*/ 29669 h 650637"/>
                <a:gd name="connsiteX15" fmla="*/ 481025 w 549916"/>
                <a:gd name="connsiteY15" fmla="*/ 174602 h 650637"/>
                <a:gd name="connsiteX16" fmla="*/ 504624 w 549916"/>
                <a:gd name="connsiteY16" fmla="*/ 330406 h 650637"/>
                <a:gd name="connsiteX17" fmla="*/ 527056 w 549916"/>
                <a:gd name="connsiteY17" fmla="*/ 516596 h 650637"/>
                <a:gd name="connsiteX18" fmla="*/ 525359 w 549916"/>
                <a:gd name="connsiteY18" fmla="*/ 630851 h 650637"/>
                <a:gd name="connsiteX19" fmla="*/ 537715 w 549916"/>
                <a:gd name="connsiteY19" fmla="*/ 643233 h 650637"/>
                <a:gd name="connsiteX20" fmla="*/ 546969 w 549916"/>
                <a:gd name="connsiteY20" fmla="*/ 549608 h 650637"/>
                <a:gd name="connsiteX21" fmla="*/ 526579 w 549916"/>
                <a:gd name="connsiteY21" fmla="*/ 362304 h 650637"/>
                <a:gd name="connsiteX22" fmla="*/ 496457 w 549916"/>
                <a:gd name="connsiteY22" fmla="*/ 161477 h 650637"/>
                <a:gd name="connsiteX23" fmla="*/ 485294 w 549916"/>
                <a:gd name="connsiteY23" fmla="*/ 91582 h 650637"/>
                <a:gd name="connsiteX24" fmla="*/ 458302 w 549916"/>
                <a:gd name="connsiteY24" fmla="*/ 5620 h 650637"/>
                <a:gd name="connsiteX25" fmla="*/ 393233 w 549916"/>
                <a:gd name="connsiteY25" fmla="*/ 33779 h 650637"/>
                <a:gd name="connsiteX26" fmla="*/ 323577 w 549916"/>
                <a:gd name="connsiteY26" fmla="*/ 125973 h 650637"/>
                <a:gd name="connsiteX27" fmla="*/ 151679 w 549916"/>
                <a:gd name="connsiteY27" fmla="*/ 183219 h 650637"/>
                <a:gd name="connsiteX28" fmla="*/ 38 w 549916"/>
                <a:gd name="connsiteY28" fmla="*/ 280796 h 650637"/>
                <a:gd name="connsiteX29" fmla="*/ 23424 w 549916"/>
                <a:gd name="connsiteY29" fmla="*/ 418012 h 650637"/>
                <a:gd name="connsiteX30" fmla="*/ 61527 w 549916"/>
                <a:gd name="connsiteY30" fmla="*/ 563846 h 650637"/>
                <a:gd name="connsiteX31" fmla="*/ 157671 w 549916"/>
                <a:gd name="connsiteY31" fmla="*/ 577104 h 650637"/>
                <a:gd name="connsiteX32" fmla="*/ 337047 w 549916"/>
                <a:gd name="connsiteY32" fmla="*/ 538445 h 650637"/>
                <a:gd name="connsiteX33" fmla="*/ 480230 w 549916"/>
                <a:gd name="connsiteY33" fmla="*/ 625548 h 650637"/>
                <a:gd name="connsiteX34" fmla="*/ 535912 w 549916"/>
                <a:gd name="connsiteY34" fmla="*/ 644665 h 650637"/>
                <a:gd name="connsiteX35" fmla="*/ 527135 w 549916"/>
                <a:gd name="connsiteY35" fmla="*/ 629498 h 650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49916" h="650637">
                  <a:moveTo>
                    <a:pt x="527135" y="629498"/>
                  </a:moveTo>
                  <a:cubicBezTo>
                    <a:pt x="504014" y="645407"/>
                    <a:pt x="473813" y="586517"/>
                    <a:pt x="460237" y="571854"/>
                  </a:cubicBezTo>
                  <a:cubicBezTo>
                    <a:pt x="440298" y="550324"/>
                    <a:pt x="414419" y="536164"/>
                    <a:pt x="386313" y="528395"/>
                  </a:cubicBezTo>
                  <a:cubicBezTo>
                    <a:pt x="315411" y="508721"/>
                    <a:pt x="243872" y="531339"/>
                    <a:pt x="176258" y="552816"/>
                  </a:cubicBezTo>
                  <a:cubicBezTo>
                    <a:pt x="165944" y="556077"/>
                    <a:pt x="155656" y="559471"/>
                    <a:pt x="145262" y="562494"/>
                  </a:cubicBezTo>
                  <a:cubicBezTo>
                    <a:pt x="119171" y="570078"/>
                    <a:pt x="126118" y="569229"/>
                    <a:pt x="96421" y="550191"/>
                  </a:cubicBezTo>
                  <a:cubicBezTo>
                    <a:pt x="66724" y="531153"/>
                    <a:pt x="69216" y="536217"/>
                    <a:pt x="62190" y="508588"/>
                  </a:cubicBezTo>
                  <a:cubicBezTo>
                    <a:pt x="59503" y="497982"/>
                    <a:pt x="56904" y="487437"/>
                    <a:pt x="54394" y="476956"/>
                  </a:cubicBezTo>
                  <a:cubicBezTo>
                    <a:pt x="43788" y="432057"/>
                    <a:pt x="34561" y="386857"/>
                    <a:pt x="26712" y="341356"/>
                  </a:cubicBezTo>
                  <a:cubicBezTo>
                    <a:pt x="22072" y="314231"/>
                    <a:pt x="8867" y="271833"/>
                    <a:pt x="22947" y="246326"/>
                  </a:cubicBezTo>
                  <a:cubicBezTo>
                    <a:pt x="34402" y="225617"/>
                    <a:pt x="61792" y="216708"/>
                    <a:pt x="83004" y="211325"/>
                  </a:cubicBezTo>
                  <a:cubicBezTo>
                    <a:pt x="120125" y="201886"/>
                    <a:pt x="159103" y="200719"/>
                    <a:pt x="197020" y="195416"/>
                  </a:cubicBezTo>
                  <a:cubicBezTo>
                    <a:pt x="262194" y="186374"/>
                    <a:pt x="316842" y="167840"/>
                    <a:pt x="356112" y="112901"/>
                  </a:cubicBezTo>
                  <a:cubicBezTo>
                    <a:pt x="376104" y="84900"/>
                    <a:pt x="393101" y="57218"/>
                    <a:pt x="419404" y="34336"/>
                  </a:cubicBezTo>
                  <a:cubicBezTo>
                    <a:pt x="433430" y="22192"/>
                    <a:pt x="440616" y="11055"/>
                    <a:pt x="452654" y="29669"/>
                  </a:cubicBezTo>
                  <a:cubicBezTo>
                    <a:pt x="475404" y="64669"/>
                    <a:pt x="474396" y="132893"/>
                    <a:pt x="481025" y="174602"/>
                  </a:cubicBezTo>
                  <a:cubicBezTo>
                    <a:pt x="489245" y="226466"/>
                    <a:pt x="497200" y="278436"/>
                    <a:pt x="504624" y="330406"/>
                  </a:cubicBezTo>
                  <a:cubicBezTo>
                    <a:pt x="513453" y="392266"/>
                    <a:pt x="521779" y="454312"/>
                    <a:pt x="527056" y="516596"/>
                  </a:cubicBezTo>
                  <a:cubicBezTo>
                    <a:pt x="529151" y="541255"/>
                    <a:pt x="543601" y="609400"/>
                    <a:pt x="525359" y="630851"/>
                  </a:cubicBezTo>
                  <a:cubicBezTo>
                    <a:pt x="518120" y="639389"/>
                    <a:pt x="530423" y="651824"/>
                    <a:pt x="537715" y="643233"/>
                  </a:cubicBezTo>
                  <a:cubicBezTo>
                    <a:pt x="556408" y="621146"/>
                    <a:pt x="548454" y="575460"/>
                    <a:pt x="546969" y="549608"/>
                  </a:cubicBezTo>
                  <a:cubicBezTo>
                    <a:pt x="543336" y="486925"/>
                    <a:pt x="535090" y="424482"/>
                    <a:pt x="526579" y="362304"/>
                  </a:cubicBezTo>
                  <a:cubicBezTo>
                    <a:pt x="517431" y="295220"/>
                    <a:pt x="507090" y="228322"/>
                    <a:pt x="496457" y="161477"/>
                  </a:cubicBezTo>
                  <a:cubicBezTo>
                    <a:pt x="492745" y="138196"/>
                    <a:pt x="489165" y="114863"/>
                    <a:pt x="485294" y="91582"/>
                  </a:cubicBezTo>
                  <a:cubicBezTo>
                    <a:pt x="481423" y="68302"/>
                    <a:pt x="479143" y="22881"/>
                    <a:pt x="458302" y="5620"/>
                  </a:cubicBezTo>
                  <a:cubicBezTo>
                    <a:pt x="435976" y="-12941"/>
                    <a:pt x="408294" y="19195"/>
                    <a:pt x="393233" y="33779"/>
                  </a:cubicBezTo>
                  <a:cubicBezTo>
                    <a:pt x="365259" y="60825"/>
                    <a:pt x="350252" y="97946"/>
                    <a:pt x="323577" y="125973"/>
                  </a:cubicBezTo>
                  <a:cubicBezTo>
                    <a:pt x="279721" y="172030"/>
                    <a:pt x="210993" y="176352"/>
                    <a:pt x="151679" y="183219"/>
                  </a:cubicBezTo>
                  <a:cubicBezTo>
                    <a:pt x="88042" y="190670"/>
                    <a:pt x="-2110" y="198041"/>
                    <a:pt x="38" y="280796"/>
                  </a:cubicBezTo>
                  <a:cubicBezTo>
                    <a:pt x="1204" y="325872"/>
                    <a:pt x="14356" y="374023"/>
                    <a:pt x="23424" y="418012"/>
                  </a:cubicBezTo>
                  <a:cubicBezTo>
                    <a:pt x="32148" y="460437"/>
                    <a:pt x="36682" y="527070"/>
                    <a:pt x="61527" y="563846"/>
                  </a:cubicBezTo>
                  <a:cubicBezTo>
                    <a:pt x="84834" y="598316"/>
                    <a:pt x="123891" y="587233"/>
                    <a:pt x="157671" y="577104"/>
                  </a:cubicBezTo>
                  <a:cubicBezTo>
                    <a:pt x="216005" y="559524"/>
                    <a:pt x="274869" y="535555"/>
                    <a:pt x="337047" y="538445"/>
                  </a:cubicBezTo>
                  <a:cubicBezTo>
                    <a:pt x="407843" y="541759"/>
                    <a:pt x="438017" y="576362"/>
                    <a:pt x="480230" y="625548"/>
                  </a:cubicBezTo>
                  <a:cubicBezTo>
                    <a:pt x="495158" y="642915"/>
                    <a:pt x="513719" y="660017"/>
                    <a:pt x="535912" y="644665"/>
                  </a:cubicBezTo>
                  <a:cubicBezTo>
                    <a:pt x="545139" y="638222"/>
                    <a:pt x="536416" y="623135"/>
                    <a:pt x="527135" y="629498"/>
                  </a:cubicBezTo>
                  <a:close/>
                </a:path>
              </a:pathLst>
            </a:custGeom>
            <a:solidFill>
              <a:srgbClr val="2A2E2D"/>
            </a:solidFill>
            <a:ln w="26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53BF8333-FFEE-D3E1-CF55-93ABB58850C1}"/>
                </a:ext>
              </a:extLst>
            </p:cNvPr>
            <p:cNvSpPr/>
            <p:nvPr/>
          </p:nvSpPr>
          <p:spPr>
            <a:xfrm>
              <a:off x="1567944" y="6100710"/>
              <a:ext cx="16893" cy="17473"/>
            </a:xfrm>
            <a:custGeom>
              <a:avLst/>
              <a:gdLst>
                <a:gd name="connsiteX0" fmla="*/ 8452 w 16893"/>
                <a:gd name="connsiteY0" fmla="*/ 17474 h 17473"/>
                <a:gd name="connsiteX1" fmla="*/ 8452 w 16893"/>
                <a:gd name="connsiteY1" fmla="*/ 0 h 17473"/>
                <a:gd name="connsiteX2" fmla="*/ 8452 w 16893"/>
                <a:gd name="connsiteY2" fmla="*/ 17474 h 17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893" h="17473">
                  <a:moveTo>
                    <a:pt x="8452" y="17474"/>
                  </a:moveTo>
                  <a:cubicBezTo>
                    <a:pt x="19694" y="17474"/>
                    <a:pt x="19721" y="0"/>
                    <a:pt x="8452" y="0"/>
                  </a:cubicBezTo>
                  <a:cubicBezTo>
                    <a:pt x="-2817" y="0"/>
                    <a:pt x="-2817" y="17474"/>
                    <a:pt x="8452" y="17474"/>
                  </a:cubicBezTo>
                  <a:close/>
                </a:path>
              </a:pathLst>
            </a:custGeom>
            <a:solidFill>
              <a:srgbClr val="2A2E2D"/>
            </a:solidFill>
            <a:ln w="26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03DF3078-04AE-CC97-DE66-60D9086B48C2}"/>
                </a:ext>
              </a:extLst>
            </p:cNvPr>
            <p:cNvSpPr/>
            <p:nvPr/>
          </p:nvSpPr>
          <p:spPr>
            <a:xfrm>
              <a:off x="1532662" y="5679803"/>
              <a:ext cx="82775" cy="174300"/>
            </a:xfrm>
            <a:custGeom>
              <a:avLst/>
              <a:gdLst>
                <a:gd name="connsiteX0" fmla="*/ 8362 w 82775"/>
                <a:gd name="connsiteY0" fmla="*/ 17556 h 174300"/>
                <a:gd name="connsiteX1" fmla="*/ 38828 w 82775"/>
                <a:gd name="connsiteY1" fmla="*/ 159333 h 174300"/>
                <a:gd name="connsiteX2" fmla="*/ 51184 w 82775"/>
                <a:gd name="connsiteY2" fmla="*/ 171716 h 174300"/>
                <a:gd name="connsiteX3" fmla="*/ 8362 w 82775"/>
                <a:gd name="connsiteY3" fmla="*/ 56 h 174300"/>
                <a:gd name="connsiteX4" fmla="*/ 8362 w 82775"/>
                <a:gd name="connsiteY4" fmla="*/ 17556 h 17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775" h="174300">
                  <a:moveTo>
                    <a:pt x="8362" y="17556"/>
                  </a:moveTo>
                  <a:cubicBezTo>
                    <a:pt x="79450" y="24901"/>
                    <a:pt x="77832" y="119985"/>
                    <a:pt x="38828" y="159333"/>
                  </a:cubicBezTo>
                  <a:cubicBezTo>
                    <a:pt x="30874" y="167288"/>
                    <a:pt x="43256" y="179724"/>
                    <a:pt x="51184" y="171716"/>
                  </a:cubicBezTo>
                  <a:cubicBezTo>
                    <a:pt x="102545" y="119931"/>
                    <a:pt x="93344" y="8832"/>
                    <a:pt x="8362" y="56"/>
                  </a:cubicBezTo>
                  <a:cubicBezTo>
                    <a:pt x="-2827" y="-1111"/>
                    <a:pt x="-2748" y="16389"/>
                    <a:pt x="8362" y="17556"/>
                  </a:cubicBezTo>
                  <a:close/>
                </a:path>
              </a:pathLst>
            </a:custGeom>
            <a:solidFill>
              <a:srgbClr val="2A2E2D"/>
            </a:solidFill>
            <a:ln w="26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E457941F-D544-5D03-0BBD-CC56A556D3C5}"/>
                </a:ext>
              </a:extLst>
            </p:cNvPr>
            <p:cNvSpPr/>
            <p:nvPr/>
          </p:nvSpPr>
          <p:spPr>
            <a:xfrm>
              <a:off x="1681422" y="5518197"/>
              <a:ext cx="105568" cy="81560"/>
            </a:xfrm>
            <a:custGeom>
              <a:avLst/>
              <a:gdLst>
                <a:gd name="connsiteX0" fmla="*/ 15300 w 105568"/>
                <a:gd name="connsiteY0" fmla="*/ 79411 h 81560"/>
                <a:gd name="connsiteX1" fmla="*/ 101501 w 105568"/>
                <a:gd name="connsiteY1" fmla="*/ 16517 h 81560"/>
                <a:gd name="connsiteX2" fmla="*/ 92672 w 105568"/>
                <a:gd name="connsiteY2" fmla="*/ 1430 h 81560"/>
                <a:gd name="connsiteX3" fmla="*/ 2944 w 105568"/>
                <a:gd name="connsiteY3" fmla="*/ 67029 h 81560"/>
                <a:gd name="connsiteX4" fmla="*/ 15300 w 105568"/>
                <a:gd name="connsiteY4" fmla="*/ 79411 h 81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568" h="81560">
                  <a:moveTo>
                    <a:pt x="15300" y="79411"/>
                  </a:moveTo>
                  <a:cubicBezTo>
                    <a:pt x="42706" y="56686"/>
                    <a:pt x="71497" y="35681"/>
                    <a:pt x="101501" y="16517"/>
                  </a:cubicBezTo>
                  <a:cubicBezTo>
                    <a:pt x="110967" y="10471"/>
                    <a:pt x="102191" y="-4695"/>
                    <a:pt x="92672" y="1430"/>
                  </a:cubicBezTo>
                  <a:cubicBezTo>
                    <a:pt x="61437" y="21421"/>
                    <a:pt x="31469" y="43330"/>
                    <a:pt x="2944" y="67029"/>
                  </a:cubicBezTo>
                  <a:cubicBezTo>
                    <a:pt x="-5726" y="74241"/>
                    <a:pt x="6683" y="86544"/>
                    <a:pt x="15300" y="79411"/>
                  </a:cubicBezTo>
                  <a:close/>
                </a:path>
              </a:pathLst>
            </a:custGeom>
            <a:solidFill>
              <a:srgbClr val="2A2E2D"/>
            </a:solidFill>
            <a:ln w="26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13DB4B33-F05D-F68E-0B3F-F96034C678DD}"/>
                </a:ext>
              </a:extLst>
            </p:cNvPr>
            <p:cNvSpPr/>
            <p:nvPr/>
          </p:nvSpPr>
          <p:spPr>
            <a:xfrm>
              <a:off x="1714792" y="5650729"/>
              <a:ext cx="102395" cy="53273"/>
            </a:xfrm>
            <a:custGeom>
              <a:avLst/>
              <a:gdLst>
                <a:gd name="connsiteX0" fmla="*/ 10461 w 102395"/>
                <a:gd name="connsiteY0" fmla="*/ 52569 h 53273"/>
                <a:gd name="connsiteX1" fmla="*/ 96583 w 102395"/>
                <a:gd name="connsiteY1" fmla="*/ 17569 h 53273"/>
                <a:gd name="connsiteX2" fmla="*/ 91942 w 102395"/>
                <a:gd name="connsiteY2" fmla="*/ 705 h 53273"/>
                <a:gd name="connsiteX3" fmla="*/ 5821 w 102395"/>
                <a:gd name="connsiteY3" fmla="*/ 35705 h 53273"/>
                <a:gd name="connsiteX4" fmla="*/ 10461 w 102395"/>
                <a:gd name="connsiteY4" fmla="*/ 52569 h 53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395" h="53273">
                  <a:moveTo>
                    <a:pt x="10461" y="52569"/>
                  </a:moveTo>
                  <a:lnTo>
                    <a:pt x="96583" y="17569"/>
                  </a:lnTo>
                  <a:cubicBezTo>
                    <a:pt x="106871" y="13379"/>
                    <a:pt x="102363" y="-3644"/>
                    <a:pt x="91942" y="705"/>
                  </a:cubicBezTo>
                  <a:lnTo>
                    <a:pt x="5821" y="35705"/>
                  </a:lnTo>
                  <a:cubicBezTo>
                    <a:pt x="-4467" y="39895"/>
                    <a:pt x="14" y="56917"/>
                    <a:pt x="10461" y="52569"/>
                  </a:cubicBezTo>
                  <a:close/>
                </a:path>
              </a:pathLst>
            </a:custGeom>
            <a:solidFill>
              <a:srgbClr val="2A2E2D"/>
            </a:solidFill>
            <a:ln w="26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547B7651-621D-79D2-BE7E-D87E5F896C34}"/>
                </a:ext>
              </a:extLst>
            </p:cNvPr>
            <p:cNvSpPr/>
            <p:nvPr/>
          </p:nvSpPr>
          <p:spPr>
            <a:xfrm>
              <a:off x="1728516" y="5802366"/>
              <a:ext cx="97796" cy="22254"/>
            </a:xfrm>
            <a:custGeom>
              <a:avLst/>
              <a:gdLst>
                <a:gd name="connsiteX0" fmla="*/ 6335 w 97796"/>
                <a:gd name="connsiteY0" fmla="*/ 16883 h 22254"/>
                <a:gd name="connsiteX1" fmla="*/ 89355 w 97796"/>
                <a:gd name="connsiteY1" fmla="*/ 22186 h 22254"/>
                <a:gd name="connsiteX2" fmla="*/ 89355 w 97796"/>
                <a:gd name="connsiteY2" fmla="*/ 4713 h 22254"/>
                <a:gd name="connsiteX3" fmla="*/ 10976 w 97796"/>
                <a:gd name="connsiteY3" fmla="*/ 99 h 22254"/>
                <a:gd name="connsiteX4" fmla="*/ 6335 w 97796"/>
                <a:gd name="connsiteY4" fmla="*/ 16963 h 22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796" h="22254">
                  <a:moveTo>
                    <a:pt x="6335" y="16883"/>
                  </a:moveTo>
                  <a:cubicBezTo>
                    <a:pt x="33824" y="20861"/>
                    <a:pt x="61585" y="22634"/>
                    <a:pt x="89355" y="22186"/>
                  </a:cubicBezTo>
                  <a:cubicBezTo>
                    <a:pt x="100597" y="22001"/>
                    <a:pt x="100624" y="4501"/>
                    <a:pt x="89355" y="4713"/>
                  </a:cubicBezTo>
                  <a:cubicBezTo>
                    <a:pt x="63147" y="5246"/>
                    <a:pt x="36939" y="3703"/>
                    <a:pt x="10976" y="99"/>
                  </a:cubicBezTo>
                  <a:cubicBezTo>
                    <a:pt x="-28" y="-1439"/>
                    <a:pt x="-4775" y="15398"/>
                    <a:pt x="6335" y="16963"/>
                  </a:cubicBezTo>
                  <a:close/>
                </a:path>
              </a:pathLst>
            </a:custGeom>
            <a:solidFill>
              <a:srgbClr val="2A2E2D"/>
            </a:solidFill>
            <a:ln w="26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C4934220-5999-3622-E49E-73B5167B11EC}"/>
                </a:ext>
              </a:extLst>
            </p:cNvPr>
            <p:cNvSpPr/>
            <p:nvPr/>
          </p:nvSpPr>
          <p:spPr>
            <a:xfrm>
              <a:off x="1723826" y="5904238"/>
              <a:ext cx="98190" cy="60153"/>
            </a:xfrm>
            <a:custGeom>
              <a:avLst/>
              <a:gdLst>
                <a:gd name="connsiteX0" fmla="*/ 3706 w 98190"/>
                <a:gd name="connsiteY0" fmla="*/ 16777 h 60153"/>
                <a:gd name="connsiteX1" fmla="*/ 87468 w 98190"/>
                <a:gd name="connsiteY1" fmla="*/ 59679 h 60153"/>
                <a:gd name="connsiteX2" fmla="*/ 92135 w 98190"/>
                <a:gd name="connsiteY2" fmla="*/ 42815 h 60153"/>
                <a:gd name="connsiteX3" fmla="*/ 12589 w 98190"/>
                <a:gd name="connsiteY3" fmla="*/ 1664 h 60153"/>
                <a:gd name="connsiteX4" fmla="*/ 3759 w 98190"/>
                <a:gd name="connsiteY4" fmla="*/ 16777 h 60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190" h="60153">
                  <a:moveTo>
                    <a:pt x="3706" y="16777"/>
                  </a:moveTo>
                  <a:cubicBezTo>
                    <a:pt x="29137" y="35492"/>
                    <a:pt x="57421" y="49977"/>
                    <a:pt x="87468" y="59679"/>
                  </a:cubicBezTo>
                  <a:cubicBezTo>
                    <a:pt x="98207" y="63179"/>
                    <a:pt x="102794" y="46289"/>
                    <a:pt x="92135" y="42815"/>
                  </a:cubicBezTo>
                  <a:cubicBezTo>
                    <a:pt x="63575" y="33477"/>
                    <a:pt x="36713" y="19580"/>
                    <a:pt x="12589" y="1664"/>
                  </a:cubicBezTo>
                  <a:cubicBezTo>
                    <a:pt x="3521" y="-5018"/>
                    <a:pt x="-5203" y="10148"/>
                    <a:pt x="3759" y="16777"/>
                  </a:cubicBezTo>
                  <a:close/>
                </a:path>
              </a:pathLst>
            </a:custGeom>
            <a:solidFill>
              <a:srgbClr val="2A2E2D"/>
            </a:solidFill>
            <a:ln w="26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611CD3FD-9AB1-3CC3-2C7C-3344B219CD63}"/>
                </a:ext>
              </a:extLst>
            </p:cNvPr>
            <p:cNvSpPr/>
            <p:nvPr/>
          </p:nvSpPr>
          <p:spPr>
            <a:xfrm>
              <a:off x="1169933" y="6005984"/>
              <a:ext cx="241186" cy="251123"/>
            </a:xfrm>
            <a:custGeom>
              <a:avLst/>
              <a:gdLst>
                <a:gd name="connsiteX0" fmla="*/ 124340 w 241186"/>
                <a:gd name="connsiteY0" fmla="*/ 6218 h 251123"/>
                <a:gd name="connsiteX1" fmla="*/ 136723 w 241186"/>
                <a:gd name="connsiteY1" fmla="*/ 83351 h 251123"/>
                <a:gd name="connsiteX2" fmla="*/ 164458 w 241186"/>
                <a:gd name="connsiteY2" fmla="*/ 113949 h 251123"/>
                <a:gd name="connsiteX3" fmla="*/ 216825 w 241186"/>
                <a:gd name="connsiteY3" fmla="*/ 194583 h 251123"/>
                <a:gd name="connsiteX4" fmla="*/ 130889 w 241186"/>
                <a:gd name="connsiteY4" fmla="*/ 231068 h 251123"/>
                <a:gd name="connsiteX5" fmla="*/ 46464 w 241186"/>
                <a:gd name="connsiteY5" fmla="*/ 190976 h 251123"/>
                <a:gd name="connsiteX6" fmla="*/ 17006 w 241186"/>
                <a:gd name="connsiteY6" fmla="*/ 42703 h 251123"/>
                <a:gd name="connsiteX7" fmla="*/ 116 w 241186"/>
                <a:gd name="connsiteY7" fmla="*/ 47370 h 251123"/>
                <a:gd name="connsiteX8" fmla="*/ 21063 w 241186"/>
                <a:gd name="connsiteY8" fmla="*/ 161385 h 251123"/>
                <a:gd name="connsiteX9" fmla="*/ 48374 w 241186"/>
                <a:gd name="connsiteY9" fmla="*/ 230829 h 251123"/>
                <a:gd name="connsiteX10" fmla="*/ 180075 w 241186"/>
                <a:gd name="connsiteY10" fmla="*/ 241965 h 251123"/>
                <a:gd name="connsiteX11" fmla="*/ 240742 w 241186"/>
                <a:gd name="connsiteY11" fmla="*/ 162420 h 251123"/>
                <a:gd name="connsiteX12" fmla="*/ 210700 w 241186"/>
                <a:gd name="connsiteY12" fmla="*/ 118086 h 251123"/>
                <a:gd name="connsiteX13" fmla="*/ 154726 w 241186"/>
                <a:gd name="connsiteY13" fmla="*/ 79480 h 251123"/>
                <a:gd name="connsiteX14" fmla="*/ 141204 w 241186"/>
                <a:gd name="connsiteY14" fmla="*/ 10964 h 251123"/>
                <a:gd name="connsiteX15" fmla="*/ 124340 w 241186"/>
                <a:gd name="connsiteY15" fmla="*/ 6324 h 251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1186" h="251123">
                  <a:moveTo>
                    <a:pt x="124340" y="6218"/>
                  </a:moveTo>
                  <a:cubicBezTo>
                    <a:pt x="119461" y="33343"/>
                    <a:pt x="122457" y="59248"/>
                    <a:pt x="136723" y="83351"/>
                  </a:cubicBezTo>
                  <a:cubicBezTo>
                    <a:pt x="143770" y="95346"/>
                    <a:pt x="153210" y="105762"/>
                    <a:pt x="164458" y="113949"/>
                  </a:cubicBezTo>
                  <a:cubicBezTo>
                    <a:pt x="190416" y="132510"/>
                    <a:pt x="245038" y="136514"/>
                    <a:pt x="216825" y="194583"/>
                  </a:cubicBezTo>
                  <a:cubicBezTo>
                    <a:pt x="202374" y="224359"/>
                    <a:pt x="159340" y="230325"/>
                    <a:pt x="130889" y="231068"/>
                  </a:cubicBezTo>
                  <a:cubicBezTo>
                    <a:pt x="93423" y="232022"/>
                    <a:pt x="65131" y="229105"/>
                    <a:pt x="46464" y="190976"/>
                  </a:cubicBezTo>
                  <a:cubicBezTo>
                    <a:pt x="26074" y="149321"/>
                    <a:pt x="23529" y="88071"/>
                    <a:pt x="17006" y="42703"/>
                  </a:cubicBezTo>
                  <a:cubicBezTo>
                    <a:pt x="15389" y="31619"/>
                    <a:pt x="-1555" y="36339"/>
                    <a:pt x="116" y="47370"/>
                  </a:cubicBezTo>
                  <a:cubicBezTo>
                    <a:pt x="5631" y="85658"/>
                    <a:pt x="12392" y="123654"/>
                    <a:pt x="21063" y="161385"/>
                  </a:cubicBezTo>
                  <a:cubicBezTo>
                    <a:pt x="26366" y="184189"/>
                    <a:pt x="30423" y="213594"/>
                    <a:pt x="48374" y="230829"/>
                  </a:cubicBezTo>
                  <a:cubicBezTo>
                    <a:pt x="77169" y="258458"/>
                    <a:pt x="145048" y="253367"/>
                    <a:pt x="180075" y="241965"/>
                  </a:cubicBezTo>
                  <a:cubicBezTo>
                    <a:pt x="214412" y="230749"/>
                    <a:pt x="245276" y="201105"/>
                    <a:pt x="240742" y="162420"/>
                  </a:cubicBezTo>
                  <a:cubicBezTo>
                    <a:pt x="238356" y="141897"/>
                    <a:pt x="227484" y="128984"/>
                    <a:pt x="210700" y="118086"/>
                  </a:cubicBezTo>
                  <a:cubicBezTo>
                    <a:pt x="190177" y="104696"/>
                    <a:pt x="169920" y="101461"/>
                    <a:pt x="154726" y="79480"/>
                  </a:cubicBezTo>
                  <a:cubicBezTo>
                    <a:pt x="140541" y="58957"/>
                    <a:pt x="136855" y="35173"/>
                    <a:pt x="141204" y="10964"/>
                  </a:cubicBezTo>
                  <a:cubicBezTo>
                    <a:pt x="143192" y="-40"/>
                    <a:pt x="126329" y="-4760"/>
                    <a:pt x="124340" y="6324"/>
                  </a:cubicBezTo>
                  <a:close/>
                </a:path>
              </a:pathLst>
            </a:custGeom>
            <a:solidFill>
              <a:srgbClr val="2A2E2D"/>
            </a:solidFill>
            <a:ln w="26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A1B78469-0EB7-5875-6DA9-EF9343DCF865}"/>
                </a:ext>
              </a:extLst>
            </p:cNvPr>
            <p:cNvSpPr/>
            <p:nvPr/>
          </p:nvSpPr>
          <p:spPr>
            <a:xfrm>
              <a:off x="1427944" y="5514212"/>
              <a:ext cx="80884" cy="535624"/>
            </a:xfrm>
            <a:custGeom>
              <a:avLst/>
              <a:gdLst>
                <a:gd name="connsiteX0" fmla="*/ 99 w 80884"/>
                <a:gd name="connsiteY0" fmla="*/ 10983 h 535624"/>
                <a:gd name="connsiteX1" fmla="*/ 63338 w 80884"/>
                <a:gd name="connsiteY1" fmla="*/ 527263 h 535624"/>
                <a:gd name="connsiteX2" fmla="*/ 80838 w 80884"/>
                <a:gd name="connsiteY2" fmla="*/ 527263 h 535624"/>
                <a:gd name="connsiteX3" fmla="*/ 16963 w 80884"/>
                <a:gd name="connsiteY3" fmla="*/ 6343 h 535624"/>
                <a:gd name="connsiteX4" fmla="*/ 99 w 80884"/>
                <a:gd name="connsiteY4" fmla="*/ 10983 h 535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884" h="535624">
                  <a:moveTo>
                    <a:pt x="99" y="10983"/>
                  </a:moveTo>
                  <a:cubicBezTo>
                    <a:pt x="24281" y="182625"/>
                    <a:pt x="45361" y="354720"/>
                    <a:pt x="63338" y="527263"/>
                  </a:cubicBezTo>
                  <a:cubicBezTo>
                    <a:pt x="64478" y="538346"/>
                    <a:pt x="81899" y="538479"/>
                    <a:pt x="80838" y="527263"/>
                  </a:cubicBezTo>
                  <a:cubicBezTo>
                    <a:pt x="62683" y="353235"/>
                    <a:pt x="41391" y="179594"/>
                    <a:pt x="16963" y="6343"/>
                  </a:cubicBezTo>
                  <a:cubicBezTo>
                    <a:pt x="15425" y="-4767"/>
                    <a:pt x="-1439" y="-47"/>
                    <a:pt x="99" y="10983"/>
                  </a:cubicBezTo>
                  <a:close/>
                </a:path>
              </a:pathLst>
            </a:custGeom>
            <a:solidFill>
              <a:srgbClr val="2A2E2D"/>
            </a:solidFill>
            <a:ln w="26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804088C1-437F-3D81-16C6-268C83326F30}"/>
                </a:ext>
              </a:extLst>
            </p:cNvPr>
            <p:cNvSpPr/>
            <p:nvPr/>
          </p:nvSpPr>
          <p:spPr>
            <a:xfrm>
              <a:off x="1231038" y="6121000"/>
              <a:ext cx="69607" cy="71925"/>
            </a:xfrm>
            <a:custGeom>
              <a:avLst/>
              <a:gdLst>
                <a:gd name="connsiteX0" fmla="*/ 48 w 69607"/>
                <a:gd name="connsiteY0" fmla="*/ 8372 h 71925"/>
                <a:gd name="connsiteX1" fmla="*/ 58621 w 69607"/>
                <a:gd name="connsiteY1" fmla="*/ 71823 h 71925"/>
                <a:gd name="connsiteX2" fmla="*/ 63261 w 69607"/>
                <a:gd name="connsiteY2" fmla="*/ 54960 h 71925"/>
                <a:gd name="connsiteX3" fmla="*/ 17522 w 69607"/>
                <a:gd name="connsiteY3" fmla="*/ 8372 h 71925"/>
                <a:gd name="connsiteX4" fmla="*/ 48 w 69607"/>
                <a:gd name="connsiteY4" fmla="*/ 8372 h 7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607" h="71925">
                  <a:moveTo>
                    <a:pt x="48" y="8372"/>
                  </a:moveTo>
                  <a:cubicBezTo>
                    <a:pt x="2700" y="40005"/>
                    <a:pt x="26564" y="67263"/>
                    <a:pt x="58621" y="71823"/>
                  </a:cubicBezTo>
                  <a:cubicBezTo>
                    <a:pt x="69625" y="73388"/>
                    <a:pt x="74397" y="56551"/>
                    <a:pt x="63261" y="54960"/>
                  </a:cubicBezTo>
                  <a:cubicBezTo>
                    <a:pt x="39397" y="51566"/>
                    <a:pt x="19696" y="32819"/>
                    <a:pt x="17522" y="8372"/>
                  </a:cubicBezTo>
                  <a:cubicBezTo>
                    <a:pt x="16541" y="-2738"/>
                    <a:pt x="-1039" y="-2844"/>
                    <a:pt x="48" y="8372"/>
                  </a:cubicBezTo>
                  <a:close/>
                </a:path>
              </a:pathLst>
            </a:custGeom>
            <a:solidFill>
              <a:srgbClr val="2A2E2D"/>
            </a:solidFill>
            <a:ln w="263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78" name="Graphic 2">
            <a:extLst>
              <a:ext uri="{FF2B5EF4-FFF2-40B4-BE49-F238E27FC236}">
                <a16:creationId xmlns:a16="http://schemas.microsoft.com/office/drawing/2014/main" id="{083B4464-E046-6213-E60E-F8C6800E89E3}"/>
              </a:ext>
            </a:extLst>
          </p:cNvPr>
          <p:cNvGrpSpPr/>
          <p:nvPr/>
        </p:nvGrpSpPr>
        <p:grpSpPr>
          <a:xfrm>
            <a:off x="5047508" y="4072418"/>
            <a:ext cx="535610" cy="851491"/>
            <a:chOff x="5047508" y="4072418"/>
            <a:chExt cx="535610" cy="851491"/>
          </a:xfrm>
          <a:solidFill>
            <a:srgbClr val="2A2E2D"/>
          </a:solidFill>
        </p:grpSpPr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FBDC9FFD-6E06-A55E-69DF-FD06DE6D7478}"/>
                </a:ext>
              </a:extLst>
            </p:cNvPr>
            <p:cNvSpPr/>
            <p:nvPr/>
          </p:nvSpPr>
          <p:spPr>
            <a:xfrm>
              <a:off x="5091572" y="4072418"/>
              <a:ext cx="486908" cy="810039"/>
            </a:xfrm>
            <a:custGeom>
              <a:avLst/>
              <a:gdLst>
                <a:gd name="connsiteX0" fmla="*/ 446786 w 486908"/>
                <a:gd name="connsiteY0" fmla="*/ 17126 h 810039"/>
                <a:gd name="connsiteX1" fmla="*/ 8965 w 486908"/>
                <a:gd name="connsiteY1" fmla="*/ 17126 h 810039"/>
                <a:gd name="connsiteX2" fmla="*/ 48950 w 486908"/>
                <a:gd name="connsiteY2" fmla="*/ 790869 h 810039"/>
                <a:gd name="connsiteX3" fmla="*/ 482582 w 486908"/>
                <a:gd name="connsiteY3" fmla="*/ 762471 h 810039"/>
                <a:gd name="connsiteX4" fmla="*/ 446786 w 486908"/>
                <a:gd name="connsiteY4" fmla="*/ 17126 h 810039"/>
                <a:gd name="connsiteX5" fmla="*/ 444400 w 486908"/>
                <a:gd name="connsiteY5" fmla="*/ 674918 h 810039"/>
                <a:gd name="connsiteX6" fmla="*/ 92701 w 486908"/>
                <a:gd name="connsiteY6" fmla="*/ 698569 h 810039"/>
                <a:gd name="connsiteX7" fmla="*/ 58735 w 486908"/>
                <a:gd name="connsiteY7" fmla="*/ 75858 h 810039"/>
                <a:gd name="connsiteX8" fmla="*/ 403248 w 486908"/>
                <a:gd name="connsiteY8" fmla="*/ 85748 h 810039"/>
                <a:gd name="connsiteX9" fmla="*/ 444400 w 486908"/>
                <a:gd name="connsiteY9" fmla="*/ 674918 h 810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6908" h="810039">
                  <a:moveTo>
                    <a:pt x="446786" y="17126"/>
                  </a:moveTo>
                  <a:cubicBezTo>
                    <a:pt x="418388" y="581"/>
                    <a:pt x="27977" y="-11245"/>
                    <a:pt x="8965" y="17126"/>
                  </a:cubicBezTo>
                  <a:cubicBezTo>
                    <a:pt x="-11531" y="47884"/>
                    <a:pt x="3662" y="743645"/>
                    <a:pt x="48950" y="790869"/>
                  </a:cubicBezTo>
                  <a:cubicBezTo>
                    <a:pt x="94239" y="838093"/>
                    <a:pt x="468767" y="786123"/>
                    <a:pt x="482582" y="762471"/>
                  </a:cubicBezTo>
                  <a:cubicBezTo>
                    <a:pt x="496396" y="738820"/>
                    <a:pt x="475157" y="33698"/>
                    <a:pt x="446786" y="17126"/>
                  </a:cubicBezTo>
                  <a:close/>
                  <a:moveTo>
                    <a:pt x="444400" y="674918"/>
                  </a:moveTo>
                  <a:cubicBezTo>
                    <a:pt x="430214" y="698569"/>
                    <a:pt x="122610" y="731714"/>
                    <a:pt x="92701" y="698569"/>
                  </a:cubicBezTo>
                  <a:cubicBezTo>
                    <a:pt x="62791" y="665425"/>
                    <a:pt x="40094" y="92430"/>
                    <a:pt x="58735" y="75858"/>
                  </a:cubicBezTo>
                  <a:cubicBezTo>
                    <a:pt x="74829" y="61539"/>
                    <a:pt x="371058" y="71827"/>
                    <a:pt x="403248" y="85748"/>
                  </a:cubicBezTo>
                  <a:cubicBezTo>
                    <a:pt x="435437" y="99668"/>
                    <a:pt x="458612" y="651266"/>
                    <a:pt x="444400" y="674918"/>
                  </a:cubicBezTo>
                  <a:close/>
                </a:path>
              </a:pathLst>
            </a:custGeom>
            <a:solidFill>
              <a:srgbClr val="2A2E2D"/>
            </a:solidFill>
            <a:ln w="2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F66A5EBB-0241-5ABC-3275-7871212B011D}"/>
                </a:ext>
              </a:extLst>
            </p:cNvPr>
            <p:cNvSpPr/>
            <p:nvPr/>
          </p:nvSpPr>
          <p:spPr>
            <a:xfrm>
              <a:off x="5047508" y="4082409"/>
              <a:ext cx="535610" cy="841500"/>
            </a:xfrm>
            <a:custGeom>
              <a:avLst/>
              <a:gdLst>
                <a:gd name="connsiteX0" fmla="*/ 49052 w 535610"/>
                <a:gd name="connsiteY0" fmla="*/ 1222 h 841500"/>
                <a:gd name="connsiteX1" fmla="*/ 1006 w 535610"/>
                <a:gd name="connsiteY1" fmla="*/ 168374 h 841500"/>
                <a:gd name="connsiteX2" fmla="*/ 7343 w 535610"/>
                <a:gd name="connsiteY2" fmla="*/ 425864 h 841500"/>
                <a:gd name="connsiteX3" fmla="*/ 22457 w 535610"/>
                <a:gd name="connsiteY3" fmla="*/ 683063 h 841500"/>
                <a:gd name="connsiteX4" fmla="*/ 32612 w 535610"/>
                <a:gd name="connsiteY4" fmla="*/ 799067 h 841500"/>
                <a:gd name="connsiteX5" fmla="*/ 61382 w 535610"/>
                <a:gd name="connsiteY5" fmla="*/ 832503 h 841500"/>
                <a:gd name="connsiteX6" fmla="*/ 207613 w 535610"/>
                <a:gd name="connsiteY6" fmla="*/ 837117 h 841500"/>
                <a:gd name="connsiteX7" fmla="*/ 374660 w 535610"/>
                <a:gd name="connsiteY7" fmla="*/ 822586 h 841500"/>
                <a:gd name="connsiteX8" fmla="*/ 485547 w 535610"/>
                <a:gd name="connsiteY8" fmla="*/ 805060 h 841500"/>
                <a:gd name="connsiteX9" fmla="*/ 535608 w 535610"/>
                <a:gd name="connsiteY9" fmla="*/ 738268 h 841500"/>
                <a:gd name="connsiteX10" fmla="*/ 518108 w 535610"/>
                <a:gd name="connsiteY10" fmla="*/ 738268 h 841500"/>
                <a:gd name="connsiteX11" fmla="*/ 480986 w 535610"/>
                <a:gd name="connsiteY11" fmla="*/ 788116 h 841500"/>
                <a:gd name="connsiteX12" fmla="*/ 441611 w 535610"/>
                <a:gd name="connsiteY12" fmla="*/ 795885 h 841500"/>
                <a:gd name="connsiteX13" fmla="*/ 333190 w 535610"/>
                <a:gd name="connsiteY13" fmla="*/ 809620 h 841500"/>
                <a:gd name="connsiteX14" fmla="*/ 202019 w 535610"/>
                <a:gd name="connsiteY14" fmla="*/ 819802 h 841500"/>
                <a:gd name="connsiteX15" fmla="*/ 87738 w 535610"/>
                <a:gd name="connsiteY15" fmla="*/ 819378 h 841500"/>
                <a:gd name="connsiteX16" fmla="*/ 43404 w 535610"/>
                <a:gd name="connsiteY16" fmla="*/ 725779 h 841500"/>
                <a:gd name="connsiteX17" fmla="*/ 36219 w 535610"/>
                <a:gd name="connsiteY17" fmla="*/ 631676 h 841500"/>
                <a:gd name="connsiteX18" fmla="*/ 24817 w 535610"/>
                <a:gd name="connsiteY18" fmla="*/ 425864 h 841500"/>
                <a:gd name="connsiteX19" fmla="*/ 19328 w 535610"/>
                <a:gd name="connsiteY19" fmla="*/ 237076 h 841500"/>
                <a:gd name="connsiteX20" fmla="*/ 57882 w 535610"/>
                <a:gd name="connsiteY20" fmla="*/ 16336 h 841500"/>
                <a:gd name="connsiteX21" fmla="*/ 49052 w 535610"/>
                <a:gd name="connsiteY21" fmla="*/ 1222 h 84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35610" h="841500">
                  <a:moveTo>
                    <a:pt x="49052" y="1222"/>
                  </a:moveTo>
                  <a:cubicBezTo>
                    <a:pt x="-9998" y="35082"/>
                    <a:pt x="555" y="110067"/>
                    <a:pt x="1006" y="168374"/>
                  </a:cubicBezTo>
                  <a:cubicBezTo>
                    <a:pt x="1643" y="254231"/>
                    <a:pt x="3755" y="340061"/>
                    <a:pt x="7343" y="425864"/>
                  </a:cubicBezTo>
                  <a:cubicBezTo>
                    <a:pt x="10932" y="511668"/>
                    <a:pt x="15970" y="597400"/>
                    <a:pt x="22457" y="683063"/>
                  </a:cubicBezTo>
                  <a:cubicBezTo>
                    <a:pt x="25109" y="719734"/>
                    <a:pt x="22457" y="763669"/>
                    <a:pt x="32612" y="799067"/>
                  </a:cubicBezTo>
                  <a:cubicBezTo>
                    <a:pt x="37544" y="816488"/>
                    <a:pt x="43988" y="826245"/>
                    <a:pt x="61382" y="832503"/>
                  </a:cubicBezTo>
                  <a:cubicBezTo>
                    <a:pt x="104310" y="847908"/>
                    <a:pt x="163200" y="839344"/>
                    <a:pt x="207613" y="837117"/>
                  </a:cubicBezTo>
                  <a:cubicBezTo>
                    <a:pt x="263455" y="834306"/>
                    <a:pt x="319216" y="829162"/>
                    <a:pt x="374660" y="822586"/>
                  </a:cubicBezTo>
                  <a:cubicBezTo>
                    <a:pt x="411516" y="818211"/>
                    <a:pt x="449539" y="814499"/>
                    <a:pt x="485547" y="805060"/>
                  </a:cubicBezTo>
                  <a:cubicBezTo>
                    <a:pt x="523835" y="794957"/>
                    <a:pt x="534627" y="777510"/>
                    <a:pt x="535608" y="738268"/>
                  </a:cubicBezTo>
                  <a:cubicBezTo>
                    <a:pt x="535846" y="727025"/>
                    <a:pt x="518346" y="727025"/>
                    <a:pt x="518108" y="738268"/>
                  </a:cubicBezTo>
                  <a:cubicBezTo>
                    <a:pt x="517471" y="767726"/>
                    <a:pt x="509172" y="780082"/>
                    <a:pt x="480986" y="788116"/>
                  </a:cubicBezTo>
                  <a:cubicBezTo>
                    <a:pt x="468020" y="791452"/>
                    <a:pt x="454874" y="794045"/>
                    <a:pt x="441611" y="795885"/>
                  </a:cubicBezTo>
                  <a:cubicBezTo>
                    <a:pt x="405683" y="801878"/>
                    <a:pt x="369410" y="805882"/>
                    <a:pt x="333190" y="809620"/>
                  </a:cubicBezTo>
                  <a:cubicBezTo>
                    <a:pt x="289572" y="814128"/>
                    <a:pt x="245822" y="817761"/>
                    <a:pt x="202019" y="819802"/>
                  </a:cubicBezTo>
                  <a:cubicBezTo>
                    <a:pt x="166568" y="821473"/>
                    <a:pt x="122685" y="827757"/>
                    <a:pt x="87738" y="819378"/>
                  </a:cubicBezTo>
                  <a:cubicBezTo>
                    <a:pt x="42662" y="808772"/>
                    <a:pt x="46507" y="763881"/>
                    <a:pt x="43404" y="725779"/>
                  </a:cubicBezTo>
                  <a:cubicBezTo>
                    <a:pt x="40806" y="694419"/>
                    <a:pt x="38411" y="663052"/>
                    <a:pt x="36219" y="631676"/>
                  </a:cubicBezTo>
                  <a:cubicBezTo>
                    <a:pt x="31517" y="563108"/>
                    <a:pt x="27716" y="494505"/>
                    <a:pt x="24817" y="425864"/>
                  </a:cubicBezTo>
                  <a:cubicBezTo>
                    <a:pt x="22183" y="362970"/>
                    <a:pt x="20354" y="300041"/>
                    <a:pt x="19328" y="237076"/>
                  </a:cubicBezTo>
                  <a:cubicBezTo>
                    <a:pt x="18321" y="176090"/>
                    <a:pt x="-4111" y="51787"/>
                    <a:pt x="57882" y="16336"/>
                  </a:cubicBezTo>
                  <a:cubicBezTo>
                    <a:pt x="67639" y="10741"/>
                    <a:pt x="58836" y="-4373"/>
                    <a:pt x="49052" y="1222"/>
                  </a:cubicBezTo>
                  <a:close/>
                </a:path>
              </a:pathLst>
            </a:custGeom>
            <a:solidFill>
              <a:srgbClr val="2A2E2D"/>
            </a:solidFill>
            <a:ln w="2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7CAF66DA-3D2C-6CEF-907A-C0B2D0072552}"/>
                </a:ext>
              </a:extLst>
            </p:cNvPr>
            <p:cNvSpPr/>
            <p:nvPr/>
          </p:nvSpPr>
          <p:spPr>
            <a:xfrm>
              <a:off x="5102065" y="4844606"/>
              <a:ext cx="49410" cy="66969"/>
            </a:xfrm>
            <a:custGeom>
              <a:avLst/>
              <a:gdLst>
                <a:gd name="connsiteX0" fmla="*/ 34692 w 49410"/>
                <a:gd name="connsiteY0" fmla="*/ 2772 h 66969"/>
                <a:gd name="connsiteX1" fmla="*/ 885 w 49410"/>
                <a:gd name="connsiteY1" fmla="*/ 53601 h 66969"/>
                <a:gd name="connsiteX2" fmla="*/ 15999 w 49410"/>
                <a:gd name="connsiteY2" fmla="*/ 62431 h 66969"/>
                <a:gd name="connsiteX3" fmla="*/ 47048 w 49410"/>
                <a:gd name="connsiteY3" fmla="*/ 15128 h 66969"/>
                <a:gd name="connsiteX4" fmla="*/ 34692 w 49410"/>
                <a:gd name="connsiteY4" fmla="*/ 2772 h 66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410" h="66969">
                  <a:moveTo>
                    <a:pt x="34692" y="2772"/>
                  </a:moveTo>
                  <a:cubicBezTo>
                    <a:pt x="20855" y="17859"/>
                    <a:pt x="9450" y="35006"/>
                    <a:pt x="885" y="53601"/>
                  </a:cubicBezTo>
                  <a:cubicBezTo>
                    <a:pt x="-3782" y="63783"/>
                    <a:pt x="11305" y="72666"/>
                    <a:pt x="15999" y="62431"/>
                  </a:cubicBezTo>
                  <a:cubicBezTo>
                    <a:pt x="23826" y="45146"/>
                    <a:pt x="34302" y="29186"/>
                    <a:pt x="47048" y="15128"/>
                  </a:cubicBezTo>
                  <a:cubicBezTo>
                    <a:pt x="54605" y="6828"/>
                    <a:pt x="42275" y="-5581"/>
                    <a:pt x="34692" y="2772"/>
                  </a:cubicBezTo>
                  <a:close/>
                </a:path>
              </a:pathLst>
            </a:custGeom>
            <a:solidFill>
              <a:srgbClr val="2A2E2D"/>
            </a:solidFill>
            <a:ln w="2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7CDEDF94-050B-D303-BC98-BE9BBAD4B43C}"/>
                </a:ext>
              </a:extLst>
            </p:cNvPr>
            <p:cNvSpPr/>
            <p:nvPr/>
          </p:nvSpPr>
          <p:spPr>
            <a:xfrm>
              <a:off x="5127129" y="4207412"/>
              <a:ext cx="200579" cy="205985"/>
            </a:xfrm>
            <a:custGeom>
              <a:avLst/>
              <a:gdLst>
                <a:gd name="connsiteX0" fmla="*/ 27950 w 200579"/>
                <a:gd name="connsiteY0" fmla="*/ 153490 h 205985"/>
                <a:gd name="connsiteX1" fmla="*/ 75412 w 200579"/>
                <a:gd name="connsiteY1" fmla="*/ 176611 h 205985"/>
                <a:gd name="connsiteX2" fmla="*/ 115663 w 200579"/>
                <a:gd name="connsiteY2" fmla="*/ 205036 h 205985"/>
                <a:gd name="connsiteX3" fmla="*/ 127621 w 200579"/>
                <a:gd name="connsiteY3" fmla="*/ 193077 h 205985"/>
                <a:gd name="connsiteX4" fmla="*/ 107469 w 200579"/>
                <a:gd name="connsiteY4" fmla="*/ 134929 h 205985"/>
                <a:gd name="connsiteX5" fmla="*/ 98719 w 200579"/>
                <a:gd name="connsiteY5" fmla="*/ 143679 h 205985"/>
                <a:gd name="connsiteX6" fmla="*/ 192928 w 200579"/>
                <a:gd name="connsiteY6" fmla="*/ 40853 h 205985"/>
                <a:gd name="connsiteX7" fmla="*/ 4219 w 200579"/>
                <a:gd name="connsiteY7" fmla="*/ 30433 h 205985"/>
                <a:gd name="connsiteX8" fmla="*/ 13048 w 200579"/>
                <a:gd name="connsiteY8" fmla="*/ 45546 h 205985"/>
                <a:gd name="connsiteX9" fmla="*/ 139500 w 200579"/>
                <a:gd name="connsiteY9" fmla="*/ 22664 h 205985"/>
                <a:gd name="connsiteX10" fmla="*/ 172273 w 200579"/>
                <a:gd name="connsiteY10" fmla="*/ 96615 h 205985"/>
                <a:gd name="connsiteX11" fmla="*/ 98719 w 200579"/>
                <a:gd name="connsiteY11" fmla="*/ 126179 h 205985"/>
                <a:gd name="connsiteX12" fmla="*/ 89969 w 200579"/>
                <a:gd name="connsiteY12" fmla="*/ 134929 h 205985"/>
                <a:gd name="connsiteX13" fmla="*/ 112534 w 200579"/>
                <a:gd name="connsiteY13" fmla="*/ 201907 h 205985"/>
                <a:gd name="connsiteX14" fmla="*/ 124545 w 200579"/>
                <a:gd name="connsiteY14" fmla="*/ 189949 h 205985"/>
                <a:gd name="connsiteX15" fmla="*/ 68200 w 200579"/>
                <a:gd name="connsiteY15" fmla="*/ 135937 h 205985"/>
                <a:gd name="connsiteX16" fmla="*/ 60643 w 200579"/>
                <a:gd name="connsiteY16" fmla="*/ 131588 h 205985"/>
                <a:gd name="connsiteX17" fmla="*/ 23363 w 200579"/>
                <a:gd name="connsiteY17" fmla="*/ 136626 h 205985"/>
                <a:gd name="connsiteX18" fmla="*/ 28003 w 200579"/>
                <a:gd name="connsiteY18" fmla="*/ 153490 h 205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0579" h="205985">
                  <a:moveTo>
                    <a:pt x="27950" y="153490"/>
                  </a:moveTo>
                  <a:cubicBezTo>
                    <a:pt x="54651" y="146039"/>
                    <a:pt x="59768" y="160092"/>
                    <a:pt x="75412" y="176611"/>
                  </a:cubicBezTo>
                  <a:cubicBezTo>
                    <a:pt x="87004" y="188437"/>
                    <a:pt x="100641" y="198068"/>
                    <a:pt x="115663" y="205036"/>
                  </a:cubicBezTo>
                  <a:cubicBezTo>
                    <a:pt x="123193" y="208721"/>
                    <a:pt x="132367" y="201032"/>
                    <a:pt x="127621" y="193077"/>
                  </a:cubicBezTo>
                  <a:cubicBezTo>
                    <a:pt x="116761" y="175389"/>
                    <a:pt x="109884" y="155545"/>
                    <a:pt x="107469" y="134929"/>
                  </a:cubicBezTo>
                  <a:lnTo>
                    <a:pt x="98719" y="143679"/>
                  </a:lnTo>
                  <a:cubicBezTo>
                    <a:pt x="153447" y="148717"/>
                    <a:pt x="224110" y="103641"/>
                    <a:pt x="192928" y="40853"/>
                  </a:cubicBezTo>
                  <a:cubicBezTo>
                    <a:pt x="160155" y="-25011"/>
                    <a:pt x="53219" y="1955"/>
                    <a:pt x="4219" y="30433"/>
                  </a:cubicBezTo>
                  <a:cubicBezTo>
                    <a:pt x="-5486" y="36107"/>
                    <a:pt x="3291" y="51221"/>
                    <a:pt x="13048" y="45546"/>
                  </a:cubicBezTo>
                  <a:cubicBezTo>
                    <a:pt x="48818" y="24758"/>
                    <a:pt x="99170" y="12243"/>
                    <a:pt x="139500" y="22664"/>
                  </a:cubicBezTo>
                  <a:cubicBezTo>
                    <a:pt x="174765" y="31758"/>
                    <a:pt x="192159" y="64611"/>
                    <a:pt x="172273" y="96615"/>
                  </a:cubicBezTo>
                  <a:cubicBezTo>
                    <a:pt x="156364" y="122626"/>
                    <a:pt x="127754" y="128857"/>
                    <a:pt x="98719" y="126179"/>
                  </a:cubicBezTo>
                  <a:cubicBezTo>
                    <a:pt x="93887" y="126179"/>
                    <a:pt x="89969" y="130097"/>
                    <a:pt x="89969" y="134929"/>
                  </a:cubicBezTo>
                  <a:cubicBezTo>
                    <a:pt x="92588" y="158618"/>
                    <a:pt x="100285" y="181464"/>
                    <a:pt x="112534" y="201907"/>
                  </a:cubicBezTo>
                  <a:lnTo>
                    <a:pt x="124545" y="189949"/>
                  </a:lnTo>
                  <a:cubicBezTo>
                    <a:pt x="100331" y="178637"/>
                    <a:pt x="80525" y="159652"/>
                    <a:pt x="68200" y="135937"/>
                  </a:cubicBezTo>
                  <a:cubicBezTo>
                    <a:pt x="66634" y="133246"/>
                    <a:pt x="63757" y="131591"/>
                    <a:pt x="60643" y="131588"/>
                  </a:cubicBezTo>
                  <a:cubicBezTo>
                    <a:pt x="48037" y="131440"/>
                    <a:pt x="35477" y="133137"/>
                    <a:pt x="23363" y="136626"/>
                  </a:cubicBezTo>
                  <a:cubicBezTo>
                    <a:pt x="12545" y="139649"/>
                    <a:pt x="17132" y="156513"/>
                    <a:pt x="28003" y="153490"/>
                  </a:cubicBezTo>
                  <a:close/>
                </a:path>
              </a:pathLst>
            </a:custGeom>
            <a:solidFill>
              <a:srgbClr val="2A2E2D"/>
            </a:solidFill>
            <a:ln w="2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CD417CDA-F2B7-8209-8A0B-031C3D8FF622}"/>
                </a:ext>
              </a:extLst>
            </p:cNvPr>
            <p:cNvSpPr/>
            <p:nvPr/>
          </p:nvSpPr>
          <p:spPr>
            <a:xfrm>
              <a:off x="5355527" y="4363660"/>
              <a:ext cx="192794" cy="191343"/>
            </a:xfrm>
            <a:custGeom>
              <a:avLst/>
              <a:gdLst>
                <a:gd name="connsiteX0" fmla="*/ 181080 w 192794"/>
                <a:gd name="connsiteY0" fmla="*/ 9227 h 191343"/>
                <a:gd name="connsiteX1" fmla="*/ 776 w 192794"/>
                <a:gd name="connsiteY1" fmla="*/ 68489 h 191343"/>
                <a:gd name="connsiteX2" fmla="*/ 24640 w 192794"/>
                <a:gd name="connsiteY2" fmla="*/ 114678 h 191343"/>
                <a:gd name="connsiteX3" fmla="*/ 64227 w 192794"/>
                <a:gd name="connsiteY3" fmla="*/ 136580 h 191343"/>
                <a:gd name="connsiteX4" fmla="*/ 47629 w 192794"/>
                <a:gd name="connsiteY4" fmla="*/ 176353 h 191343"/>
                <a:gd name="connsiteX5" fmla="*/ 56140 w 192794"/>
                <a:gd name="connsiteY5" fmla="*/ 190963 h 191343"/>
                <a:gd name="connsiteX6" fmla="*/ 105618 w 192794"/>
                <a:gd name="connsiteY6" fmla="*/ 166887 h 191343"/>
                <a:gd name="connsiteX7" fmla="*/ 186755 w 192794"/>
                <a:gd name="connsiteY7" fmla="*/ 144137 h 191343"/>
                <a:gd name="connsiteX8" fmla="*/ 182088 w 192794"/>
                <a:gd name="connsiteY8" fmla="*/ 127273 h 191343"/>
                <a:gd name="connsiteX9" fmla="*/ 114394 w 192794"/>
                <a:gd name="connsiteY9" fmla="*/ 138595 h 191343"/>
                <a:gd name="connsiteX10" fmla="*/ 51500 w 192794"/>
                <a:gd name="connsiteY10" fmla="*/ 174099 h 191343"/>
                <a:gd name="connsiteX11" fmla="*/ 60011 w 192794"/>
                <a:gd name="connsiteY11" fmla="*/ 188709 h 191343"/>
                <a:gd name="connsiteX12" fmla="*/ 78015 w 192794"/>
                <a:gd name="connsiteY12" fmla="*/ 123322 h 191343"/>
                <a:gd name="connsiteX13" fmla="*/ 44553 w 192794"/>
                <a:gd name="connsiteY13" fmla="*/ 106724 h 191343"/>
                <a:gd name="connsiteX14" fmla="*/ 22996 w 192794"/>
                <a:gd name="connsiteY14" fmla="*/ 90390 h 191343"/>
                <a:gd name="connsiteX15" fmla="*/ 34769 w 192794"/>
                <a:gd name="connsiteY15" fmla="*/ 41761 h 191343"/>
                <a:gd name="connsiteX16" fmla="*/ 176520 w 192794"/>
                <a:gd name="connsiteY16" fmla="*/ 25985 h 191343"/>
                <a:gd name="connsiteX17" fmla="*/ 181160 w 192794"/>
                <a:gd name="connsiteY17" fmla="*/ 9121 h 191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2794" h="191343">
                  <a:moveTo>
                    <a:pt x="181080" y="9227"/>
                  </a:moveTo>
                  <a:cubicBezTo>
                    <a:pt x="124709" y="-7531"/>
                    <a:pt x="14379" y="-8618"/>
                    <a:pt x="776" y="68489"/>
                  </a:cubicBezTo>
                  <a:cubicBezTo>
                    <a:pt x="-3042" y="90152"/>
                    <a:pt x="7591" y="102216"/>
                    <a:pt x="24640" y="114678"/>
                  </a:cubicBezTo>
                  <a:cubicBezTo>
                    <a:pt x="36545" y="123428"/>
                    <a:pt x="53224" y="127485"/>
                    <a:pt x="64227" y="136580"/>
                  </a:cubicBezTo>
                  <a:cubicBezTo>
                    <a:pt x="79474" y="149228"/>
                    <a:pt x="59455" y="164421"/>
                    <a:pt x="47629" y="176353"/>
                  </a:cubicBezTo>
                  <a:cubicBezTo>
                    <a:pt x="41636" y="182451"/>
                    <a:pt x="47629" y="193535"/>
                    <a:pt x="56140" y="190963"/>
                  </a:cubicBezTo>
                  <a:cubicBezTo>
                    <a:pt x="74887" y="185315"/>
                    <a:pt x="89152" y="176936"/>
                    <a:pt x="105618" y="166887"/>
                  </a:cubicBezTo>
                  <a:cubicBezTo>
                    <a:pt x="130940" y="151428"/>
                    <a:pt x="158648" y="153231"/>
                    <a:pt x="186755" y="144137"/>
                  </a:cubicBezTo>
                  <a:cubicBezTo>
                    <a:pt x="197361" y="140690"/>
                    <a:pt x="192853" y="123799"/>
                    <a:pt x="182088" y="127273"/>
                  </a:cubicBezTo>
                  <a:cubicBezTo>
                    <a:pt x="160372" y="134300"/>
                    <a:pt x="134811" y="129765"/>
                    <a:pt x="114394" y="138595"/>
                  </a:cubicBezTo>
                  <a:cubicBezTo>
                    <a:pt x="91830" y="148326"/>
                    <a:pt x="76530" y="166569"/>
                    <a:pt x="51500" y="174099"/>
                  </a:cubicBezTo>
                  <a:lnTo>
                    <a:pt x="60011" y="188709"/>
                  </a:lnTo>
                  <a:cubicBezTo>
                    <a:pt x="76769" y="171660"/>
                    <a:pt x="108932" y="140133"/>
                    <a:pt x="78015" y="123322"/>
                  </a:cubicBezTo>
                  <a:cubicBezTo>
                    <a:pt x="67065" y="117356"/>
                    <a:pt x="55292" y="113352"/>
                    <a:pt x="44553" y="106724"/>
                  </a:cubicBezTo>
                  <a:cubicBezTo>
                    <a:pt x="38508" y="102985"/>
                    <a:pt x="26231" y="96966"/>
                    <a:pt x="22996" y="90390"/>
                  </a:cubicBezTo>
                  <a:cubicBezTo>
                    <a:pt x="16102" y="76311"/>
                    <a:pt x="23924" y="52102"/>
                    <a:pt x="34769" y="41761"/>
                  </a:cubicBezTo>
                  <a:cubicBezTo>
                    <a:pt x="69928" y="8325"/>
                    <a:pt x="134148" y="13390"/>
                    <a:pt x="176520" y="25985"/>
                  </a:cubicBezTo>
                  <a:cubicBezTo>
                    <a:pt x="187311" y="29193"/>
                    <a:pt x="191952" y="12329"/>
                    <a:pt x="181160" y="9121"/>
                  </a:cubicBezTo>
                  <a:close/>
                </a:path>
              </a:pathLst>
            </a:custGeom>
            <a:solidFill>
              <a:srgbClr val="2A2E2D"/>
            </a:solidFill>
            <a:ln w="2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DCFF5274-5304-FF8E-E749-0E41B36EC1C9}"/>
                </a:ext>
              </a:extLst>
            </p:cNvPr>
            <p:cNvSpPr/>
            <p:nvPr/>
          </p:nvSpPr>
          <p:spPr>
            <a:xfrm>
              <a:off x="5160786" y="4286659"/>
              <a:ext cx="16893" cy="17500"/>
            </a:xfrm>
            <a:custGeom>
              <a:avLst/>
              <a:gdLst>
                <a:gd name="connsiteX0" fmla="*/ 8452 w 16893"/>
                <a:gd name="connsiteY0" fmla="*/ 17500 h 17500"/>
                <a:gd name="connsiteX1" fmla="*/ 8452 w 16893"/>
                <a:gd name="connsiteY1" fmla="*/ 0 h 17500"/>
                <a:gd name="connsiteX2" fmla="*/ 8452 w 16893"/>
                <a:gd name="connsiteY2" fmla="*/ 17500 h 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893" h="17500">
                  <a:moveTo>
                    <a:pt x="8452" y="17500"/>
                  </a:moveTo>
                  <a:cubicBezTo>
                    <a:pt x="19694" y="17500"/>
                    <a:pt x="19721" y="0"/>
                    <a:pt x="8452" y="0"/>
                  </a:cubicBezTo>
                  <a:cubicBezTo>
                    <a:pt x="-2817" y="0"/>
                    <a:pt x="-2817" y="17500"/>
                    <a:pt x="8452" y="17500"/>
                  </a:cubicBezTo>
                  <a:close/>
                </a:path>
              </a:pathLst>
            </a:custGeom>
            <a:solidFill>
              <a:srgbClr val="2A2E2D"/>
            </a:solidFill>
            <a:ln w="2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F9A927EA-9E2C-51D7-5FD1-06847ED4D892}"/>
                </a:ext>
              </a:extLst>
            </p:cNvPr>
            <p:cNvSpPr/>
            <p:nvPr/>
          </p:nvSpPr>
          <p:spPr>
            <a:xfrm>
              <a:off x="5199681" y="4277431"/>
              <a:ext cx="18066" cy="19384"/>
            </a:xfrm>
            <a:custGeom>
              <a:avLst/>
              <a:gdLst>
                <a:gd name="connsiteX0" fmla="*/ 9568 w 18066"/>
                <a:gd name="connsiteY0" fmla="*/ 1804 h 19384"/>
                <a:gd name="connsiteX1" fmla="*/ 8985 w 18066"/>
                <a:gd name="connsiteY1" fmla="*/ 1804 h 19384"/>
                <a:gd name="connsiteX2" fmla="*/ 16542 w 18066"/>
                <a:gd name="connsiteY2" fmla="*/ 6126 h 19384"/>
                <a:gd name="connsiteX3" fmla="*/ 16250 w 18066"/>
                <a:gd name="connsiteY3" fmla="*/ 5596 h 19384"/>
                <a:gd name="connsiteX4" fmla="*/ 17523 w 18066"/>
                <a:gd name="connsiteY4" fmla="*/ 10024 h 19384"/>
                <a:gd name="connsiteX5" fmla="*/ 17523 w 18066"/>
                <a:gd name="connsiteY5" fmla="*/ 9308 h 19384"/>
                <a:gd name="connsiteX6" fmla="*/ 16330 w 18066"/>
                <a:gd name="connsiteY6" fmla="*/ 13709 h 19384"/>
                <a:gd name="connsiteX7" fmla="*/ 16621 w 18066"/>
                <a:gd name="connsiteY7" fmla="*/ 13179 h 19384"/>
                <a:gd name="connsiteX8" fmla="*/ 9091 w 18066"/>
                <a:gd name="connsiteY8" fmla="*/ 17501 h 19384"/>
                <a:gd name="connsiteX9" fmla="*/ 9674 w 18066"/>
                <a:gd name="connsiteY9" fmla="*/ 17501 h 19384"/>
                <a:gd name="connsiteX10" fmla="*/ 9674 w 18066"/>
                <a:gd name="connsiteY10" fmla="*/ 1 h 19384"/>
                <a:gd name="connsiteX11" fmla="*/ 9091 w 18066"/>
                <a:gd name="connsiteY11" fmla="*/ 1 h 19384"/>
                <a:gd name="connsiteX12" fmla="*/ 1455 w 18066"/>
                <a:gd name="connsiteY12" fmla="*/ 4455 h 19384"/>
                <a:gd name="connsiteX13" fmla="*/ 1455 w 18066"/>
                <a:gd name="connsiteY13" fmla="*/ 15062 h 19384"/>
                <a:gd name="connsiteX14" fmla="*/ 9012 w 18066"/>
                <a:gd name="connsiteY14" fmla="*/ 19384 h 19384"/>
                <a:gd name="connsiteX15" fmla="*/ 9568 w 18066"/>
                <a:gd name="connsiteY15" fmla="*/ 19384 h 19384"/>
                <a:gd name="connsiteX16" fmla="*/ 9568 w 18066"/>
                <a:gd name="connsiteY16" fmla="*/ 1910 h 19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066" h="19384">
                  <a:moveTo>
                    <a:pt x="9568" y="1804"/>
                  </a:moveTo>
                  <a:lnTo>
                    <a:pt x="8985" y="1804"/>
                  </a:lnTo>
                  <a:lnTo>
                    <a:pt x="16542" y="6126"/>
                  </a:lnTo>
                  <a:lnTo>
                    <a:pt x="16250" y="5596"/>
                  </a:lnTo>
                  <a:lnTo>
                    <a:pt x="17523" y="10024"/>
                  </a:lnTo>
                  <a:lnTo>
                    <a:pt x="17523" y="9308"/>
                  </a:lnTo>
                  <a:lnTo>
                    <a:pt x="16330" y="13709"/>
                  </a:lnTo>
                  <a:lnTo>
                    <a:pt x="16621" y="13179"/>
                  </a:lnTo>
                  <a:lnTo>
                    <a:pt x="9091" y="17501"/>
                  </a:lnTo>
                  <a:lnTo>
                    <a:pt x="9674" y="17501"/>
                  </a:lnTo>
                  <a:cubicBezTo>
                    <a:pt x="20890" y="18349"/>
                    <a:pt x="20837" y="849"/>
                    <a:pt x="9674" y="1"/>
                  </a:cubicBezTo>
                  <a:lnTo>
                    <a:pt x="9091" y="1"/>
                  </a:lnTo>
                  <a:cubicBezTo>
                    <a:pt x="5917" y="-44"/>
                    <a:pt x="2978" y="1670"/>
                    <a:pt x="1455" y="4455"/>
                  </a:cubicBezTo>
                  <a:cubicBezTo>
                    <a:pt x="-485" y="7725"/>
                    <a:pt x="-485" y="11792"/>
                    <a:pt x="1455" y="15062"/>
                  </a:cubicBezTo>
                  <a:cubicBezTo>
                    <a:pt x="2999" y="17770"/>
                    <a:pt x="5894" y="19426"/>
                    <a:pt x="9012" y="19384"/>
                  </a:cubicBezTo>
                  <a:lnTo>
                    <a:pt x="9568" y="19384"/>
                  </a:lnTo>
                  <a:cubicBezTo>
                    <a:pt x="20758" y="18774"/>
                    <a:pt x="20837" y="1274"/>
                    <a:pt x="9568" y="1910"/>
                  </a:cubicBezTo>
                  <a:close/>
                </a:path>
              </a:pathLst>
            </a:custGeom>
            <a:solidFill>
              <a:srgbClr val="2A2E2D"/>
            </a:solidFill>
            <a:ln w="2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6393CF24-1A0A-B950-7491-0485172FDDB0}"/>
                </a:ext>
              </a:extLst>
            </p:cNvPr>
            <p:cNvSpPr/>
            <p:nvPr/>
          </p:nvSpPr>
          <p:spPr>
            <a:xfrm>
              <a:off x="5245884" y="4270087"/>
              <a:ext cx="19263" cy="17500"/>
            </a:xfrm>
            <a:custGeom>
              <a:avLst/>
              <a:gdLst>
                <a:gd name="connsiteX0" fmla="*/ 8442 w 19263"/>
                <a:gd name="connsiteY0" fmla="*/ 17500 h 17500"/>
                <a:gd name="connsiteX1" fmla="*/ 10802 w 19263"/>
                <a:gd name="connsiteY1" fmla="*/ 17500 h 17500"/>
                <a:gd name="connsiteX2" fmla="*/ 10802 w 19263"/>
                <a:gd name="connsiteY2" fmla="*/ 0 h 17500"/>
                <a:gd name="connsiteX3" fmla="*/ 8442 w 19263"/>
                <a:gd name="connsiteY3" fmla="*/ 0 h 17500"/>
                <a:gd name="connsiteX4" fmla="*/ 8442 w 19263"/>
                <a:gd name="connsiteY4" fmla="*/ 17500 h 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63" h="17500">
                  <a:moveTo>
                    <a:pt x="8442" y="17500"/>
                  </a:moveTo>
                  <a:lnTo>
                    <a:pt x="10802" y="17500"/>
                  </a:lnTo>
                  <a:cubicBezTo>
                    <a:pt x="22071" y="17500"/>
                    <a:pt x="22097" y="0"/>
                    <a:pt x="10802" y="0"/>
                  </a:cubicBezTo>
                  <a:lnTo>
                    <a:pt x="8442" y="0"/>
                  </a:lnTo>
                  <a:cubicBezTo>
                    <a:pt x="-2801" y="0"/>
                    <a:pt x="-2827" y="17500"/>
                    <a:pt x="8442" y="17500"/>
                  </a:cubicBezTo>
                  <a:close/>
                </a:path>
              </a:pathLst>
            </a:custGeom>
            <a:solidFill>
              <a:srgbClr val="2A2E2D"/>
            </a:solidFill>
            <a:ln w="2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F41AC54-441F-8648-4BE8-A3A09FD7E74F}"/>
                </a:ext>
              </a:extLst>
            </p:cNvPr>
            <p:cNvSpPr/>
            <p:nvPr/>
          </p:nvSpPr>
          <p:spPr>
            <a:xfrm>
              <a:off x="5420370" y="4430593"/>
              <a:ext cx="22234" cy="22242"/>
            </a:xfrm>
            <a:custGeom>
              <a:avLst/>
              <a:gdLst>
                <a:gd name="connsiteX0" fmla="*/ 14923 w 22234"/>
                <a:gd name="connsiteY0" fmla="*/ 19665 h 22242"/>
                <a:gd name="connsiteX1" fmla="*/ 19669 w 22234"/>
                <a:gd name="connsiteY1" fmla="*/ 14946 h 22242"/>
                <a:gd name="connsiteX2" fmla="*/ 7286 w 22234"/>
                <a:gd name="connsiteY2" fmla="*/ 2563 h 22242"/>
                <a:gd name="connsiteX3" fmla="*/ 2566 w 22234"/>
                <a:gd name="connsiteY3" fmla="*/ 7309 h 22242"/>
                <a:gd name="connsiteX4" fmla="*/ 14923 w 22234"/>
                <a:gd name="connsiteY4" fmla="*/ 19665 h 22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34" h="22242">
                  <a:moveTo>
                    <a:pt x="14923" y="19665"/>
                  </a:moveTo>
                  <a:lnTo>
                    <a:pt x="19669" y="14946"/>
                  </a:lnTo>
                  <a:cubicBezTo>
                    <a:pt x="27623" y="6991"/>
                    <a:pt x="15267" y="-5392"/>
                    <a:pt x="7286" y="2563"/>
                  </a:cubicBezTo>
                  <a:lnTo>
                    <a:pt x="2566" y="7309"/>
                  </a:lnTo>
                  <a:cubicBezTo>
                    <a:pt x="-5388" y="15264"/>
                    <a:pt x="6968" y="27646"/>
                    <a:pt x="14923" y="19665"/>
                  </a:cubicBezTo>
                  <a:close/>
                </a:path>
              </a:pathLst>
            </a:custGeom>
            <a:solidFill>
              <a:srgbClr val="2A2E2D"/>
            </a:solidFill>
            <a:ln w="2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A487A99-7B35-8AFB-5F47-BAD63216FB1D}"/>
                </a:ext>
              </a:extLst>
            </p:cNvPr>
            <p:cNvSpPr/>
            <p:nvPr/>
          </p:nvSpPr>
          <p:spPr>
            <a:xfrm>
              <a:off x="5465009" y="4433278"/>
              <a:ext cx="17992" cy="19718"/>
            </a:xfrm>
            <a:custGeom>
              <a:avLst/>
              <a:gdLst>
                <a:gd name="connsiteX0" fmla="*/ 11701 w 17992"/>
                <a:gd name="connsiteY0" fmla="*/ 2397 h 19718"/>
                <a:gd name="connsiteX1" fmla="*/ 11064 w 17992"/>
                <a:gd name="connsiteY1" fmla="*/ 2132 h 19718"/>
                <a:gd name="connsiteX2" fmla="*/ 17163 w 17992"/>
                <a:gd name="connsiteY2" fmla="*/ 8257 h 19718"/>
                <a:gd name="connsiteX3" fmla="*/ 16977 w 17992"/>
                <a:gd name="connsiteY3" fmla="*/ 7514 h 19718"/>
                <a:gd name="connsiteX4" fmla="*/ 16977 w 17992"/>
                <a:gd name="connsiteY4" fmla="*/ 12155 h 19718"/>
                <a:gd name="connsiteX5" fmla="*/ 17216 w 17992"/>
                <a:gd name="connsiteY5" fmla="*/ 11439 h 19718"/>
                <a:gd name="connsiteX6" fmla="*/ 11117 w 17992"/>
                <a:gd name="connsiteY6" fmla="*/ 17537 h 19718"/>
                <a:gd name="connsiteX7" fmla="*/ 11780 w 17992"/>
                <a:gd name="connsiteY7" fmla="*/ 17325 h 19718"/>
                <a:gd name="connsiteX8" fmla="*/ 7114 w 17992"/>
                <a:gd name="connsiteY8" fmla="*/ 461 h 19718"/>
                <a:gd name="connsiteX9" fmla="*/ 7114 w 17992"/>
                <a:gd name="connsiteY9" fmla="*/ 19261 h 19718"/>
                <a:gd name="connsiteX10" fmla="*/ 17720 w 17992"/>
                <a:gd name="connsiteY10" fmla="*/ 13162 h 19718"/>
                <a:gd name="connsiteX11" fmla="*/ 11621 w 17992"/>
                <a:gd name="connsiteY11" fmla="*/ 2397 h 1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992" h="19718">
                  <a:moveTo>
                    <a:pt x="11701" y="2397"/>
                  </a:moveTo>
                  <a:lnTo>
                    <a:pt x="11064" y="2132"/>
                  </a:lnTo>
                  <a:lnTo>
                    <a:pt x="17163" y="8257"/>
                  </a:lnTo>
                  <a:lnTo>
                    <a:pt x="16977" y="7514"/>
                  </a:lnTo>
                  <a:lnTo>
                    <a:pt x="16977" y="12155"/>
                  </a:lnTo>
                  <a:lnTo>
                    <a:pt x="17216" y="11439"/>
                  </a:lnTo>
                  <a:cubicBezTo>
                    <a:pt x="15201" y="13480"/>
                    <a:pt x="13159" y="15495"/>
                    <a:pt x="11117" y="17537"/>
                  </a:cubicBezTo>
                  <a:lnTo>
                    <a:pt x="11780" y="17325"/>
                  </a:lnTo>
                  <a:cubicBezTo>
                    <a:pt x="22386" y="13905"/>
                    <a:pt x="17879" y="-2986"/>
                    <a:pt x="7114" y="461"/>
                  </a:cubicBezTo>
                  <a:cubicBezTo>
                    <a:pt x="-2830" y="3670"/>
                    <a:pt x="-1902" y="15655"/>
                    <a:pt x="7114" y="19261"/>
                  </a:cubicBezTo>
                  <a:cubicBezTo>
                    <a:pt x="11489" y="21037"/>
                    <a:pt x="16712" y="17352"/>
                    <a:pt x="17720" y="13162"/>
                  </a:cubicBezTo>
                  <a:cubicBezTo>
                    <a:pt x="18886" y="8522"/>
                    <a:pt x="16203" y="3781"/>
                    <a:pt x="11621" y="2397"/>
                  </a:cubicBezTo>
                  <a:close/>
                </a:path>
              </a:pathLst>
            </a:custGeom>
            <a:solidFill>
              <a:srgbClr val="2A2E2D"/>
            </a:solidFill>
            <a:ln w="2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DAABCA73-B45A-4C9E-6B8A-DC114FF24780}"/>
                </a:ext>
              </a:extLst>
            </p:cNvPr>
            <p:cNvSpPr/>
            <p:nvPr/>
          </p:nvSpPr>
          <p:spPr>
            <a:xfrm>
              <a:off x="5503570" y="4436026"/>
              <a:ext cx="17500" cy="19263"/>
            </a:xfrm>
            <a:custGeom>
              <a:avLst/>
              <a:gdLst>
                <a:gd name="connsiteX0" fmla="*/ 0 w 17500"/>
                <a:gd name="connsiteY0" fmla="*/ 8452 h 19263"/>
                <a:gd name="connsiteX1" fmla="*/ 0 w 17500"/>
                <a:gd name="connsiteY1" fmla="*/ 10812 h 19263"/>
                <a:gd name="connsiteX2" fmla="*/ 17500 w 17500"/>
                <a:gd name="connsiteY2" fmla="*/ 10812 h 19263"/>
                <a:gd name="connsiteX3" fmla="*/ 17500 w 17500"/>
                <a:gd name="connsiteY3" fmla="*/ 8452 h 19263"/>
                <a:gd name="connsiteX4" fmla="*/ 0 w 17500"/>
                <a:gd name="connsiteY4" fmla="*/ 8452 h 19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00" h="19263">
                  <a:moveTo>
                    <a:pt x="0" y="8452"/>
                  </a:moveTo>
                  <a:lnTo>
                    <a:pt x="0" y="10812"/>
                  </a:lnTo>
                  <a:cubicBezTo>
                    <a:pt x="0" y="22081"/>
                    <a:pt x="17500" y="22081"/>
                    <a:pt x="17500" y="10812"/>
                  </a:cubicBezTo>
                  <a:lnTo>
                    <a:pt x="17500" y="8452"/>
                  </a:lnTo>
                  <a:cubicBezTo>
                    <a:pt x="17500" y="-2817"/>
                    <a:pt x="0" y="-2817"/>
                    <a:pt x="0" y="8452"/>
                  </a:cubicBezTo>
                  <a:close/>
                </a:path>
              </a:pathLst>
            </a:custGeom>
            <a:solidFill>
              <a:srgbClr val="2A2E2D"/>
            </a:solidFill>
            <a:ln w="2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1D73ADF6-D63B-1CEA-E16B-5757B75A4A53}"/>
                </a:ext>
              </a:extLst>
            </p:cNvPr>
            <p:cNvSpPr/>
            <p:nvPr/>
          </p:nvSpPr>
          <p:spPr>
            <a:xfrm>
              <a:off x="5220911" y="4641002"/>
              <a:ext cx="262983" cy="94394"/>
            </a:xfrm>
            <a:custGeom>
              <a:avLst/>
              <a:gdLst>
                <a:gd name="connsiteX0" fmla="*/ 1172 w 262983"/>
                <a:gd name="connsiteY0" fmla="*/ 28272 h 94394"/>
                <a:gd name="connsiteX1" fmla="*/ 12813 w 262983"/>
                <a:gd name="connsiteY1" fmla="*/ 91034 h 94394"/>
                <a:gd name="connsiteX2" fmla="*/ 64014 w 262983"/>
                <a:gd name="connsiteY2" fmla="*/ 91034 h 94394"/>
                <a:gd name="connsiteX3" fmla="*/ 140298 w 262983"/>
                <a:gd name="connsiteY3" fmla="*/ 88383 h 94394"/>
                <a:gd name="connsiteX4" fmla="*/ 208124 w 262983"/>
                <a:gd name="connsiteY4" fmla="*/ 86023 h 94394"/>
                <a:gd name="connsiteX5" fmla="*/ 252272 w 262983"/>
                <a:gd name="connsiteY5" fmla="*/ 82046 h 94394"/>
                <a:gd name="connsiteX6" fmla="*/ 261526 w 262983"/>
                <a:gd name="connsiteY6" fmla="*/ 9818 h 94394"/>
                <a:gd name="connsiteX7" fmla="*/ 252803 w 262983"/>
                <a:gd name="connsiteY7" fmla="*/ 1068 h 94394"/>
                <a:gd name="connsiteX8" fmla="*/ 108692 w 262983"/>
                <a:gd name="connsiteY8" fmla="*/ 9022 h 94394"/>
                <a:gd name="connsiteX9" fmla="*/ 4381 w 262983"/>
                <a:gd name="connsiteY9" fmla="*/ 19973 h 94394"/>
                <a:gd name="connsiteX10" fmla="*/ 1419 w 262983"/>
                <a:gd name="connsiteY10" fmla="*/ 32141 h 94394"/>
                <a:gd name="connsiteX11" fmla="*/ 2631 w 262983"/>
                <a:gd name="connsiteY11" fmla="*/ 33708 h 94394"/>
                <a:gd name="connsiteX12" fmla="*/ 3771 w 262983"/>
                <a:gd name="connsiteY12" fmla="*/ 34875 h 94394"/>
                <a:gd name="connsiteX13" fmla="*/ 16154 w 262983"/>
                <a:gd name="connsiteY13" fmla="*/ 34875 h 94394"/>
                <a:gd name="connsiteX14" fmla="*/ 17029 w 262983"/>
                <a:gd name="connsiteY14" fmla="*/ 34053 h 94394"/>
                <a:gd name="connsiteX15" fmla="*/ 4672 w 262983"/>
                <a:gd name="connsiteY15" fmla="*/ 21697 h 94394"/>
                <a:gd name="connsiteX16" fmla="*/ 14987 w 262983"/>
                <a:gd name="connsiteY16" fmla="*/ 21352 h 94394"/>
                <a:gd name="connsiteX17" fmla="*/ 13210 w 262983"/>
                <a:gd name="connsiteY17" fmla="*/ 35087 h 94394"/>
                <a:gd name="connsiteX18" fmla="*/ 76529 w 262983"/>
                <a:gd name="connsiteY18" fmla="*/ 29147 h 94394"/>
                <a:gd name="connsiteX19" fmla="*/ 140829 w 262983"/>
                <a:gd name="connsiteY19" fmla="*/ 23844 h 94394"/>
                <a:gd name="connsiteX20" fmla="*/ 205128 w 262983"/>
                <a:gd name="connsiteY20" fmla="*/ 18541 h 94394"/>
                <a:gd name="connsiteX21" fmla="*/ 243072 w 262983"/>
                <a:gd name="connsiteY21" fmla="*/ 38348 h 94394"/>
                <a:gd name="connsiteX22" fmla="*/ 123355 w 262983"/>
                <a:gd name="connsiteY22" fmla="*/ 71307 h 94394"/>
                <a:gd name="connsiteX23" fmla="*/ 55529 w 262983"/>
                <a:gd name="connsiteY23" fmla="*/ 73667 h 94394"/>
                <a:gd name="connsiteX24" fmla="*/ 18673 w 262983"/>
                <a:gd name="connsiteY24" fmla="*/ 28140 h 94394"/>
                <a:gd name="connsiteX25" fmla="*/ 1172 w 262983"/>
                <a:gd name="connsiteY25" fmla="*/ 28140 h 94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62983" h="94394">
                  <a:moveTo>
                    <a:pt x="1172" y="28272"/>
                  </a:moveTo>
                  <a:cubicBezTo>
                    <a:pt x="854" y="46011"/>
                    <a:pt x="-5006" y="79447"/>
                    <a:pt x="12813" y="91034"/>
                  </a:cubicBezTo>
                  <a:cubicBezTo>
                    <a:pt x="24161" y="98405"/>
                    <a:pt x="52586" y="91405"/>
                    <a:pt x="64014" y="91034"/>
                  </a:cubicBezTo>
                  <a:lnTo>
                    <a:pt x="140298" y="88383"/>
                  </a:lnTo>
                  <a:lnTo>
                    <a:pt x="208124" y="86023"/>
                  </a:lnTo>
                  <a:cubicBezTo>
                    <a:pt x="218943" y="85652"/>
                    <a:pt x="241587" y="89152"/>
                    <a:pt x="252272" y="82046"/>
                  </a:cubicBezTo>
                  <a:cubicBezTo>
                    <a:pt x="269030" y="70909"/>
                    <a:pt x="260969" y="26761"/>
                    <a:pt x="261526" y="9818"/>
                  </a:cubicBezTo>
                  <a:cubicBezTo>
                    <a:pt x="261441" y="5032"/>
                    <a:pt x="257589" y="1166"/>
                    <a:pt x="252803" y="1068"/>
                  </a:cubicBezTo>
                  <a:cubicBezTo>
                    <a:pt x="205340" y="-2910"/>
                    <a:pt x="156075" y="5231"/>
                    <a:pt x="108692" y="9022"/>
                  </a:cubicBezTo>
                  <a:cubicBezTo>
                    <a:pt x="79366" y="11409"/>
                    <a:pt x="30074" y="5920"/>
                    <a:pt x="4381" y="19973"/>
                  </a:cubicBezTo>
                  <a:cubicBezTo>
                    <a:pt x="203" y="22516"/>
                    <a:pt x="-1123" y="27965"/>
                    <a:pt x="1419" y="32141"/>
                  </a:cubicBezTo>
                  <a:cubicBezTo>
                    <a:pt x="1763" y="32708"/>
                    <a:pt x="2170" y="33233"/>
                    <a:pt x="2631" y="33708"/>
                  </a:cubicBezTo>
                  <a:lnTo>
                    <a:pt x="3771" y="34875"/>
                  </a:lnTo>
                  <a:cubicBezTo>
                    <a:pt x="7230" y="38197"/>
                    <a:pt x="12695" y="38197"/>
                    <a:pt x="16154" y="34875"/>
                  </a:cubicBezTo>
                  <a:lnTo>
                    <a:pt x="17029" y="34053"/>
                  </a:lnTo>
                  <a:cubicBezTo>
                    <a:pt x="25354" y="26443"/>
                    <a:pt x="12972" y="14087"/>
                    <a:pt x="4672" y="21697"/>
                  </a:cubicBezTo>
                  <a:lnTo>
                    <a:pt x="14987" y="21352"/>
                  </a:lnTo>
                  <a:cubicBezTo>
                    <a:pt x="14404" y="25939"/>
                    <a:pt x="13820" y="30500"/>
                    <a:pt x="13210" y="35087"/>
                  </a:cubicBezTo>
                  <a:cubicBezTo>
                    <a:pt x="27900" y="27132"/>
                    <a:pt x="59904" y="30500"/>
                    <a:pt x="76529" y="29147"/>
                  </a:cubicBezTo>
                  <a:lnTo>
                    <a:pt x="140829" y="23844"/>
                  </a:lnTo>
                  <a:cubicBezTo>
                    <a:pt x="162253" y="22094"/>
                    <a:pt x="183677" y="19973"/>
                    <a:pt x="205128" y="18541"/>
                  </a:cubicBezTo>
                  <a:cubicBezTo>
                    <a:pt x="228780" y="17003"/>
                    <a:pt x="243310" y="10322"/>
                    <a:pt x="243072" y="38348"/>
                  </a:cubicBezTo>
                  <a:cubicBezTo>
                    <a:pt x="242727" y="83875"/>
                    <a:pt x="156075" y="70167"/>
                    <a:pt x="123355" y="71307"/>
                  </a:cubicBezTo>
                  <a:cubicBezTo>
                    <a:pt x="101931" y="72049"/>
                    <a:pt x="76741" y="76610"/>
                    <a:pt x="55529" y="73667"/>
                  </a:cubicBezTo>
                  <a:cubicBezTo>
                    <a:pt x="21881" y="69026"/>
                    <a:pt x="18063" y="61072"/>
                    <a:pt x="18673" y="28140"/>
                  </a:cubicBezTo>
                  <a:cubicBezTo>
                    <a:pt x="18885" y="16871"/>
                    <a:pt x="1385" y="16871"/>
                    <a:pt x="1172" y="28140"/>
                  </a:cubicBezTo>
                  <a:close/>
                </a:path>
              </a:pathLst>
            </a:custGeom>
            <a:solidFill>
              <a:srgbClr val="2A2E2D"/>
            </a:solidFill>
            <a:ln w="26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91" name="Graphic 20">
            <a:extLst>
              <a:ext uri="{FF2B5EF4-FFF2-40B4-BE49-F238E27FC236}">
                <a16:creationId xmlns:a16="http://schemas.microsoft.com/office/drawing/2014/main" id="{62AE4B9D-8AA9-35CD-A05A-879FB1344CC8}"/>
              </a:ext>
            </a:extLst>
          </p:cNvPr>
          <p:cNvGrpSpPr/>
          <p:nvPr/>
        </p:nvGrpSpPr>
        <p:grpSpPr>
          <a:xfrm>
            <a:off x="962554" y="4117498"/>
            <a:ext cx="844625" cy="759897"/>
            <a:chOff x="962554" y="4117498"/>
            <a:chExt cx="844625" cy="759897"/>
          </a:xfrm>
          <a:solidFill>
            <a:srgbClr val="2A2E2D"/>
          </a:solidFill>
        </p:grpSpPr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F7E5454C-F787-1F94-0973-8BBE2B5B52DB}"/>
                </a:ext>
              </a:extLst>
            </p:cNvPr>
            <p:cNvSpPr/>
            <p:nvPr/>
          </p:nvSpPr>
          <p:spPr>
            <a:xfrm>
              <a:off x="962554" y="4117498"/>
              <a:ext cx="778207" cy="720638"/>
            </a:xfrm>
            <a:custGeom>
              <a:avLst/>
              <a:gdLst>
                <a:gd name="connsiteX0" fmla="*/ 758695 w 778207"/>
                <a:gd name="connsiteY0" fmla="*/ 448261 h 720638"/>
                <a:gd name="connsiteX1" fmla="*/ 677584 w 778207"/>
                <a:gd name="connsiteY1" fmla="*/ 104225 h 720638"/>
                <a:gd name="connsiteX2" fmla="*/ 318196 w 778207"/>
                <a:gd name="connsiteY2" fmla="*/ 9486 h 720638"/>
                <a:gd name="connsiteX3" fmla="*/ 22524 w 778207"/>
                <a:gd name="connsiteY3" fmla="*/ 251888 h 720638"/>
                <a:gd name="connsiteX4" fmla="*/ 80857 w 778207"/>
                <a:gd name="connsiteY4" fmla="*/ 609845 h 720638"/>
                <a:gd name="connsiteX5" fmla="*/ 527667 w 778207"/>
                <a:gd name="connsiteY5" fmla="*/ 694959 h 720638"/>
                <a:gd name="connsiteX6" fmla="*/ 523027 w 778207"/>
                <a:gd name="connsiteY6" fmla="*/ 678095 h 720638"/>
                <a:gd name="connsiteX7" fmla="*/ 64498 w 778207"/>
                <a:gd name="connsiteY7" fmla="*/ 564981 h 720638"/>
                <a:gd name="connsiteX8" fmla="*/ 118297 w 778207"/>
                <a:gd name="connsiteY8" fmla="*/ 128619 h 720638"/>
                <a:gd name="connsiteX9" fmla="*/ 582129 w 778207"/>
                <a:gd name="connsiteY9" fmla="*/ 57849 h 720638"/>
                <a:gd name="connsiteX10" fmla="*/ 741831 w 778207"/>
                <a:gd name="connsiteY10" fmla="*/ 443594 h 720638"/>
                <a:gd name="connsiteX11" fmla="*/ 758695 w 778207"/>
                <a:gd name="connsiteY11" fmla="*/ 448261 h 720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8207" h="720638">
                  <a:moveTo>
                    <a:pt x="758695" y="448261"/>
                  </a:moveTo>
                  <a:cubicBezTo>
                    <a:pt x="803240" y="328518"/>
                    <a:pt x="769566" y="192362"/>
                    <a:pt x="677584" y="104225"/>
                  </a:cubicBezTo>
                  <a:cubicBezTo>
                    <a:pt x="582474" y="13251"/>
                    <a:pt x="445469" y="-17640"/>
                    <a:pt x="318196" y="9486"/>
                  </a:cubicBezTo>
                  <a:cubicBezTo>
                    <a:pt x="185805" y="37751"/>
                    <a:pt x="65585" y="119657"/>
                    <a:pt x="22524" y="251888"/>
                  </a:cubicBezTo>
                  <a:cubicBezTo>
                    <a:pt x="-15207" y="367681"/>
                    <a:pt x="-11681" y="520753"/>
                    <a:pt x="80857" y="609845"/>
                  </a:cubicBezTo>
                  <a:cubicBezTo>
                    <a:pt x="194396" y="719088"/>
                    <a:pt x="381992" y="747724"/>
                    <a:pt x="527667" y="694959"/>
                  </a:cubicBezTo>
                  <a:cubicBezTo>
                    <a:pt x="538273" y="691167"/>
                    <a:pt x="533633" y="674251"/>
                    <a:pt x="523027" y="678095"/>
                  </a:cubicBezTo>
                  <a:cubicBezTo>
                    <a:pt x="375787" y="731391"/>
                    <a:pt x="161093" y="700368"/>
                    <a:pt x="64498" y="564981"/>
                  </a:cubicBezTo>
                  <a:cubicBezTo>
                    <a:pt x="-22420" y="442958"/>
                    <a:pt x="12236" y="228475"/>
                    <a:pt x="118297" y="128619"/>
                  </a:cubicBezTo>
                  <a:cubicBezTo>
                    <a:pt x="238199" y="15902"/>
                    <a:pt x="435022" y="-17560"/>
                    <a:pt x="582129" y="57849"/>
                  </a:cubicBezTo>
                  <a:cubicBezTo>
                    <a:pt x="722846" y="129918"/>
                    <a:pt x="798123" y="292112"/>
                    <a:pt x="741831" y="443594"/>
                  </a:cubicBezTo>
                  <a:cubicBezTo>
                    <a:pt x="737907" y="454200"/>
                    <a:pt x="754797" y="458734"/>
                    <a:pt x="758695" y="448261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20AA64C8-ECE1-F4FA-6DCA-A40D703ECF3F}"/>
                </a:ext>
              </a:extLst>
            </p:cNvPr>
            <p:cNvSpPr/>
            <p:nvPr/>
          </p:nvSpPr>
          <p:spPr>
            <a:xfrm>
              <a:off x="1467177" y="4545668"/>
              <a:ext cx="340002" cy="331727"/>
            </a:xfrm>
            <a:custGeom>
              <a:avLst/>
              <a:gdLst>
                <a:gd name="connsiteX0" fmla="*/ 215174 w 340002"/>
                <a:gd name="connsiteY0" fmla="*/ 1371 h 331727"/>
                <a:gd name="connsiteX1" fmla="*/ 4165 w 340002"/>
                <a:gd name="connsiteY1" fmla="*/ 137580 h 331727"/>
                <a:gd name="connsiteX2" fmla="*/ 137802 w 340002"/>
                <a:gd name="connsiteY2" fmla="*/ 329763 h 331727"/>
                <a:gd name="connsiteX3" fmla="*/ 334015 w 340002"/>
                <a:gd name="connsiteY3" fmla="*/ 200316 h 331727"/>
                <a:gd name="connsiteX4" fmla="*/ 217348 w 340002"/>
                <a:gd name="connsiteY4" fmla="*/ 1690 h 331727"/>
                <a:gd name="connsiteX5" fmla="*/ 212708 w 340002"/>
                <a:gd name="connsiteY5" fmla="*/ 18553 h 331727"/>
                <a:gd name="connsiteX6" fmla="*/ 315110 w 340002"/>
                <a:gd name="connsiteY6" fmla="*/ 202490 h 331727"/>
                <a:gd name="connsiteX7" fmla="*/ 129052 w 340002"/>
                <a:gd name="connsiteY7" fmla="*/ 310381 h 331727"/>
                <a:gd name="connsiteX8" fmla="*/ 24927 w 340002"/>
                <a:gd name="connsiteY8" fmla="*/ 128486 h 331727"/>
                <a:gd name="connsiteX9" fmla="*/ 215174 w 340002"/>
                <a:gd name="connsiteY9" fmla="*/ 18792 h 331727"/>
                <a:gd name="connsiteX10" fmla="*/ 215174 w 340002"/>
                <a:gd name="connsiteY10" fmla="*/ 1292 h 331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0002" h="331727">
                  <a:moveTo>
                    <a:pt x="215174" y="1371"/>
                  </a:moveTo>
                  <a:cubicBezTo>
                    <a:pt x="124094" y="-9447"/>
                    <a:pt x="26544" y="44459"/>
                    <a:pt x="4165" y="137580"/>
                  </a:cubicBezTo>
                  <a:cubicBezTo>
                    <a:pt x="-17524" y="227918"/>
                    <a:pt x="48234" y="315949"/>
                    <a:pt x="137802" y="329763"/>
                  </a:cubicBezTo>
                  <a:cubicBezTo>
                    <a:pt x="225780" y="343339"/>
                    <a:pt x="310152" y="285085"/>
                    <a:pt x="334015" y="200316"/>
                  </a:cubicBezTo>
                  <a:cubicBezTo>
                    <a:pt x="358410" y="114406"/>
                    <a:pt x="306042" y="21921"/>
                    <a:pt x="217348" y="1690"/>
                  </a:cubicBezTo>
                  <a:cubicBezTo>
                    <a:pt x="206397" y="-803"/>
                    <a:pt x="201704" y="16061"/>
                    <a:pt x="212708" y="18553"/>
                  </a:cubicBezTo>
                  <a:cubicBezTo>
                    <a:pt x="294455" y="37114"/>
                    <a:pt x="341175" y="124164"/>
                    <a:pt x="315110" y="202490"/>
                  </a:cubicBezTo>
                  <a:cubicBezTo>
                    <a:pt x="289496" y="279384"/>
                    <a:pt x="209208" y="328782"/>
                    <a:pt x="129052" y="310381"/>
                  </a:cubicBezTo>
                  <a:cubicBezTo>
                    <a:pt x="48896" y="291979"/>
                    <a:pt x="-2384" y="207369"/>
                    <a:pt x="24927" y="128486"/>
                  </a:cubicBezTo>
                  <a:cubicBezTo>
                    <a:pt x="52211" y="49974"/>
                    <a:pt x="136264" y="9326"/>
                    <a:pt x="215174" y="18792"/>
                  </a:cubicBezTo>
                  <a:cubicBezTo>
                    <a:pt x="226337" y="20118"/>
                    <a:pt x="226231" y="2618"/>
                    <a:pt x="215174" y="1292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5FCD0AAD-ECCD-E801-CAB0-5E48FDEF69BE}"/>
                </a:ext>
              </a:extLst>
            </p:cNvPr>
            <p:cNvSpPr/>
            <p:nvPr/>
          </p:nvSpPr>
          <p:spPr>
            <a:xfrm>
              <a:off x="1571401" y="4623107"/>
              <a:ext cx="87958" cy="102379"/>
            </a:xfrm>
            <a:custGeom>
              <a:avLst/>
              <a:gdLst>
                <a:gd name="connsiteX0" fmla="*/ 67810 w 87958"/>
                <a:gd name="connsiteY0" fmla="*/ 3027 h 102379"/>
                <a:gd name="connsiteX1" fmla="*/ 2105 w 87958"/>
                <a:gd name="connsiteY1" fmla="*/ 87426 h 102379"/>
                <a:gd name="connsiteX2" fmla="*/ 8283 w 87958"/>
                <a:gd name="connsiteY2" fmla="*/ 102354 h 102379"/>
                <a:gd name="connsiteX3" fmla="*/ 79556 w 87958"/>
                <a:gd name="connsiteY3" fmla="*/ 97051 h 102379"/>
                <a:gd name="connsiteX4" fmla="*/ 79556 w 87958"/>
                <a:gd name="connsiteY4" fmla="*/ 79551 h 102379"/>
                <a:gd name="connsiteX5" fmla="*/ 8283 w 87958"/>
                <a:gd name="connsiteY5" fmla="*/ 84854 h 102379"/>
                <a:gd name="connsiteX6" fmla="*/ 14488 w 87958"/>
                <a:gd name="connsiteY6" fmla="*/ 99808 h 102379"/>
                <a:gd name="connsiteX7" fmla="*/ 80166 w 87958"/>
                <a:gd name="connsiteY7" fmla="*/ 15410 h 102379"/>
                <a:gd name="connsiteX8" fmla="*/ 67810 w 87958"/>
                <a:gd name="connsiteY8" fmla="*/ 3027 h 102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7958" h="102379">
                  <a:moveTo>
                    <a:pt x="67810" y="3027"/>
                  </a:moveTo>
                  <a:lnTo>
                    <a:pt x="2105" y="87426"/>
                  </a:lnTo>
                  <a:cubicBezTo>
                    <a:pt x="-2031" y="92729"/>
                    <a:pt x="-122" y="102964"/>
                    <a:pt x="8283" y="102354"/>
                  </a:cubicBezTo>
                  <a:lnTo>
                    <a:pt x="79556" y="97051"/>
                  </a:lnTo>
                  <a:cubicBezTo>
                    <a:pt x="90719" y="96229"/>
                    <a:pt x="90799" y="78729"/>
                    <a:pt x="79556" y="79551"/>
                  </a:cubicBezTo>
                  <a:lnTo>
                    <a:pt x="8283" y="84854"/>
                  </a:lnTo>
                  <a:lnTo>
                    <a:pt x="14488" y="99808"/>
                  </a:lnTo>
                  <a:lnTo>
                    <a:pt x="80166" y="15410"/>
                  </a:lnTo>
                  <a:cubicBezTo>
                    <a:pt x="87007" y="6633"/>
                    <a:pt x="74704" y="-5802"/>
                    <a:pt x="67810" y="3027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D3BEAF49-75A6-0DB7-C140-B1D3B3EDF229}"/>
                </a:ext>
              </a:extLst>
            </p:cNvPr>
            <p:cNvSpPr/>
            <p:nvPr/>
          </p:nvSpPr>
          <p:spPr>
            <a:xfrm>
              <a:off x="1648597" y="4649074"/>
              <a:ext cx="33597" cy="130028"/>
            </a:xfrm>
            <a:custGeom>
              <a:avLst/>
              <a:gdLst>
                <a:gd name="connsiteX0" fmla="*/ 16625 w 33597"/>
                <a:gd name="connsiteY0" fmla="*/ 6334 h 130028"/>
                <a:gd name="connsiteX1" fmla="*/ 106 w 33597"/>
                <a:gd name="connsiteY1" fmla="*/ 118971 h 130028"/>
                <a:gd name="connsiteX2" fmla="*/ 16996 w 33597"/>
                <a:gd name="connsiteY2" fmla="*/ 123637 h 130028"/>
                <a:gd name="connsiteX3" fmla="*/ 33489 w 33597"/>
                <a:gd name="connsiteY3" fmla="*/ 11000 h 130028"/>
                <a:gd name="connsiteX4" fmla="*/ 16625 w 33597"/>
                <a:gd name="connsiteY4" fmla="*/ 6334 h 130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597" h="130028">
                  <a:moveTo>
                    <a:pt x="16625" y="6334"/>
                  </a:moveTo>
                  <a:cubicBezTo>
                    <a:pt x="11128" y="43879"/>
                    <a:pt x="5621" y="81425"/>
                    <a:pt x="106" y="118971"/>
                  </a:cubicBezTo>
                  <a:cubicBezTo>
                    <a:pt x="-1485" y="130001"/>
                    <a:pt x="15352" y="134880"/>
                    <a:pt x="16996" y="123637"/>
                  </a:cubicBezTo>
                  <a:cubicBezTo>
                    <a:pt x="22493" y="86092"/>
                    <a:pt x="27992" y="48546"/>
                    <a:pt x="33489" y="11000"/>
                  </a:cubicBezTo>
                  <a:cubicBezTo>
                    <a:pt x="35106" y="-30"/>
                    <a:pt x="18269" y="-4776"/>
                    <a:pt x="16625" y="6334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B4BC0883-36E3-BD2F-D180-8A204F4CD003}"/>
                </a:ext>
              </a:extLst>
            </p:cNvPr>
            <p:cNvSpPr/>
            <p:nvPr/>
          </p:nvSpPr>
          <p:spPr>
            <a:xfrm>
              <a:off x="1458210" y="4182374"/>
              <a:ext cx="269528" cy="413937"/>
            </a:xfrm>
            <a:custGeom>
              <a:avLst/>
              <a:gdLst>
                <a:gd name="connsiteX0" fmla="*/ 116489 w 269528"/>
                <a:gd name="connsiteY0" fmla="*/ 0 h 413937"/>
                <a:gd name="connsiteX1" fmla="*/ 17826 w 269528"/>
                <a:gd name="connsiteY1" fmla="*/ 100573 h 413937"/>
                <a:gd name="connsiteX2" fmla="*/ 136773 w 269528"/>
                <a:gd name="connsiteY2" fmla="*/ 165800 h 413937"/>
                <a:gd name="connsiteX3" fmla="*/ 1678 w 269528"/>
                <a:gd name="connsiteY3" fmla="*/ 357188 h 413937"/>
                <a:gd name="connsiteX4" fmla="*/ 84671 w 269528"/>
                <a:gd name="connsiteY4" fmla="*/ 409741 h 413937"/>
                <a:gd name="connsiteX5" fmla="*/ 179463 w 269528"/>
                <a:gd name="connsiteY5" fmla="*/ 371347 h 413937"/>
                <a:gd name="connsiteX6" fmla="*/ 254740 w 269528"/>
                <a:gd name="connsiteY6" fmla="*/ 381051 h 413937"/>
                <a:gd name="connsiteX7" fmla="*/ 116489 w 269528"/>
                <a:gd name="connsiteY7" fmla="*/ 0 h 413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9528" h="413937">
                  <a:moveTo>
                    <a:pt x="116489" y="0"/>
                  </a:moveTo>
                  <a:cubicBezTo>
                    <a:pt x="116489" y="0"/>
                    <a:pt x="-2618" y="40993"/>
                    <a:pt x="17826" y="100573"/>
                  </a:cubicBezTo>
                  <a:cubicBezTo>
                    <a:pt x="38269" y="160152"/>
                    <a:pt x="131152" y="129209"/>
                    <a:pt x="136773" y="165800"/>
                  </a:cubicBezTo>
                  <a:cubicBezTo>
                    <a:pt x="142394" y="202391"/>
                    <a:pt x="-18023" y="278384"/>
                    <a:pt x="1678" y="357188"/>
                  </a:cubicBezTo>
                  <a:cubicBezTo>
                    <a:pt x="21379" y="435991"/>
                    <a:pt x="84671" y="409741"/>
                    <a:pt x="84671" y="409741"/>
                  </a:cubicBezTo>
                  <a:cubicBezTo>
                    <a:pt x="84671" y="409741"/>
                    <a:pt x="134785" y="369279"/>
                    <a:pt x="179463" y="371347"/>
                  </a:cubicBezTo>
                  <a:cubicBezTo>
                    <a:pt x="204798" y="372280"/>
                    <a:pt x="229996" y="375528"/>
                    <a:pt x="254740" y="381051"/>
                  </a:cubicBezTo>
                  <a:cubicBezTo>
                    <a:pt x="299816" y="191653"/>
                    <a:pt x="238486" y="75118"/>
                    <a:pt x="116489" y="0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253DACAC-2C73-AFB3-9B8A-FC066961A079}"/>
                </a:ext>
              </a:extLst>
            </p:cNvPr>
            <p:cNvSpPr/>
            <p:nvPr/>
          </p:nvSpPr>
          <p:spPr>
            <a:xfrm>
              <a:off x="974565" y="4273700"/>
              <a:ext cx="379818" cy="517544"/>
            </a:xfrm>
            <a:custGeom>
              <a:avLst/>
              <a:gdLst>
                <a:gd name="connsiteX0" fmla="*/ 39812 w 379818"/>
                <a:gd name="connsiteY0" fmla="*/ 47216 h 517544"/>
                <a:gd name="connsiteX1" fmla="*/ 316446 w 379818"/>
                <a:gd name="connsiteY1" fmla="*/ 14417 h 517544"/>
                <a:gd name="connsiteX2" fmla="*/ 285476 w 379818"/>
                <a:gd name="connsiteY2" fmla="*/ 203869 h 517544"/>
                <a:gd name="connsiteX3" fmla="*/ 378280 w 379818"/>
                <a:gd name="connsiteY3" fmla="*/ 322578 h 517544"/>
                <a:gd name="connsiteX4" fmla="*/ 179627 w 379818"/>
                <a:gd name="connsiteY4" fmla="*/ 517545 h 517544"/>
                <a:gd name="connsiteX5" fmla="*/ 172 w 379818"/>
                <a:gd name="connsiteY5" fmla="*/ 279941 h 517544"/>
                <a:gd name="connsiteX6" fmla="*/ 39812 w 379818"/>
                <a:gd name="connsiteY6" fmla="*/ 47216 h 517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9818" h="517544">
                  <a:moveTo>
                    <a:pt x="39812" y="47216"/>
                  </a:moveTo>
                  <a:cubicBezTo>
                    <a:pt x="39812" y="47216"/>
                    <a:pt x="234832" y="-31587"/>
                    <a:pt x="316446" y="14417"/>
                  </a:cubicBezTo>
                  <a:cubicBezTo>
                    <a:pt x="398060" y="60421"/>
                    <a:pt x="344579" y="130634"/>
                    <a:pt x="285476" y="203869"/>
                  </a:cubicBezTo>
                  <a:cubicBezTo>
                    <a:pt x="226374" y="277104"/>
                    <a:pt x="397662" y="241361"/>
                    <a:pt x="378280" y="322578"/>
                  </a:cubicBezTo>
                  <a:cubicBezTo>
                    <a:pt x="358897" y="403794"/>
                    <a:pt x="179627" y="517545"/>
                    <a:pt x="179627" y="517545"/>
                  </a:cubicBezTo>
                  <a:cubicBezTo>
                    <a:pt x="179627" y="517545"/>
                    <a:pt x="-6431" y="415116"/>
                    <a:pt x="172" y="279941"/>
                  </a:cubicBezTo>
                  <a:cubicBezTo>
                    <a:pt x="6774" y="144766"/>
                    <a:pt x="39812" y="47216"/>
                    <a:pt x="39812" y="47216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98" name="Graphic 22">
            <a:extLst>
              <a:ext uri="{FF2B5EF4-FFF2-40B4-BE49-F238E27FC236}">
                <a16:creationId xmlns:a16="http://schemas.microsoft.com/office/drawing/2014/main" id="{1F0C4886-D524-0B0E-6EB1-62DFE231BF99}"/>
              </a:ext>
            </a:extLst>
          </p:cNvPr>
          <p:cNvGrpSpPr/>
          <p:nvPr/>
        </p:nvGrpSpPr>
        <p:grpSpPr>
          <a:xfrm>
            <a:off x="9004082" y="2545363"/>
            <a:ext cx="533363" cy="882431"/>
            <a:chOff x="9004082" y="2545363"/>
            <a:chExt cx="533363" cy="882431"/>
          </a:xfrm>
        </p:grpSpPr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BCE21150-611B-F888-5DAC-78C55E0B6599}"/>
                </a:ext>
              </a:extLst>
            </p:cNvPr>
            <p:cNvSpPr/>
            <p:nvPr/>
          </p:nvSpPr>
          <p:spPr>
            <a:xfrm>
              <a:off x="9009119" y="2704003"/>
              <a:ext cx="528326" cy="723792"/>
            </a:xfrm>
            <a:custGeom>
              <a:avLst/>
              <a:gdLst>
                <a:gd name="connsiteX0" fmla="*/ 401779 w 528326"/>
                <a:gd name="connsiteY0" fmla="*/ 135094 h 723792"/>
                <a:gd name="connsiteX1" fmla="*/ 118065 w 528326"/>
                <a:gd name="connsiteY1" fmla="*/ 198041 h 723792"/>
                <a:gd name="connsiteX2" fmla="*/ 51963 w 528326"/>
                <a:gd name="connsiteY2" fmla="*/ 6733 h 723792"/>
                <a:gd name="connsiteX3" fmla="*/ 19 w 528326"/>
                <a:gd name="connsiteY3" fmla="*/ 25877 h 723792"/>
                <a:gd name="connsiteX4" fmla="*/ 190293 w 528326"/>
                <a:gd name="connsiteY4" fmla="*/ 722646 h 723792"/>
                <a:gd name="connsiteX5" fmla="*/ 527673 w 528326"/>
                <a:gd name="connsiteY5" fmla="*/ 640449 h 723792"/>
                <a:gd name="connsiteX6" fmla="*/ 401779 w 528326"/>
                <a:gd name="connsiteY6" fmla="*/ 135094 h 723792"/>
                <a:gd name="connsiteX7" fmla="*/ 180403 w 528326"/>
                <a:gd name="connsiteY7" fmla="*/ 438561 h 723792"/>
                <a:gd name="connsiteX8" fmla="*/ 139410 w 528326"/>
                <a:gd name="connsiteY8" fmla="*/ 268863 h 723792"/>
                <a:gd name="connsiteX9" fmla="*/ 347131 w 528326"/>
                <a:gd name="connsiteY9" fmla="*/ 211802 h 723792"/>
                <a:gd name="connsiteX10" fmla="*/ 396317 w 528326"/>
                <a:gd name="connsiteY10" fmla="*/ 367580 h 723792"/>
                <a:gd name="connsiteX11" fmla="*/ 180403 w 528326"/>
                <a:gd name="connsiteY11" fmla="*/ 438561 h 723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8326" h="723792">
                  <a:moveTo>
                    <a:pt x="401779" y="135094"/>
                  </a:moveTo>
                  <a:cubicBezTo>
                    <a:pt x="390855" y="113325"/>
                    <a:pt x="118065" y="198041"/>
                    <a:pt x="118065" y="198041"/>
                  </a:cubicBezTo>
                  <a:cubicBezTo>
                    <a:pt x="118065" y="198041"/>
                    <a:pt x="60156" y="20415"/>
                    <a:pt x="51963" y="6733"/>
                  </a:cubicBezTo>
                  <a:cubicBezTo>
                    <a:pt x="43770" y="-6949"/>
                    <a:pt x="-1068" y="608"/>
                    <a:pt x="19" y="25877"/>
                  </a:cubicBezTo>
                  <a:cubicBezTo>
                    <a:pt x="1133" y="49025"/>
                    <a:pt x="172819" y="711589"/>
                    <a:pt x="190293" y="722646"/>
                  </a:cubicBezTo>
                  <a:cubicBezTo>
                    <a:pt x="207767" y="733703"/>
                    <a:pt x="516908" y="661661"/>
                    <a:pt x="527673" y="640449"/>
                  </a:cubicBezTo>
                  <a:cubicBezTo>
                    <a:pt x="538439" y="619236"/>
                    <a:pt x="412730" y="156810"/>
                    <a:pt x="401779" y="135094"/>
                  </a:cubicBezTo>
                  <a:close/>
                  <a:moveTo>
                    <a:pt x="180403" y="438561"/>
                  </a:moveTo>
                  <a:cubicBezTo>
                    <a:pt x="172210" y="438561"/>
                    <a:pt x="139410" y="268863"/>
                    <a:pt x="139410" y="268863"/>
                  </a:cubicBezTo>
                  <a:cubicBezTo>
                    <a:pt x="139410" y="268863"/>
                    <a:pt x="338938" y="211802"/>
                    <a:pt x="347131" y="211802"/>
                  </a:cubicBezTo>
                  <a:cubicBezTo>
                    <a:pt x="355324" y="211802"/>
                    <a:pt x="396317" y="348515"/>
                    <a:pt x="396317" y="367580"/>
                  </a:cubicBezTo>
                  <a:cubicBezTo>
                    <a:pt x="396317" y="386644"/>
                    <a:pt x="188517" y="438561"/>
                    <a:pt x="180403" y="438561"/>
                  </a:cubicBezTo>
                  <a:close/>
                </a:path>
              </a:pathLst>
            </a:custGeom>
            <a:solidFill>
              <a:srgbClr val="2A2E2D"/>
            </a:solidFill>
            <a:ln w="26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62CD8F0B-F85D-22B5-99F0-F2F3271423D6}"/>
                </a:ext>
              </a:extLst>
            </p:cNvPr>
            <p:cNvSpPr/>
            <p:nvPr/>
          </p:nvSpPr>
          <p:spPr>
            <a:xfrm>
              <a:off x="9004082" y="2603249"/>
              <a:ext cx="137891" cy="109280"/>
            </a:xfrm>
            <a:custGeom>
              <a:avLst/>
              <a:gdLst>
                <a:gd name="connsiteX0" fmla="*/ 10598 w 137891"/>
                <a:gd name="connsiteY0" fmla="*/ 21021 h 109280"/>
                <a:gd name="connsiteX1" fmla="*/ 120371 w 137891"/>
                <a:gd name="connsiteY1" fmla="*/ 100858 h 109280"/>
                <a:gd name="connsiteX2" fmla="*/ 137872 w 137891"/>
                <a:gd name="connsiteY2" fmla="*/ 100858 h 109280"/>
                <a:gd name="connsiteX3" fmla="*/ 5905 w 137891"/>
                <a:gd name="connsiteY3" fmla="*/ 4157 h 109280"/>
                <a:gd name="connsiteX4" fmla="*/ 10598 w 137891"/>
                <a:gd name="connsiteY4" fmla="*/ 21021 h 109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891" h="109280">
                  <a:moveTo>
                    <a:pt x="10598" y="21021"/>
                  </a:moveTo>
                  <a:cubicBezTo>
                    <a:pt x="54163" y="4555"/>
                    <a:pt x="117693" y="56816"/>
                    <a:pt x="120371" y="100858"/>
                  </a:cubicBezTo>
                  <a:cubicBezTo>
                    <a:pt x="121061" y="112048"/>
                    <a:pt x="138561" y="112127"/>
                    <a:pt x="137872" y="100858"/>
                  </a:cubicBezTo>
                  <a:cubicBezTo>
                    <a:pt x="134504" y="45786"/>
                    <a:pt x="61508" y="-16843"/>
                    <a:pt x="5905" y="4157"/>
                  </a:cubicBezTo>
                  <a:cubicBezTo>
                    <a:pt x="-4516" y="8081"/>
                    <a:pt x="-8" y="24998"/>
                    <a:pt x="10598" y="21021"/>
                  </a:cubicBezTo>
                  <a:close/>
                </a:path>
              </a:pathLst>
            </a:custGeom>
            <a:solidFill>
              <a:srgbClr val="2A2E2D"/>
            </a:solidFill>
            <a:ln w="26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BA82C950-A113-0E9B-728A-F548947AA983}"/>
                </a:ext>
              </a:extLst>
            </p:cNvPr>
            <p:cNvSpPr/>
            <p:nvPr/>
          </p:nvSpPr>
          <p:spPr>
            <a:xfrm>
              <a:off x="9077312" y="2545363"/>
              <a:ext cx="114655" cy="104155"/>
            </a:xfrm>
            <a:custGeom>
              <a:avLst/>
              <a:gdLst>
                <a:gd name="connsiteX0" fmla="*/ 10922 w 114655"/>
                <a:gd name="connsiteY0" fmla="*/ 18239 h 104155"/>
                <a:gd name="connsiteX1" fmla="*/ 97362 w 114655"/>
                <a:gd name="connsiteY1" fmla="*/ 98024 h 104155"/>
                <a:gd name="connsiteX2" fmla="*/ 114252 w 114655"/>
                <a:gd name="connsiteY2" fmla="*/ 93357 h 104155"/>
                <a:gd name="connsiteX3" fmla="*/ 6282 w 114655"/>
                <a:gd name="connsiteY3" fmla="*/ 1429 h 104155"/>
                <a:gd name="connsiteX4" fmla="*/ 10922 w 114655"/>
                <a:gd name="connsiteY4" fmla="*/ 18292 h 104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655" h="104155">
                  <a:moveTo>
                    <a:pt x="10922" y="18239"/>
                  </a:moveTo>
                  <a:cubicBezTo>
                    <a:pt x="52525" y="9012"/>
                    <a:pt x="87604" y="65012"/>
                    <a:pt x="97362" y="98024"/>
                  </a:cubicBezTo>
                  <a:cubicBezTo>
                    <a:pt x="100570" y="108789"/>
                    <a:pt x="117460" y="104202"/>
                    <a:pt x="114252" y="93357"/>
                  </a:cubicBezTo>
                  <a:cubicBezTo>
                    <a:pt x="101419" y="50137"/>
                    <a:pt x="58570" y="-10052"/>
                    <a:pt x="6282" y="1429"/>
                  </a:cubicBezTo>
                  <a:cubicBezTo>
                    <a:pt x="-4722" y="3842"/>
                    <a:pt x="-55" y="20732"/>
                    <a:pt x="10922" y="18292"/>
                  </a:cubicBezTo>
                  <a:close/>
                </a:path>
              </a:pathLst>
            </a:custGeom>
            <a:solidFill>
              <a:srgbClr val="2A2E2D"/>
            </a:solidFill>
            <a:ln w="26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CBE5CFD3-5CE2-E591-E308-6E80D073372E}"/>
                </a:ext>
              </a:extLst>
            </p:cNvPr>
            <p:cNvSpPr/>
            <p:nvPr/>
          </p:nvSpPr>
          <p:spPr>
            <a:xfrm>
              <a:off x="9213737" y="3208295"/>
              <a:ext cx="47376" cy="24977"/>
            </a:xfrm>
            <a:custGeom>
              <a:avLst/>
              <a:gdLst>
                <a:gd name="connsiteX0" fmla="*/ 10891 w 47376"/>
                <a:gd name="connsiteY0" fmla="*/ 24580 h 24977"/>
                <a:gd name="connsiteX1" fmla="*/ 41145 w 47376"/>
                <a:gd name="connsiteY1" fmla="*/ 17155 h 24977"/>
                <a:gd name="connsiteX2" fmla="*/ 36479 w 47376"/>
                <a:gd name="connsiteY2" fmla="*/ 292 h 24977"/>
                <a:gd name="connsiteX3" fmla="*/ 6251 w 47376"/>
                <a:gd name="connsiteY3" fmla="*/ 7822 h 24977"/>
                <a:gd name="connsiteX4" fmla="*/ 10891 w 47376"/>
                <a:gd name="connsiteY4" fmla="*/ 24686 h 24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376" h="24977">
                  <a:moveTo>
                    <a:pt x="10891" y="24580"/>
                  </a:moveTo>
                  <a:lnTo>
                    <a:pt x="41145" y="17155"/>
                  </a:lnTo>
                  <a:cubicBezTo>
                    <a:pt x="52070" y="14504"/>
                    <a:pt x="47430" y="-2413"/>
                    <a:pt x="36479" y="292"/>
                  </a:cubicBezTo>
                  <a:lnTo>
                    <a:pt x="6251" y="7822"/>
                  </a:lnTo>
                  <a:cubicBezTo>
                    <a:pt x="-4699" y="10474"/>
                    <a:pt x="-59" y="27390"/>
                    <a:pt x="10891" y="24686"/>
                  </a:cubicBezTo>
                  <a:close/>
                </a:path>
              </a:pathLst>
            </a:custGeom>
            <a:solidFill>
              <a:srgbClr val="FFFFFF"/>
            </a:solidFill>
            <a:ln w="26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D3C3BD29-45ED-289C-90AD-BEEDD1813291}"/>
                </a:ext>
              </a:extLst>
            </p:cNvPr>
            <p:cNvSpPr/>
            <p:nvPr/>
          </p:nvSpPr>
          <p:spPr>
            <a:xfrm>
              <a:off x="9304220" y="3185480"/>
              <a:ext cx="41219" cy="26299"/>
            </a:xfrm>
            <a:custGeom>
              <a:avLst/>
              <a:gdLst>
                <a:gd name="connsiteX0" fmla="*/ 10667 w 41219"/>
                <a:gd name="connsiteY0" fmla="*/ 25785 h 26299"/>
                <a:gd name="connsiteX1" fmla="*/ 35193 w 41219"/>
                <a:gd name="connsiteY1" fmla="*/ 17379 h 26299"/>
                <a:gd name="connsiteX2" fmla="*/ 30553 w 41219"/>
                <a:gd name="connsiteY2" fmla="*/ 516 h 26299"/>
                <a:gd name="connsiteX3" fmla="*/ 6026 w 41219"/>
                <a:gd name="connsiteY3" fmla="*/ 8921 h 26299"/>
                <a:gd name="connsiteX4" fmla="*/ 10667 w 41219"/>
                <a:gd name="connsiteY4" fmla="*/ 25785 h 26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19" h="26299">
                  <a:moveTo>
                    <a:pt x="10667" y="25785"/>
                  </a:moveTo>
                  <a:lnTo>
                    <a:pt x="35193" y="17379"/>
                  </a:lnTo>
                  <a:cubicBezTo>
                    <a:pt x="45799" y="13747"/>
                    <a:pt x="41239" y="-3144"/>
                    <a:pt x="30553" y="516"/>
                  </a:cubicBezTo>
                  <a:lnTo>
                    <a:pt x="6026" y="8921"/>
                  </a:lnTo>
                  <a:cubicBezTo>
                    <a:pt x="-4580" y="12527"/>
                    <a:pt x="-19" y="29444"/>
                    <a:pt x="10667" y="25785"/>
                  </a:cubicBezTo>
                  <a:close/>
                </a:path>
              </a:pathLst>
            </a:custGeom>
            <a:solidFill>
              <a:srgbClr val="FFFFFF"/>
            </a:solidFill>
            <a:ln w="26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6824D979-6D96-D224-3A28-ED415B5E2536}"/>
                </a:ext>
              </a:extLst>
            </p:cNvPr>
            <p:cNvSpPr/>
            <p:nvPr/>
          </p:nvSpPr>
          <p:spPr>
            <a:xfrm>
              <a:off x="9380531" y="3160397"/>
              <a:ext cx="41219" cy="26305"/>
            </a:xfrm>
            <a:custGeom>
              <a:avLst/>
              <a:gdLst>
                <a:gd name="connsiteX0" fmla="*/ 10667 w 41219"/>
                <a:gd name="connsiteY0" fmla="*/ 25784 h 26305"/>
                <a:gd name="connsiteX1" fmla="*/ 35193 w 41219"/>
                <a:gd name="connsiteY1" fmla="*/ 17379 h 26305"/>
                <a:gd name="connsiteX2" fmla="*/ 30553 w 41219"/>
                <a:gd name="connsiteY2" fmla="*/ 515 h 26305"/>
                <a:gd name="connsiteX3" fmla="*/ 6026 w 41219"/>
                <a:gd name="connsiteY3" fmla="*/ 8920 h 26305"/>
                <a:gd name="connsiteX4" fmla="*/ 10667 w 41219"/>
                <a:gd name="connsiteY4" fmla="*/ 25784 h 26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19" h="26305">
                  <a:moveTo>
                    <a:pt x="10667" y="25784"/>
                  </a:moveTo>
                  <a:lnTo>
                    <a:pt x="35193" y="17379"/>
                  </a:lnTo>
                  <a:cubicBezTo>
                    <a:pt x="45799" y="13773"/>
                    <a:pt x="41239" y="-3144"/>
                    <a:pt x="30553" y="515"/>
                  </a:cubicBezTo>
                  <a:lnTo>
                    <a:pt x="6026" y="8920"/>
                  </a:lnTo>
                  <a:cubicBezTo>
                    <a:pt x="-4580" y="12553"/>
                    <a:pt x="-19" y="29470"/>
                    <a:pt x="10667" y="25784"/>
                  </a:cubicBezTo>
                  <a:close/>
                </a:path>
              </a:pathLst>
            </a:custGeom>
            <a:solidFill>
              <a:srgbClr val="FFFFFF"/>
            </a:solidFill>
            <a:ln w="26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6E319799-E21B-4631-E8D2-793E9FA43C88}"/>
                </a:ext>
              </a:extLst>
            </p:cNvPr>
            <p:cNvSpPr/>
            <p:nvPr/>
          </p:nvSpPr>
          <p:spPr>
            <a:xfrm>
              <a:off x="9227570" y="3267168"/>
              <a:ext cx="43992" cy="26284"/>
            </a:xfrm>
            <a:custGeom>
              <a:avLst/>
              <a:gdLst>
                <a:gd name="connsiteX0" fmla="*/ 10714 w 43992"/>
                <a:gd name="connsiteY0" fmla="*/ 25843 h 26284"/>
                <a:gd name="connsiteX1" fmla="*/ 37945 w 43992"/>
                <a:gd name="connsiteY1" fmla="*/ 17305 h 26284"/>
                <a:gd name="connsiteX2" fmla="*/ 33279 w 43992"/>
                <a:gd name="connsiteY2" fmla="*/ 442 h 26284"/>
                <a:gd name="connsiteX3" fmla="*/ 6047 w 43992"/>
                <a:gd name="connsiteY3" fmla="*/ 8980 h 26284"/>
                <a:gd name="connsiteX4" fmla="*/ 10714 w 43992"/>
                <a:gd name="connsiteY4" fmla="*/ 25843 h 26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992" h="26284">
                  <a:moveTo>
                    <a:pt x="10714" y="25843"/>
                  </a:moveTo>
                  <a:lnTo>
                    <a:pt x="37945" y="17305"/>
                  </a:lnTo>
                  <a:cubicBezTo>
                    <a:pt x="48551" y="13964"/>
                    <a:pt x="44070" y="-2926"/>
                    <a:pt x="33279" y="442"/>
                  </a:cubicBezTo>
                  <a:lnTo>
                    <a:pt x="6047" y="8980"/>
                  </a:lnTo>
                  <a:cubicBezTo>
                    <a:pt x="-4559" y="12320"/>
                    <a:pt x="-78" y="29211"/>
                    <a:pt x="10714" y="25843"/>
                  </a:cubicBezTo>
                  <a:close/>
                </a:path>
              </a:pathLst>
            </a:custGeom>
            <a:solidFill>
              <a:srgbClr val="FFFFFF"/>
            </a:solidFill>
            <a:ln w="26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E1D40721-BC8F-649C-295E-EE5D2978E5BE}"/>
                </a:ext>
              </a:extLst>
            </p:cNvPr>
            <p:cNvSpPr/>
            <p:nvPr/>
          </p:nvSpPr>
          <p:spPr>
            <a:xfrm>
              <a:off x="9315142" y="3240646"/>
              <a:ext cx="52333" cy="28552"/>
            </a:xfrm>
            <a:custGeom>
              <a:avLst/>
              <a:gdLst>
                <a:gd name="connsiteX0" fmla="*/ 10722 w 52333"/>
                <a:gd name="connsiteY0" fmla="*/ 28131 h 28552"/>
                <a:gd name="connsiteX1" fmla="*/ 46279 w 52333"/>
                <a:gd name="connsiteY1" fmla="*/ 17286 h 28552"/>
                <a:gd name="connsiteX2" fmla="*/ 41612 w 52333"/>
                <a:gd name="connsiteY2" fmla="*/ 422 h 28552"/>
                <a:gd name="connsiteX3" fmla="*/ 6055 w 52333"/>
                <a:gd name="connsiteY3" fmla="*/ 11267 h 28552"/>
                <a:gd name="connsiteX4" fmla="*/ 10722 w 52333"/>
                <a:gd name="connsiteY4" fmla="*/ 28131 h 28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33" h="28552">
                  <a:moveTo>
                    <a:pt x="10722" y="28131"/>
                  </a:moveTo>
                  <a:lnTo>
                    <a:pt x="46279" y="17286"/>
                  </a:lnTo>
                  <a:cubicBezTo>
                    <a:pt x="56885" y="14025"/>
                    <a:pt x="52430" y="-2866"/>
                    <a:pt x="41612" y="422"/>
                  </a:cubicBezTo>
                  <a:lnTo>
                    <a:pt x="6055" y="11267"/>
                  </a:lnTo>
                  <a:cubicBezTo>
                    <a:pt x="-4551" y="14528"/>
                    <a:pt x="-97" y="31419"/>
                    <a:pt x="10722" y="28131"/>
                  </a:cubicBezTo>
                  <a:close/>
                </a:path>
              </a:pathLst>
            </a:custGeom>
            <a:solidFill>
              <a:srgbClr val="FFFFFF"/>
            </a:solidFill>
            <a:ln w="26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DE09ADE-D68B-A631-AD9E-1B8018D58AFC}"/>
                </a:ext>
              </a:extLst>
            </p:cNvPr>
            <p:cNvSpPr/>
            <p:nvPr/>
          </p:nvSpPr>
          <p:spPr>
            <a:xfrm>
              <a:off x="9394139" y="3222994"/>
              <a:ext cx="44001" cy="26337"/>
            </a:xfrm>
            <a:custGeom>
              <a:avLst/>
              <a:gdLst>
                <a:gd name="connsiteX0" fmla="*/ 10714 w 44001"/>
                <a:gd name="connsiteY0" fmla="*/ 25764 h 26337"/>
                <a:gd name="connsiteX1" fmla="*/ 37945 w 44001"/>
                <a:gd name="connsiteY1" fmla="*/ 17305 h 26337"/>
                <a:gd name="connsiteX2" fmla="*/ 33305 w 44001"/>
                <a:gd name="connsiteY2" fmla="*/ 442 h 26337"/>
                <a:gd name="connsiteX3" fmla="*/ 6047 w 44001"/>
                <a:gd name="connsiteY3" fmla="*/ 9033 h 26337"/>
                <a:gd name="connsiteX4" fmla="*/ 10714 w 44001"/>
                <a:gd name="connsiteY4" fmla="*/ 25896 h 26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001" h="26337">
                  <a:moveTo>
                    <a:pt x="10714" y="25764"/>
                  </a:moveTo>
                  <a:lnTo>
                    <a:pt x="37945" y="17305"/>
                  </a:lnTo>
                  <a:cubicBezTo>
                    <a:pt x="48551" y="13964"/>
                    <a:pt x="44097" y="-2926"/>
                    <a:pt x="33305" y="442"/>
                  </a:cubicBezTo>
                  <a:lnTo>
                    <a:pt x="6047" y="9033"/>
                  </a:lnTo>
                  <a:cubicBezTo>
                    <a:pt x="-4559" y="12374"/>
                    <a:pt x="-78" y="29264"/>
                    <a:pt x="10714" y="25896"/>
                  </a:cubicBezTo>
                  <a:close/>
                </a:path>
              </a:pathLst>
            </a:custGeom>
            <a:solidFill>
              <a:srgbClr val="FFFFFF"/>
            </a:solidFill>
            <a:ln w="26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085CD2D4-8AFD-85B7-A411-A8182D77C815}"/>
                </a:ext>
              </a:extLst>
            </p:cNvPr>
            <p:cNvSpPr/>
            <p:nvPr/>
          </p:nvSpPr>
          <p:spPr>
            <a:xfrm>
              <a:off x="9238970" y="3322278"/>
              <a:ext cx="46301" cy="29530"/>
            </a:xfrm>
            <a:custGeom>
              <a:avLst/>
              <a:gdLst>
                <a:gd name="connsiteX0" fmla="*/ 10529 w 46301"/>
                <a:gd name="connsiteY0" fmla="*/ 28908 h 29530"/>
                <a:gd name="connsiteX1" fmla="*/ 40412 w 46301"/>
                <a:gd name="connsiteY1" fmla="*/ 17480 h 29530"/>
                <a:gd name="connsiteX2" fmla="*/ 35772 w 46301"/>
                <a:gd name="connsiteY2" fmla="*/ 616 h 29530"/>
                <a:gd name="connsiteX3" fmla="*/ 5889 w 46301"/>
                <a:gd name="connsiteY3" fmla="*/ 12044 h 29530"/>
                <a:gd name="connsiteX4" fmla="*/ 10529 w 46301"/>
                <a:gd name="connsiteY4" fmla="*/ 28908 h 29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301" h="29530">
                  <a:moveTo>
                    <a:pt x="10529" y="28908"/>
                  </a:moveTo>
                  <a:lnTo>
                    <a:pt x="40412" y="17480"/>
                  </a:lnTo>
                  <a:cubicBezTo>
                    <a:pt x="50806" y="13502"/>
                    <a:pt x="46299" y="-3414"/>
                    <a:pt x="35772" y="616"/>
                  </a:cubicBezTo>
                  <a:lnTo>
                    <a:pt x="5889" y="12044"/>
                  </a:lnTo>
                  <a:cubicBezTo>
                    <a:pt x="-4505" y="16021"/>
                    <a:pt x="3" y="32965"/>
                    <a:pt x="10529" y="28908"/>
                  </a:cubicBezTo>
                  <a:close/>
                </a:path>
              </a:pathLst>
            </a:custGeom>
            <a:solidFill>
              <a:srgbClr val="FFFFFF"/>
            </a:solidFill>
            <a:ln w="26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D22ABD40-0FD7-7276-19C3-B695E185C074}"/>
                </a:ext>
              </a:extLst>
            </p:cNvPr>
            <p:cNvSpPr/>
            <p:nvPr/>
          </p:nvSpPr>
          <p:spPr>
            <a:xfrm>
              <a:off x="9325919" y="3305609"/>
              <a:ext cx="47020" cy="23910"/>
            </a:xfrm>
            <a:custGeom>
              <a:avLst/>
              <a:gdLst>
                <a:gd name="connsiteX0" fmla="*/ 10922 w 47020"/>
                <a:gd name="connsiteY0" fmla="*/ 23675 h 23910"/>
                <a:gd name="connsiteX1" fmla="*/ 40752 w 47020"/>
                <a:gd name="connsiteY1" fmla="*/ 17099 h 23910"/>
                <a:gd name="connsiteX2" fmla="*/ 36085 w 47020"/>
                <a:gd name="connsiteY2" fmla="*/ 236 h 23910"/>
                <a:gd name="connsiteX3" fmla="*/ 6282 w 47020"/>
                <a:gd name="connsiteY3" fmla="*/ 6811 h 23910"/>
                <a:gd name="connsiteX4" fmla="*/ 10922 w 47020"/>
                <a:gd name="connsiteY4" fmla="*/ 23675 h 2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020" h="23910">
                  <a:moveTo>
                    <a:pt x="10922" y="23675"/>
                  </a:moveTo>
                  <a:lnTo>
                    <a:pt x="40752" y="17099"/>
                  </a:lnTo>
                  <a:cubicBezTo>
                    <a:pt x="51729" y="14686"/>
                    <a:pt x="47089" y="-2177"/>
                    <a:pt x="36085" y="236"/>
                  </a:cubicBezTo>
                  <a:lnTo>
                    <a:pt x="6282" y="6811"/>
                  </a:lnTo>
                  <a:cubicBezTo>
                    <a:pt x="-4722" y="9224"/>
                    <a:pt x="-55" y="26088"/>
                    <a:pt x="10922" y="23675"/>
                  </a:cubicBezTo>
                  <a:close/>
                </a:path>
              </a:pathLst>
            </a:custGeom>
            <a:solidFill>
              <a:srgbClr val="FFFFFF"/>
            </a:solidFill>
            <a:ln w="26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E5CC3352-1F38-DADC-5AC2-94A9D35B0F7E}"/>
                </a:ext>
              </a:extLst>
            </p:cNvPr>
            <p:cNvSpPr/>
            <p:nvPr/>
          </p:nvSpPr>
          <p:spPr>
            <a:xfrm>
              <a:off x="9413156" y="3283648"/>
              <a:ext cx="44505" cy="23028"/>
            </a:xfrm>
            <a:custGeom>
              <a:avLst/>
              <a:gdLst>
                <a:gd name="connsiteX0" fmla="*/ 10947 w 44505"/>
                <a:gd name="connsiteY0" fmla="*/ 22807 h 23028"/>
                <a:gd name="connsiteX1" fmla="*/ 38205 w 44505"/>
                <a:gd name="connsiteY1" fmla="*/ 17080 h 23028"/>
                <a:gd name="connsiteX2" fmla="*/ 33564 w 44505"/>
                <a:gd name="connsiteY2" fmla="*/ 216 h 23028"/>
                <a:gd name="connsiteX3" fmla="*/ 6280 w 44505"/>
                <a:gd name="connsiteY3" fmla="*/ 5943 h 23028"/>
                <a:gd name="connsiteX4" fmla="*/ 10947 w 44505"/>
                <a:gd name="connsiteY4" fmla="*/ 22807 h 23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05" h="23028">
                  <a:moveTo>
                    <a:pt x="10947" y="22807"/>
                  </a:moveTo>
                  <a:lnTo>
                    <a:pt x="38205" y="17080"/>
                  </a:lnTo>
                  <a:cubicBezTo>
                    <a:pt x="49235" y="14773"/>
                    <a:pt x="44568" y="-2091"/>
                    <a:pt x="33564" y="216"/>
                  </a:cubicBezTo>
                  <a:lnTo>
                    <a:pt x="6280" y="5943"/>
                  </a:lnTo>
                  <a:cubicBezTo>
                    <a:pt x="-4724" y="8277"/>
                    <a:pt x="-57" y="25141"/>
                    <a:pt x="10947" y="22807"/>
                  </a:cubicBezTo>
                  <a:close/>
                </a:path>
              </a:pathLst>
            </a:custGeom>
            <a:solidFill>
              <a:srgbClr val="FFFFFF"/>
            </a:solidFill>
            <a:ln w="26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11" name="Graphic 24">
            <a:extLst>
              <a:ext uri="{FF2B5EF4-FFF2-40B4-BE49-F238E27FC236}">
                <a16:creationId xmlns:a16="http://schemas.microsoft.com/office/drawing/2014/main" id="{948DAF9E-6C30-3410-33F7-59DB151DBEF4}"/>
              </a:ext>
            </a:extLst>
          </p:cNvPr>
          <p:cNvGrpSpPr/>
          <p:nvPr/>
        </p:nvGrpSpPr>
        <p:grpSpPr>
          <a:xfrm>
            <a:off x="6924298" y="4071073"/>
            <a:ext cx="754285" cy="852927"/>
            <a:chOff x="6924298" y="4071073"/>
            <a:chExt cx="754285" cy="852927"/>
          </a:xfrm>
          <a:solidFill>
            <a:srgbClr val="2A2E2D"/>
          </a:solidFill>
        </p:grpSpPr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BDCDA4FF-B75E-ADD0-FF61-06B3E57BA176}"/>
                </a:ext>
              </a:extLst>
            </p:cNvPr>
            <p:cNvSpPr/>
            <p:nvPr/>
          </p:nvSpPr>
          <p:spPr>
            <a:xfrm>
              <a:off x="7065734" y="4192583"/>
              <a:ext cx="64711" cy="472222"/>
            </a:xfrm>
            <a:custGeom>
              <a:avLst/>
              <a:gdLst>
                <a:gd name="connsiteX0" fmla="*/ 0 w 64711"/>
                <a:gd name="connsiteY0" fmla="*/ 8432 h 472222"/>
                <a:gd name="connsiteX1" fmla="*/ 47728 w 64711"/>
                <a:gd name="connsiteY1" fmla="*/ 465901 h 472222"/>
                <a:gd name="connsiteX2" fmla="*/ 64591 w 64711"/>
                <a:gd name="connsiteY2" fmla="*/ 461234 h 472222"/>
                <a:gd name="connsiteX3" fmla="*/ 17606 w 64711"/>
                <a:gd name="connsiteY3" fmla="*/ 8432 h 472222"/>
                <a:gd name="connsiteX4" fmla="*/ 133 w 64711"/>
                <a:gd name="connsiteY4" fmla="*/ 8432 h 472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711" h="472222">
                  <a:moveTo>
                    <a:pt x="0" y="8432"/>
                  </a:moveTo>
                  <a:cubicBezTo>
                    <a:pt x="7865" y="161653"/>
                    <a:pt x="23796" y="314355"/>
                    <a:pt x="47728" y="465901"/>
                  </a:cubicBezTo>
                  <a:cubicBezTo>
                    <a:pt x="49478" y="476984"/>
                    <a:pt x="66288" y="472264"/>
                    <a:pt x="64591" y="461234"/>
                  </a:cubicBezTo>
                  <a:cubicBezTo>
                    <a:pt x="41013" y="311226"/>
                    <a:pt x="25330" y="160084"/>
                    <a:pt x="17606" y="8432"/>
                  </a:cubicBezTo>
                  <a:cubicBezTo>
                    <a:pt x="17023" y="-2784"/>
                    <a:pt x="-451" y="-2837"/>
                    <a:pt x="133" y="8432"/>
                  </a:cubicBezTo>
                  <a:close/>
                </a:path>
              </a:pathLst>
            </a:custGeom>
            <a:solidFill>
              <a:srgbClr val="2A2E2D"/>
            </a:solidFill>
            <a:ln w="26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59A70E92-D756-C92C-0A83-4A87DAAA3958}"/>
                </a:ext>
              </a:extLst>
            </p:cNvPr>
            <p:cNvSpPr/>
            <p:nvPr/>
          </p:nvSpPr>
          <p:spPr>
            <a:xfrm>
              <a:off x="7110101" y="4189089"/>
              <a:ext cx="70271" cy="462161"/>
            </a:xfrm>
            <a:custGeom>
              <a:avLst/>
              <a:gdLst>
                <a:gd name="connsiteX0" fmla="*/ 46 w 70271"/>
                <a:gd name="connsiteY0" fmla="*/ 8293 h 462161"/>
                <a:gd name="connsiteX1" fmla="*/ 53289 w 70271"/>
                <a:gd name="connsiteY1" fmla="*/ 455818 h 462161"/>
                <a:gd name="connsiteX2" fmla="*/ 70153 w 70271"/>
                <a:gd name="connsiteY2" fmla="*/ 451178 h 462161"/>
                <a:gd name="connsiteX3" fmla="*/ 17546 w 70271"/>
                <a:gd name="connsiteY3" fmla="*/ 8372 h 462161"/>
                <a:gd name="connsiteX4" fmla="*/ 46 w 70271"/>
                <a:gd name="connsiteY4" fmla="*/ 8372 h 462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271" h="462161">
                  <a:moveTo>
                    <a:pt x="46" y="8293"/>
                  </a:moveTo>
                  <a:cubicBezTo>
                    <a:pt x="14188" y="157892"/>
                    <a:pt x="31935" y="307067"/>
                    <a:pt x="53289" y="455818"/>
                  </a:cubicBezTo>
                  <a:cubicBezTo>
                    <a:pt x="54880" y="466928"/>
                    <a:pt x="71850" y="462208"/>
                    <a:pt x="70153" y="451178"/>
                  </a:cubicBezTo>
                  <a:cubicBezTo>
                    <a:pt x="49100" y="303965"/>
                    <a:pt x="31564" y="156362"/>
                    <a:pt x="17546" y="8372"/>
                  </a:cubicBezTo>
                  <a:cubicBezTo>
                    <a:pt x="16486" y="-2738"/>
                    <a:pt x="-1014" y="-2844"/>
                    <a:pt x="46" y="8372"/>
                  </a:cubicBezTo>
                  <a:close/>
                </a:path>
              </a:pathLst>
            </a:custGeom>
            <a:solidFill>
              <a:srgbClr val="2A2E2D"/>
            </a:solidFill>
            <a:ln w="26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E06C60EC-9257-1D1F-CAA2-E132D9FEE479}"/>
                </a:ext>
              </a:extLst>
            </p:cNvPr>
            <p:cNvSpPr/>
            <p:nvPr/>
          </p:nvSpPr>
          <p:spPr>
            <a:xfrm>
              <a:off x="7005909" y="4071073"/>
              <a:ext cx="149207" cy="139852"/>
            </a:xfrm>
            <a:custGeom>
              <a:avLst/>
              <a:gdLst>
                <a:gd name="connsiteX0" fmla="*/ 99625 w 149207"/>
                <a:gd name="connsiteY0" fmla="*/ 112070 h 139852"/>
                <a:gd name="connsiteX1" fmla="*/ 33045 w 149207"/>
                <a:gd name="connsiteY1" fmla="*/ 34486 h 139852"/>
                <a:gd name="connsiteX2" fmla="*/ 114341 w 149207"/>
                <a:gd name="connsiteY2" fmla="*/ 30403 h 139852"/>
                <a:gd name="connsiteX3" fmla="*/ 102064 w 149207"/>
                <a:gd name="connsiteY3" fmla="*/ 117718 h 139852"/>
                <a:gd name="connsiteX4" fmla="*/ 114553 w 149207"/>
                <a:gd name="connsiteY4" fmla="*/ 129941 h 139852"/>
                <a:gd name="connsiteX5" fmla="*/ 133829 w 149207"/>
                <a:gd name="connsiteY5" fmla="*/ 23880 h 139852"/>
                <a:gd name="connsiteX6" fmla="*/ 25620 w 149207"/>
                <a:gd name="connsiteY6" fmla="*/ 17516 h 139852"/>
                <a:gd name="connsiteX7" fmla="*/ 13158 w 149207"/>
                <a:gd name="connsiteY7" fmla="*/ 114032 h 139852"/>
                <a:gd name="connsiteX8" fmla="*/ 108454 w 149207"/>
                <a:gd name="connsiteY8" fmla="*/ 127290 h 139852"/>
                <a:gd name="connsiteX9" fmla="*/ 99625 w 149207"/>
                <a:gd name="connsiteY9" fmla="*/ 112176 h 139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9207" h="139852">
                  <a:moveTo>
                    <a:pt x="99625" y="112070"/>
                  </a:moveTo>
                  <a:cubicBezTo>
                    <a:pt x="48265" y="148502"/>
                    <a:pt x="-11607" y="80570"/>
                    <a:pt x="33045" y="34486"/>
                  </a:cubicBezTo>
                  <a:cubicBezTo>
                    <a:pt x="54257" y="12664"/>
                    <a:pt x="90928" y="12717"/>
                    <a:pt x="114341" y="30403"/>
                  </a:cubicBezTo>
                  <a:cubicBezTo>
                    <a:pt x="148811" y="56467"/>
                    <a:pt x="123568" y="93218"/>
                    <a:pt x="102064" y="117718"/>
                  </a:cubicBezTo>
                  <a:cubicBezTo>
                    <a:pt x="94666" y="126123"/>
                    <a:pt x="106996" y="138532"/>
                    <a:pt x="114553" y="129941"/>
                  </a:cubicBezTo>
                  <a:cubicBezTo>
                    <a:pt x="140432" y="100456"/>
                    <a:pt x="166735" y="58880"/>
                    <a:pt x="133829" y="23880"/>
                  </a:cubicBezTo>
                  <a:cubicBezTo>
                    <a:pt x="106386" y="-4942"/>
                    <a:pt x="56219" y="-8416"/>
                    <a:pt x="25620" y="17516"/>
                  </a:cubicBezTo>
                  <a:cubicBezTo>
                    <a:pt x="-1770" y="40717"/>
                    <a:pt x="-9194" y="85051"/>
                    <a:pt x="13158" y="114032"/>
                  </a:cubicBezTo>
                  <a:cubicBezTo>
                    <a:pt x="35511" y="143013"/>
                    <a:pt x="79314" y="147839"/>
                    <a:pt x="108454" y="127290"/>
                  </a:cubicBezTo>
                  <a:cubicBezTo>
                    <a:pt x="117575" y="120820"/>
                    <a:pt x="108852" y="105653"/>
                    <a:pt x="99625" y="112176"/>
                  </a:cubicBezTo>
                  <a:close/>
                </a:path>
              </a:pathLst>
            </a:custGeom>
            <a:solidFill>
              <a:srgbClr val="2A2E2D"/>
            </a:solidFill>
            <a:ln w="26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E680392B-8344-657E-31D4-2A729B382B4F}"/>
                </a:ext>
              </a:extLst>
            </p:cNvPr>
            <p:cNvSpPr/>
            <p:nvPr/>
          </p:nvSpPr>
          <p:spPr>
            <a:xfrm>
              <a:off x="7110284" y="4147466"/>
              <a:ext cx="568299" cy="358363"/>
            </a:xfrm>
            <a:custGeom>
              <a:avLst/>
              <a:gdLst>
                <a:gd name="connsiteX0" fmla="*/ 10682 w 568299"/>
                <a:gd name="connsiteY0" fmla="*/ 62378 h 358363"/>
                <a:gd name="connsiteX1" fmla="*/ 186505 w 568299"/>
                <a:gd name="connsiteY1" fmla="*/ 22737 h 358363"/>
                <a:gd name="connsiteX2" fmla="*/ 252793 w 568299"/>
                <a:gd name="connsiteY2" fmla="*/ 18177 h 358363"/>
                <a:gd name="connsiteX3" fmla="*/ 312214 w 568299"/>
                <a:gd name="connsiteY3" fmla="*/ 93162 h 358363"/>
                <a:gd name="connsiteX4" fmla="*/ 272149 w 568299"/>
                <a:gd name="connsiteY4" fmla="*/ 249205 h 358363"/>
                <a:gd name="connsiteX5" fmla="*/ 192603 w 568299"/>
                <a:gd name="connsiteY5" fmla="*/ 302050 h 358363"/>
                <a:gd name="connsiteX6" fmla="*/ 248471 w 568299"/>
                <a:gd name="connsiteY6" fmla="*/ 357520 h 358363"/>
                <a:gd name="connsiteX7" fmla="*/ 561961 w 568299"/>
                <a:gd name="connsiteY7" fmla="*/ 268852 h 358363"/>
                <a:gd name="connsiteX8" fmla="*/ 564056 w 568299"/>
                <a:gd name="connsiteY8" fmla="*/ 252943 h 358363"/>
                <a:gd name="connsiteX9" fmla="*/ 390619 w 568299"/>
                <a:gd name="connsiteY9" fmla="*/ 201822 h 358363"/>
                <a:gd name="connsiteX10" fmla="*/ 396824 w 568299"/>
                <a:gd name="connsiteY10" fmla="*/ 216750 h 358363"/>
                <a:gd name="connsiteX11" fmla="*/ 536984 w 568299"/>
                <a:gd name="connsiteY11" fmla="*/ 130442 h 358363"/>
                <a:gd name="connsiteX12" fmla="*/ 534889 w 568299"/>
                <a:gd name="connsiteY12" fmla="*/ 114533 h 358363"/>
                <a:gd name="connsiteX13" fmla="*/ 328202 w 568299"/>
                <a:gd name="connsiteY13" fmla="*/ 91279 h 358363"/>
                <a:gd name="connsiteX14" fmla="*/ 328202 w 568299"/>
                <a:gd name="connsiteY14" fmla="*/ 108779 h 358363"/>
                <a:gd name="connsiteX15" fmla="*/ 530249 w 568299"/>
                <a:gd name="connsiteY15" fmla="*/ 131397 h 358363"/>
                <a:gd name="connsiteX16" fmla="*/ 528154 w 568299"/>
                <a:gd name="connsiteY16" fmla="*/ 115488 h 358363"/>
                <a:gd name="connsiteX17" fmla="*/ 384547 w 568299"/>
                <a:gd name="connsiteY17" fmla="*/ 204553 h 358363"/>
                <a:gd name="connsiteX18" fmla="*/ 390725 w 568299"/>
                <a:gd name="connsiteY18" fmla="*/ 219481 h 358363"/>
                <a:gd name="connsiteX19" fmla="*/ 555332 w 568299"/>
                <a:gd name="connsiteY19" fmla="*/ 268216 h 358363"/>
                <a:gd name="connsiteX20" fmla="*/ 557427 w 568299"/>
                <a:gd name="connsiteY20" fmla="*/ 252307 h 358363"/>
                <a:gd name="connsiteX21" fmla="*/ 402763 w 568299"/>
                <a:gd name="connsiteY21" fmla="*/ 303985 h 358363"/>
                <a:gd name="connsiteX22" fmla="*/ 323774 w 568299"/>
                <a:gd name="connsiteY22" fmla="*/ 324349 h 358363"/>
                <a:gd name="connsiteX23" fmla="*/ 243937 w 568299"/>
                <a:gd name="connsiteY23" fmla="*/ 340974 h 358363"/>
                <a:gd name="connsiteX24" fmla="*/ 227312 w 568299"/>
                <a:gd name="connsiteY24" fmla="*/ 342273 h 358363"/>
                <a:gd name="connsiteX25" fmla="*/ 218403 w 568299"/>
                <a:gd name="connsiteY25" fmla="*/ 300830 h 358363"/>
                <a:gd name="connsiteX26" fmla="*/ 243619 w 568299"/>
                <a:gd name="connsiteY26" fmla="*/ 284417 h 358363"/>
                <a:gd name="connsiteX27" fmla="*/ 289411 w 568299"/>
                <a:gd name="connsiteY27" fmla="*/ 258803 h 358363"/>
                <a:gd name="connsiteX28" fmla="*/ 320778 w 568299"/>
                <a:gd name="connsiteY28" fmla="*/ 193761 h 358363"/>
                <a:gd name="connsiteX29" fmla="*/ 287952 w 568299"/>
                <a:gd name="connsiteY29" fmla="*/ 6165 h 358363"/>
                <a:gd name="connsiteX30" fmla="*/ 168845 w 568299"/>
                <a:gd name="connsiteY30" fmla="*/ 7783 h 358363"/>
                <a:gd name="connsiteX31" fmla="*/ 6042 w 568299"/>
                <a:gd name="connsiteY31" fmla="*/ 45593 h 358363"/>
                <a:gd name="connsiteX32" fmla="*/ 10682 w 568299"/>
                <a:gd name="connsiteY32" fmla="*/ 62457 h 358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568299" h="358363">
                  <a:moveTo>
                    <a:pt x="10682" y="62378"/>
                  </a:moveTo>
                  <a:cubicBezTo>
                    <a:pt x="67796" y="43246"/>
                    <a:pt x="126707" y="29965"/>
                    <a:pt x="186505" y="22737"/>
                  </a:cubicBezTo>
                  <a:cubicBezTo>
                    <a:pt x="208327" y="20086"/>
                    <a:pt x="230891" y="17169"/>
                    <a:pt x="252793" y="18177"/>
                  </a:cubicBezTo>
                  <a:cubicBezTo>
                    <a:pt x="300096" y="20324"/>
                    <a:pt x="315236" y="47688"/>
                    <a:pt x="312214" y="93162"/>
                  </a:cubicBezTo>
                  <a:cubicBezTo>
                    <a:pt x="309032" y="140677"/>
                    <a:pt x="315502" y="220091"/>
                    <a:pt x="272149" y="249205"/>
                  </a:cubicBezTo>
                  <a:cubicBezTo>
                    <a:pt x="245978" y="266784"/>
                    <a:pt x="211031" y="274368"/>
                    <a:pt x="192603" y="302050"/>
                  </a:cubicBezTo>
                  <a:cubicBezTo>
                    <a:pt x="163224" y="346198"/>
                    <a:pt x="212755" y="362425"/>
                    <a:pt x="248471" y="357520"/>
                  </a:cubicBezTo>
                  <a:cubicBezTo>
                    <a:pt x="354983" y="342936"/>
                    <a:pt x="461946" y="307140"/>
                    <a:pt x="561961" y="268852"/>
                  </a:cubicBezTo>
                  <a:cubicBezTo>
                    <a:pt x="568537" y="266333"/>
                    <a:pt x="571189" y="256735"/>
                    <a:pt x="564056" y="252943"/>
                  </a:cubicBezTo>
                  <a:cubicBezTo>
                    <a:pt x="510522" y="223800"/>
                    <a:pt x="451403" y="206374"/>
                    <a:pt x="390619" y="201822"/>
                  </a:cubicBezTo>
                  <a:lnTo>
                    <a:pt x="396824" y="216750"/>
                  </a:lnTo>
                  <a:cubicBezTo>
                    <a:pt x="439254" y="181533"/>
                    <a:pt x="486438" y="152478"/>
                    <a:pt x="536984" y="130442"/>
                  </a:cubicBezTo>
                  <a:cubicBezTo>
                    <a:pt x="544276" y="127234"/>
                    <a:pt x="541438" y="116469"/>
                    <a:pt x="534889" y="114533"/>
                  </a:cubicBezTo>
                  <a:cubicBezTo>
                    <a:pt x="468063" y="93882"/>
                    <a:pt x="397946" y="85993"/>
                    <a:pt x="328202" y="91279"/>
                  </a:cubicBezTo>
                  <a:cubicBezTo>
                    <a:pt x="317039" y="92101"/>
                    <a:pt x="316960" y="109601"/>
                    <a:pt x="328202" y="108779"/>
                  </a:cubicBezTo>
                  <a:cubicBezTo>
                    <a:pt x="396373" y="103593"/>
                    <a:pt x="464913" y="111265"/>
                    <a:pt x="530249" y="131397"/>
                  </a:cubicBezTo>
                  <a:cubicBezTo>
                    <a:pt x="529560" y="126094"/>
                    <a:pt x="528844" y="120791"/>
                    <a:pt x="528154" y="115488"/>
                  </a:cubicBezTo>
                  <a:cubicBezTo>
                    <a:pt x="476346" y="138295"/>
                    <a:pt x="428003" y="168277"/>
                    <a:pt x="384547" y="204553"/>
                  </a:cubicBezTo>
                  <a:cubicBezTo>
                    <a:pt x="378184" y="209856"/>
                    <a:pt x="383938" y="218951"/>
                    <a:pt x="390725" y="219481"/>
                  </a:cubicBezTo>
                  <a:cubicBezTo>
                    <a:pt x="448439" y="223824"/>
                    <a:pt x="504558" y="240439"/>
                    <a:pt x="555332" y="268216"/>
                  </a:cubicBezTo>
                  <a:cubicBezTo>
                    <a:pt x="556022" y="262913"/>
                    <a:pt x="556738" y="257610"/>
                    <a:pt x="557427" y="252307"/>
                  </a:cubicBezTo>
                  <a:cubicBezTo>
                    <a:pt x="506597" y="271690"/>
                    <a:pt x="455105" y="289163"/>
                    <a:pt x="402763" y="303985"/>
                  </a:cubicBezTo>
                  <a:cubicBezTo>
                    <a:pt x="376585" y="311375"/>
                    <a:pt x="350255" y="318163"/>
                    <a:pt x="323774" y="324349"/>
                  </a:cubicBezTo>
                  <a:cubicBezTo>
                    <a:pt x="301263" y="329652"/>
                    <a:pt x="266926" y="343493"/>
                    <a:pt x="243937" y="340974"/>
                  </a:cubicBezTo>
                  <a:lnTo>
                    <a:pt x="227312" y="342273"/>
                  </a:lnTo>
                  <a:cubicBezTo>
                    <a:pt x="205569" y="324155"/>
                    <a:pt x="202599" y="310341"/>
                    <a:pt x="218403" y="300830"/>
                  </a:cubicBezTo>
                  <a:cubicBezTo>
                    <a:pt x="224475" y="293644"/>
                    <a:pt x="235584" y="288739"/>
                    <a:pt x="243619" y="284417"/>
                  </a:cubicBezTo>
                  <a:cubicBezTo>
                    <a:pt x="258944" y="276144"/>
                    <a:pt x="275623" y="269727"/>
                    <a:pt x="289411" y="258803"/>
                  </a:cubicBezTo>
                  <a:cubicBezTo>
                    <a:pt x="311180" y="241542"/>
                    <a:pt x="317384" y="220515"/>
                    <a:pt x="320778" y="193761"/>
                  </a:cubicBezTo>
                  <a:cubicBezTo>
                    <a:pt x="327566" y="140412"/>
                    <a:pt x="358695" y="29366"/>
                    <a:pt x="287952" y="6165"/>
                  </a:cubicBezTo>
                  <a:cubicBezTo>
                    <a:pt x="250963" y="-6005"/>
                    <a:pt x="206205" y="2745"/>
                    <a:pt x="168845" y="7783"/>
                  </a:cubicBezTo>
                  <a:cubicBezTo>
                    <a:pt x="113535" y="15376"/>
                    <a:pt x="59038" y="28033"/>
                    <a:pt x="6042" y="45593"/>
                  </a:cubicBezTo>
                  <a:cubicBezTo>
                    <a:pt x="-4565" y="49093"/>
                    <a:pt x="-57" y="65984"/>
                    <a:pt x="10682" y="62457"/>
                  </a:cubicBezTo>
                  <a:close/>
                </a:path>
              </a:pathLst>
            </a:custGeom>
            <a:solidFill>
              <a:srgbClr val="2A2E2D"/>
            </a:solidFill>
            <a:ln w="26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BC132789-0B75-F4D4-5D5A-18904CB58DF2}"/>
                </a:ext>
              </a:extLst>
            </p:cNvPr>
            <p:cNvSpPr/>
            <p:nvPr/>
          </p:nvSpPr>
          <p:spPr>
            <a:xfrm>
              <a:off x="7146572" y="4343767"/>
              <a:ext cx="220917" cy="101320"/>
            </a:xfrm>
            <a:custGeom>
              <a:avLst/>
              <a:gdLst>
                <a:gd name="connsiteX0" fmla="*/ 10773 w 220917"/>
                <a:gd name="connsiteY0" fmla="*/ 52161 h 101320"/>
                <a:gd name="connsiteX1" fmla="*/ 135395 w 220917"/>
                <a:gd name="connsiteY1" fmla="*/ 23206 h 101320"/>
                <a:gd name="connsiteX2" fmla="*/ 193357 w 220917"/>
                <a:gd name="connsiteY2" fmla="*/ 19945 h 101320"/>
                <a:gd name="connsiteX3" fmla="*/ 175777 w 220917"/>
                <a:gd name="connsiteY3" fmla="*/ 86578 h 101320"/>
                <a:gd name="connsiteX4" fmla="*/ 188160 w 220917"/>
                <a:gd name="connsiteY4" fmla="*/ 98934 h 101320"/>
                <a:gd name="connsiteX5" fmla="*/ 203300 w 220917"/>
                <a:gd name="connsiteY5" fmla="*/ 3665 h 101320"/>
                <a:gd name="connsiteX6" fmla="*/ 119830 w 220917"/>
                <a:gd name="connsiteY6" fmla="*/ 7642 h 101320"/>
                <a:gd name="connsiteX7" fmla="*/ 6026 w 220917"/>
                <a:gd name="connsiteY7" fmla="*/ 35297 h 101320"/>
                <a:gd name="connsiteX8" fmla="*/ 10667 w 220917"/>
                <a:gd name="connsiteY8" fmla="*/ 52161 h 101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0917" h="101320">
                  <a:moveTo>
                    <a:pt x="10773" y="52161"/>
                  </a:moveTo>
                  <a:cubicBezTo>
                    <a:pt x="51116" y="37936"/>
                    <a:pt x="92912" y="28226"/>
                    <a:pt x="135395" y="23206"/>
                  </a:cubicBezTo>
                  <a:cubicBezTo>
                    <a:pt x="146186" y="22013"/>
                    <a:pt x="184474" y="13661"/>
                    <a:pt x="193357" y="19945"/>
                  </a:cubicBezTo>
                  <a:cubicBezTo>
                    <a:pt x="217353" y="36915"/>
                    <a:pt x="189035" y="74408"/>
                    <a:pt x="175777" y="86578"/>
                  </a:cubicBezTo>
                  <a:cubicBezTo>
                    <a:pt x="167478" y="94188"/>
                    <a:pt x="179861" y="106544"/>
                    <a:pt x="188160" y="98934"/>
                  </a:cubicBezTo>
                  <a:cubicBezTo>
                    <a:pt x="207887" y="80798"/>
                    <a:pt x="241906" y="19812"/>
                    <a:pt x="203300" y="3665"/>
                  </a:cubicBezTo>
                  <a:cubicBezTo>
                    <a:pt x="181929" y="-5298"/>
                    <a:pt x="142103" y="4619"/>
                    <a:pt x="119830" y="7642"/>
                  </a:cubicBezTo>
                  <a:cubicBezTo>
                    <a:pt x="81078" y="13099"/>
                    <a:pt x="42960" y="22361"/>
                    <a:pt x="6026" y="35297"/>
                  </a:cubicBezTo>
                  <a:cubicBezTo>
                    <a:pt x="-4580" y="38930"/>
                    <a:pt x="-19" y="55820"/>
                    <a:pt x="10667" y="52161"/>
                  </a:cubicBezTo>
                  <a:close/>
                </a:path>
              </a:pathLst>
            </a:custGeom>
            <a:solidFill>
              <a:srgbClr val="2A2E2D"/>
            </a:solidFill>
            <a:ln w="26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E16D2D0E-AB13-28A0-523A-E5CC34251CD7}"/>
                </a:ext>
              </a:extLst>
            </p:cNvPr>
            <p:cNvSpPr/>
            <p:nvPr/>
          </p:nvSpPr>
          <p:spPr>
            <a:xfrm>
              <a:off x="7285462" y="4353524"/>
              <a:ext cx="30472" cy="138864"/>
            </a:xfrm>
            <a:custGeom>
              <a:avLst/>
              <a:gdLst>
                <a:gd name="connsiteX0" fmla="*/ 1198 w 30472"/>
                <a:gd name="connsiteY0" fmla="*/ 8412 h 138864"/>
                <a:gd name="connsiteX1" fmla="*/ 2153 w 30472"/>
                <a:gd name="connsiteY1" fmla="*/ 92837 h 138864"/>
                <a:gd name="connsiteX2" fmla="*/ 15861 w 30472"/>
                <a:gd name="connsiteY2" fmla="*/ 137621 h 138864"/>
                <a:gd name="connsiteX3" fmla="*/ 24691 w 30472"/>
                <a:gd name="connsiteY3" fmla="*/ 137621 h 138864"/>
                <a:gd name="connsiteX4" fmla="*/ 26838 w 30472"/>
                <a:gd name="connsiteY4" fmla="*/ 135951 h 138864"/>
                <a:gd name="connsiteX5" fmla="*/ 18009 w 30472"/>
                <a:gd name="connsiteY5" fmla="*/ 120863 h 138864"/>
                <a:gd name="connsiteX6" fmla="*/ 17664 w 30472"/>
                <a:gd name="connsiteY6" fmla="*/ 61761 h 138864"/>
                <a:gd name="connsiteX7" fmla="*/ 18698 w 30472"/>
                <a:gd name="connsiteY7" fmla="*/ 8412 h 138864"/>
                <a:gd name="connsiteX8" fmla="*/ 1198 w 30472"/>
                <a:gd name="connsiteY8" fmla="*/ 8412 h 138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472" h="138864">
                  <a:moveTo>
                    <a:pt x="1198" y="8412"/>
                  </a:moveTo>
                  <a:cubicBezTo>
                    <a:pt x="-671" y="36537"/>
                    <a:pt x="-353" y="64762"/>
                    <a:pt x="2153" y="92837"/>
                  </a:cubicBezTo>
                  <a:cubicBezTo>
                    <a:pt x="3584" y="107950"/>
                    <a:pt x="1861" y="128341"/>
                    <a:pt x="15861" y="137621"/>
                  </a:cubicBezTo>
                  <a:cubicBezTo>
                    <a:pt x="18571" y="139278"/>
                    <a:pt x="21981" y="139278"/>
                    <a:pt x="24691" y="137621"/>
                  </a:cubicBezTo>
                  <a:lnTo>
                    <a:pt x="26838" y="135951"/>
                  </a:lnTo>
                  <a:cubicBezTo>
                    <a:pt x="35615" y="129163"/>
                    <a:pt x="26838" y="113969"/>
                    <a:pt x="18009" y="120863"/>
                  </a:cubicBezTo>
                  <a:cubicBezTo>
                    <a:pt x="27395" y="113598"/>
                    <a:pt x="18009" y="72685"/>
                    <a:pt x="17664" y="61761"/>
                  </a:cubicBezTo>
                  <a:cubicBezTo>
                    <a:pt x="17081" y="43943"/>
                    <a:pt x="17664" y="26177"/>
                    <a:pt x="18698" y="8412"/>
                  </a:cubicBezTo>
                  <a:cubicBezTo>
                    <a:pt x="19414" y="-2831"/>
                    <a:pt x="1914" y="-2777"/>
                    <a:pt x="1198" y="8412"/>
                  </a:cubicBezTo>
                  <a:close/>
                </a:path>
              </a:pathLst>
            </a:custGeom>
            <a:solidFill>
              <a:srgbClr val="2A2E2D"/>
            </a:solidFill>
            <a:ln w="26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4F24D2F-4DBF-4CDB-87E6-E973EA7B794C}"/>
                </a:ext>
              </a:extLst>
            </p:cNvPr>
            <p:cNvSpPr/>
            <p:nvPr/>
          </p:nvSpPr>
          <p:spPr>
            <a:xfrm>
              <a:off x="6924298" y="4638247"/>
              <a:ext cx="561393" cy="285753"/>
            </a:xfrm>
            <a:custGeom>
              <a:avLst/>
              <a:gdLst>
                <a:gd name="connsiteX0" fmla="*/ 539033 w 561393"/>
                <a:gd name="connsiteY0" fmla="*/ 240578 h 285753"/>
                <a:gd name="connsiteX1" fmla="*/ 561282 w 561393"/>
                <a:gd name="connsiteY1" fmla="*/ 213676 h 285753"/>
                <a:gd name="connsiteX2" fmla="*/ 560935 w 561393"/>
                <a:gd name="connsiteY2" fmla="*/ 211279 h 285753"/>
                <a:gd name="connsiteX3" fmla="*/ 428650 w 561393"/>
                <a:gd name="connsiteY3" fmla="*/ 29039 h 285753"/>
                <a:gd name="connsiteX4" fmla="*/ 179406 w 561393"/>
                <a:gd name="connsiteY4" fmla="*/ 34528 h 285753"/>
                <a:gd name="connsiteX5" fmla="*/ 98402 w 561393"/>
                <a:gd name="connsiteY5" fmla="*/ 101930 h 285753"/>
                <a:gd name="connsiteX6" fmla="*/ 1223 w 561393"/>
                <a:gd name="connsiteY6" fmla="*/ 253597 h 285753"/>
                <a:gd name="connsiteX7" fmla="*/ 16904 w 561393"/>
                <a:gd name="connsiteY7" fmla="*/ 284535 h 285753"/>
                <a:gd name="connsiteX8" fmla="*/ 26731 w 561393"/>
                <a:gd name="connsiteY8" fmla="*/ 285654 h 285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1393" h="285753">
                  <a:moveTo>
                    <a:pt x="539033" y="240578"/>
                  </a:moveTo>
                  <a:cubicBezTo>
                    <a:pt x="552606" y="239292"/>
                    <a:pt x="562565" y="227246"/>
                    <a:pt x="561282" y="213676"/>
                  </a:cubicBezTo>
                  <a:cubicBezTo>
                    <a:pt x="561205" y="212870"/>
                    <a:pt x="561089" y="212072"/>
                    <a:pt x="560935" y="211279"/>
                  </a:cubicBezTo>
                  <a:cubicBezTo>
                    <a:pt x="547147" y="134941"/>
                    <a:pt x="497298" y="65445"/>
                    <a:pt x="428650" y="29039"/>
                  </a:cubicBezTo>
                  <a:cubicBezTo>
                    <a:pt x="351915" y="-11582"/>
                    <a:pt x="254206" y="-9434"/>
                    <a:pt x="179406" y="34528"/>
                  </a:cubicBezTo>
                  <a:cubicBezTo>
                    <a:pt x="149020" y="52373"/>
                    <a:pt x="122610" y="76316"/>
                    <a:pt x="98402" y="101930"/>
                  </a:cubicBezTo>
                  <a:cubicBezTo>
                    <a:pt x="56799" y="145866"/>
                    <a:pt x="20420" y="196696"/>
                    <a:pt x="1223" y="253597"/>
                  </a:cubicBezTo>
                  <a:cubicBezTo>
                    <a:pt x="-2990" y="266471"/>
                    <a:pt x="4031" y="280322"/>
                    <a:pt x="16904" y="284535"/>
                  </a:cubicBezTo>
                  <a:cubicBezTo>
                    <a:pt x="20070" y="285572"/>
                    <a:pt x="23414" y="285954"/>
                    <a:pt x="26731" y="285654"/>
                  </a:cubicBezTo>
                  <a:close/>
                </a:path>
              </a:pathLst>
            </a:custGeom>
            <a:solidFill>
              <a:srgbClr val="2A2E2D"/>
            </a:solidFill>
            <a:ln w="26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73BAEDFC-2152-8DB0-DAC6-4BEE68CCD3A2}"/>
                </a:ext>
              </a:extLst>
            </p:cNvPr>
            <p:cNvSpPr/>
            <p:nvPr/>
          </p:nvSpPr>
          <p:spPr>
            <a:xfrm>
              <a:off x="7038422" y="4109179"/>
              <a:ext cx="24215" cy="56274"/>
            </a:xfrm>
            <a:custGeom>
              <a:avLst/>
              <a:gdLst>
                <a:gd name="connsiteX0" fmla="*/ 7638 w 24215"/>
                <a:gd name="connsiteY0" fmla="*/ 4123 h 56274"/>
                <a:gd name="connsiteX1" fmla="*/ 5411 w 24215"/>
                <a:gd name="connsiteY1" fmla="*/ 51850 h 56274"/>
                <a:gd name="connsiteX2" fmla="*/ 20525 w 24215"/>
                <a:gd name="connsiteY2" fmla="*/ 43021 h 56274"/>
                <a:gd name="connsiteX3" fmla="*/ 22752 w 24215"/>
                <a:gd name="connsiteY3" fmla="*/ 12846 h 56274"/>
                <a:gd name="connsiteX4" fmla="*/ 7638 w 24215"/>
                <a:gd name="connsiteY4" fmla="*/ 4017 h 56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15" h="56274">
                  <a:moveTo>
                    <a:pt x="7638" y="4123"/>
                  </a:moveTo>
                  <a:cubicBezTo>
                    <a:pt x="-1680" y="18458"/>
                    <a:pt x="-2532" y="36709"/>
                    <a:pt x="5411" y="51850"/>
                  </a:cubicBezTo>
                  <a:cubicBezTo>
                    <a:pt x="10502" y="61899"/>
                    <a:pt x="25589" y="53043"/>
                    <a:pt x="20525" y="43021"/>
                  </a:cubicBezTo>
                  <a:cubicBezTo>
                    <a:pt x="15644" y="33321"/>
                    <a:pt x="16501" y="21723"/>
                    <a:pt x="22752" y="12846"/>
                  </a:cubicBezTo>
                  <a:cubicBezTo>
                    <a:pt x="28956" y="3407"/>
                    <a:pt x="13816" y="-5370"/>
                    <a:pt x="7638" y="4017"/>
                  </a:cubicBezTo>
                  <a:close/>
                </a:path>
              </a:pathLst>
            </a:custGeom>
            <a:solidFill>
              <a:srgbClr val="2A2E2D"/>
            </a:solidFill>
            <a:ln w="26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20" name="Graphic 26">
            <a:extLst>
              <a:ext uri="{FF2B5EF4-FFF2-40B4-BE49-F238E27FC236}">
                <a16:creationId xmlns:a16="http://schemas.microsoft.com/office/drawing/2014/main" id="{8D4663BD-970F-5E32-2650-0247731A68F3}"/>
              </a:ext>
            </a:extLst>
          </p:cNvPr>
          <p:cNvGrpSpPr/>
          <p:nvPr/>
        </p:nvGrpSpPr>
        <p:grpSpPr>
          <a:xfrm>
            <a:off x="3037994" y="2516121"/>
            <a:ext cx="671820" cy="941468"/>
            <a:chOff x="3037994" y="2516121"/>
            <a:chExt cx="671820" cy="941468"/>
          </a:xfrm>
          <a:solidFill>
            <a:srgbClr val="2A2E2D"/>
          </a:solidFill>
        </p:grpSpPr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38EFB3A0-4128-11A8-F388-826ABDA5827F}"/>
                </a:ext>
              </a:extLst>
            </p:cNvPr>
            <p:cNvSpPr/>
            <p:nvPr/>
          </p:nvSpPr>
          <p:spPr>
            <a:xfrm>
              <a:off x="3065083" y="2516121"/>
              <a:ext cx="644731" cy="930884"/>
            </a:xfrm>
            <a:custGeom>
              <a:avLst/>
              <a:gdLst>
                <a:gd name="connsiteX0" fmla="*/ 489800 w 644731"/>
                <a:gd name="connsiteY0" fmla="*/ 57557 h 930884"/>
                <a:gd name="connsiteX1" fmla="*/ 607448 w 644731"/>
                <a:gd name="connsiteY1" fmla="*/ 694057 h 930884"/>
                <a:gd name="connsiteX2" fmla="*/ 622297 w 644731"/>
                <a:gd name="connsiteY2" fmla="*/ 760742 h 930884"/>
                <a:gd name="connsiteX3" fmla="*/ 578202 w 644731"/>
                <a:gd name="connsiteY3" fmla="*/ 834985 h 930884"/>
                <a:gd name="connsiteX4" fmla="*/ 513478 w 644731"/>
                <a:gd name="connsiteY4" fmla="*/ 855323 h 930884"/>
                <a:gd name="connsiteX5" fmla="*/ 319624 w 644731"/>
                <a:gd name="connsiteY5" fmla="*/ 894777 h 930884"/>
                <a:gd name="connsiteX6" fmla="*/ 238912 w 644731"/>
                <a:gd name="connsiteY6" fmla="*/ 909069 h 930884"/>
                <a:gd name="connsiteX7" fmla="*/ 169018 w 644731"/>
                <a:gd name="connsiteY7" fmla="*/ 903448 h 930884"/>
                <a:gd name="connsiteX8" fmla="*/ 162203 w 644731"/>
                <a:gd name="connsiteY8" fmla="*/ 875262 h 930884"/>
                <a:gd name="connsiteX9" fmla="*/ 99786 w 644731"/>
                <a:gd name="connsiteY9" fmla="*/ 556336 h 930884"/>
                <a:gd name="connsiteX10" fmla="*/ 34452 w 644731"/>
                <a:gd name="connsiteY10" fmla="*/ 237861 h 930884"/>
                <a:gd name="connsiteX11" fmla="*/ 37846 w 644731"/>
                <a:gd name="connsiteY11" fmla="*/ 102262 h 930884"/>
                <a:gd name="connsiteX12" fmla="*/ 111082 w 644731"/>
                <a:gd name="connsiteY12" fmla="*/ 83701 h 930884"/>
                <a:gd name="connsiteX13" fmla="*/ 312359 w 644731"/>
                <a:gd name="connsiteY13" fmla="*/ 41276 h 930884"/>
                <a:gd name="connsiteX14" fmla="*/ 400470 w 644731"/>
                <a:gd name="connsiteY14" fmla="*/ 22928 h 930884"/>
                <a:gd name="connsiteX15" fmla="*/ 489800 w 644731"/>
                <a:gd name="connsiteY15" fmla="*/ 57636 h 930884"/>
                <a:gd name="connsiteX16" fmla="*/ 506663 w 644731"/>
                <a:gd name="connsiteY16" fmla="*/ 52996 h 930884"/>
                <a:gd name="connsiteX17" fmla="*/ 389201 w 644731"/>
                <a:gd name="connsiteY17" fmla="*/ 7363 h 930884"/>
                <a:gd name="connsiteX18" fmla="*/ 171616 w 644731"/>
                <a:gd name="connsiteY18" fmla="*/ 53182 h 930884"/>
                <a:gd name="connsiteX19" fmla="*/ 8149 w 644731"/>
                <a:gd name="connsiteY19" fmla="*/ 107909 h 930884"/>
                <a:gd name="connsiteX20" fmla="*/ 7380 w 644731"/>
                <a:gd name="connsiteY20" fmla="*/ 192175 h 930884"/>
                <a:gd name="connsiteX21" fmla="*/ 48506 w 644731"/>
                <a:gd name="connsiteY21" fmla="*/ 393373 h 930884"/>
                <a:gd name="connsiteX22" fmla="*/ 129536 w 644731"/>
                <a:gd name="connsiteY22" fmla="*/ 795955 h 930884"/>
                <a:gd name="connsiteX23" fmla="*/ 206908 w 644731"/>
                <a:gd name="connsiteY23" fmla="*/ 930812 h 930884"/>
                <a:gd name="connsiteX24" fmla="*/ 444750 w 644731"/>
                <a:gd name="connsiteY24" fmla="*/ 888387 h 930884"/>
                <a:gd name="connsiteX25" fmla="*/ 624763 w 644731"/>
                <a:gd name="connsiteY25" fmla="*/ 830743 h 930884"/>
                <a:gd name="connsiteX26" fmla="*/ 631630 w 644731"/>
                <a:gd name="connsiteY26" fmla="*/ 722640 h 930884"/>
                <a:gd name="connsiteX27" fmla="*/ 587641 w 644731"/>
                <a:gd name="connsiteY27" fmla="*/ 505586 h 930884"/>
                <a:gd name="connsiteX28" fmla="*/ 506663 w 644731"/>
                <a:gd name="connsiteY28" fmla="*/ 53023 h 930884"/>
                <a:gd name="connsiteX29" fmla="*/ 489800 w 644731"/>
                <a:gd name="connsiteY29" fmla="*/ 57557 h 930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644731" h="930884">
                  <a:moveTo>
                    <a:pt x="489800" y="57557"/>
                  </a:moveTo>
                  <a:cubicBezTo>
                    <a:pt x="529307" y="269679"/>
                    <a:pt x="562027" y="483074"/>
                    <a:pt x="607448" y="694057"/>
                  </a:cubicBezTo>
                  <a:cubicBezTo>
                    <a:pt x="612194" y="716038"/>
                    <a:pt x="619645" y="738443"/>
                    <a:pt x="622297" y="760742"/>
                  </a:cubicBezTo>
                  <a:cubicBezTo>
                    <a:pt x="627918" y="808125"/>
                    <a:pt x="617577" y="818572"/>
                    <a:pt x="578202" y="834985"/>
                  </a:cubicBezTo>
                  <a:cubicBezTo>
                    <a:pt x="557207" y="843489"/>
                    <a:pt x="535562" y="850290"/>
                    <a:pt x="513478" y="855323"/>
                  </a:cubicBezTo>
                  <a:cubicBezTo>
                    <a:pt x="449443" y="870914"/>
                    <a:pt x="384454" y="882925"/>
                    <a:pt x="319624" y="894777"/>
                  </a:cubicBezTo>
                  <a:cubicBezTo>
                    <a:pt x="292765" y="899709"/>
                    <a:pt x="265905" y="904906"/>
                    <a:pt x="238912" y="909069"/>
                  </a:cubicBezTo>
                  <a:cubicBezTo>
                    <a:pt x="222260" y="911721"/>
                    <a:pt x="182514" y="921505"/>
                    <a:pt x="169018" y="903448"/>
                  </a:cubicBezTo>
                  <a:cubicBezTo>
                    <a:pt x="163555" y="896130"/>
                    <a:pt x="163715" y="883959"/>
                    <a:pt x="162203" y="875262"/>
                  </a:cubicBezTo>
                  <a:cubicBezTo>
                    <a:pt x="142317" y="768830"/>
                    <a:pt x="121511" y="662522"/>
                    <a:pt x="99786" y="556336"/>
                  </a:cubicBezTo>
                  <a:cubicBezTo>
                    <a:pt x="78150" y="450275"/>
                    <a:pt x="56036" y="344055"/>
                    <a:pt x="34452" y="237861"/>
                  </a:cubicBezTo>
                  <a:cubicBezTo>
                    <a:pt x="27002" y="201296"/>
                    <a:pt x="-2669" y="128856"/>
                    <a:pt x="37846" y="102262"/>
                  </a:cubicBezTo>
                  <a:cubicBezTo>
                    <a:pt x="57044" y="89667"/>
                    <a:pt x="88703" y="88208"/>
                    <a:pt x="111082" y="83701"/>
                  </a:cubicBezTo>
                  <a:cubicBezTo>
                    <a:pt x="178271" y="69939"/>
                    <a:pt x="245276" y="55436"/>
                    <a:pt x="312359" y="41276"/>
                  </a:cubicBezTo>
                  <a:cubicBezTo>
                    <a:pt x="341712" y="35072"/>
                    <a:pt x="371064" y="28841"/>
                    <a:pt x="400470" y="22928"/>
                  </a:cubicBezTo>
                  <a:cubicBezTo>
                    <a:pt x="439633" y="14973"/>
                    <a:pt x="479087" y="7814"/>
                    <a:pt x="489800" y="57636"/>
                  </a:cubicBezTo>
                  <a:cubicBezTo>
                    <a:pt x="492160" y="68640"/>
                    <a:pt x="509050" y="64000"/>
                    <a:pt x="506663" y="52996"/>
                  </a:cubicBezTo>
                  <a:cubicBezTo>
                    <a:pt x="492743" y="-11834"/>
                    <a:pt x="441648" y="-3296"/>
                    <a:pt x="389201" y="7363"/>
                  </a:cubicBezTo>
                  <a:cubicBezTo>
                    <a:pt x="316549" y="22106"/>
                    <a:pt x="244135" y="37882"/>
                    <a:pt x="171616" y="53182"/>
                  </a:cubicBezTo>
                  <a:cubicBezTo>
                    <a:pt x="128025" y="62356"/>
                    <a:pt x="33180" y="64477"/>
                    <a:pt x="8149" y="107909"/>
                  </a:cubicBezTo>
                  <a:cubicBezTo>
                    <a:pt x="-6540" y="133444"/>
                    <a:pt x="2077" y="165421"/>
                    <a:pt x="7380" y="192175"/>
                  </a:cubicBezTo>
                  <a:cubicBezTo>
                    <a:pt x="20638" y="259338"/>
                    <a:pt x="34718" y="326342"/>
                    <a:pt x="48506" y="393373"/>
                  </a:cubicBezTo>
                  <a:cubicBezTo>
                    <a:pt x="76135" y="527434"/>
                    <a:pt x="103816" y="661496"/>
                    <a:pt x="129536" y="795955"/>
                  </a:cubicBezTo>
                  <a:cubicBezTo>
                    <a:pt x="140434" y="852857"/>
                    <a:pt x="131658" y="933649"/>
                    <a:pt x="206908" y="930812"/>
                  </a:cubicBezTo>
                  <a:cubicBezTo>
                    <a:pt x="285367" y="927868"/>
                    <a:pt x="368201" y="904296"/>
                    <a:pt x="444750" y="888387"/>
                  </a:cubicBezTo>
                  <a:cubicBezTo>
                    <a:pt x="500857" y="876826"/>
                    <a:pt x="578096" y="868156"/>
                    <a:pt x="624763" y="830743"/>
                  </a:cubicBezTo>
                  <a:cubicBezTo>
                    <a:pt x="659763" y="802663"/>
                    <a:pt x="639797" y="759390"/>
                    <a:pt x="631630" y="722640"/>
                  </a:cubicBezTo>
                  <a:cubicBezTo>
                    <a:pt x="615588" y="650571"/>
                    <a:pt x="601217" y="578158"/>
                    <a:pt x="587641" y="505586"/>
                  </a:cubicBezTo>
                  <a:cubicBezTo>
                    <a:pt x="559455" y="354979"/>
                    <a:pt x="534743" y="203656"/>
                    <a:pt x="506663" y="53023"/>
                  </a:cubicBezTo>
                  <a:cubicBezTo>
                    <a:pt x="504622" y="41860"/>
                    <a:pt x="487758" y="46553"/>
                    <a:pt x="489800" y="57557"/>
                  </a:cubicBezTo>
                  <a:close/>
                </a:path>
              </a:pathLst>
            </a:custGeom>
            <a:solidFill>
              <a:srgbClr val="2A2E2D"/>
            </a:solidFill>
            <a:ln w="2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78A66AC0-F274-2FFF-B736-E3E0CB68DCB7}"/>
                </a:ext>
              </a:extLst>
            </p:cNvPr>
            <p:cNvSpPr/>
            <p:nvPr/>
          </p:nvSpPr>
          <p:spPr>
            <a:xfrm>
              <a:off x="3124566" y="2576685"/>
              <a:ext cx="526123" cy="766228"/>
            </a:xfrm>
            <a:custGeom>
              <a:avLst/>
              <a:gdLst>
                <a:gd name="connsiteX0" fmla="*/ 238 w 526123"/>
                <a:gd name="connsiteY0" fmla="*/ 88285 h 766228"/>
                <a:gd name="connsiteX1" fmla="*/ 140769 w 526123"/>
                <a:gd name="connsiteY1" fmla="*/ 759785 h 766228"/>
                <a:gd name="connsiteX2" fmla="*/ 149201 w 526123"/>
                <a:gd name="connsiteY2" fmla="*/ 766229 h 766228"/>
                <a:gd name="connsiteX3" fmla="*/ 519752 w 526123"/>
                <a:gd name="connsiteY3" fmla="*/ 685993 h 766228"/>
                <a:gd name="connsiteX4" fmla="*/ 525851 w 526123"/>
                <a:gd name="connsiteY4" fmla="*/ 675228 h 766228"/>
                <a:gd name="connsiteX5" fmla="*/ 387759 w 526123"/>
                <a:gd name="connsiteY5" fmla="*/ 6486 h 766228"/>
                <a:gd name="connsiteX6" fmla="*/ 379327 w 526123"/>
                <a:gd name="connsiteY6" fmla="*/ 42 h 766228"/>
                <a:gd name="connsiteX7" fmla="*/ 6231 w 526123"/>
                <a:gd name="connsiteY7" fmla="*/ 77520 h 766228"/>
                <a:gd name="connsiteX8" fmla="*/ 10897 w 526123"/>
                <a:gd name="connsiteY8" fmla="*/ 94384 h 766228"/>
                <a:gd name="connsiteX9" fmla="*/ 216258 w 526123"/>
                <a:gd name="connsiteY9" fmla="*/ 47399 h 766228"/>
                <a:gd name="connsiteX10" fmla="*/ 357346 w 526123"/>
                <a:gd name="connsiteY10" fmla="*/ 20645 h 766228"/>
                <a:gd name="connsiteX11" fmla="*/ 377392 w 526123"/>
                <a:gd name="connsiteY11" fmla="*/ 32365 h 766228"/>
                <a:gd name="connsiteX12" fmla="*/ 384127 w 526123"/>
                <a:gd name="connsiteY12" fmla="*/ 56016 h 766228"/>
                <a:gd name="connsiteX13" fmla="*/ 401441 w 526123"/>
                <a:gd name="connsiteY13" fmla="*/ 123975 h 766228"/>
                <a:gd name="connsiteX14" fmla="*/ 508934 w 526123"/>
                <a:gd name="connsiteY14" fmla="*/ 679895 h 766228"/>
                <a:gd name="connsiteX15" fmla="*/ 515059 w 526123"/>
                <a:gd name="connsiteY15" fmla="*/ 669130 h 766228"/>
                <a:gd name="connsiteX16" fmla="*/ 294240 w 526123"/>
                <a:gd name="connsiteY16" fmla="*/ 723035 h 766228"/>
                <a:gd name="connsiteX17" fmla="*/ 221694 w 526123"/>
                <a:gd name="connsiteY17" fmla="*/ 738202 h 766228"/>
                <a:gd name="connsiteX18" fmla="*/ 163148 w 526123"/>
                <a:gd name="connsiteY18" fmla="*/ 747456 h 766228"/>
                <a:gd name="connsiteX19" fmla="*/ 153921 w 526123"/>
                <a:gd name="connsiteY19" fmla="*/ 732634 h 766228"/>
                <a:gd name="connsiteX20" fmla="*/ 149466 w 526123"/>
                <a:gd name="connsiteY20" fmla="*/ 707683 h 766228"/>
                <a:gd name="connsiteX21" fmla="*/ 137455 w 526123"/>
                <a:gd name="connsiteY21" fmla="*/ 646273 h 766228"/>
                <a:gd name="connsiteX22" fmla="*/ 17102 w 526123"/>
                <a:gd name="connsiteY22" fmla="*/ 83619 h 766228"/>
                <a:gd name="connsiteX23" fmla="*/ 238 w 526123"/>
                <a:gd name="connsiteY23" fmla="*/ 88285 h 766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26123" h="766228">
                  <a:moveTo>
                    <a:pt x="238" y="88285"/>
                  </a:moveTo>
                  <a:cubicBezTo>
                    <a:pt x="38367" y="313665"/>
                    <a:pt x="105371" y="533742"/>
                    <a:pt x="140769" y="759785"/>
                  </a:cubicBezTo>
                  <a:cubicBezTo>
                    <a:pt x="141808" y="763588"/>
                    <a:pt x="145260" y="766226"/>
                    <a:pt x="149201" y="766229"/>
                  </a:cubicBezTo>
                  <a:cubicBezTo>
                    <a:pt x="275069" y="756153"/>
                    <a:pt x="397119" y="713490"/>
                    <a:pt x="519752" y="685993"/>
                  </a:cubicBezTo>
                  <a:cubicBezTo>
                    <a:pt x="524334" y="684609"/>
                    <a:pt x="527018" y="679868"/>
                    <a:pt x="525851" y="675228"/>
                  </a:cubicBezTo>
                  <a:cubicBezTo>
                    <a:pt x="489048" y="452500"/>
                    <a:pt x="456328" y="222082"/>
                    <a:pt x="387759" y="6486"/>
                  </a:cubicBezTo>
                  <a:cubicBezTo>
                    <a:pt x="386725" y="3198"/>
                    <a:pt x="383172" y="-435"/>
                    <a:pt x="379327" y="42"/>
                  </a:cubicBezTo>
                  <a:cubicBezTo>
                    <a:pt x="253671" y="16323"/>
                    <a:pt x="129262" y="47346"/>
                    <a:pt x="6231" y="77520"/>
                  </a:cubicBezTo>
                  <a:cubicBezTo>
                    <a:pt x="-4694" y="80172"/>
                    <a:pt x="-54" y="97088"/>
                    <a:pt x="10897" y="94384"/>
                  </a:cubicBezTo>
                  <a:cubicBezTo>
                    <a:pt x="79112" y="77697"/>
                    <a:pt x="147566" y="62035"/>
                    <a:pt x="216258" y="47399"/>
                  </a:cubicBezTo>
                  <a:cubicBezTo>
                    <a:pt x="261546" y="37800"/>
                    <a:pt x="310997" y="21971"/>
                    <a:pt x="357346" y="20645"/>
                  </a:cubicBezTo>
                  <a:cubicBezTo>
                    <a:pt x="376066" y="20088"/>
                    <a:pt x="369013" y="16508"/>
                    <a:pt x="377392" y="32365"/>
                  </a:cubicBezTo>
                  <a:cubicBezTo>
                    <a:pt x="380706" y="38622"/>
                    <a:pt x="382244" y="49228"/>
                    <a:pt x="384127" y="56016"/>
                  </a:cubicBezTo>
                  <a:cubicBezTo>
                    <a:pt x="390305" y="78554"/>
                    <a:pt x="395979" y="101251"/>
                    <a:pt x="401441" y="123975"/>
                  </a:cubicBezTo>
                  <a:cubicBezTo>
                    <a:pt x="445403" y="307408"/>
                    <a:pt x="478203" y="493837"/>
                    <a:pt x="508934" y="679895"/>
                  </a:cubicBezTo>
                  <a:lnTo>
                    <a:pt x="515059" y="669130"/>
                  </a:lnTo>
                  <a:cubicBezTo>
                    <a:pt x="441135" y="685702"/>
                    <a:pt x="368164" y="706410"/>
                    <a:pt x="294240" y="723035"/>
                  </a:cubicBezTo>
                  <a:cubicBezTo>
                    <a:pt x="270137" y="728338"/>
                    <a:pt x="245982" y="733641"/>
                    <a:pt x="221694" y="738202"/>
                  </a:cubicBezTo>
                  <a:cubicBezTo>
                    <a:pt x="206580" y="741039"/>
                    <a:pt x="176936" y="752096"/>
                    <a:pt x="163148" y="747456"/>
                  </a:cubicBezTo>
                  <a:cubicBezTo>
                    <a:pt x="151031" y="743372"/>
                    <a:pt x="159595" y="748198"/>
                    <a:pt x="153921" y="732634"/>
                  </a:cubicBezTo>
                  <a:cubicBezTo>
                    <a:pt x="151269" y="725103"/>
                    <a:pt x="150898" y="715531"/>
                    <a:pt x="149466" y="707683"/>
                  </a:cubicBezTo>
                  <a:cubicBezTo>
                    <a:pt x="145675" y="687160"/>
                    <a:pt x="141512" y="666717"/>
                    <a:pt x="137455" y="646273"/>
                  </a:cubicBezTo>
                  <a:cubicBezTo>
                    <a:pt x="99193" y="458465"/>
                    <a:pt x="49079" y="272673"/>
                    <a:pt x="17102" y="83619"/>
                  </a:cubicBezTo>
                  <a:cubicBezTo>
                    <a:pt x="15246" y="72562"/>
                    <a:pt x="-1724" y="77308"/>
                    <a:pt x="238" y="88285"/>
                  </a:cubicBezTo>
                  <a:close/>
                </a:path>
              </a:pathLst>
            </a:custGeom>
            <a:solidFill>
              <a:srgbClr val="2A2E2D"/>
            </a:solidFill>
            <a:ln w="2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7D7A9ACC-8A7D-0CCA-D646-1AB1F52DFDAC}"/>
                </a:ext>
              </a:extLst>
            </p:cNvPr>
            <p:cNvSpPr/>
            <p:nvPr/>
          </p:nvSpPr>
          <p:spPr>
            <a:xfrm>
              <a:off x="3183017" y="2696928"/>
              <a:ext cx="110997" cy="109637"/>
            </a:xfrm>
            <a:custGeom>
              <a:avLst/>
              <a:gdLst>
                <a:gd name="connsiteX0" fmla="*/ 38463 w 110997"/>
                <a:gd name="connsiteY0" fmla="*/ 1133 h 109637"/>
                <a:gd name="connsiteX1" fmla="*/ 572 w 110997"/>
                <a:gd name="connsiteY1" fmla="*/ 68429 h 109637"/>
                <a:gd name="connsiteX2" fmla="*/ 61557 w 110997"/>
                <a:gd name="connsiteY2" fmla="*/ 107592 h 109637"/>
                <a:gd name="connsiteX3" fmla="*/ 110452 w 110997"/>
                <a:gd name="connsiteY3" fmla="*/ 43956 h 109637"/>
                <a:gd name="connsiteX4" fmla="*/ 38542 w 110997"/>
                <a:gd name="connsiteY4" fmla="*/ 1160 h 109637"/>
                <a:gd name="connsiteX5" fmla="*/ 43182 w 110997"/>
                <a:gd name="connsiteY5" fmla="*/ 18024 h 109637"/>
                <a:gd name="connsiteX6" fmla="*/ 93217 w 110997"/>
                <a:gd name="connsiteY6" fmla="*/ 45785 h 109637"/>
                <a:gd name="connsiteX7" fmla="*/ 56917 w 110997"/>
                <a:gd name="connsiteY7" fmla="*/ 90596 h 109637"/>
                <a:gd name="connsiteX8" fmla="*/ 43235 w 110997"/>
                <a:gd name="connsiteY8" fmla="*/ 18050 h 109637"/>
                <a:gd name="connsiteX9" fmla="*/ 38569 w 110997"/>
                <a:gd name="connsiteY9" fmla="*/ 1186 h 109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997" h="109637">
                  <a:moveTo>
                    <a:pt x="38463" y="1133"/>
                  </a:moveTo>
                  <a:cubicBezTo>
                    <a:pt x="8765" y="5774"/>
                    <a:pt x="-2822" y="41914"/>
                    <a:pt x="572" y="68429"/>
                  </a:cubicBezTo>
                  <a:cubicBezTo>
                    <a:pt x="4443" y="98418"/>
                    <a:pt x="32603" y="115839"/>
                    <a:pt x="61557" y="107592"/>
                  </a:cubicBezTo>
                  <a:cubicBezTo>
                    <a:pt x="86217" y="100592"/>
                    <a:pt x="115357" y="71505"/>
                    <a:pt x="110452" y="43956"/>
                  </a:cubicBezTo>
                  <a:cubicBezTo>
                    <a:pt x="104989" y="13012"/>
                    <a:pt x="66622" y="-4859"/>
                    <a:pt x="38542" y="1160"/>
                  </a:cubicBezTo>
                  <a:cubicBezTo>
                    <a:pt x="27538" y="3520"/>
                    <a:pt x="32178" y="20384"/>
                    <a:pt x="43182" y="18024"/>
                  </a:cubicBezTo>
                  <a:cubicBezTo>
                    <a:pt x="60788" y="14258"/>
                    <a:pt x="88974" y="25978"/>
                    <a:pt x="93217" y="45785"/>
                  </a:cubicBezTo>
                  <a:cubicBezTo>
                    <a:pt x="97247" y="64558"/>
                    <a:pt x="72959" y="86009"/>
                    <a:pt x="56917" y="90596"/>
                  </a:cubicBezTo>
                  <a:cubicBezTo>
                    <a:pt x="9084" y="104331"/>
                    <a:pt x="4311" y="24069"/>
                    <a:pt x="43235" y="18050"/>
                  </a:cubicBezTo>
                  <a:cubicBezTo>
                    <a:pt x="54319" y="16300"/>
                    <a:pt x="49599" y="-511"/>
                    <a:pt x="38569" y="1186"/>
                  </a:cubicBezTo>
                  <a:close/>
                </a:path>
              </a:pathLst>
            </a:custGeom>
            <a:solidFill>
              <a:srgbClr val="2A2E2D"/>
            </a:solidFill>
            <a:ln w="2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A595ED0D-3FD2-5701-4451-B04C7E486A66}"/>
                </a:ext>
              </a:extLst>
            </p:cNvPr>
            <p:cNvSpPr/>
            <p:nvPr/>
          </p:nvSpPr>
          <p:spPr>
            <a:xfrm>
              <a:off x="3292759" y="2675038"/>
              <a:ext cx="142965" cy="43499"/>
            </a:xfrm>
            <a:custGeom>
              <a:avLst/>
              <a:gdLst>
                <a:gd name="connsiteX0" fmla="*/ 10892 w 142965"/>
                <a:gd name="connsiteY0" fmla="*/ 43228 h 43499"/>
                <a:gd name="connsiteX1" fmla="*/ 136654 w 142965"/>
                <a:gd name="connsiteY1" fmla="*/ 17031 h 43499"/>
                <a:gd name="connsiteX2" fmla="*/ 132013 w 142965"/>
                <a:gd name="connsiteY2" fmla="*/ 167 h 43499"/>
                <a:gd name="connsiteX3" fmla="*/ 6251 w 142965"/>
                <a:gd name="connsiteY3" fmla="*/ 26364 h 43499"/>
                <a:gd name="connsiteX4" fmla="*/ 10892 w 142965"/>
                <a:gd name="connsiteY4" fmla="*/ 43228 h 43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965" h="43499">
                  <a:moveTo>
                    <a:pt x="10892" y="43228"/>
                  </a:moveTo>
                  <a:cubicBezTo>
                    <a:pt x="52608" y="33417"/>
                    <a:pt x="94529" y="24685"/>
                    <a:pt x="136654" y="17031"/>
                  </a:cubicBezTo>
                  <a:cubicBezTo>
                    <a:pt x="147710" y="15015"/>
                    <a:pt x="143017" y="-1848"/>
                    <a:pt x="132013" y="167"/>
                  </a:cubicBezTo>
                  <a:cubicBezTo>
                    <a:pt x="89820" y="7803"/>
                    <a:pt x="47899" y="16536"/>
                    <a:pt x="6251" y="26364"/>
                  </a:cubicBezTo>
                  <a:cubicBezTo>
                    <a:pt x="-4699" y="29015"/>
                    <a:pt x="-59" y="45826"/>
                    <a:pt x="10892" y="43228"/>
                  </a:cubicBezTo>
                  <a:close/>
                </a:path>
              </a:pathLst>
            </a:custGeom>
            <a:solidFill>
              <a:srgbClr val="2A2E2D"/>
            </a:solidFill>
            <a:ln w="2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3A7DC723-7DE2-DC60-C9FB-E8F216AB953E}"/>
                </a:ext>
              </a:extLst>
            </p:cNvPr>
            <p:cNvSpPr/>
            <p:nvPr/>
          </p:nvSpPr>
          <p:spPr>
            <a:xfrm>
              <a:off x="3300868" y="2691048"/>
              <a:ext cx="194588" cy="60031"/>
            </a:xfrm>
            <a:custGeom>
              <a:avLst/>
              <a:gdLst>
                <a:gd name="connsiteX0" fmla="*/ 10922 w 194588"/>
                <a:gd name="connsiteY0" fmla="*/ 59806 h 60031"/>
                <a:gd name="connsiteX1" fmla="*/ 188389 w 194588"/>
                <a:gd name="connsiteY1" fmla="*/ 17222 h 60031"/>
                <a:gd name="connsiteX2" fmla="*/ 183722 w 194588"/>
                <a:gd name="connsiteY2" fmla="*/ 332 h 60031"/>
                <a:gd name="connsiteX3" fmla="*/ 6282 w 194588"/>
                <a:gd name="connsiteY3" fmla="*/ 42942 h 60031"/>
                <a:gd name="connsiteX4" fmla="*/ 10922 w 194588"/>
                <a:gd name="connsiteY4" fmla="*/ 59806 h 60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588" h="60031">
                  <a:moveTo>
                    <a:pt x="10922" y="59806"/>
                  </a:moveTo>
                  <a:cubicBezTo>
                    <a:pt x="70441" y="47078"/>
                    <a:pt x="129597" y="32884"/>
                    <a:pt x="188389" y="17222"/>
                  </a:cubicBezTo>
                  <a:cubicBezTo>
                    <a:pt x="199260" y="14305"/>
                    <a:pt x="194647" y="-2558"/>
                    <a:pt x="183722" y="332"/>
                  </a:cubicBezTo>
                  <a:cubicBezTo>
                    <a:pt x="124930" y="16064"/>
                    <a:pt x="65782" y="30268"/>
                    <a:pt x="6282" y="42942"/>
                  </a:cubicBezTo>
                  <a:cubicBezTo>
                    <a:pt x="-4722" y="45302"/>
                    <a:pt x="-55" y="62165"/>
                    <a:pt x="10922" y="59806"/>
                  </a:cubicBezTo>
                  <a:close/>
                </a:path>
              </a:pathLst>
            </a:custGeom>
            <a:solidFill>
              <a:srgbClr val="2A2E2D"/>
            </a:solidFill>
            <a:ln w="2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7984230C-F3C4-239F-6C77-2B961F9C7C37}"/>
                </a:ext>
              </a:extLst>
            </p:cNvPr>
            <p:cNvSpPr/>
            <p:nvPr/>
          </p:nvSpPr>
          <p:spPr>
            <a:xfrm>
              <a:off x="3219650" y="2770371"/>
              <a:ext cx="295512" cy="238707"/>
            </a:xfrm>
            <a:custGeom>
              <a:avLst/>
              <a:gdLst>
                <a:gd name="connsiteX0" fmla="*/ 0 w 295512"/>
                <a:gd name="connsiteY0" fmla="*/ 68964 h 238707"/>
                <a:gd name="connsiteX1" fmla="*/ 30015 w 295512"/>
                <a:gd name="connsiteY1" fmla="*/ 232431 h 238707"/>
                <a:gd name="connsiteX2" fmla="*/ 40781 w 295512"/>
                <a:gd name="connsiteY2" fmla="*/ 238529 h 238707"/>
                <a:gd name="connsiteX3" fmla="*/ 289096 w 295512"/>
                <a:gd name="connsiteY3" fmla="*/ 179665 h 238707"/>
                <a:gd name="connsiteX4" fmla="*/ 295513 w 295512"/>
                <a:gd name="connsiteY4" fmla="*/ 171207 h 238707"/>
                <a:gd name="connsiteX5" fmla="*/ 270854 w 295512"/>
                <a:gd name="connsiteY5" fmla="*/ 6308 h 238707"/>
                <a:gd name="connsiteX6" fmla="*/ 260089 w 295512"/>
                <a:gd name="connsiteY6" fmla="*/ 289 h 238707"/>
                <a:gd name="connsiteX7" fmla="*/ 9439 w 295512"/>
                <a:gd name="connsiteY7" fmla="*/ 55229 h 238707"/>
                <a:gd name="connsiteX8" fmla="*/ 14106 w 295512"/>
                <a:gd name="connsiteY8" fmla="*/ 72093 h 238707"/>
                <a:gd name="connsiteX9" fmla="*/ 264729 w 295512"/>
                <a:gd name="connsiteY9" fmla="*/ 17073 h 238707"/>
                <a:gd name="connsiteX10" fmla="*/ 254123 w 295512"/>
                <a:gd name="connsiteY10" fmla="*/ 10975 h 238707"/>
                <a:gd name="connsiteX11" fmla="*/ 273903 w 295512"/>
                <a:gd name="connsiteY11" fmla="*/ 122021 h 238707"/>
                <a:gd name="connsiteX12" fmla="*/ 227183 w 295512"/>
                <a:gd name="connsiteY12" fmla="*/ 178737 h 238707"/>
                <a:gd name="connsiteX13" fmla="*/ 36273 w 295512"/>
                <a:gd name="connsiteY13" fmla="*/ 221666 h 238707"/>
                <a:gd name="connsiteX14" fmla="*/ 47038 w 295512"/>
                <a:gd name="connsiteY14" fmla="*/ 227764 h 238707"/>
                <a:gd name="connsiteX15" fmla="*/ 17023 w 295512"/>
                <a:gd name="connsiteY15" fmla="*/ 64297 h 238707"/>
                <a:gd name="connsiteX16" fmla="*/ 159 w 295512"/>
                <a:gd name="connsiteY16" fmla="*/ 68964 h 238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5512" h="238707">
                  <a:moveTo>
                    <a:pt x="0" y="68964"/>
                  </a:moveTo>
                  <a:cubicBezTo>
                    <a:pt x="9227" y="123585"/>
                    <a:pt x="19232" y="178074"/>
                    <a:pt x="30015" y="232431"/>
                  </a:cubicBezTo>
                  <a:cubicBezTo>
                    <a:pt x="30996" y="237336"/>
                    <a:pt x="36405" y="239351"/>
                    <a:pt x="40781" y="238529"/>
                  </a:cubicBezTo>
                  <a:cubicBezTo>
                    <a:pt x="124497" y="222779"/>
                    <a:pt x="207270" y="203158"/>
                    <a:pt x="289096" y="179665"/>
                  </a:cubicBezTo>
                  <a:cubicBezTo>
                    <a:pt x="292869" y="178575"/>
                    <a:pt x="295479" y="175134"/>
                    <a:pt x="295513" y="171207"/>
                  </a:cubicBezTo>
                  <a:cubicBezTo>
                    <a:pt x="291758" y="115665"/>
                    <a:pt x="283512" y="60519"/>
                    <a:pt x="270854" y="6308"/>
                  </a:cubicBezTo>
                  <a:cubicBezTo>
                    <a:pt x="269459" y="1741"/>
                    <a:pt x="264710" y="-914"/>
                    <a:pt x="260089" y="289"/>
                  </a:cubicBezTo>
                  <a:lnTo>
                    <a:pt x="9439" y="55229"/>
                  </a:lnTo>
                  <a:cubicBezTo>
                    <a:pt x="-1538" y="57615"/>
                    <a:pt x="3102" y="74506"/>
                    <a:pt x="14106" y="72093"/>
                  </a:cubicBezTo>
                  <a:lnTo>
                    <a:pt x="264729" y="17073"/>
                  </a:lnTo>
                  <a:lnTo>
                    <a:pt x="254123" y="10975"/>
                  </a:lnTo>
                  <a:cubicBezTo>
                    <a:pt x="262846" y="47579"/>
                    <a:pt x="269451" y="84656"/>
                    <a:pt x="273903" y="122021"/>
                  </a:cubicBezTo>
                  <a:cubicBezTo>
                    <a:pt x="278888" y="165824"/>
                    <a:pt x="268865" y="167654"/>
                    <a:pt x="227183" y="178737"/>
                  </a:cubicBezTo>
                  <a:cubicBezTo>
                    <a:pt x="164077" y="195495"/>
                    <a:pt x="100387" y="209601"/>
                    <a:pt x="36273" y="221666"/>
                  </a:cubicBezTo>
                  <a:lnTo>
                    <a:pt x="47038" y="227764"/>
                  </a:lnTo>
                  <a:cubicBezTo>
                    <a:pt x="36255" y="173442"/>
                    <a:pt x="26250" y="118953"/>
                    <a:pt x="17023" y="64297"/>
                  </a:cubicBezTo>
                  <a:cubicBezTo>
                    <a:pt x="15167" y="53240"/>
                    <a:pt x="-1697" y="57934"/>
                    <a:pt x="159" y="68964"/>
                  </a:cubicBezTo>
                  <a:close/>
                </a:path>
              </a:pathLst>
            </a:custGeom>
            <a:solidFill>
              <a:srgbClr val="2A2E2D"/>
            </a:solidFill>
            <a:ln w="2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F3737CBA-172C-06CB-81FC-D6415B56BACF}"/>
                </a:ext>
              </a:extLst>
            </p:cNvPr>
            <p:cNvSpPr/>
            <p:nvPr/>
          </p:nvSpPr>
          <p:spPr>
            <a:xfrm>
              <a:off x="3262926" y="2984962"/>
              <a:ext cx="264257" cy="72056"/>
            </a:xfrm>
            <a:custGeom>
              <a:avLst/>
              <a:gdLst>
                <a:gd name="connsiteX0" fmla="*/ 10842 w 264257"/>
                <a:gd name="connsiteY0" fmla="*/ 71719 h 72056"/>
                <a:gd name="connsiteX1" fmla="*/ 257938 w 264257"/>
                <a:gd name="connsiteY1" fmla="*/ 17018 h 72056"/>
                <a:gd name="connsiteX2" fmla="*/ 253298 w 264257"/>
                <a:gd name="connsiteY2" fmla="*/ 154 h 72056"/>
                <a:gd name="connsiteX3" fmla="*/ 6202 w 264257"/>
                <a:gd name="connsiteY3" fmla="*/ 54855 h 72056"/>
                <a:gd name="connsiteX4" fmla="*/ 10842 w 264257"/>
                <a:gd name="connsiteY4" fmla="*/ 71719 h 72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257" h="72056">
                  <a:moveTo>
                    <a:pt x="10842" y="71719"/>
                  </a:moveTo>
                  <a:cubicBezTo>
                    <a:pt x="92422" y="49783"/>
                    <a:pt x="174786" y="31549"/>
                    <a:pt x="257938" y="17018"/>
                  </a:cubicBezTo>
                  <a:cubicBezTo>
                    <a:pt x="268995" y="15083"/>
                    <a:pt x="264328" y="-1781"/>
                    <a:pt x="253298" y="154"/>
                  </a:cubicBezTo>
                  <a:cubicBezTo>
                    <a:pt x="170093" y="14719"/>
                    <a:pt x="87728" y="32954"/>
                    <a:pt x="6202" y="54855"/>
                  </a:cubicBezTo>
                  <a:cubicBezTo>
                    <a:pt x="-4670" y="57772"/>
                    <a:pt x="-56" y="74636"/>
                    <a:pt x="10842" y="71719"/>
                  </a:cubicBezTo>
                  <a:close/>
                </a:path>
              </a:pathLst>
            </a:custGeom>
            <a:solidFill>
              <a:srgbClr val="2A2E2D"/>
            </a:solidFill>
            <a:ln w="2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A72F5C1C-9EE5-5AA0-DC27-5003B5751983}"/>
                </a:ext>
              </a:extLst>
            </p:cNvPr>
            <p:cNvSpPr/>
            <p:nvPr/>
          </p:nvSpPr>
          <p:spPr>
            <a:xfrm>
              <a:off x="3270729" y="3028133"/>
              <a:ext cx="268292" cy="72094"/>
            </a:xfrm>
            <a:custGeom>
              <a:avLst/>
              <a:gdLst>
                <a:gd name="connsiteX0" fmla="*/ 10861 w 268292"/>
                <a:gd name="connsiteY0" fmla="*/ 71768 h 72094"/>
                <a:gd name="connsiteX1" fmla="*/ 261961 w 268292"/>
                <a:gd name="connsiteY1" fmla="*/ 17014 h 72094"/>
                <a:gd name="connsiteX2" fmla="*/ 257321 w 268292"/>
                <a:gd name="connsiteY2" fmla="*/ 150 h 72094"/>
                <a:gd name="connsiteX3" fmla="*/ 6221 w 268292"/>
                <a:gd name="connsiteY3" fmla="*/ 54904 h 72094"/>
                <a:gd name="connsiteX4" fmla="*/ 10861 w 268292"/>
                <a:gd name="connsiteY4" fmla="*/ 71768 h 72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8292" h="72094">
                  <a:moveTo>
                    <a:pt x="10861" y="71768"/>
                  </a:moveTo>
                  <a:cubicBezTo>
                    <a:pt x="93835" y="50026"/>
                    <a:pt x="177536" y="31775"/>
                    <a:pt x="261961" y="17014"/>
                  </a:cubicBezTo>
                  <a:cubicBezTo>
                    <a:pt x="273044" y="15105"/>
                    <a:pt x="268351" y="-1759"/>
                    <a:pt x="257321" y="150"/>
                  </a:cubicBezTo>
                  <a:cubicBezTo>
                    <a:pt x="172843" y="14911"/>
                    <a:pt x="89142" y="33162"/>
                    <a:pt x="6221" y="54904"/>
                  </a:cubicBezTo>
                  <a:cubicBezTo>
                    <a:pt x="-4677" y="57768"/>
                    <a:pt x="-63" y="74632"/>
                    <a:pt x="10861" y="71768"/>
                  </a:cubicBezTo>
                  <a:close/>
                </a:path>
              </a:pathLst>
            </a:custGeom>
            <a:solidFill>
              <a:srgbClr val="2A2E2D"/>
            </a:solidFill>
            <a:ln w="2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2033CB05-FE4A-03B4-121F-0B3DF5A04556}"/>
                </a:ext>
              </a:extLst>
            </p:cNvPr>
            <p:cNvSpPr/>
            <p:nvPr/>
          </p:nvSpPr>
          <p:spPr>
            <a:xfrm>
              <a:off x="3289071" y="3108947"/>
              <a:ext cx="106846" cy="36636"/>
            </a:xfrm>
            <a:custGeom>
              <a:avLst/>
              <a:gdLst>
                <a:gd name="connsiteX0" fmla="*/ 10867 w 106846"/>
                <a:gd name="connsiteY0" fmla="*/ 36348 h 36636"/>
                <a:gd name="connsiteX1" fmla="*/ 100515 w 106846"/>
                <a:gd name="connsiteY1" fmla="*/ 17018 h 36636"/>
                <a:gd name="connsiteX2" fmla="*/ 95875 w 106846"/>
                <a:gd name="connsiteY2" fmla="*/ 154 h 36636"/>
                <a:gd name="connsiteX3" fmla="*/ 6200 w 106846"/>
                <a:gd name="connsiteY3" fmla="*/ 19458 h 36636"/>
                <a:gd name="connsiteX4" fmla="*/ 10867 w 106846"/>
                <a:gd name="connsiteY4" fmla="*/ 36321 h 36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846" h="36636">
                  <a:moveTo>
                    <a:pt x="10867" y="36348"/>
                  </a:moveTo>
                  <a:cubicBezTo>
                    <a:pt x="40511" y="28764"/>
                    <a:pt x="70394" y="22321"/>
                    <a:pt x="100515" y="17018"/>
                  </a:cubicBezTo>
                  <a:cubicBezTo>
                    <a:pt x="111598" y="15083"/>
                    <a:pt x="106905" y="-1781"/>
                    <a:pt x="95875" y="154"/>
                  </a:cubicBezTo>
                  <a:cubicBezTo>
                    <a:pt x="65735" y="5457"/>
                    <a:pt x="35844" y="11893"/>
                    <a:pt x="6200" y="19458"/>
                  </a:cubicBezTo>
                  <a:cubicBezTo>
                    <a:pt x="-4671" y="22268"/>
                    <a:pt x="-58" y="39132"/>
                    <a:pt x="10867" y="36321"/>
                  </a:cubicBezTo>
                  <a:close/>
                </a:path>
              </a:pathLst>
            </a:custGeom>
            <a:solidFill>
              <a:srgbClr val="2A2E2D"/>
            </a:solidFill>
            <a:ln w="2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E9930966-CC23-76F2-077B-D91128AD591D}"/>
                </a:ext>
              </a:extLst>
            </p:cNvPr>
            <p:cNvSpPr/>
            <p:nvPr/>
          </p:nvSpPr>
          <p:spPr>
            <a:xfrm>
              <a:off x="3295164" y="3131054"/>
              <a:ext cx="285928" cy="133385"/>
            </a:xfrm>
            <a:custGeom>
              <a:avLst/>
              <a:gdLst>
                <a:gd name="connsiteX0" fmla="*/ 3369 w 285928"/>
                <a:gd name="connsiteY0" fmla="*/ 65601 h 133385"/>
                <a:gd name="connsiteX1" fmla="*/ 48816 w 285928"/>
                <a:gd name="connsiteY1" fmla="*/ 131889 h 133385"/>
                <a:gd name="connsiteX2" fmla="*/ 279685 w 285928"/>
                <a:gd name="connsiteY2" fmla="*/ 82226 h 133385"/>
                <a:gd name="connsiteX3" fmla="*/ 285810 w 285928"/>
                <a:gd name="connsiteY3" fmla="*/ 71461 h 133385"/>
                <a:gd name="connsiteX4" fmla="*/ 276635 w 285928"/>
                <a:gd name="connsiteY4" fmla="*/ 6259 h 133385"/>
                <a:gd name="connsiteX5" fmla="*/ 265870 w 285928"/>
                <a:gd name="connsiteY5" fmla="*/ 134 h 133385"/>
                <a:gd name="connsiteX6" fmla="*/ 6338 w 285928"/>
                <a:gd name="connsiteY6" fmla="*/ 55366 h 133385"/>
                <a:gd name="connsiteX7" fmla="*/ 4244 w 285928"/>
                <a:gd name="connsiteY7" fmla="*/ 71275 h 133385"/>
                <a:gd name="connsiteX8" fmla="*/ 7982 w 285928"/>
                <a:gd name="connsiteY8" fmla="*/ 73078 h 133385"/>
                <a:gd name="connsiteX9" fmla="*/ 16785 w 285928"/>
                <a:gd name="connsiteY9" fmla="*/ 57964 h 133385"/>
                <a:gd name="connsiteX10" fmla="*/ 13073 w 285928"/>
                <a:gd name="connsiteY10" fmla="*/ 56161 h 133385"/>
                <a:gd name="connsiteX11" fmla="*/ 10978 w 285928"/>
                <a:gd name="connsiteY11" fmla="*/ 72070 h 133385"/>
                <a:gd name="connsiteX12" fmla="*/ 270484 w 285928"/>
                <a:gd name="connsiteY12" fmla="*/ 16892 h 133385"/>
                <a:gd name="connsiteX13" fmla="*/ 259718 w 285928"/>
                <a:gd name="connsiteY13" fmla="*/ 10794 h 133385"/>
                <a:gd name="connsiteX14" fmla="*/ 268893 w 285928"/>
                <a:gd name="connsiteY14" fmla="*/ 76021 h 133385"/>
                <a:gd name="connsiteX15" fmla="*/ 274991 w 285928"/>
                <a:gd name="connsiteY15" fmla="*/ 65256 h 133385"/>
                <a:gd name="connsiteX16" fmla="*/ 134884 w 285928"/>
                <a:gd name="connsiteY16" fmla="*/ 95404 h 133385"/>
                <a:gd name="connsiteX17" fmla="*/ 68967 w 285928"/>
                <a:gd name="connsiteY17" fmla="*/ 109616 h 133385"/>
                <a:gd name="connsiteX18" fmla="*/ 20895 w 285928"/>
                <a:gd name="connsiteY18" fmla="*/ 65601 h 133385"/>
                <a:gd name="connsiteX19" fmla="*/ 3422 w 285928"/>
                <a:gd name="connsiteY19" fmla="*/ 65601 h 133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85928" h="133385">
                  <a:moveTo>
                    <a:pt x="3369" y="65601"/>
                  </a:moveTo>
                  <a:cubicBezTo>
                    <a:pt x="7452" y="106302"/>
                    <a:pt x="4191" y="141116"/>
                    <a:pt x="48816" y="131889"/>
                  </a:cubicBezTo>
                  <a:cubicBezTo>
                    <a:pt x="125869" y="115794"/>
                    <a:pt x="202605" y="98771"/>
                    <a:pt x="279685" y="82226"/>
                  </a:cubicBezTo>
                  <a:cubicBezTo>
                    <a:pt x="284722" y="81139"/>
                    <a:pt x="286419" y="75915"/>
                    <a:pt x="285810" y="71461"/>
                  </a:cubicBezTo>
                  <a:cubicBezTo>
                    <a:pt x="282734" y="49718"/>
                    <a:pt x="279677" y="27983"/>
                    <a:pt x="276635" y="6259"/>
                  </a:cubicBezTo>
                  <a:cubicBezTo>
                    <a:pt x="275919" y="1222"/>
                    <a:pt x="270033" y="-528"/>
                    <a:pt x="265870" y="134"/>
                  </a:cubicBezTo>
                  <a:cubicBezTo>
                    <a:pt x="178462" y="14039"/>
                    <a:pt x="91834" y="32472"/>
                    <a:pt x="6338" y="55366"/>
                  </a:cubicBezTo>
                  <a:cubicBezTo>
                    <a:pt x="-529" y="57195"/>
                    <a:pt x="-2677" y="67987"/>
                    <a:pt x="4244" y="71275"/>
                  </a:cubicBezTo>
                  <a:lnTo>
                    <a:pt x="7982" y="73078"/>
                  </a:lnTo>
                  <a:cubicBezTo>
                    <a:pt x="18058" y="77957"/>
                    <a:pt x="26941" y="62870"/>
                    <a:pt x="16785" y="57964"/>
                  </a:cubicBezTo>
                  <a:lnTo>
                    <a:pt x="13073" y="56161"/>
                  </a:lnTo>
                  <a:cubicBezTo>
                    <a:pt x="12384" y="61464"/>
                    <a:pt x="11686" y="66767"/>
                    <a:pt x="10978" y="72070"/>
                  </a:cubicBezTo>
                  <a:cubicBezTo>
                    <a:pt x="96466" y="49198"/>
                    <a:pt x="183084" y="30781"/>
                    <a:pt x="270484" y="16892"/>
                  </a:cubicBezTo>
                  <a:cubicBezTo>
                    <a:pt x="266949" y="14877"/>
                    <a:pt x="263359" y="12843"/>
                    <a:pt x="259718" y="10794"/>
                  </a:cubicBezTo>
                  <a:cubicBezTo>
                    <a:pt x="262760" y="32536"/>
                    <a:pt x="265817" y="54279"/>
                    <a:pt x="268893" y="76021"/>
                  </a:cubicBezTo>
                  <a:cubicBezTo>
                    <a:pt x="270908" y="72487"/>
                    <a:pt x="272942" y="68897"/>
                    <a:pt x="274991" y="65256"/>
                  </a:cubicBezTo>
                  <a:lnTo>
                    <a:pt x="134884" y="95404"/>
                  </a:lnTo>
                  <a:lnTo>
                    <a:pt x="68967" y="109616"/>
                  </a:lnTo>
                  <a:cubicBezTo>
                    <a:pt x="29486" y="118101"/>
                    <a:pt x="24846" y="104790"/>
                    <a:pt x="20895" y="65601"/>
                  </a:cubicBezTo>
                  <a:cubicBezTo>
                    <a:pt x="19782" y="54491"/>
                    <a:pt x="2335" y="54385"/>
                    <a:pt x="3422" y="65601"/>
                  </a:cubicBezTo>
                  <a:close/>
                </a:path>
              </a:pathLst>
            </a:custGeom>
            <a:solidFill>
              <a:srgbClr val="2A2E2D"/>
            </a:solidFill>
            <a:ln w="2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F8482B1A-346F-E347-0C6B-3365DE5E9CFF}"/>
                </a:ext>
              </a:extLst>
            </p:cNvPr>
            <p:cNvSpPr/>
            <p:nvPr/>
          </p:nvSpPr>
          <p:spPr>
            <a:xfrm>
              <a:off x="3444123" y="3323188"/>
              <a:ext cx="56343" cy="56494"/>
            </a:xfrm>
            <a:custGeom>
              <a:avLst/>
              <a:gdLst>
                <a:gd name="connsiteX0" fmla="*/ 30180 w 56343"/>
                <a:gd name="connsiteY0" fmla="*/ 17551 h 56494"/>
                <a:gd name="connsiteX1" fmla="*/ 27529 w 56343"/>
                <a:gd name="connsiteY1" fmla="*/ 38763 h 56494"/>
                <a:gd name="connsiteX2" fmla="*/ 30631 w 56343"/>
                <a:gd name="connsiteY2" fmla="*/ 17551 h 56494"/>
                <a:gd name="connsiteX3" fmla="*/ 30631 w 56343"/>
                <a:gd name="connsiteY3" fmla="*/ 51 h 56494"/>
                <a:gd name="connsiteX4" fmla="*/ 85 w 56343"/>
                <a:gd name="connsiteY4" fmla="*/ 27680 h 56494"/>
                <a:gd name="connsiteX5" fmla="*/ 26070 w 56343"/>
                <a:gd name="connsiteY5" fmla="*/ 56263 h 56494"/>
                <a:gd name="connsiteX6" fmla="*/ 56112 w 56343"/>
                <a:gd name="connsiteY6" fmla="*/ 33200 h 56494"/>
                <a:gd name="connsiteX7" fmla="*/ 56112 w 56343"/>
                <a:gd name="connsiteY7" fmla="*/ 33195 h 56494"/>
                <a:gd name="connsiteX8" fmla="*/ 34900 w 56343"/>
                <a:gd name="connsiteY8" fmla="*/ 767 h 56494"/>
                <a:gd name="connsiteX9" fmla="*/ 30260 w 56343"/>
                <a:gd name="connsiteY9" fmla="*/ 17657 h 56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6343" h="56494">
                  <a:moveTo>
                    <a:pt x="30180" y="17551"/>
                  </a:moveTo>
                  <a:cubicBezTo>
                    <a:pt x="42192" y="20733"/>
                    <a:pt x="41529" y="40301"/>
                    <a:pt x="27529" y="38763"/>
                  </a:cubicBezTo>
                  <a:cubicBezTo>
                    <a:pt x="12097" y="37119"/>
                    <a:pt x="16922" y="16650"/>
                    <a:pt x="30631" y="17551"/>
                  </a:cubicBezTo>
                  <a:cubicBezTo>
                    <a:pt x="41873" y="18241"/>
                    <a:pt x="41820" y="740"/>
                    <a:pt x="30631" y="51"/>
                  </a:cubicBezTo>
                  <a:cubicBezTo>
                    <a:pt x="14987" y="-930"/>
                    <a:pt x="1331" y="12381"/>
                    <a:pt x="85" y="27680"/>
                  </a:cubicBezTo>
                  <a:cubicBezTo>
                    <a:pt x="-1161" y="42979"/>
                    <a:pt x="11434" y="54673"/>
                    <a:pt x="26070" y="56263"/>
                  </a:cubicBezTo>
                  <a:cubicBezTo>
                    <a:pt x="40736" y="58191"/>
                    <a:pt x="54184" y="47863"/>
                    <a:pt x="56112" y="33200"/>
                  </a:cubicBezTo>
                  <a:cubicBezTo>
                    <a:pt x="56112" y="33198"/>
                    <a:pt x="56112" y="33198"/>
                    <a:pt x="56112" y="33195"/>
                  </a:cubicBezTo>
                  <a:cubicBezTo>
                    <a:pt x="57923" y="18652"/>
                    <a:pt x="48950" y="4935"/>
                    <a:pt x="34900" y="767"/>
                  </a:cubicBezTo>
                  <a:cubicBezTo>
                    <a:pt x="24029" y="-2123"/>
                    <a:pt x="19362" y="14767"/>
                    <a:pt x="30260" y="17657"/>
                  </a:cubicBezTo>
                  <a:close/>
                </a:path>
              </a:pathLst>
            </a:custGeom>
            <a:solidFill>
              <a:srgbClr val="2A2E2D"/>
            </a:solidFill>
            <a:ln w="2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772DE42C-44EA-2EC7-66E3-99B825862B03}"/>
                </a:ext>
              </a:extLst>
            </p:cNvPr>
            <p:cNvSpPr/>
            <p:nvPr/>
          </p:nvSpPr>
          <p:spPr>
            <a:xfrm>
              <a:off x="3037994" y="2604083"/>
              <a:ext cx="244906" cy="853506"/>
            </a:xfrm>
            <a:custGeom>
              <a:avLst/>
              <a:gdLst>
                <a:gd name="connsiteX0" fmla="*/ 54754 w 244906"/>
                <a:gd name="connsiteY0" fmla="*/ 273 h 853506"/>
                <a:gd name="connsiteX1" fmla="*/ 8617 w 244906"/>
                <a:gd name="connsiteY1" fmla="*/ 149315 h 853506"/>
                <a:gd name="connsiteX2" fmla="*/ 67454 w 244906"/>
                <a:gd name="connsiteY2" fmla="*/ 465033 h 853506"/>
                <a:gd name="connsiteX3" fmla="*/ 127697 w 244906"/>
                <a:gd name="connsiteY3" fmla="*/ 771629 h 853506"/>
                <a:gd name="connsiteX4" fmla="*/ 161796 w 244906"/>
                <a:gd name="connsiteY4" fmla="*/ 847781 h 853506"/>
                <a:gd name="connsiteX5" fmla="*/ 238902 w 244906"/>
                <a:gd name="connsiteY5" fmla="*/ 842213 h 853506"/>
                <a:gd name="connsiteX6" fmla="*/ 234262 w 244906"/>
                <a:gd name="connsiteY6" fmla="*/ 825349 h 853506"/>
                <a:gd name="connsiteX7" fmla="*/ 194489 w 244906"/>
                <a:gd name="connsiteY7" fmla="*/ 835531 h 853506"/>
                <a:gd name="connsiteX8" fmla="*/ 146311 w 244906"/>
                <a:gd name="connsiteY8" fmla="*/ 775501 h 853506"/>
                <a:gd name="connsiteX9" fmla="*/ 125894 w 244906"/>
                <a:gd name="connsiteY9" fmla="*/ 673364 h 853506"/>
                <a:gd name="connsiteX10" fmla="*/ 84371 w 244906"/>
                <a:gd name="connsiteY10" fmla="*/ 460393 h 853506"/>
                <a:gd name="connsiteX11" fmla="*/ 45845 w 244906"/>
                <a:gd name="connsiteY11" fmla="*/ 255668 h 853506"/>
                <a:gd name="connsiteX12" fmla="*/ 59447 w 244906"/>
                <a:gd name="connsiteY12" fmla="*/ 17031 h 853506"/>
                <a:gd name="connsiteX13" fmla="*/ 54807 w 244906"/>
                <a:gd name="connsiteY13" fmla="*/ 167 h 853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4906" h="853506">
                  <a:moveTo>
                    <a:pt x="54754" y="273"/>
                  </a:moveTo>
                  <a:cubicBezTo>
                    <a:pt x="-17474" y="13531"/>
                    <a:pt x="-769" y="97451"/>
                    <a:pt x="8617" y="149315"/>
                  </a:cubicBezTo>
                  <a:cubicBezTo>
                    <a:pt x="27708" y="254669"/>
                    <a:pt x="47321" y="359908"/>
                    <a:pt x="67454" y="465033"/>
                  </a:cubicBezTo>
                  <a:cubicBezTo>
                    <a:pt x="87041" y="567329"/>
                    <a:pt x="107121" y="669527"/>
                    <a:pt x="127697" y="771629"/>
                  </a:cubicBezTo>
                  <a:cubicBezTo>
                    <a:pt x="133000" y="798410"/>
                    <a:pt x="134140" y="833728"/>
                    <a:pt x="161796" y="847781"/>
                  </a:cubicBezTo>
                  <a:cubicBezTo>
                    <a:pt x="185421" y="859793"/>
                    <a:pt x="215861" y="850433"/>
                    <a:pt x="238902" y="842213"/>
                  </a:cubicBezTo>
                  <a:cubicBezTo>
                    <a:pt x="249508" y="838448"/>
                    <a:pt x="244868" y="821531"/>
                    <a:pt x="234262" y="825349"/>
                  </a:cubicBezTo>
                  <a:cubicBezTo>
                    <a:pt x="221614" y="829910"/>
                    <a:pt x="208012" y="834762"/>
                    <a:pt x="194489" y="835531"/>
                  </a:cubicBezTo>
                  <a:cubicBezTo>
                    <a:pt x="159410" y="837546"/>
                    <a:pt x="151906" y="803130"/>
                    <a:pt x="146311" y="775501"/>
                  </a:cubicBezTo>
                  <a:cubicBezTo>
                    <a:pt x="139470" y="741455"/>
                    <a:pt x="132664" y="707409"/>
                    <a:pt x="125894" y="673364"/>
                  </a:cubicBezTo>
                  <a:cubicBezTo>
                    <a:pt x="111753" y="602409"/>
                    <a:pt x="97912" y="531419"/>
                    <a:pt x="84371" y="460393"/>
                  </a:cubicBezTo>
                  <a:cubicBezTo>
                    <a:pt x="71326" y="392177"/>
                    <a:pt x="58484" y="323937"/>
                    <a:pt x="45845" y="255668"/>
                  </a:cubicBezTo>
                  <a:cubicBezTo>
                    <a:pt x="35822" y="201418"/>
                    <a:pt x="-21876" y="31959"/>
                    <a:pt x="59447" y="17031"/>
                  </a:cubicBezTo>
                  <a:cubicBezTo>
                    <a:pt x="70504" y="15015"/>
                    <a:pt x="65837" y="-1848"/>
                    <a:pt x="54807" y="167"/>
                  </a:cubicBezTo>
                  <a:close/>
                </a:path>
              </a:pathLst>
            </a:custGeom>
            <a:solidFill>
              <a:srgbClr val="2A2E2D"/>
            </a:solidFill>
            <a:ln w="2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33" name="Graphic 28">
            <a:extLst>
              <a:ext uri="{FF2B5EF4-FFF2-40B4-BE49-F238E27FC236}">
                <a16:creationId xmlns:a16="http://schemas.microsoft.com/office/drawing/2014/main" id="{AC1CA2EA-8C42-393B-C2FB-2A4799E13184}"/>
              </a:ext>
            </a:extLst>
          </p:cNvPr>
          <p:cNvGrpSpPr/>
          <p:nvPr/>
        </p:nvGrpSpPr>
        <p:grpSpPr>
          <a:xfrm>
            <a:off x="10888683" y="2578418"/>
            <a:ext cx="444708" cy="817341"/>
            <a:chOff x="10888683" y="2578418"/>
            <a:chExt cx="444708" cy="817341"/>
          </a:xfrm>
          <a:solidFill>
            <a:srgbClr val="2A2E2D"/>
          </a:solidFill>
        </p:grpSpPr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2C82C77E-873F-C13D-E3C0-5187FA181169}"/>
                </a:ext>
              </a:extLst>
            </p:cNvPr>
            <p:cNvSpPr/>
            <p:nvPr/>
          </p:nvSpPr>
          <p:spPr>
            <a:xfrm>
              <a:off x="10904734" y="2578418"/>
              <a:ext cx="412787" cy="269745"/>
            </a:xfrm>
            <a:custGeom>
              <a:avLst/>
              <a:gdLst>
                <a:gd name="connsiteX0" fmla="*/ 162429 w 412787"/>
                <a:gd name="connsiteY0" fmla="*/ 132928 h 269745"/>
                <a:gd name="connsiteX1" fmla="*/ 12035 w 412787"/>
                <a:gd name="connsiteY1" fmla="*/ 220852 h 269745"/>
                <a:gd name="connsiteX2" fmla="*/ 208460 w 412787"/>
                <a:gd name="connsiteY2" fmla="*/ 961 h 269745"/>
                <a:gd name="connsiteX3" fmla="*/ 411010 w 412787"/>
                <a:gd name="connsiteY3" fmla="*/ 220852 h 269745"/>
                <a:gd name="connsiteX4" fmla="*/ 306673 w 412787"/>
                <a:gd name="connsiteY4" fmla="*/ 233155 h 269745"/>
                <a:gd name="connsiteX5" fmla="*/ 303597 w 412787"/>
                <a:gd name="connsiteY5" fmla="*/ 134863 h 269745"/>
                <a:gd name="connsiteX6" fmla="*/ 206418 w 412787"/>
                <a:gd name="connsiteY6" fmla="*/ 191261 h 269745"/>
                <a:gd name="connsiteX7" fmla="*/ 162429 w 412787"/>
                <a:gd name="connsiteY7" fmla="*/ 132928 h 269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2787" h="269745">
                  <a:moveTo>
                    <a:pt x="162429" y="132928"/>
                  </a:moveTo>
                  <a:cubicBezTo>
                    <a:pt x="162429" y="132928"/>
                    <a:pt x="55016" y="274997"/>
                    <a:pt x="12035" y="220852"/>
                  </a:cubicBezTo>
                  <a:cubicBezTo>
                    <a:pt x="-30947" y="166708"/>
                    <a:pt x="42739" y="16313"/>
                    <a:pt x="208460" y="961"/>
                  </a:cubicBezTo>
                  <a:cubicBezTo>
                    <a:pt x="374181" y="-14391"/>
                    <a:pt x="423234" y="158382"/>
                    <a:pt x="411010" y="220852"/>
                  </a:cubicBezTo>
                  <a:cubicBezTo>
                    <a:pt x="398787" y="283322"/>
                    <a:pt x="318949" y="284277"/>
                    <a:pt x="306673" y="233155"/>
                  </a:cubicBezTo>
                  <a:cubicBezTo>
                    <a:pt x="299360" y="200891"/>
                    <a:pt x="298318" y="167522"/>
                    <a:pt x="303597" y="134863"/>
                  </a:cubicBezTo>
                  <a:cubicBezTo>
                    <a:pt x="303597" y="134863"/>
                    <a:pt x="249373" y="200462"/>
                    <a:pt x="206418" y="191261"/>
                  </a:cubicBezTo>
                  <a:cubicBezTo>
                    <a:pt x="163464" y="182060"/>
                    <a:pt x="162429" y="132928"/>
                    <a:pt x="162429" y="132928"/>
                  </a:cubicBezTo>
                  <a:close/>
                </a:path>
              </a:pathLst>
            </a:custGeom>
            <a:solidFill>
              <a:srgbClr val="2A2E2D"/>
            </a:solidFill>
            <a:ln w="26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9542BDFD-05F3-7FEF-E9F5-D15AF308A0E3}"/>
                </a:ext>
              </a:extLst>
            </p:cNvPr>
            <p:cNvSpPr/>
            <p:nvPr/>
          </p:nvSpPr>
          <p:spPr>
            <a:xfrm>
              <a:off x="10888683" y="3118965"/>
              <a:ext cx="444708" cy="276793"/>
            </a:xfrm>
            <a:custGeom>
              <a:avLst/>
              <a:gdLst>
                <a:gd name="connsiteX0" fmla="*/ 12309 w 444708"/>
                <a:gd name="connsiteY0" fmla="*/ 276793 h 276793"/>
                <a:gd name="connsiteX1" fmla="*/ 86 w 444708"/>
                <a:gd name="connsiteY1" fmla="*/ 264914 h 276793"/>
                <a:gd name="connsiteX2" fmla="*/ 31082 w 444708"/>
                <a:gd name="connsiteY2" fmla="*/ 95720 h 276793"/>
                <a:gd name="connsiteX3" fmla="*/ 178401 w 444708"/>
                <a:gd name="connsiteY3" fmla="*/ 0 h 276793"/>
                <a:gd name="connsiteX4" fmla="*/ 222390 w 444708"/>
                <a:gd name="connsiteY4" fmla="*/ 67694 h 276793"/>
                <a:gd name="connsiteX5" fmla="*/ 310368 w 444708"/>
                <a:gd name="connsiteY5" fmla="*/ 12860 h 276793"/>
                <a:gd name="connsiteX6" fmla="*/ 428785 w 444708"/>
                <a:gd name="connsiteY6" fmla="*/ 111311 h 276793"/>
                <a:gd name="connsiteX7" fmla="*/ 444694 w 444708"/>
                <a:gd name="connsiteY7" fmla="*/ 264119 h 276793"/>
                <a:gd name="connsiteX8" fmla="*/ 433200 w 444708"/>
                <a:gd name="connsiteY8" fmla="*/ 276780 h 276793"/>
                <a:gd name="connsiteX9" fmla="*/ 432577 w 444708"/>
                <a:gd name="connsiteY9" fmla="*/ 276793 h 276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44708" h="276793">
                  <a:moveTo>
                    <a:pt x="12309" y="276793"/>
                  </a:moveTo>
                  <a:cubicBezTo>
                    <a:pt x="5662" y="276867"/>
                    <a:pt x="202" y="271562"/>
                    <a:pt x="86" y="264914"/>
                  </a:cubicBezTo>
                  <a:cubicBezTo>
                    <a:pt x="-445" y="228800"/>
                    <a:pt x="563" y="121148"/>
                    <a:pt x="31082" y="95720"/>
                  </a:cubicBezTo>
                  <a:cubicBezTo>
                    <a:pt x="67912" y="65042"/>
                    <a:pt x="178401" y="0"/>
                    <a:pt x="178401" y="0"/>
                  </a:cubicBezTo>
                  <a:cubicBezTo>
                    <a:pt x="178401" y="0"/>
                    <a:pt x="149738" y="76497"/>
                    <a:pt x="222390" y="67694"/>
                  </a:cubicBezTo>
                  <a:cubicBezTo>
                    <a:pt x="295042" y="58890"/>
                    <a:pt x="310368" y="12860"/>
                    <a:pt x="310368" y="12860"/>
                  </a:cubicBezTo>
                  <a:cubicBezTo>
                    <a:pt x="310368" y="12860"/>
                    <a:pt x="418285" y="90072"/>
                    <a:pt x="428785" y="111311"/>
                  </a:cubicBezTo>
                  <a:cubicBezTo>
                    <a:pt x="437376" y="128679"/>
                    <a:pt x="443024" y="228429"/>
                    <a:pt x="444694" y="264119"/>
                  </a:cubicBezTo>
                  <a:cubicBezTo>
                    <a:pt x="445018" y="270787"/>
                    <a:pt x="439871" y="276456"/>
                    <a:pt x="433200" y="276780"/>
                  </a:cubicBezTo>
                  <a:cubicBezTo>
                    <a:pt x="432993" y="276790"/>
                    <a:pt x="432783" y="276793"/>
                    <a:pt x="432577" y="276793"/>
                  </a:cubicBezTo>
                  <a:close/>
                </a:path>
              </a:pathLst>
            </a:custGeom>
            <a:solidFill>
              <a:srgbClr val="2A2E2D"/>
            </a:solidFill>
            <a:ln w="26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05982775-3334-7851-FD02-DD9FF8FAE42B}"/>
                </a:ext>
              </a:extLst>
            </p:cNvPr>
            <p:cNvSpPr/>
            <p:nvPr/>
          </p:nvSpPr>
          <p:spPr>
            <a:xfrm>
              <a:off x="10928302" y="2795746"/>
              <a:ext cx="166263" cy="372478"/>
            </a:xfrm>
            <a:custGeom>
              <a:avLst/>
              <a:gdLst>
                <a:gd name="connsiteX0" fmla="*/ 5251 w 166263"/>
                <a:gd name="connsiteY0" fmla="*/ 6255 h 372478"/>
                <a:gd name="connsiteX1" fmla="*/ 38501 w 166263"/>
                <a:gd name="connsiteY1" fmla="*/ 163040 h 372478"/>
                <a:gd name="connsiteX2" fmla="*/ 99142 w 166263"/>
                <a:gd name="connsiteY2" fmla="*/ 211855 h 372478"/>
                <a:gd name="connsiteX3" fmla="*/ 149733 w 166263"/>
                <a:gd name="connsiteY3" fmla="*/ 281802 h 372478"/>
                <a:gd name="connsiteX4" fmla="*/ 121707 w 166263"/>
                <a:gd name="connsiteY4" fmla="*/ 359439 h 372478"/>
                <a:gd name="connsiteX5" fmla="*/ 136794 w 166263"/>
                <a:gd name="connsiteY5" fmla="*/ 368269 h 372478"/>
                <a:gd name="connsiteX6" fmla="*/ 132260 w 166263"/>
                <a:gd name="connsiteY6" fmla="*/ 210662 h 372478"/>
                <a:gd name="connsiteX7" fmla="*/ 46324 w 166263"/>
                <a:gd name="connsiteY7" fmla="*/ 144373 h 372478"/>
                <a:gd name="connsiteX8" fmla="*/ 22115 w 166263"/>
                <a:gd name="connsiteY8" fmla="*/ 10895 h 372478"/>
                <a:gd name="connsiteX9" fmla="*/ 5251 w 166263"/>
                <a:gd name="connsiteY9" fmla="*/ 6255 h 372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6263" h="372478">
                  <a:moveTo>
                    <a:pt x="5251" y="6255"/>
                  </a:moveTo>
                  <a:cubicBezTo>
                    <a:pt x="-7715" y="61089"/>
                    <a:pt x="3316" y="118282"/>
                    <a:pt x="38501" y="163040"/>
                  </a:cubicBezTo>
                  <a:cubicBezTo>
                    <a:pt x="55657" y="184889"/>
                    <a:pt x="75623" y="197987"/>
                    <a:pt x="99142" y="211855"/>
                  </a:cubicBezTo>
                  <a:cubicBezTo>
                    <a:pt x="127593" y="228586"/>
                    <a:pt x="149309" y="245025"/>
                    <a:pt x="149733" y="281802"/>
                  </a:cubicBezTo>
                  <a:cubicBezTo>
                    <a:pt x="150078" y="310492"/>
                    <a:pt x="136078" y="335814"/>
                    <a:pt x="121707" y="359439"/>
                  </a:cubicBezTo>
                  <a:cubicBezTo>
                    <a:pt x="115820" y="369090"/>
                    <a:pt x="130934" y="378000"/>
                    <a:pt x="136794" y="368269"/>
                  </a:cubicBezTo>
                  <a:cubicBezTo>
                    <a:pt x="166570" y="319374"/>
                    <a:pt x="186430" y="250912"/>
                    <a:pt x="132260" y="210662"/>
                  </a:cubicBezTo>
                  <a:cubicBezTo>
                    <a:pt x="101634" y="187911"/>
                    <a:pt x="69180" y="177756"/>
                    <a:pt x="46324" y="144373"/>
                  </a:cubicBezTo>
                  <a:cubicBezTo>
                    <a:pt x="19570" y="105377"/>
                    <a:pt x="10760" y="56804"/>
                    <a:pt x="22115" y="10895"/>
                  </a:cubicBezTo>
                  <a:cubicBezTo>
                    <a:pt x="24767" y="-29"/>
                    <a:pt x="7850" y="-4722"/>
                    <a:pt x="5251" y="6255"/>
                  </a:cubicBezTo>
                  <a:close/>
                </a:path>
              </a:pathLst>
            </a:custGeom>
            <a:solidFill>
              <a:srgbClr val="2A2E2D"/>
            </a:solidFill>
            <a:ln w="26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84A5B5FB-76EA-F8E9-813D-69E6938FAE93}"/>
                </a:ext>
              </a:extLst>
            </p:cNvPr>
            <p:cNvSpPr/>
            <p:nvPr/>
          </p:nvSpPr>
          <p:spPr>
            <a:xfrm>
              <a:off x="11179548" y="2810602"/>
              <a:ext cx="124063" cy="364086"/>
            </a:xfrm>
            <a:custGeom>
              <a:avLst/>
              <a:gdLst>
                <a:gd name="connsiteX0" fmla="*/ 106552 w 124063"/>
                <a:gd name="connsiteY0" fmla="*/ 8316 h 364086"/>
                <a:gd name="connsiteX1" fmla="*/ 96980 w 124063"/>
                <a:gd name="connsiteY1" fmla="*/ 85794 h 364086"/>
                <a:gd name="connsiteX2" fmla="*/ 42836 w 124063"/>
                <a:gd name="connsiteY2" fmla="*/ 152320 h 364086"/>
                <a:gd name="connsiteX3" fmla="*/ 3620 w 124063"/>
                <a:gd name="connsiteY3" fmla="*/ 205749 h 364086"/>
                <a:gd name="connsiteX4" fmla="*/ 49916 w 124063"/>
                <a:gd name="connsiteY4" fmla="*/ 361924 h 364086"/>
                <a:gd name="connsiteX5" fmla="*/ 62298 w 124063"/>
                <a:gd name="connsiteY5" fmla="*/ 349541 h 364086"/>
                <a:gd name="connsiteX6" fmla="*/ 19105 w 124063"/>
                <a:gd name="connsiteY6" fmla="*/ 241757 h 364086"/>
                <a:gd name="connsiteX7" fmla="*/ 81893 w 124063"/>
                <a:gd name="connsiteY7" fmla="*/ 146301 h 364086"/>
                <a:gd name="connsiteX8" fmla="*/ 124052 w 124063"/>
                <a:gd name="connsiteY8" fmla="*/ 8422 h 364086"/>
                <a:gd name="connsiteX9" fmla="*/ 106552 w 124063"/>
                <a:gd name="connsiteY9" fmla="*/ 8422 h 364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063" h="364086">
                  <a:moveTo>
                    <a:pt x="106552" y="8316"/>
                  </a:moveTo>
                  <a:cubicBezTo>
                    <a:pt x="105386" y="34195"/>
                    <a:pt x="104776" y="60869"/>
                    <a:pt x="96980" y="85794"/>
                  </a:cubicBezTo>
                  <a:cubicBezTo>
                    <a:pt x="86772" y="118487"/>
                    <a:pt x="68741" y="131612"/>
                    <a:pt x="42836" y="152320"/>
                  </a:cubicBezTo>
                  <a:cubicBezTo>
                    <a:pt x="22605" y="168521"/>
                    <a:pt x="9506" y="178836"/>
                    <a:pt x="3620" y="205749"/>
                  </a:cubicBezTo>
                  <a:cubicBezTo>
                    <a:pt x="-7861" y="258488"/>
                    <a:pt x="8074" y="326897"/>
                    <a:pt x="49916" y="361924"/>
                  </a:cubicBezTo>
                  <a:cubicBezTo>
                    <a:pt x="58507" y="369083"/>
                    <a:pt x="70942" y="356780"/>
                    <a:pt x="62298" y="349541"/>
                  </a:cubicBezTo>
                  <a:cubicBezTo>
                    <a:pt x="29870" y="322416"/>
                    <a:pt x="20881" y="282670"/>
                    <a:pt x="19105" y="241757"/>
                  </a:cubicBezTo>
                  <a:cubicBezTo>
                    <a:pt x="16825" y="189468"/>
                    <a:pt x="50101" y="177722"/>
                    <a:pt x="81893" y="146301"/>
                  </a:cubicBezTo>
                  <a:cubicBezTo>
                    <a:pt x="118458" y="110214"/>
                    <a:pt x="121852" y="56627"/>
                    <a:pt x="124052" y="8422"/>
                  </a:cubicBezTo>
                  <a:cubicBezTo>
                    <a:pt x="124556" y="-2821"/>
                    <a:pt x="107083" y="-2794"/>
                    <a:pt x="106552" y="8422"/>
                  </a:cubicBezTo>
                  <a:close/>
                </a:path>
              </a:pathLst>
            </a:custGeom>
            <a:solidFill>
              <a:srgbClr val="2A2E2D"/>
            </a:solidFill>
            <a:ln w="26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38" name="Graphic 30">
            <a:extLst>
              <a:ext uri="{FF2B5EF4-FFF2-40B4-BE49-F238E27FC236}">
                <a16:creationId xmlns:a16="http://schemas.microsoft.com/office/drawing/2014/main" id="{FA829F6F-DD09-8A1A-1501-81AEA9FCB96E}"/>
              </a:ext>
            </a:extLst>
          </p:cNvPr>
          <p:cNvGrpSpPr/>
          <p:nvPr/>
        </p:nvGrpSpPr>
        <p:grpSpPr>
          <a:xfrm>
            <a:off x="6928135" y="1157298"/>
            <a:ext cx="747512" cy="881303"/>
            <a:chOff x="6928135" y="1157298"/>
            <a:chExt cx="747512" cy="881303"/>
          </a:xfrm>
          <a:solidFill>
            <a:srgbClr val="2A2E2D"/>
          </a:solidFill>
        </p:grpSpPr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6AC250FF-0229-49B6-609B-934D1C3A77F8}"/>
                </a:ext>
              </a:extLst>
            </p:cNvPr>
            <p:cNvSpPr/>
            <p:nvPr/>
          </p:nvSpPr>
          <p:spPr>
            <a:xfrm>
              <a:off x="6928135" y="1197501"/>
              <a:ext cx="657402" cy="692577"/>
            </a:xfrm>
            <a:custGeom>
              <a:avLst/>
              <a:gdLst>
                <a:gd name="connsiteX0" fmla="*/ 154039 w 657402"/>
                <a:gd name="connsiteY0" fmla="*/ 659610 h 692577"/>
                <a:gd name="connsiteX1" fmla="*/ 246365 w 657402"/>
                <a:gd name="connsiteY1" fmla="*/ 522818 h 692577"/>
                <a:gd name="connsiteX2" fmla="*/ 318699 w 657402"/>
                <a:gd name="connsiteY2" fmla="*/ 309343 h 692577"/>
                <a:gd name="connsiteX3" fmla="*/ 392650 w 657402"/>
                <a:gd name="connsiteY3" fmla="*/ 84414 h 692577"/>
                <a:gd name="connsiteX4" fmla="*/ 614557 w 657402"/>
                <a:gd name="connsiteY4" fmla="*/ 81762 h 692577"/>
                <a:gd name="connsiteX5" fmla="*/ 622061 w 657402"/>
                <a:gd name="connsiteY5" fmla="*/ 336945 h 692577"/>
                <a:gd name="connsiteX6" fmla="*/ 510272 w 657402"/>
                <a:gd name="connsiteY6" fmla="*/ 543394 h 692577"/>
                <a:gd name="connsiteX7" fmla="*/ 116042 w 657402"/>
                <a:gd name="connsiteY7" fmla="*/ 644815 h 692577"/>
                <a:gd name="connsiteX8" fmla="*/ 51583 w 657402"/>
                <a:gd name="connsiteY8" fmla="*/ 590591 h 692577"/>
                <a:gd name="connsiteX9" fmla="*/ 39599 w 657402"/>
                <a:gd name="connsiteY9" fmla="*/ 521651 h 692577"/>
                <a:gd name="connsiteX10" fmla="*/ 105648 w 657402"/>
                <a:gd name="connsiteY10" fmla="*/ 610292 h 692577"/>
                <a:gd name="connsiteX11" fmla="*/ 121557 w 657402"/>
                <a:gd name="connsiteY11" fmla="*/ 603557 h 692577"/>
                <a:gd name="connsiteX12" fmla="*/ 105648 w 657402"/>
                <a:gd name="connsiteY12" fmla="*/ 540901 h 692577"/>
                <a:gd name="connsiteX13" fmla="*/ 99841 w 657402"/>
                <a:gd name="connsiteY13" fmla="*/ 489541 h 692577"/>
                <a:gd name="connsiteX14" fmla="*/ 118879 w 657402"/>
                <a:gd name="connsiteY14" fmla="*/ 502401 h 692577"/>
                <a:gd name="connsiteX15" fmla="*/ 131182 w 657402"/>
                <a:gd name="connsiteY15" fmla="*/ 661758 h 692577"/>
                <a:gd name="connsiteX16" fmla="*/ 148683 w 657402"/>
                <a:gd name="connsiteY16" fmla="*/ 661758 h 692577"/>
                <a:gd name="connsiteX17" fmla="*/ 144281 w 657402"/>
                <a:gd name="connsiteY17" fmla="*/ 554583 h 692577"/>
                <a:gd name="connsiteX18" fmla="*/ 115644 w 657402"/>
                <a:gd name="connsiteY18" fmla="*/ 458571 h 692577"/>
                <a:gd name="connsiteX19" fmla="*/ 104720 w 657402"/>
                <a:gd name="connsiteY19" fmla="*/ 608197 h 692577"/>
                <a:gd name="connsiteX20" fmla="*/ 120629 w 657402"/>
                <a:gd name="connsiteY20" fmla="*/ 601462 h 692577"/>
                <a:gd name="connsiteX21" fmla="*/ 48296 w 657402"/>
                <a:gd name="connsiteY21" fmla="*/ 506537 h 692577"/>
                <a:gd name="connsiteX22" fmla="*/ 2106 w 657402"/>
                <a:gd name="connsiteY22" fmla="*/ 549306 h 692577"/>
                <a:gd name="connsiteX23" fmla="*/ 110262 w 657402"/>
                <a:gd name="connsiteY23" fmla="*/ 661996 h 692577"/>
                <a:gd name="connsiteX24" fmla="*/ 335456 w 657402"/>
                <a:gd name="connsiteY24" fmla="*/ 674962 h 692577"/>
                <a:gd name="connsiteX25" fmla="*/ 651466 w 657402"/>
                <a:gd name="connsiteY25" fmla="*/ 277763 h 692577"/>
                <a:gd name="connsiteX26" fmla="*/ 610712 w 657402"/>
                <a:gd name="connsiteY26" fmla="*/ 45595 h 692577"/>
                <a:gd name="connsiteX27" fmla="*/ 419033 w 657402"/>
                <a:gd name="connsiteY27" fmla="*/ 32152 h 692577"/>
                <a:gd name="connsiteX28" fmla="*/ 301702 w 657402"/>
                <a:gd name="connsiteY28" fmla="*/ 304756 h 692577"/>
                <a:gd name="connsiteX29" fmla="*/ 237588 w 657402"/>
                <a:gd name="connsiteY29" fmla="*/ 499484 h 692577"/>
                <a:gd name="connsiteX30" fmla="*/ 145076 w 657402"/>
                <a:gd name="connsiteY30" fmla="*/ 644576 h 692577"/>
                <a:gd name="connsiteX31" fmla="*/ 153906 w 657402"/>
                <a:gd name="connsiteY31" fmla="*/ 659690 h 69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657402" h="692577">
                  <a:moveTo>
                    <a:pt x="154039" y="659610"/>
                  </a:moveTo>
                  <a:cubicBezTo>
                    <a:pt x="203702" y="638398"/>
                    <a:pt x="225948" y="568106"/>
                    <a:pt x="246365" y="522818"/>
                  </a:cubicBezTo>
                  <a:cubicBezTo>
                    <a:pt x="277234" y="454132"/>
                    <a:pt x="301456" y="382647"/>
                    <a:pt x="318699" y="309343"/>
                  </a:cubicBezTo>
                  <a:cubicBezTo>
                    <a:pt x="336835" y="233032"/>
                    <a:pt x="345002" y="149482"/>
                    <a:pt x="392650" y="84414"/>
                  </a:cubicBezTo>
                  <a:cubicBezTo>
                    <a:pt x="450003" y="5928"/>
                    <a:pt x="561818" y="-10272"/>
                    <a:pt x="614557" y="81762"/>
                  </a:cubicBezTo>
                  <a:cubicBezTo>
                    <a:pt x="655921" y="153990"/>
                    <a:pt x="642159" y="260051"/>
                    <a:pt x="622061" y="336945"/>
                  </a:cubicBezTo>
                  <a:cubicBezTo>
                    <a:pt x="601962" y="413840"/>
                    <a:pt x="564655" y="485617"/>
                    <a:pt x="510272" y="543394"/>
                  </a:cubicBezTo>
                  <a:cubicBezTo>
                    <a:pt x="419537" y="639750"/>
                    <a:pt x="241990" y="726349"/>
                    <a:pt x="116042" y="644815"/>
                  </a:cubicBezTo>
                  <a:cubicBezTo>
                    <a:pt x="92464" y="629383"/>
                    <a:pt x="70824" y="611180"/>
                    <a:pt x="51583" y="590591"/>
                  </a:cubicBezTo>
                  <a:cubicBezTo>
                    <a:pt x="43629" y="582212"/>
                    <a:pt x="-11735" y="504363"/>
                    <a:pt x="39599" y="521651"/>
                  </a:cubicBezTo>
                  <a:cubicBezTo>
                    <a:pt x="69084" y="531515"/>
                    <a:pt x="92629" y="583988"/>
                    <a:pt x="105648" y="610292"/>
                  </a:cubicBezTo>
                  <a:cubicBezTo>
                    <a:pt x="110103" y="619174"/>
                    <a:pt x="124554" y="612943"/>
                    <a:pt x="121557" y="603557"/>
                  </a:cubicBezTo>
                  <a:cubicBezTo>
                    <a:pt x="115161" y="582965"/>
                    <a:pt x="109851" y="562050"/>
                    <a:pt x="105648" y="540901"/>
                  </a:cubicBezTo>
                  <a:cubicBezTo>
                    <a:pt x="102732" y="526079"/>
                    <a:pt x="96288" y="504655"/>
                    <a:pt x="99841" y="489541"/>
                  </a:cubicBezTo>
                  <a:cubicBezTo>
                    <a:pt x="106841" y="459738"/>
                    <a:pt x="115194" y="488003"/>
                    <a:pt x="118879" y="502401"/>
                  </a:cubicBezTo>
                  <a:cubicBezTo>
                    <a:pt x="131951" y="553151"/>
                    <a:pt x="131580" y="609576"/>
                    <a:pt x="131182" y="661758"/>
                  </a:cubicBezTo>
                  <a:cubicBezTo>
                    <a:pt x="131182" y="673027"/>
                    <a:pt x="148603" y="673027"/>
                    <a:pt x="148683" y="661758"/>
                  </a:cubicBezTo>
                  <a:cubicBezTo>
                    <a:pt x="149046" y="625981"/>
                    <a:pt x="147577" y="590209"/>
                    <a:pt x="144281" y="554583"/>
                  </a:cubicBezTo>
                  <a:cubicBezTo>
                    <a:pt x="141921" y="529950"/>
                    <a:pt x="141895" y="472624"/>
                    <a:pt x="115644" y="458571"/>
                  </a:cubicBezTo>
                  <a:cubicBezTo>
                    <a:pt x="57046" y="427230"/>
                    <a:pt x="99576" y="591492"/>
                    <a:pt x="104720" y="608197"/>
                  </a:cubicBezTo>
                  <a:lnTo>
                    <a:pt x="120629" y="601462"/>
                  </a:lnTo>
                  <a:cubicBezTo>
                    <a:pt x="104720" y="569644"/>
                    <a:pt x="81519" y="523321"/>
                    <a:pt x="48296" y="506537"/>
                  </a:cubicBezTo>
                  <a:cubicBezTo>
                    <a:pt x="16477" y="490628"/>
                    <a:pt x="-7387" y="517647"/>
                    <a:pt x="2106" y="549306"/>
                  </a:cubicBezTo>
                  <a:cubicBezTo>
                    <a:pt x="16239" y="595920"/>
                    <a:pt x="70834" y="637496"/>
                    <a:pt x="110262" y="661996"/>
                  </a:cubicBezTo>
                  <a:cubicBezTo>
                    <a:pt x="176550" y="703175"/>
                    <a:pt x="263892" y="697819"/>
                    <a:pt x="335456" y="674962"/>
                  </a:cubicBezTo>
                  <a:cubicBezTo>
                    <a:pt x="510643" y="619042"/>
                    <a:pt x="626939" y="456132"/>
                    <a:pt x="651466" y="277763"/>
                  </a:cubicBezTo>
                  <a:cubicBezTo>
                    <a:pt x="661940" y="201638"/>
                    <a:pt x="664008" y="107588"/>
                    <a:pt x="610712" y="45595"/>
                  </a:cubicBezTo>
                  <a:cubicBezTo>
                    <a:pt x="560598" y="-12738"/>
                    <a:pt x="478374" y="-12738"/>
                    <a:pt x="419033" y="32152"/>
                  </a:cubicBezTo>
                  <a:cubicBezTo>
                    <a:pt x="334900" y="95789"/>
                    <a:pt x="324108" y="209937"/>
                    <a:pt x="301702" y="304756"/>
                  </a:cubicBezTo>
                  <a:cubicBezTo>
                    <a:pt x="286127" y="371431"/>
                    <a:pt x="264672" y="436598"/>
                    <a:pt x="237588" y="499484"/>
                  </a:cubicBezTo>
                  <a:cubicBezTo>
                    <a:pt x="218259" y="544030"/>
                    <a:pt x="192831" y="624239"/>
                    <a:pt x="145076" y="644576"/>
                  </a:cubicBezTo>
                  <a:cubicBezTo>
                    <a:pt x="134762" y="648978"/>
                    <a:pt x="143645" y="664065"/>
                    <a:pt x="153906" y="659690"/>
                  </a:cubicBezTo>
                  <a:close/>
                </a:path>
              </a:pathLst>
            </a:custGeom>
            <a:solidFill>
              <a:srgbClr val="2A2E2D"/>
            </a:solidFill>
            <a:ln w="2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34FC2780-4A3C-23D4-7ED0-BDFA8C63093C}"/>
                </a:ext>
              </a:extLst>
            </p:cNvPr>
            <p:cNvSpPr/>
            <p:nvPr/>
          </p:nvSpPr>
          <p:spPr>
            <a:xfrm>
              <a:off x="7548731" y="1157298"/>
              <a:ext cx="40557" cy="120885"/>
            </a:xfrm>
            <a:custGeom>
              <a:avLst/>
              <a:gdLst>
                <a:gd name="connsiteX0" fmla="*/ 21510 w 40557"/>
                <a:gd name="connsiteY0" fmla="*/ 10972 h 120885"/>
                <a:gd name="connsiteX1" fmla="*/ 1358 w 40557"/>
                <a:gd name="connsiteY1" fmla="*/ 107938 h 120885"/>
                <a:gd name="connsiteX2" fmla="*/ 16472 w 40557"/>
                <a:gd name="connsiteY2" fmla="*/ 116768 h 120885"/>
                <a:gd name="connsiteX3" fmla="*/ 38373 w 40557"/>
                <a:gd name="connsiteY3" fmla="*/ 6331 h 120885"/>
                <a:gd name="connsiteX4" fmla="*/ 21510 w 40557"/>
                <a:gd name="connsiteY4" fmla="*/ 10972 h 12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557" h="120885">
                  <a:moveTo>
                    <a:pt x="21510" y="10972"/>
                  </a:moveTo>
                  <a:cubicBezTo>
                    <a:pt x="26781" y="44668"/>
                    <a:pt x="19619" y="79132"/>
                    <a:pt x="1358" y="107938"/>
                  </a:cubicBezTo>
                  <a:cubicBezTo>
                    <a:pt x="-4582" y="117537"/>
                    <a:pt x="10532" y="126313"/>
                    <a:pt x="16472" y="116768"/>
                  </a:cubicBezTo>
                  <a:cubicBezTo>
                    <a:pt x="36989" y="83856"/>
                    <a:pt x="44777" y="44582"/>
                    <a:pt x="38373" y="6331"/>
                  </a:cubicBezTo>
                  <a:cubicBezTo>
                    <a:pt x="36650" y="-4752"/>
                    <a:pt x="19813" y="-59"/>
                    <a:pt x="21510" y="10972"/>
                  </a:cubicBezTo>
                  <a:close/>
                </a:path>
              </a:pathLst>
            </a:custGeom>
            <a:solidFill>
              <a:srgbClr val="2A2E2D"/>
            </a:solidFill>
            <a:ln w="2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25E5E258-7150-7E08-1C76-863EC1BC05D3}"/>
                </a:ext>
              </a:extLst>
            </p:cNvPr>
            <p:cNvSpPr/>
            <p:nvPr/>
          </p:nvSpPr>
          <p:spPr>
            <a:xfrm>
              <a:off x="7557252" y="1286358"/>
              <a:ext cx="118395" cy="24926"/>
            </a:xfrm>
            <a:custGeom>
              <a:avLst/>
              <a:gdLst>
                <a:gd name="connsiteX0" fmla="*/ 8402 w 118395"/>
                <a:gd name="connsiteY0" fmla="*/ 18519 h 24926"/>
                <a:gd name="connsiteX1" fmla="*/ 107437 w 118395"/>
                <a:gd name="connsiteY1" fmla="*/ 24724 h 24926"/>
                <a:gd name="connsiteX2" fmla="*/ 112104 w 118395"/>
                <a:gd name="connsiteY2" fmla="*/ 7860 h 24926"/>
                <a:gd name="connsiteX3" fmla="*/ 8402 w 118395"/>
                <a:gd name="connsiteY3" fmla="*/ 966 h 24926"/>
                <a:gd name="connsiteX4" fmla="*/ 8402 w 118395"/>
                <a:gd name="connsiteY4" fmla="*/ 18440 h 24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395" h="24926">
                  <a:moveTo>
                    <a:pt x="8402" y="18519"/>
                  </a:moveTo>
                  <a:cubicBezTo>
                    <a:pt x="41541" y="16030"/>
                    <a:pt x="74865" y="18118"/>
                    <a:pt x="107437" y="24724"/>
                  </a:cubicBezTo>
                  <a:cubicBezTo>
                    <a:pt x="118441" y="26951"/>
                    <a:pt x="123134" y="10114"/>
                    <a:pt x="112104" y="7860"/>
                  </a:cubicBezTo>
                  <a:cubicBezTo>
                    <a:pt x="78018" y="799"/>
                    <a:pt x="43121" y="-1521"/>
                    <a:pt x="8402" y="966"/>
                  </a:cubicBezTo>
                  <a:cubicBezTo>
                    <a:pt x="-2761" y="1761"/>
                    <a:pt x="-2840" y="19262"/>
                    <a:pt x="8402" y="18440"/>
                  </a:cubicBezTo>
                  <a:close/>
                </a:path>
              </a:pathLst>
            </a:custGeom>
            <a:solidFill>
              <a:srgbClr val="2A2E2D"/>
            </a:solidFill>
            <a:ln w="2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93C1507B-36B1-E9EC-4B5C-8875E6623563}"/>
                </a:ext>
              </a:extLst>
            </p:cNvPr>
            <p:cNvSpPr/>
            <p:nvPr/>
          </p:nvSpPr>
          <p:spPr>
            <a:xfrm>
              <a:off x="7409372" y="1271992"/>
              <a:ext cx="64814" cy="68165"/>
            </a:xfrm>
            <a:custGeom>
              <a:avLst/>
              <a:gdLst>
                <a:gd name="connsiteX0" fmla="*/ 0 w 64814"/>
                <a:gd name="connsiteY0" fmla="*/ 23657 h 68165"/>
                <a:gd name="connsiteX1" fmla="*/ 40621 w 64814"/>
                <a:gd name="connsiteY1" fmla="*/ 66771 h 68165"/>
                <a:gd name="connsiteX2" fmla="*/ 63266 w 64814"/>
                <a:gd name="connsiteY2" fmla="*/ 6343 h 68165"/>
                <a:gd name="connsiteX3" fmla="*/ 46402 w 64814"/>
                <a:gd name="connsiteY3" fmla="*/ 10983 h 68165"/>
                <a:gd name="connsiteX4" fmla="*/ 38765 w 64814"/>
                <a:gd name="connsiteY4" fmla="*/ 48396 h 68165"/>
                <a:gd name="connsiteX5" fmla="*/ 17553 w 64814"/>
                <a:gd name="connsiteY5" fmla="*/ 23657 h 68165"/>
                <a:gd name="connsiteX6" fmla="*/ 53 w 64814"/>
                <a:gd name="connsiteY6" fmla="*/ 23657 h 68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814" h="68165">
                  <a:moveTo>
                    <a:pt x="0" y="23657"/>
                  </a:moveTo>
                  <a:cubicBezTo>
                    <a:pt x="981" y="44870"/>
                    <a:pt x="14159" y="75018"/>
                    <a:pt x="40621" y="66771"/>
                  </a:cubicBezTo>
                  <a:cubicBezTo>
                    <a:pt x="67084" y="58525"/>
                    <a:pt x="66474" y="28510"/>
                    <a:pt x="63266" y="6343"/>
                  </a:cubicBezTo>
                  <a:cubicBezTo>
                    <a:pt x="61648" y="-4767"/>
                    <a:pt x="44705" y="-47"/>
                    <a:pt x="46402" y="10983"/>
                  </a:cubicBezTo>
                  <a:cubicBezTo>
                    <a:pt x="48152" y="23074"/>
                    <a:pt x="50909" y="40601"/>
                    <a:pt x="38765" y="48396"/>
                  </a:cubicBezTo>
                  <a:cubicBezTo>
                    <a:pt x="24076" y="57836"/>
                    <a:pt x="17951" y="33786"/>
                    <a:pt x="17553" y="23657"/>
                  </a:cubicBezTo>
                  <a:cubicBezTo>
                    <a:pt x="17049" y="12441"/>
                    <a:pt x="-451" y="12362"/>
                    <a:pt x="53" y="23657"/>
                  </a:cubicBezTo>
                  <a:close/>
                </a:path>
              </a:pathLst>
            </a:custGeom>
            <a:solidFill>
              <a:srgbClr val="2A2E2D"/>
            </a:solidFill>
            <a:ln w="2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2E78B8B6-4B18-3D2A-87EB-8809DC96278B}"/>
                </a:ext>
              </a:extLst>
            </p:cNvPr>
            <p:cNvSpPr/>
            <p:nvPr/>
          </p:nvSpPr>
          <p:spPr>
            <a:xfrm>
              <a:off x="7350761" y="1510380"/>
              <a:ext cx="125151" cy="185335"/>
            </a:xfrm>
            <a:custGeom>
              <a:avLst/>
              <a:gdLst>
                <a:gd name="connsiteX0" fmla="*/ 1074 w 125151"/>
                <a:gd name="connsiteY0" fmla="*/ 8422 h 185335"/>
                <a:gd name="connsiteX1" fmla="*/ 888 w 125151"/>
                <a:gd name="connsiteY1" fmla="*/ 99555 h 185335"/>
                <a:gd name="connsiteX2" fmla="*/ 19581 w 125151"/>
                <a:gd name="connsiteY2" fmla="*/ 182256 h 185335"/>
                <a:gd name="connsiteX3" fmla="*/ 76112 w 125151"/>
                <a:gd name="connsiteY3" fmla="*/ 36873 h 185335"/>
                <a:gd name="connsiteX4" fmla="*/ 58612 w 125151"/>
                <a:gd name="connsiteY4" fmla="*/ 36873 h 185335"/>
                <a:gd name="connsiteX5" fmla="*/ 90033 w 125151"/>
                <a:gd name="connsiteY5" fmla="*/ 132620 h 185335"/>
                <a:gd name="connsiteX6" fmla="*/ 123972 w 125151"/>
                <a:gd name="connsiteY6" fmla="*/ 8422 h 185335"/>
                <a:gd name="connsiteX7" fmla="*/ 106472 w 125151"/>
                <a:gd name="connsiteY7" fmla="*/ 8422 h 185335"/>
                <a:gd name="connsiteX8" fmla="*/ 95866 w 125151"/>
                <a:gd name="connsiteY8" fmla="*/ 104513 h 185335"/>
                <a:gd name="connsiteX9" fmla="*/ 75741 w 125151"/>
                <a:gd name="connsiteY9" fmla="*/ 71051 h 185335"/>
                <a:gd name="connsiteX10" fmla="*/ 76006 w 125151"/>
                <a:gd name="connsiteY10" fmla="*/ 36873 h 185335"/>
                <a:gd name="connsiteX11" fmla="*/ 58506 w 125151"/>
                <a:gd name="connsiteY11" fmla="*/ 36873 h 185335"/>
                <a:gd name="connsiteX12" fmla="*/ 49968 w 125151"/>
                <a:gd name="connsiteY12" fmla="*/ 106343 h 185335"/>
                <a:gd name="connsiteX13" fmla="*/ 35570 w 125151"/>
                <a:gd name="connsiteY13" fmla="*/ 157067 h 185335"/>
                <a:gd name="connsiteX14" fmla="*/ 23877 w 125151"/>
                <a:gd name="connsiteY14" fmla="*/ 153249 h 185335"/>
                <a:gd name="connsiteX15" fmla="*/ 18574 w 125151"/>
                <a:gd name="connsiteY15" fmla="*/ 8422 h 185335"/>
                <a:gd name="connsiteX16" fmla="*/ 1074 w 125151"/>
                <a:gd name="connsiteY16" fmla="*/ 8422 h 185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5151" h="185335">
                  <a:moveTo>
                    <a:pt x="1074" y="8422"/>
                  </a:moveTo>
                  <a:cubicBezTo>
                    <a:pt x="-199" y="38755"/>
                    <a:pt x="-438" y="69248"/>
                    <a:pt x="888" y="99555"/>
                  </a:cubicBezTo>
                  <a:cubicBezTo>
                    <a:pt x="1737" y="119203"/>
                    <a:pt x="-1101" y="169741"/>
                    <a:pt x="19581" y="182256"/>
                  </a:cubicBezTo>
                  <a:cubicBezTo>
                    <a:pt x="63093" y="208533"/>
                    <a:pt x="74654" y="58615"/>
                    <a:pt x="76112" y="36873"/>
                  </a:cubicBezTo>
                  <a:lnTo>
                    <a:pt x="58612" y="36873"/>
                  </a:lnTo>
                  <a:cubicBezTo>
                    <a:pt x="57419" y="58085"/>
                    <a:pt x="51135" y="139593"/>
                    <a:pt x="90033" y="132620"/>
                  </a:cubicBezTo>
                  <a:cubicBezTo>
                    <a:pt x="131025" y="125275"/>
                    <a:pt x="125643" y="37005"/>
                    <a:pt x="123972" y="8422"/>
                  </a:cubicBezTo>
                  <a:cubicBezTo>
                    <a:pt x="123309" y="-2768"/>
                    <a:pt x="105836" y="-2847"/>
                    <a:pt x="106472" y="8422"/>
                  </a:cubicBezTo>
                  <a:cubicBezTo>
                    <a:pt x="107983" y="34221"/>
                    <a:pt x="113048" y="83513"/>
                    <a:pt x="95866" y="104513"/>
                  </a:cubicBezTo>
                  <a:cubicBezTo>
                    <a:pt x="77491" y="127131"/>
                    <a:pt x="76245" y="83778"/>
                    <a:pt x="75741" y="71051"/>
                  </a:cubicBezTo>
                  <a:cubicBezTo>
                    <a:pt x="75290" y="59676"/>
                    <a:pt x="75370" y="48221"/>
                    <a:pt x="76006" y="36873"/>
                  </a:cubicBezTo>
                  <a:cubicBezTo>
                    <a:pt x="76642" y="25524"/>
                    <a:pt x="59275" y="25683"/>
                    <a:pt x="58506" y="36873"/>
                  </a:cubicBezTo>
                  <a:cubicBezTo>
                    <a:pt x="57016" y="60177"/>
                    <a:pt x="54165" y="83373"/>
                    <a:pt x="49968" y="106343"/>
                  </a:cubicBezTo>
                  <a:cubicBezTo>
                    <a:pt x="46945" y="122756"/>
                    <a:pt x="44135" y="142457"/>
                    <a:pt x="35570" y="157067"/>
                  </a:cubicBezTo>
                  <a:cubicBezTo>
                    <a:pt x="27748" y="170324"/>
                    <a:pt x="27616" y="166904"/>
                    <a:pt x="23877" y="153249"/>
                  </a:cubicBezTo>
                  <a:cubicBezTo>
                    <a:pt x="11574" y="108173"/>
                    <a:pt x="16506" y="54665"/>
                    <a:pt x="18574" y="8422"/>
                  </a:cubicBezTo>
                  <a:cubicBezTo>
                    <a:pt x="19051" y="-2821"/>
                    <a:pt x="1551" y="-2794"/>
                    <a:pt x="1074" y="8422"/>
                  </a:cubicBezTo>
                  <a:close/>
                </a:path>
              </a:pathLst>
            </a:custGeom>
            <a:solidFill>
              <a:srgbClr val="2A2E2D"/>
            </a:solidFill>
            <a:ln w="2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1D10920F-E598-BA62-0F9F-46BEED305DE0}"/>
                </a:ext>
              </a:extLst>
            </p:cNvPr>
            <p:cNvSpPr/>
            <p:nvPr/>
          </p:nvSpPr>
          <p:spPr>
            <a:xfrm>
              <a:off x="7243711" y="1793395"/>
              <a:ext cx="40183" cy="245206"/>
            </a:xfrm>
            <a:custGeom>
              <a:avLst/>
              <a:gdLst>
                <a:gd name="connsiteX0" fmla="*/ 46 w 40183"/>
                <a:gd name="connsiteY0" fmla="*/ 8352 h 245206"/>
                <a:gd name="connsiteX1" fmla="*/ 22637 w 40183"/>
                <a:gd name="connsiteY1" fmla="*/ 236835 h 245206"/>
                <a:gd name="connsiteX2" fmla="*/ 40138 w 40183"/>
                <a:gd name="connsiteY2" fmla="*/ 236835 h 245206"/>
                <a:gd name="connsiteX3" fmla="*/ 17546 w 40183"/>
                <a:gd name="connsiteY3" fmla="*/ 8352 h 245206"/>
                <a:gd name="connsiteX4" fmla="*/ 46 w 40183"/>
                <a:gd name="connsiteY4" fmla="*/ 8352 h 245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183" h="245206">
                  <a:moveTo>
                    <a:pt x="46" y="8352"/>
                  </a:moveTo>
                  <a:lnTo>
                    <a:pt x="22637" y="236835"/>
                  </a:lnTo>
                  <a:cubicBezTo>
                    <a:pt x="23751" y="247945"/>
                    <a:pt x="41198" y="248051"/>
                    <a:pt x="40138" y="236835"/>
                  </a:cubicBezTo>
                  <a:lnTo>
                    <a:pt x="17546" y="8352"/>
                  </a:lnTo>
                  <a:cubicBezTo>
                    <a:pt x="16459" y="-2731"/>
                    <a:pt x="-1014" y="-2837"/>
                    <a:pt x="46" y="8352"/>
                  </a:cubicBezTo>
                  <a:close/>
                </a:path>
              </a:pathLst>
            </a:custGeom>
            <a:solidFill>
              <a:srgbClr val="2A2E2D"/>
            </a:solidFill>
            <a:ln w="2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B7A9B061-A8E2-E2C0-0727-843B5C8A2D6D}"/>
                </a:ext>
              </a:extLst>
            </p:cNvPr>
            <p:cNvSpPr/>
            <p:nvPr/>
          </p:nvSpPr>
          <p:spPr>
            <a:xfrm>
              <a:off x="7313221" y="1777843"/>
              <a:ext cx="28300" cy="247888"/>
            </a:xfrm>
            <a:custGeom>
              <a:avLst/>
              <a:gdLst>
                <a:gd name="connsiteX0" fmla="*/ 34 w 28300"/>
                <a:gd name="connsiteY0" fmla="*/ 8392 h 247888"/>
                <a:gd name="connsiteX1" fmla="*/ 10825 w 28300"/>
                <a:gd name="connsiteY1" fmla="*/ 239446 h 247888"/>
                <a:gd name="connsiteX2" fmla="*/ 28299 w 28300"/>
                <a:gd name="connsiteY2" fmla="*/ 239446 h 247888"/>
                <a:gd name="connsiteX3" fmla="*/ 17534 w 28300"/>
                <a:gd name="connsiteY3" fmla="*/ 8392 h 247888"/>
                <a:gd name="connsiteX4" fmla="*/ 34 w 28300"/>
                <a:gd name="connsiteY4" fmla="*/ 8392 h 247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300" h="247888">
                  <a:moveTo>
                    <a:pt x="34" y="8392"/>
                  </a:moveTo>
                  <a:cubicBezTo>
                    <a:pt x="6185" y="85305"/>
                    <a:pt x="9783" y="162321"/>
                    <a:pt x="10825" y="239446"/>
                  </a:cubicBezTo>
                  <a:cubicBezTo>
                    <a:pt x="10958" y="250689"/>
                    <a:pt x="28458" y="250715"/>
                    <a:pt x="28299" y="239446"/>
                  </a:cubicBezTo>
                  <a:cubicBezTo>
                    <a:pt x="27257" y="162287"/>
                    <a:pt x="23667" y="85268"/>
                    <a:pt x="17534" y="8392"/>
                  </a:cubicBezTo>
                  <a:cubicBezTo>
                    <a:pt x="16632" y="-2744"/>
                    <a:pt x="-868" y="-2850"/>
                    <a:pt x="34" y="8392"/>
                  </a:cubicBezTo>
                  <a:close/>
                </a:path>
              </a:pathLst>
            </a:custGeom>
            <a:solidFill>
              <a:srgbClr val="2A2E2D"/>
            </a:solidFill>
            <a:ln w="2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46" name="Graphic 32">
            <a:extLst>
              <a:ext uri="{FF2B5EF4-FFF2-40B4-BE49-F238E27FC236}">
                <a16:creationId xmlns:a16="http://schemas.microsoft.com/office/drawing/2014/main" id="{A99631ED-84CD-1B4B-46E4-076DCCF758D6}"/>
              </a:ext>
            </a:extLst>
          </p:cNvPr>
          <p:cNvGrpSpPr/>
          <p:nvPr/>
        </p:nvGrpSpPr>
        <p:grpSpPr>
          <a:xfrm>
            <a:off x="8822554" y="5465821"/>
            <a:ext cx="896306" cy="797755"/>
            <a:chOff x="8822554" y="5465821"/>
            <a:chExt cx="896306" cy="797755"/>
          </a:xfrm>
          <a:solidFill>
            <a:srgbClr val="2A2E2D"/>
          </a:solidFill>
        </p:grpSpPr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6A3AA26B-E8AB-E8C4-B853-A2E79FE39FE6}"/>
                </a:ext>
              </a:extLst>
            </p:cNvPr>
            <p:cNvSpPr/>
            <p:nvPr/>
          </p:nvSpPr>
          <p:spPr>
            <a:xfrm>
              <a:off x="8822554" y="5465821"/>
              <a:ext cx="882494" cy="747468"/>
            </a:xfrm>
            <a:custGeom>
              <a:avLst/>
              <a:gdLst>
                <a:gd name="connsiteX0" fmla="*/ 810781 w 882494"/>
                <a:gd name="connsiteY0" fmla="*/ 300000 h 747468"/>
                <a:gd name="connsiteX1" fmla="*/ 881444 w 882494"/>
                <a:gd name="connsiteY1" fmla="*/ 165753 h 747468"/>
                <a:gd name="connsiteX2" fmla="*/ 876141 w 882494"/>
                <a:gd name="connsiteY2" fmla="*/ 152893 h 747468"/>
                <a:gd name="connsiteX3" fmla="*/ 749451 w 882494"/>
                <a:gd name="connsiteY3" fmla="*/ 140325 h 747468"/>
                <a:gd name="connsiteX4" fmla="*/ 757008 w 882494"/>
                <a:gd name="connsiteY4" fmla="*/ 153583 h 747468"/>
                <a:gd name="connsiteX5" fmla="*/ 805584 w 882494"/>
                <a:gd name="connsiteY5" fmla="*/ 45135 h 747468"/>
                <a:gd name="connsiteX6" fmla="*/ 802036 w 882494"/>
                <a:gd name="connsiteY6" fmla="*/ 33006 h 747468"/>
                <a:gd name="connsiteX7" fmla="*/ 800281 w 882494"/>
                <a:gd name="connsiteY7" fmla="*/ 32275 h 747468"/>
                <a:gd name="connsiteX8" fmla="*/ 694352 w 882494"/>
                <a:gd name="connsiteY8" fmla="*/ 18169 h 747468"/>
                <a:gd name="connsiteX9" fmla="*/ 641640 w 882494"/>
                <a:gd name="connsiteY9" fmla="*/ 27741 h 747468"/>
                <a:gd name="connsiteX10" fmla="*/ 584287 w 882494"/>
                <a:gd name="connsiteY10" fmla="*/ 125848 h 747468"/>
                <a:gd name="connsiteX11" fmla="*/ 518900 w 882494"/>
                <a:gd name="connsiteY11" fmla="*/ 128313 h 747468"/>
                <a:gd name="connsiteX12" fmla="*/ 445824 w 882494"/>
                <a:gd name="connsiteY12" fmla="*/ 125238 h 747468"/>
                <a:gd name="connsiteX13" fmla="*/ 453381 w 882494"/>
                <a:gd name="connsiteY13" fmla="*/ 138495 h 747468"/>
                <a:gd name="connsiteX14" fmla="*/ 500790 w 882494"/>
                <a:gd name="connsiteY14" fmla="*/ 28589 h 747468"/>
                <a:gd name="connsiteX15" fmla="*/ 495487 w 882494"/>
                <a:gd name="connsiteY15" fmla="*/ 15729 h 747468"/>
                <a:gd name="connsiteX16" fmla="*/ 375930 w 882494"/>
                <a:gd name="connsiteY16" fmla="*/ 2472 h 747468"/>
                <a:gd name="connsiteX17" fmla="*/ 328679 w 882494"/>
                <a:gd name="connsiteY17" fmla="*/ 5680 h 747468"/>
                <a:gd name="connsiteX18" fmla="*/ 302164 w 882494"/>
                <a:gd name="connsiteY18" fmla="*/ 64650 h 747468"/>
                <a:gd name="connsiteX19" fmla="*/ 266634 w 882494"/>
                <a:gd name="connsiteY19" fmla="*/ 118768 h 747468"/>
                <a:gd name="connsiteX20" fmla="*/ 174891 w 882494"/>
                <a:gd name="connsiteY20" fmla="*/ 116116 h 747468"/>
                <a:gd name="connsiteX21" fmla="*/ 167334 w 882494"/>
                <a:gd name="connsiteY21" fmla="*/ 120438 h 747468"/>
                <a:gd name="connsiteX22" fmla="*/ 103485 w 882494"/>
                <a:gd name="connsiteY22" fmla="*/ 257178 h 747468"/>
                <a:gd name="connsiteX23" fmla="*/ 106838 w 882494"/>
                <a:gd name="connsiteY23" fmla="*/ 269285 h 747468"/>
                <a:gd name="connsiteX24" fmla="*/ 111042 w 882494"/>
                <a:gd name="connsiteY24" fmla="*/ 270436 h 747468"/>
                <a:gd name="connsiteX25" fmla="*/ 220364 w 882494"/>
                <a:gd name="connsiteY25" fmla="*/ 275739 h 747468"/>
                <a:gd name="connsiteX26" fmla="*/ 212807 w 882494"/>
                <a:gd name="connsiteY26" fmla="*/ 262481 h 747468"/>
                <a:gd name="connsiteX27" fmla="*/ 165478 w 882494"/>
                <a:gd name="connsiteY27" fmla="*/ 368383 h 747468"/>
                <a:gd name="connsiteX28" fmla="*/ 117087 w 882494"/>
                <a:gd name="connsiteY28" fmla="*/ 391504 h 747468"/>
                <a:gd name="connsiteX29" fmla="*/ 77579 w 882494"/>
                <a:gd name="connsiteY29" fmla="*/ 390656 h 747468"/>
                <a:gd name="connsiteX30" fmla="*/ 40219 w 882494"/>
                <a:gd name="connsiteY30" fmla="*/ 444668 h 747468"/>
                <a:gd name="connsiteX31" fmla="*/ 287 w 882494"/>
                <a:gd name="connsiteY31" fmla="*/ 540123 h 747468"/>
                <a:gd name="connsiteX32" fmla="*/ 6630 w 882494"/>
                <a:gd name="connsiteY32" fmla="*/ 550923 h 747468"/>
                <a:gd name="connsiteX33" fmla="*/ 8719 w 882494"/>
                <a:gd name="connsiteY33" fmla="*/ 551206 h 747468"/>
                <a:gd name="connsiteX34" fmla="*/ 101098 w 882494"/>
                <a:gd name="connsiteY34" fmla="*/ 555555 h 747468"/>
                <a:gd name="connsiteX35" fmla="*/ 92693 w 882494"/>
                <a:gd name="connsiteY35" fmla="*/ 544577 h 747468"/>
                <a:gd name="connsiteX36" fmla="*/ 43507 w 882494"/>
                <a:gd name="connsiteY36" fmla="*/ 690995 h 747468"/>
                <a:gd name="connsiteX37" fmla="*/ 49763 w 882494"/>
                <a:gd name="connsiteY37" fmla="*/ 701758 h 747468"/>
                <a:gd name="connsiteX38" fmla="*/ 51939 w 882494"/>
                <a:gd name="connsiteY38" fmla="*/ 702052 h 747468"/>
                <a:gd name="connsiteX39" fmla="*/ 194379 w 882494"/>
                <a:gd name="connsiteY39" fmla="*/ 719817 h 747468"/>
                <a:gd name="connsiteX40" fmla="*/ 204270 w 882494"/>
                <a:gd name="connsiteY40" fmla="*/ 715893 h 747468"/>
                <a:gd name="connsiteX41" fmla="*/ 234709 w 882494"/>
                <a:gd name="connsiteY41" fmla="*/ 645336 h 747468"/>
                <a:gd name="connsiteX42" fmla="*/ 265149 w 882494"/>
                <a:gd name="connsiteY42" fmla="*/ 574805 h 747468"/>
                <a:gd name="connsiteX43" fmla="*/ 326558 w 882494"/>
                <a:gd name="connsiteY43" fmla="*/ 566373 h 747468"/>
                <a:gd name="connsiteX44" fmla="*/ 404301 w 882494"/>
                <a:gd name="connsiteY44" fmla="*/ 570059 h 747468"/>
                <a:gd name="connsiteX45" fmla="*/ 395869 w 882494"/>
                <a:gd name="connsiteY45" fmla="*/ 559002 h 747468"/>
                <a:gd name="connsiteX46" fmla="*/ 338755 w 882494"/>
                <a:gd name="connsiteY46" fmla="*/ 710855 h 747468"/>
                <a:gd name="connsiteX47" fmla="*/ 347187 w 882494"/>
                <a:gd name="connsiteY47" fmla="*/ 721912 h 747468"/>
                <a:gd name="connsiteX48" fmla="*/ 480798 w 882494"/>
                <a:gd name="connsiteY48" fmla="*/ 747154 h 747468"/>
                <a:gd name="connsiteX49" fmla="*/ 490662 w 882494"/>
                <a:gd name="connsiteY49" fmla="*/ 743151 h 747468"/>
                <a:gd name="connsiteX50" fmla="*/ 546927 w 882494"/>
                <a:gd name="connsiteY50" fmla="*/ 619483 h 747468"/>
                <a:gd name="connsiteX51" fmla="*/ 591022 w 882494"/>
                <a:gd name="connsiteY51" fmla="*/ 578862 h 747468"/>
                <a:gd name="connsiteX52" fmla="*/ 659829 w 882494"/>
                <a:gd name="connsiteY52" fmla="*/ 582097 h 747468"/>
                <a:gd name="connsiteX53" fmla="*/ 703235 w 882494"/>
                <a:gd name="connsiteY53" fmla="*/ 564146 h 747468"/>
                <a:gd name="connsiteX54" fmla="*/ 761065 w 882494"/>
                <a:gd name="connsiteY54" fmla="*/ 443740 h 747468"/>
                <a:gd name="connsiteX55" fmla="*/ 757713 w 882494"/>
                <a:gd name="connsiteY55" fmla="*/ 431633 h 747468"/>
                <a:gd name="connsiteX56" fmla="*/ 753508 w 882494"/>
                <a:gd name="connsiteY56" fmla="*/ 430482 h 747468"/>
                <a:gd name="connsiteX57" fmla="*/ 624087 w 882494"/>
                <a:gd name="connsiteY57" fmla="*/ 419876 h 747468"/>
                <a:gd name="connsiteX58" fmla="*/ 631644 w 882494"/>
                <a:gd name="connsiteY58" fmla="*/ 433134 h 747468"/>
                <a:gd name="connsiteX59" fmla="*/ 683640 w 882494"/>
                <a:gd name="connsiteY59" fmla="*/ 317527 h 747468"/>
                <a:gd name="connsiteX60" fmla="*/ 803224 w 882494"/>
                <a:gd name="connsiteY60" fmla="*/ 304481 h 747468"/>
                <a:gd name="connsiteX61" fmla="*/ 803224 w 882494"/>
                <a:gd name="connsiteY61" fmla="*/ 286981 h 747468"/>
                <a:gd name="connsiteX62" fmla="*/ 686557 w 882494"/>
                <a:gd name="connsiteY62" fmla="*/ 281254 h 747468"/>
                <a:gd name="connsiteX63" fmla="*/ 679000 w 882494"/>
                <a:gd name="connsiteY63" fmla="*/ 285576 h 747468"/>
                <a:gd name="connsiteX64" fmla="*/ 616530 w 882494"/>
                <a:gd name="connsiteY64" fmla="*/ 424224 h 747468"/>
                <a:gd name="connsiteX65" fmla="*/ 619953 w 882494"/>
                <a:gd name="connsiteY65" fmla="*/ 436350 h 747468"/>
                <a:gd name="connsiteX66" fmla="*/ 624087 w 882494"/>
                <a:gd name="connsiteY66" fmla="*/ 437482 h 747468"/>
                <a:gd name="connsiteX67" fmla="*/ 753508 w 882494"/>
                <a:gd name="connsiteY67" fmla="*/ 448088 h 747468"/>
                <a:gd name="connsiteX68" fmla="*/ 745951 w 882494"/>
                <a:gd name="connsiteY68" fmla="*/ 434830 h 747468"/>
                <a:gd name="connsiteX69" fmla="*/ 718243 w 882494"/>
                <a:gd name="connsiteY69" fmla="*/ 492846 h 747468"/>
                <a:gd name="connsiteX70" fmla="*/ 690508 w 882494"/>
                <a:gd name="connsiteY70" fmla="*/ 550888 h 747468"/>
                <a:gd name="connsiteX71" fmla="*/ 560582 w 882494"/>
                <a:gd name="connsiteY71" fmla="*/ 559850 h 747468"/>
                <a:gd name="connsiteX72" fmla="*/ 553026 w 882494"/>
                <a:gd name="connsiteY72" fmla="*/ 564172 h 747468"/>
                <a:gd name="connsiteX73" fmla="*/ 517919 w 882494"/>
                <a:gd name="connsiteY73" fmla="*/ 641491 h 747468"/>
                <a:gd name="connsiteX74" fmla="*/ 482760 w 882494"/>
                <a:gd name="connsiteY74" fmla="*/ 718783 h 747468"/>
                <a:gd name="connsiteX75" fmla="*/ 418540 w 882494"/>
                <a:gd name="connsiteY75" fmla="*/ 712393 h 747468"/>
                <a:gd name="connsiteX76" fmla="*/ 347320 w 882494"/>
                <a:gd name="connsiteY76" fmla="*/ 704438 h 747468"/>
                <a:gd name="connsiteX77" fmla="*/ 355752 w 882494"/>
                <a:gd name="connsiteY77" fmla="*/ 715495 h 747468"/>
                <a:gd name="connsiteX78" fmla="*/ 412733 w 882494"/>
                <a:gd name="connsiteY78" fmla="*/ 563509 h 747468"/>
                <a:gd name="connsiteX79" fmla="*/ 404301 w 882494"/>
                <a:gd name="connsiteY79" fmla="*/ 552452 h 747468"/>
                <a:gd name="connsiteX80" fmla="*/ 264353 w 882494"/>
                <a:gd name="connsiteY80" fmla="*/ 545850 h 747468"/>
                <a:gd name="connsiteX81" fmla="*/ 256796 w 882494"/>
                <a:gd name="connsiteY81" fmla="*/ 550172 h 747468"/>
                <a:gd name="connsiteX82" fmla="*/ 226357 w 882494"/>
                <a:gd name="connsiteY82" fmla="*/ 620729 h 747468"/>
                <a:gd name="connsiteX83" fmla="*/ 189660 w 882494"/>
                <a:gd name="connsiteY83" fmla="*/ 694972 h 747468"/>
                <a:gd name="connsiteX84" fmla="*/ 133182 w 882494"/>
                <a:gd name="connsiteY84" fmla="*/ 688503 h 747468"/>
                <a:gd name="connsiteX85" fmla="*/ 51939 w 882494"/>
                <a:gd name="connsiteY85" fmla="*/ 684658 h 747468"/>
                <a:gd name="connsiteX86" fmla="*/ 60371 w 882494"/>
                <a:gd name="connsiteY86" fmla="*/ 695715 h 747468"/>
                <a:gd name="connsiteX87" fmla="*/ 109530 w 882494"/>
                <a:gd name="connsiteY87" fmla="*/ 549324 h 747468"/>
                <a:gd name="connsiteX88" fmla="*/ 101098 w 882494"/>
                <a:gd name="connsiteY88" fmla="*/ 538240 h 747468"/>
                <a:gd name="connsiteX89" fmla="*/ 8719 w 882494"/>
                <a:gd name="connsiteY89" fmla="*/ 533812 h 747468"/>
                <a:gd name="connsiteX90" fmla="*/ 17151 w 882494"/>
                <a:gd name="connsiteY90" fmla="*/ 544896 h 747468"/>
                <a:gd name="connsiteX91" fmla="*/ 69572 w 882494"/>
                <a:gd name="connsiteY91" fmla="*/ 428228 h 747468"/>
                <a:gd name="connsiteX92" fmla="*/ 105102 w 882494"/>
                <a:gd name="connsiteY92" fmla="*/ 408580 h 747468"/>
                <a:gd name="connsiteX93" fmla="*/ 160307 w 882494"/>
                <a:gd name="connsiteY93" fmla="*/ 410622 h 747468"/>
                <a:gd name="connsiteX94" fmla="*/ 167864 w 882494"/>
                <a:gd name="connsiteY94" fmla="*/ 406273 h 747468"/>
                <a:gd name="connsiteX95" fmla="*/ 227921 w 882494"/>
                <a:gd name="connsiteY95" fmla="*/ 271311 h 747468"/>
                <a:gd name="connsiteX96" fmla="*/ 224568 w 882494"/>
                <a:gd name="connsiteY96" fmla="*/ 259204 h 747468"/>
                <a:gd name="connsiteX97" fmla="*/ 220364 w 882494"/>
                <a:gd name="connsiteY97" fmla="*/ 258053 h 747468"/>
                <a:gd name="connsiteX98" fmla="*/ 111042 w 882494"/>
                <a:gd name="connsiteY98" fmla="*/ 252750 h 747468"/>
                <a:gd name="connsiteX99" fmla="*/ 118572 w 882494"/>
                <a:gd name="connsiteY99" fmla="*/ 266007 h 747468"/>
                <a:gd name="connsiteX100" fmla="*/ 146917 w 882494"/>
                <a:gd name="connsiteY100" fmla="*/ 205181 h 747468"/>
                <a:gd name="connsiteX101" fmla="*/ 178417 w 882494"/>
                <a:gd name="connsiteY101" fmla="*/ 139052 h 747468"/>
                <a:gd name="connsiteX102" fmla="*/ 282993 w 882494"/>
                <a:gd name="connsiteY102" fmla="*/ 136798 h 747468"/>
                <a:gd name="connsiteX103" fmla="*/ 290550 w 882494"/>
                <a:gd name="connsiteY103" fmla="*/ 132556 h 747468"/>
                <a:gd name="connsiteX104" fmla="*/ 317066 w 882494"/>
                <a:gd name="connsiteY104" fmla="*/ 73586 h 747468"/>
                <a:gd name="connsiteX105" fmla="*/ 340717 w 882494"/>
                <a:gd name="connsiteY105" fmla="*/ 18460 h 747468"/>
                <a:gd name="connsiteX106" fmla="*/ 401146 w 882494"/>
                <a:gd name="connsiteY106" fmla="*/ 21775 h 747468"/>
                <a:gd name="connsiteX107" fmla="*/ 490847 w 882494"/>
                <a:gd name="connsiteY107" fmla="*/ 32593 h 747468"/>
                <a:gd name="connsiteX108" fmla="*/ 485544 w 882494"/>
                <a:gd name="connsiteY108" fmla="*/ 19760 h 747468"/>
                <a:gd name="connsiteX109" fmla="*/ 438108 w 882494"/>
                <a:gd name="connsiteY109" fmla="*/ 129666 h 747468"/>
                <a:gd name="connsiteX110" fmla="*/ 445665 w 882494"/>
                <a:gd name="connsiteY110" fmla="*/ 142923 h 747468"/>
                <a:gd name="connsiteX111" fmla="*/ 592321 w 882494"/>
                <a:gd name="connsiteY111" fmla="*/ 149287 h 747468"/>
                <a:gd name="connsiteX112" fmla="*/ 599878 w 882494"/>
                <a:gd name="connsiteY112" fmla="*/ 144939 h 747468"/>
                <a:gd name="connsiteX113" fmla="*/ 661129 w 882494"/>
                <a:gd name="connsiteY113" fmla="*/ 40892 h 747468"/>
                <a:gd name="connsiteX114" fmla="*/ 795614 w 882494"/>
                <a:gd name="connsiteY114" fmla="*/ 49245 h 747468"/>
                <a:gd name="connsiteX115" fmla="*/ 790311 w 882494"/>
                <a:gd name="connsiteY115" fmla="*/ 36385 h 747468"/>
                <a:gd name="connsiteX116" fmla="*/ 741974 w 882494"/>
                <a:gd name="connsiteY116" fmla="*/ 144673 h 747468"/>
                <a:gd name="connsiteX117" fmla="*/ 745325 w 882494"/>
                <a:gd name="connsiteY117" fmla="*/ 156779 h 747468"/>
                <a:gd name="connsiteX118" fmla="*/ 749531 w 882494"/>
                <a:gd name="connsiteY118" fmla="*/ 157931 h 747468"/>
                <a:gd name="connsiteX119" fmla="*/ 871501 w 882494"/>
                <a:gd name="connsiteY119" fmla="*/ 169863 h 747468"/>
                <a:gd name="connsiteX120" fmla="*/ 866198 w 882494"/>
                <a:gd name="connsiteY120" fmla="*/ 157030 h 747468"/>
                <a:gd name="connsiteX121" fmla="*/ 795535 w 882494"/>
                <a:gd name="connsiteY121" fmla="*/ 291277 h 747468"/>
                <a:gd name="connsiteX122" fmla="*/ 810781 w 882494"/>
                <a:gd name="connsiteY122" fmla="*/ 300000 h 747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</a:cxnLst>
              <a:rect l="l" t="t" r="r" b="b"/>
              <a:pathLst>
                <a:path w="882494" h="747468">
                  <a:moveTo>
                    <a:pt x="810781" y="300000"/>
                  </a:moveTo>
                  <a:lnTo>
                    <a:pt x="881444" y="165753"/>
                  </a:lnTo>
                  <a:cubicBezTo>
                    <a:pt x="883884" y="161139"/>
                    <a:pt x="882054" y="153980"/>
                    <a:pt x="876141" y="152893"/>
                  </a:cubicBezTo>
                  <a:cubicBezTo>
                    <a:pt x="834512" y="144939"/>
                    <a:pt x="791610" y="143215"/>
                    <a:pt x="749451" y="140325"/>
                  </a:cubicBezTo>
                  <a:lnTo>
                    <a:pt x="757008" y="153583"/>
                  </a:lnTo>
                  <a:cubicBezTo>
                    <a:pt x="773182" y="117442"/>
                    <a:pt x="789463" y="81328"/>
                    <a:pt x="805584" y="45135"/>
                  </a:cubicBezTo>
                  <a:cubicBezTo>
                    <a:pt x="807955" y="40806"/>
                    <a:pt x="806366" y="35376"/>
                    <a:pt x="802036" y="33006"/>
                  </a:cubicBezTo>
                  <a:cubicBezTo>
                    <a:pt x="801480" y="32700"/>
                    <a:pt x="800891" y="32455"/>
                    <a:pt x="800281" y="32275"/>
                  </a:cubicBezTo>
                  <a:cubicBezTo>
                    <a:pt x="765811" y="20953"/>
                    <a:pt x="730705" y="15226"/>
                    <a:pt x="694352" y="18169"/>
                  </a:cubicBezTo>
                  <a:cubicBezTo>
                    <a:pt x="680723" y="19282"/>
                    <a:pt x="653307" y="19335"/>
                    <a:pt x="641640" y="27741"/>
                  </a:cubicBezTo>
                  <a:cubicBezTo>
                    <a:pt x="612659" y="48635"/>
                    <a:pt x="615787" y="106916"/>
                    <a:pt x="584287" y="125848"/>
                  </a:cubicBezTo>
                  <a:cubicBezTo>
                    <a:pt x="567370" y="136029"/>
                    <a:pt x="538575" y="129188"/>
                    <a:pt x="518900" y="128313"/>
                  </a:cubicBezTo>
                  <a:cubicBezTo>
                    <a:pt x="494612" y="127253"/>
                    <a:pt x="470253" y="126227"/>
                    <a:pt x="445824" y="125238"/>
                  </a:cubicBezTo>
                  <a:lnTo>
                    <a:pt x="453381" y="138495"/>
                  </a:lnTo>
                  <a:lnTo>
                    <a:pt x="500790" y="28589"/>
                  </a:lnTo>
                  <a:cubicBezTo>
                    <a:pt x="502753" y="24029"/>
                    <a:pt x="501771" y="16684"/>
                    <a:pt x="495487" y="15729"/>
                  </a:cubicBezTo>
                  <a:cubicBezTo>
                    <a:pt x="455714" y="9631"/>
                    <a:pt x="415941" y="4885"/>
                    <a:pt x="375930" y="2472"/>
                  </a:cubicBezTo>
                  <a:cubicBezTo>
                    <a:pt x="360789" y="1385"/>
                    <a:pt x="341327" y="-3998"/>
                    <a:pt x="328679" y="5680"/>
                  </a:cubicBezTo>
                  <a:cubicBezTo>
                    <a:pt x="317278" y="14430"/>
                    <a:pt x="308157" y="51233"/>
                    <a:pt x="302164" y="64650"/>
                  </a:cubicBezTo>
                  <a:cubicBezTo>
                    <a:pt x="293865" y="83211"/>
                    <a:pt x="288270" y="111821"/>
                    <a:pt x="266634" y="118768"/>
                  </a:cubicBezTo>
                  <a:cubicBezTo>
                    <a:pt x="242478" y="126484"/>
                    <a:pt x="201008" y="116700"/>
                    <a:pt x="174891" y="116116"/>
                  </a:cubicBezTo>
                  <a:cubicBezTo>
                    <a:pt x="171771" y="116068"/>
                    <a:pt x="168874" y="117725"/>
                    <a:pt x="167334" y="120438"/>
                  </a:cubicBezTo>
                  <a:lnTo>
                    <a:pt x="103485" y="257178"/>
                  </a:lnTo>
                  <a:cubicBezTo>
                    <a:pt x="101068" y="261447"/>
                    <a:pt x="102569" y="266867"/>
                    <a:pt x="106838" y="269285"/>
                  </a:cubicBezTo>
                  <a:cubicBezTo>
                    <a:pt x="108121" y="270011"/>
                    <a:pt x="109566" y="270406"/>
                    <a:pt x="111042" y="270436"/>
                  </a:cubicBezTo>
                  <a:lnTo>
                    <a:pt x="220364" y="275739"/>
                  </a:lnTo>
                  <a:lnTo>
                    <a:pt x="212807" y="262481"/>
                  </a:lnTo>
                  <a:cubicBezTo>
                    <a:pt x="197402" y="296633"/>
                    <a:pt x="185205" y="336724"/>
                    <a:pt x="165478" y="368383"/>
                  </a:cubicBezTo>
                  <a:cubicBezTo>
                    <a:pt x="150629" y="392247"/>
                    <a:pt x="144875" y="392379"/>
                    <a:pt x="117087" y="391504"/>
                  </a:cubicBezTo>
                  <a:cubicBezTo>
                    <a:pt x="107701" y="391186"/>
                    <a:pt x="86356" y="386705"/>
                    <a:pt x="77579" y="390656"/>
                  </a:cubicBezTo>
                  <a:cubicBezTo>
                    <a:pt x="59708" y="398611"/>
                    <a:pt x="49181" y="427777"/>
                    <a:pt x="40219" y="444668"/>
                  </a:cubicBezTo>
                  <a:cubicBezTo>
                    <a:pt x="24219" y="475293"/>
                    <a:pt x="10860" y="507228"/>
                    <a:pt x="287" y="540123"/>
                  </a:cubicBezTo>
                  <a:cubicBezTo>
                    <a:pt x="-944" y="544856"/>
                    <a:pt x="1896" y="549692"/>
                    <a:pt x="6630" y="550923"/>
                  </a:cubicBezTo>
                  <a:cubicBezTo>
                    <a:pt x="7312" y="551100"/>
                    <a:pt x="8014" y="551196"/>
                    <a:pt x="8719" y="551206"/>
                  </a:cubicBezTo>
                  <a:lnTo>
                    <a:pt x="101098" y="555555"/>
                  </a:lnTo>
                  <a:lnTo>
                    <a:pt x="92693" y="544577"/>
                  </a:lnTo>
                  <a:cubicBezTo>
                    <a:pt x="74610" y="592862"/>
                    <a:pt x="57984" y="641650"/>
                    <a:pt x="43507" y="690995"/>
                  </a:cubicBezTo>
                  <a:cubicBezTo>
                    <a:pt x="42262" y="695693"/>
                    <a:pt x="45063" y="700514"/>
                    <a:pt x="49763" y="701758"/>
                  </a:cubicBezTo>
                  <a:cubicBezTo>
                    <a:pt x="50473" y="701946"/>
                    <a:pt x="51204" y="702047"/>
                    <a:pt x="51939" y="702052"/>
                  </a:cubicBezTo>
                  <a:cubicBezTo>
                    <a:pt x="100054" y="700527"/>
                    <a:pt x="148112" y="706522"/>
                    <a:pt x="194379" y="719817"/>
                  </a:cubicBezTo>
                  <a:cubicBezTo>
                    <a:pt x="198182" y="720864"/>
                    <a:pt x="202220" y="719263"/>
                    <a:pt x="204270" y="715893"/>
                  </a:cubicBezTo>
                  <a:lnTo>
                    <a:pt x="234709" y="645336"/>
                  </a:lnTo>
                  <a:cubicBezTo>
                    <a:pt x="243380" y="625210"/>
                    <a:pt x="251096" y="591191"/>
                    <a:pt x="265149" y="574805"/>
                  </a:cubicBezTo>
                  <a:cubicBezTo>
                    <a:pt x="279600" y="557915"/>
                    <a:pt x="306831" y="565445"/>
                    <a:pt x="326558" y="566373"/>
                  </a:cubicBezTo>
                  <a:lnTo>
                    <a:pt x="404301" y="570059"/>
                  </a:lnTo>
                  <a:lnTo>
                    <a:pt x="395869" y="559002"/>
                  </a:lnTo>
                  <a:cubicBezTo>
                    <a:pt x="376142" y="609362"/>
                    <a:pt x="357104" y="659980"/>
                    <a:pt x="338755" y="710855"/>
                  </a:cubicBezTo>
                  <a:cubicBezTo>
                    <a:pt x="336714" y="716503"/>
                    <a:pt x="341911" y="721647"/>
                    <a:pt x="347187" y="721912"/>
                  </a:cubicBezTo>
                  <a:cubicBezTo>
                    <a:pt x="392656" y="724280"/>
                    <a:pt x="437599" y="732770"/>
                    <a:pt x="480798" y="747154"/>
                  </a:cubicBezTo>
                  <a:cubicBezTo>
                    <a:pt x="484613" y="748204"/>
                    <a:pt x="488657" y="746560"/>
                    <a:pt x="490662" y="743151"/>
                  </a:cubicBezTo>
                  <a:cubicBezTo>
                    <a:pt x="509506" y="701964"/>
                    <a:pt x="528260" y="660741"/>
                    <a:pt x="546927" y="619483"/>
                  </a:cubicBezTo>
                  <a:cubicBezTo>
                    <a:pt x="558355" y="594320"/>
                    <a:pt x="562279" y="580744"/>
                    <a:pt x="591022" y="578862"/>
                  </a:cubicBezTo>
                  <a:cubicBezTo>
                    <a:pt x="613507" y="577377"/>
                    <a:pt x="637344" y="581513"/>
                    <a:pt x="659829" y="582097"/>
                  </a:cubicBezTo>
                  <a:cubicBezTo>
                    <a:pt x="680379" y="582627"/>
                    <a:pt x="691515" y="581646"/>
                    <a:pt x="703235" y="564146"/>
                  </a:cubicBezTo>
                  <a:cubicBezTo>
                    <a:pt x="727099" y="528403"/>
                    <a:pt x="742504" y="482585"/>
                    <a:pt x="761065" y="443740"/>
                  </a:cubicBezTo>
                  <a:cubicBezTo>
                    <a:pt x="763483" y="439471"/>
                    <a:pt x="761980" y="434051"/>
                    <a:pt x="757713" y="431633"/>
                  </a:cubicBezTo>
                  <a:cubicBezTo>
                    <a:pt x="756427" y="430906"/>
                    <a:pt x="754982" y="430511"/>
                    <a:pt x="753508" y="430482"/>
                  </a:cubicBezTo>
                  <a:cubicBezTo>
                    <a:pt x="710500" y="425656"/>
                    <a:pt x="667254" y="422899"/>
                    <a:pt x="624087" y="419876"/>
                  </a:cubicBezTo>
                  <a:lnTo>
                    <a:pt x="631644" y="433134"/>
                  </a:lnTo>
                  <a:cubicBezTo>
                    <a:pt x="648030" y="396834"/>
                    <a:pt x="660810" y="350061"/>
                    <a:pt x="683640" y="317527"/>
                  </a:cubicBezTo>
                  <a:cubicBezTo>
                    <a:pt x="705674" y="286053"/>
                    <a:pt x="767747" y="302731"/>
                    <a:pt x="803224" y="304481"/>
                  </a:cubicBezTo>
                  <a:cubicBezTo>
                    <a:pt x="814493" y="305038"/>
                    <a:pt x="814467" y="287538"/>
                    <a:pt x="803224" y="286981"/>
                  </a:cubicBezTo>
                  <a:lnTo>
                    <a:pt x="686557" y="281254"/>
                  </a:lnTo>
                  <a:cubicBezTo>
                    <a:pt x="683439" y="281206"/>
                    <a:pt x="680540" y="282863"/>
                    <a:pt x="679000" y="285576"/>
                  </a:cubicBezTo>
                  <a:cubicBezTo>
                    <a:pt x="658193" y="331731"/>
                    <a:pt x="637371" y="377947"/>
                    <a:pt x="616530" y="424224"/>
                  </a:cubicBezTo>
                  <a:cubicBezTo>
                    <a:pt x="614128" y="428517"/>
                    <a:pt x="615660" y="433948"/>
                    <a:pt x="619953" y="436350"/>
                  </a:cubicBezTo>
                  <a:cubicBezTo>
                    <a:pt x="621218" y="437058"/>
                    <a:pt x="622636" y="437448"/>
                    <a:pt x="624087" y="437482"/>
                  </a:cubicBezTo>
                  <a:cubicBezTo>
                    <a:pt x="667254" y="440531"/>
                    <a:pt x="710500" y="443262"/>
                    <a:pt x="753508" y="448088"/>
                  </a:cubicBezTo>
                  <a:lnTo>
                    <a:pt x="745951" y="434830"/>
                  </a:lnTo>
                  <a:cubicBezTo>
                    <a:pt x="736724" y="454274"/>
                    <a:pt x="727489" y="473614"/>
                    <a:pt x="718243" y="492846"/>
                  </a:cubicBezTo>
                  <a:cubicBezTo>
                    <a:pt x="710288" y="509286"/>
                    <a:pt x="702864" y="537710"/>
                    <a:pt x="690508" y="550888"/>
                  </a:cubicBezTo>
                  <a:cubicBezTo>
                    <a:pt x="664629" y="578437"/>
                    <a:pt x="595052" y="561494"/>
                    <a:pt x="560582" y="559850"/>
                  </a:cubicBezTo>
                  <a:cubicBezTo>
                    <a:pt x="557462" y="559797"/>
                    <a:pt x="554561" y="561454"/>
                    <a:pt x="553026" y="564172"/>
                  </a:cubicBezTo>
                  <a:cubicBezTo>
                    <a:pt x="541306" y="589945"/>
                    <a:pt x="529605" y="615718"/>
                    <a:pt x="517919" y="641491"/>
                  </a:cubicBezTo>
                  <a:cubicBezTo>
                    <a:pt x="510230" y="658434"/>
                    <a:pt x="497635" y="707196"/>
                    <a:pt x="482760" y="718783"/>
                  </a:cubicBezTo>
                  <a:cubicBezTo>
                    <a:pt x="465976" y="731855"/>
                    <a:pt x="437976" y="716131"/>
                    <a:pt x="418540" y="712393"/>
                  </a:cubicBezTo>
                  <a:cubicBezTo>
                    <a:pt x="395005" y="708150"/>
                    <a:pt x="371210" y="705494"/>
                    <a:pt x="347320" y="704438"/>
                  </a:cubicBezTo>
                  <a:lnTo>
                    <a:pt x="355752" y="715495"/>
                  </a:lnTo>
                  <a:cubicBezTo>
                    <a:pt x="373941" y="664498"/>
                    <a:pt x="392934" y="613835"/>
                    <a:pt x="412733" y="563509"/>
                  </a:cubicBezTo>
                  <a:cubicBezTo>
                    <a:pt x="414934" y="557915"/>
                    <a:pt x="409419" y="552691"/>
                    <a:pt x="404301" y="552452"/>
                  </a:cubicBezTo>
                  <a:lnTo>
                    <a:pt x="264353" y="545850"/>
                  </a:lnTo>
                  <a:cubicBezTo>
                    <a:pt x="261232" y="545797"/>
                    <a:pt x="258332" y="547454"/>
                    <a:pt x="256796" y="550172"/>
                  </a:cubicBezTo>
                  <a:cubicBezTo>
                    <a:pt x="246668" y="573699"/>
                    <a:pt x="236521" y="597218"/>
                    <a:pt x="226357" y="620729"/>
                  </a:cubicBezTo>
                  <a:cubicBezTo>
                    <a:pt x="219065" y="637673"/>
                    <a:pt x="206073" y="686381"/>
                    <a:pt x="189660" y="694972"/>
                  </a:cubicBezTo>
                  <a:cubicBezTo>
                    <a:pt x="176057" y="701999"/>
                    <a:pt x="148349" y="690597"/>
                    <a:pt x="133182" y="688503"/>
                  </a:cubicBezTo>
                  <a:cubicBezTo>
                    <a:pt x="106258" y="684928"/>
                    <a:pt x="79080" y="683642"/>
                    <a:pt x="51939" y="684658"/>
                  </a:cubicBezTo>
                  <a:lnTo>
                    <a:pt x="60371" y="695715"/>
                  </a:lnTo>
                  <a:cubicBezTo>
                    <a:pt x="74848" y="646264"/>
                    <a:pt x="91473" y="597608"/>
                    <a:pt x="109530" y="549324"/>
                  </a:cubicBezTo>
                  <a:cubicBezTo>
                    <a:pt x="111625" y="543702"/>
                    <a:pt x="106295" y="538479"/>
                    <a:pt x="101098" y="538240"/>
                  </a:cubicBezTo>
                  <a:lnTo>
                    <a:pt x="8719" y="533812"/>
                  </a:lnTo>
                  <a:lnTo>
                    <a:pt x="17151" y="544896"/>
                  </a:lnTo>
                  <a:cubicBezTo>
                    <a:pt x="30249" y="504963"/>
                    <a:pt x="45920" y="463334"/>
                    <a:pt x="69572" y="428228"/>
                  </a:cubicBezTo>
                  <a:cubicBezTo>
                    <a:pt x="81848" y="410065"/>
                    <a:pt x="83704" y="408024"/>
                    <a:pt x="105102" y="408580"/>
                  </a:cubicBezTo>
                  <a:cubicBezTo>
                    <a:pt x="123504" y="409084"/>
                    <a:pt x="141905" y="409853"/>
                    <a:pt x="160307" y="410622"/>
                  </a:cubicBezTo>
                  <a:cubicBezTo>
                    <a:pt x="163435" y="410678"/>
                    <a:pt x="166339" y="409005"/>
                    <a:pt x="167864" y="406273"/>
                  </a:cubicBezTo>
                  <a:cubicBezTo>
                    <a:pt x="187538" y="361144"/>
                    <a:pt x="207557" y="316156"/>
                    <a:pt x="227921" y="271311"/>
                  </a:cubicBezTo>
                  <a:cubicBezTo>
                    <a:pt x="230338" y="267042"/>
                    <a:pt x="228837" y="261622"/>
                    <a:pt x="224568" y="259204"/>
                  </a:cubicBezTo>
                  <a:cubicBezTo>
                    <a:pt x="223284" y="258477"/>
                    <a:pt x="221840" y="258082"/>
                    <a:pt x="220364" y="258053"/>
                  </a:cubicBezTo>
                  <a:lnTo>
                    <a:pt x="111042" y="252750"/>
                  </a:lnTo>
                  <a:cubicBezTo>
                    <a:pt x="113534" y="257151"/>
                    <a:pt x="116044" y="261571"/>
                    <a:pt x="118572" y="266007"/>
                  </a:cubicBezTo>
                  <a:cubicBezTo>
                    <a:pt x="128011" y="245697"/>
                    <a:pt x="137460" y="225421"/>
                    <a:pt x="146917" y="205181"/>
                  </a:cubicBezTo>
                  <a:cubicBezTo>
                    <a:pt x="154712" y="188424"/>
                    <a:pt x="164682" y="150321"/>
                    <a:pt x="178417" y="139052"/>
                  </a:cubicBezTo>
                  <a:cubicBezTo>
                    <a:pt x="196792" y="123991"/>
                    <a:pt x="258202" y="135976"/>
                    <a:pt x="282993" y="136798"/>
                  </a:cubicBezTo>
                  <a:cubicBezTo>
                    <a:pt x="286096" y="136863"/>
                    <a:pt x="288989" y="135238"/>
                    <a:pt x="290550" y="132556"/>
                  </a:cubicBezTo>
                  <a:lnTo>
                    <a:pt x="317066" y="73586"/>
                  </a:lnTo>
                  <a:cubicBezTo>
                    <a:pt x="321812" y="62980"/>
                    <a:pt x="333320" y="22862"/>
                    <a:pt x="340717" y="18460"/>
                  </a:cubicBezTo>
                  <a:cubicBezTo>
                    <a:pt x="351589" y="11991"/>
                    <a:pt x="388445" y="20714"/>
                    <a:pt x="401146" y="21775"/>
                  </a:cubicBezTo>
                  <a:cubicBezTo>
                    <a:pt x="431188" y="24241"/>
                    <a:pt x="461044" y="28033"/>
                    <a:pt x="490847" y="32593"/>
                  </a:cubicBezTo>
                  <a:cubicBezTo>
                    <a:pt x="489097" y="28324"/>
                    <a:pt x="487347" y="24029"/>
                    <a:pt x="485544" y="19760"/>
                  </a:cubicBezTo>
                  <a:cubicBezTo>
                    <a:pt x="469741" y="56369"/>
                    <a:pt x="453930" y="93004"/>
                    <a:pt x="438108" y="129666"/>
                  </a:cubicBezTo>
                  <a:cubicBezTo>
                    <a:pt x="435457" y="135738"/>
                    <a:pt x="438506" y="142552"/>
                    <a:pt x="445665" y="142923"/>
                  </a:cubicBezTo>
                  <a:cubicBezTo>
                    <a:pt x="494559" y="144850"/>
                    <a:pt x="543446" y="146971"/>
                    <a:pt x="592321" y="149287"/>
                  </a:cubicBezTo>
                  <a:cubicBezTo>
                    <a:pt x="595442" y="149318"/>
                    <a:pt x="598338" y="147653"/>
                    <a:pt x="599878" y="144939"/>
                  </a:cubicBezTo>
                  <a:cubicBezTo>
                    <a:pt x="614011" y="116912"/>
                    <a:pt x="633950" y="52798"/>
                    <a:pt x="661129" y="40892"/>
                  </a:cubicBezTo>
                  <a:cubicBezTo>
                    <a:pt x="699523" y="24055"/>
                    <a:pt x="758413" y="36968"/>
                    <a:pt x="795614" y="49245"/>
                  </a:cubicBezTo>
                  <a:cubicBezTo>
                    <a:pt x="793891" y="44949"/>
                    <a:pt x="792141" y="40680"/>
                    <a:pt x="790311" y="36385"/>
                  </a:cubicBezTo>
                  <a:cubicBezTo>
                    <a:pt x="774429" y="72393"/>
                    <a:pt x="758228" y="108506"/>
                    <a:pt x="741974" y="144673"/>
                  </a:cubicBezTo>
                  <a:cubicBezTo>
                    <a:pt x="739556" y="148942"/>
                    <a:pt x="741059" y="154362"/>
                    <a:pt x="745325" y="156779"/>
                  </a:cubicBezTo>
                  <a:cubicBezTo>
                    <a:pt x="746611" y="157507"/>
                    <a:pt x="748056" y="157902"/>
                    <a:pt x="749531" y="157931"/>
                  </a:cubicBezTo>
                  <a:cubicBezTo>
                    <a:pt x="790099" y="160583"/>
                    <a:pt x="831543" y="162333"/>
                    <a:pt x="871501" y="169863"/>
                  </a:cubicBezTo>
                  <a:cubicBezTo>
                    <a:pt x="869751" y="165594"/>
                    <a:pt x="868001" y="161298"/>
                    <a:pt x="866198" y="157030"/>
                  </a:cubicBezTo>
                  <a:cubicBezTo>
                    <a:pt x="842634" y="201770"/>
                    <a:pt x="819080" y="246519"/>
                    <a:pt x="795535" y="291277"/>
                  </a:cubicBezTo>
                  <a:cubicBezTo>
                    <a:pt x="790444" y="301114"/>
                    <a:pt x="805531" y="309970"/>
                    <a:pt x="810781" y="300000"/>
                  </a:cubicBezTo>
                  <a:close/>
                </a:path>
              </a:pathLst>
            </a:custGeom>
            <a:solidFill>
              <a:srgbClr val="2A2E2D"/>
            </a:solidFill>
            <a:ln w="26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56617123-88A5-69E1-E681-F31F88A17E36}"/>
                </a:ext>
              </a:extLst>
            </p:cNvPr>
            <p:cNvSpPr/>
            <p:nvPr/>
          </p:nvSpPr>
          <p:spPr>
            <a:xfrm>
              <a:off x="9140715" y="5731880"/>
              <a:ext cx="214427" cy="160972"/>
            </a:xfrm>
            <a:custGeom>
              <a:avLst/>
              <a:gdLst>
                <a:gd name="connsiteX0" fmla="*/ 145030 w 214427"/>
                <a:gd name="connsiteY0" fmla="*/ 143317 h 160972"/>
                <a:gd name="connsiteX1" fmla="*/ 8503 w 214427"/>
                <a:gd name="connsiteY1" fmla="*/ 135362 h 160972"/>
                <a:gd name="connsiteX2" fmla="*/ 16033 w 214427"/>
                <a:gd name="connsiteY2" fmla="*/ 148620 h 160972"/>
                <a:gd name="connsiteX3" fmla="*/ 42283 w 214427"/>
                <a:gd name="connsiteY3" fmla="*/ 87794 h 160972"/>
                <a:gd name="connsiteX4" fmla="*/ 68534 w 214427"/>
                <a:gd name="connsiteY4" fmla="*/ 26967 h 160972"/>
                <a:gd name="connsiteX5" fmla="*/ 128564 w 214427"/>
                <a:gd name="connsiteY5" fmla="*/ 20816 h 160972"/>
                <a:gd name="connsiteX6" fmla="*/ 205724 w 214427"/>
                <a:gd name="connsiteY6" fmla="*/ 24608 h 160972"/>
                <a:gd name="connsiteX7" fmla="*/ 198167 w 214427"/>
                <a:gd name="connsiteY7" fmla="*/ 11350 h 160972"/>
                <a:gd name="connsiteX8" fmla="*/ 137473 w 214427"/>
                <a:gd name="connsiteY8" fmla="*/ 147559 h 160972"/>
                <a:gd name="connsiteX9" fmla="*/ 152587 w 214427"/>
                <a:gd name="connsiteY9" fmla="*/ 156389 h 160972"/>
                <a:gd name="connsiteX10" fmla="*/ 213254 w 214427"/>
                <a:gd name="connsiteY10" fmla="*/ 20100 h 160972"/>
                <a:gd name="connsiteX11" fmla="*/ 209974 w 214427"/>
                <a:gd name="connsiteY11" fmla="*/ 8014 h 160972"/>
                <a:gd name="connsiteX12" fmla="*/ 205724 w 214427"/>
                <a:gd name="connsiteY12" fmla="*/ 6842 h 160972"/>
                <a:gd name="connsiteX13" fmla="*/ 66810 w 214427"/>
                <a:gd name="connsiteY13" fmla="*/ 1 h 160972"/>
                <a:gd name="connsiteX14" fmla="*/ 59280 w 214427"/>
                <a:gd name="connsiteY14" fmla="*/ 4350 h 160972"/>
                <a:gd name="connsiteX15" fmla="*/ 946 w 214427"/>
                <a:gd name="connsiteY15" fmla="*/ 139578 h 160972"/>
                <a:gd name="connsiteX16" fmla="*/ 8503 w 214427"/>
                <a:gd name="connsiteY16" fmla="*/ 152836 h 160972"/>
                <a:gd name="connsiteX17" fmla="*/ 145030 w 214427"/>
                <a:gd name="connsiteY17" fmla="*/ 160790 h 160972"/>
                <a:gd name="connsiteX18" fmla="*/ 145030 w 214427"/>
                <a:gd name="connsiteY18" fmla="*/ 143317 h 16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4427" h="160972">
                  <a:moveTo>
                    <a:pt x="145030" y="143317"/>
                  </a:moveTo>
                  <a:cubicBezTo>
                    <a:pt x="99530" y="140559"/>
                    <a:pt x="54022" y="137908"/>
                    <a:pt x="8503" y="135362"/>
                  </a:cubicBezTo>
                  <a:lnTo>
                    <a:pt x="16033" y="148620"/>
                  </a:lnTo>
                  <a:lnTo>
                    <a:pt x="42283" y="87794"/>
                  </a:lnTo>
                  <a:cubicBezTo>
                    <a:pt x="49496" y="71089"/>
                    <a:pt x="56416" y="40066"/>
                    <a:pt x="68534" y="26967"/>
                  </a:cubicBezTo>
                  <a:cubicBezTo>
                    <a:pt x="82083" y="12304"/>
                    <a:pt x="110799" y="19941"/>
                    <a:pt x="128564" y="20816"/>
                  </a:cubicBezTo>
                  <a:lnTo>
                    <a:pt x="205724" y="24608"/>
                  </a:lnTo>
                  <a:lnTo>
                    <a:pt x="198167" y="11350"/>
                  </a:lnTo>
                  <a:cubicBezTo>
                    <a:pt x="177360" y="56513"/>
                    <a:pt x="157129" y="101918"/>
                    <a:pt x="137473" y="147559"/>
                  </a:cubicBezTo>
                  <a:cubicBezTo>
                    <a:pt x="133072" y="157794"/>
                    <a:pt x="148080" y="166703"/>
                    <a:pt x="152587" y="156389"/>
                  </a:cubicBezTo>
                  <a:cubicBezTo>
                    <a:pt x="172262" y="110695"/>
                    <a:pt x="192485" y="65263"/>
                    <a:pt x="213254" y="20100"/>
                  </a:cubicBezTo>
                  <a:cubicBezTo>
                    <a:pt x="215686" y="15855"/>
                    <a:pt x="214217" y="10446"/>
                    <a:pt x="209974" y="8014"/>
                  </a:cubicBezTo>
                  <a:cubicBezTo>
                    <a:pt x="208678" y="7272"/>
                    <a:pt x="207217" y="6869"/>
                    <a:pt x="205724" y="6842"/>
                  </a:cubicBezTo>
                  <a:lnTo>
                    <a:pt x="66810" y="1"/>
                  </a:lnTo>
                  <a:cubicBezTo>
                    <a:pt x="63689" y="-54"/>
                    <a:pt x="60791" y="1619"/>
                    <a:pt x="59280" y="4350"/>
                  </a:cubicBezTo>
                  <a:cubicBezTo>
                    <a:pt x="39836" y="49391"/>
                    <a:pt x="20390" y="94467"/>
                    <a:pt x="946" y="139578"/>
                  </a:cubicBezTo>
                  <a:cubicBezTo>
                    <a:pt x="-1706" y="145730"/>
                    <a:pt x="1344" y="152358"/>
                    <a:pt x="8503" y="152836"/>
                  </a:cubicBezTo>
                  <a:cubicBezTo>
                    <a:pt x="54003" y="155363"/>
                    <a:pt x="99511" y="158014"/>
                    <a:pt x="145030" y="160790"/>
                  </a:cubicBezTo>
                  <a:cubicBezTo>
                    <a:pt x="156352" y="161480"/>
                    <a:pt x="156352" y="143980"/>
                    <a:pt x="145030" y="143317"/>
                  </a:cubicBezTo>
                  <a:close/>
                </a:path>
              </a:pathLst>
            </a:custGeom>
            <a:solidFill>
              <a:srgbClr val="2A2E2D"/>
            </a:solidFill>
            <a:ln w="26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0A857EA1-814E-4D72-A39D-154B52CFC1BB}"/>
                </a:ext>
              </a:extLst>
            </p:cNvPr>
            <p:cNvSpPr/>
            <p:nvPr/>
          </p:nvSpPr>
          <p:spPr>
            <a:xfrm>
              <a:off x="9182810" y="5776622"/>
              <a:ext cx="138535" cy="101305"/>
            </a:xfrm>
            <a:custGeom>
              <a:avLst/>
              <a:gdLst>
                <a:gd name="connsiteX0" fmla="*/ 17556 w 138535"/>
                <a:gd name="connsiteY0" fmla="*/ 95632 h 101305"/>
                <a:gd name="connsiteX1" fmla="*/ 54333 w 138535"/>
                <a:gd name="connsiteY1" fmla="*/ 27037 h 101305"/>
                <a:gd name="connsiteX2" fmla="*/ 130114 w 138535"/>
                <a:gd name="connsiteY2" fmla="*/ 18313 h 101305"/>
                <a:gd name="connsiteX3" fmla="*/ 130114 w 138535"/>
                <a:gd name="connsiteY3" fmla="*/ 840 h 101305"/>
                <a:gd name="connsiteX4" fmla="*/ 75360 w 138535"/>
                <a:gd name="connsiteY4" fmla="*/ 548 h 101305"/>
                <a:gd name="connsiteX5" fmla="*/ 38583 w 138535"/>
                <a:gd name="connsiteY5" fmla="*/ 7574 h 101305"/>
                <a:gd name="connsiteX6" fmla="*/ 23761 w 138535"/>
                <a:gd name="connsiteY6" fmla="*/ 35177 h 101305"/>
                <a:gd name="connsiteX7" fmla="*/ 693 w 138535"/>
                <a:gd name="connsiteY7" fmla="*/ 90859 h 101305"/>
                <a:gd name="connsiteX8" fmla="*/ 17556 w 138535"/>
                <a:gd name="connsiteY8" fmla="*/ 95499 h 101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535" h="101305">
                  <a:moveTo>
                    <a:pt x="17556" y="95632"/>
                  </a:moveTo>
                  <a:cubicBezTo>
                    <a:pt x="27155" y="72431"/>
                    <a:pt x="33678" y="41726"/>
                    <a:pt x="54333" y="27037"/>
                  </a:cubicBezTo>
                  <a:cubicBezTo>
                    <a:pt x="74989" y="12347"/>
                    <a:pt x="105110" y="17067"/>
                    <a:pt x="130114" y="18313"/>
                  </a:cubicBezTo>
                  <a:cubicBezTo>
                    <a:pt x="141356" y="18897"/>
                    <a:pt x="141330" y="1396"/>
                    <a:pt x="130114" y="840"/>
                  </a:cubicBezTo>
                  <a:cubicBezTo>
                    <a:pt x="111879" y="-173"/>
                    <a:pt x="93605" y="-269"/>
                    <a:pt x="75360" y="548"/>
                  </a:cubicBezTo>
                  <a:cubicBezTo>
                    <a:pt x="64356" y="1078"/>
                    <a:pt x="47916" y="177"/>
                    <a:pt x="38583" y="7574"/>
                  </a:cubicBezTo>
                  <a:cubicBezTo>
                    <a:pt x="30628" y="13885"/>
                    <a:pt x="27420" y="26321"/>
                    <a:pt x="23761" y="35177"/>
                  </a:cubicBezTo>
                  <a:lnTo>
                    <a:pt x="693" y="90859"/>
                  </a:lnTo>
                  <a:cubicBezTo>
                    <a:pt x="-3603" y="101253"/>
                    <a:pt x="13314" y="105787"/>
                    <a:pt x="17556" y="95499"/>
                  </a:cubicBezTo>
                  <a:close/>
                </a:path>
              </a:pathLst>
            </a:custGeom>
            <a:solidFill>
              <a:srgbClr val="2A2E2D"/>
            </a:solidFill>
            <a:ln w="26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8731E5FD-0291-E5D2-8DFD-05A1D0ECF87F}"/>
                </a:ext>
              </a:extLst>
            </p:cNvPr>
            <p:cNvSpPr/>
            <p:nvPr/>
          </p:nvSpPr>
          <p:spPr>
            <a:xfrm>
              <a:off x="9196624" y="5732727"/>
              <a:ext cx="36416" cy="62142"/>
            </a:xfrm>
            <a:custGeom>
              <a:avLst/>
              <a:gdLst>
                <a:gd name="connsiteX0" fmla="*/ 349 w 36416"/>
                <a:gd name="connsiteY0" fmla="*/ 10901 h 62142"/>
                <a:gd name="connsiteX1" fmla="*/ 20050 w 36416"/>
                <a:gd name="connsiteY1" fmla="*/ 57912 h 62142"/>
                <a:gd name="connsiteX2" fmla="*/ 35163 w 36416"/>
                <a:gd name="connsiteY2" fmla="*/ 49083 h 62142"/>
                <a:gd name="connsiteX3" fmla="*/ 17212 w 36416"/>
                <a:gd name="connsiteY3" fmla="*/ 6181 h 62142"/>
                <a:gd name="connsiteX4" fmla="*/ 349 w 36416"/>
                <a:gd name="connsiteY4" fmla="*/ 10848 h 62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16" h="62142">
                  <a:moveTo>
                    <a:pt x="349" y="10901"/>
                  </a:moveTo>
                  <a:cubicBezTo>
                    <a:pt x="4848" y="27359"/>
                    <a:pt x="11472" y="43162"/>
                    <a:pt x="20050" y="57912"/>
                  </a:cubicBezTo>
                  <a:cubicBezTo>
                    <a:pt x="25724" y="67644"/>
                    <a:pt x="40838" y="58840"/>
                    <a:pt x="35163" y="49083"/>
                  </a:cubicBezTo>
                  <a:cubicBezTo>
                    <a:pt x="27328" y="35629"/>
                    <a:pt x="21293" y="21205"/>
                    <a:pt x="17212" y="6181"/>
                  </a:cubicBezTo>
                  <a:cubicBezTo>
                    <a:pt x="14269" y="-4664"/>
                    <a:pt x="-2621" y="-50"/>
                    <a:pt x="349" y="10848"/>
                  </a:cubicBezTo>
                  <a:close/>
                </a:path>
              </a:pathLst>
            </a:custGeom>
            <a:solidFill>
              <a:srgbClr val="2A2E2D"/>
            </a:solidFill>
            <a:ln w="26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CB7422C6-333C-4C1D-2FFF-FC659EDB3EDC}"/>
                </a:ext>
              </a:extLst>
            </p:cNvPr>
            <p:cNvSpPr/>
            <p:nvPr/>
          </p:nvSpPr>
          <p:spPr>
            <a:xfrm>
              <a:off x="8867263" y="6080399"/>
              <a:ext cx="333803" cy="144535"/>
            </a:xfrm>
            <a:custGeom>
              <a:avLst/>
              <a:gdLst>
                <a:gd name="connsiteX0" fmla="*/ 18 w 333803"/>
                <a:gd name="connsiteY0" fmla="*/ 79705 h 144535"/>
                <a:gd name="connsiteX1" fmla="*/ 3015 w 333803"/>
                <a:gd name="connsiteY1" fmla="*/ 131410 h 144535"/>
                <a:gd name="connsiteX2" fmla="*/ 11765 w 333803"/>
                <a:gd name="connsiteY2" fmla="*/ 140160 h 144535"/>
                <a:gd name="connsiteX3" fmla="*/ 180190 w 333803"/>
                <a:gd name="connsiteY3" fmla="*/ 144535 h 144535"/>
                <a:gd name="connsiteX4" fmla="*/ 187747 w 333803"/>
                <a:gd name="connsiteY4" fmla="*/ 140213 h 144535"/>
                <a:gd name="connsiteX5" fmla="*/ 234308 w 333803"/>
                <a:gd name="connsiteY5" fmla="*/ 47568 h 144535"/>
                <a:gd name="connsiteX6" fmla="*/ 325361 w 333803"/>
                <a:gd name="connsiteY6" fmla="*/ 20682 h 144535"/>
                <a:gd name="connsiteX7" fmla="*/ 325361 w 333803"/>
                <a:gd name="connsiteY7" fmla="*/ 3182 h 144535"/>
                <a:gd name="connsiteX8" fmla="*/ 246876 w 333803"/>
                <a:gd name="connsiteY8" fmla="*/ 0 h 144535"/>
                <a:gd name="connsiteX9" fmla="*/ 239346 w 333803"/>
                <a:gd name="connsiteY9" fmla="*/ 4322 h 144535"/>
                <a:gd name="connsiteX10" fmla="*/ 200262 w 333803"/>
                <a:gd name="connsiteY10" fmla="*/ 73845 h 144535"/>
                <a:gd name="connsiteX11" fmla="*/ 146542 w 333803"/>
                <a:gd name="connsiteY11" fmla="*/ 125179 h 144535"/>
                <a:gd name="connsiteX12" fmla="*/ 70735 w 333803"/>
                <a:gd name="connsiteY12" fmla="*/ 122792 h 144535"/>
                <a:gd name="connsiteX13" fmla="*/ 17492 w 333803"/>
                <a:gd name="connsiteY13" fmla="*/ 79732 h 144535"/>
                <a:gd name="connsiteX14" fmla="*/ 18 w 333803"/>
                <a:gd name="connsiteY14" fmla="*/ 79732 h 144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33803" h="144535">
                  <a:moveTo>
                    <a:pt x="18" y="79705"/>
                  </a:moveTo>
                  <a:cubicBezTo>
                    <a:pt x="1008" y="96940"/>
                    <a:pt x="2007" y="114175"/>
                    <a:pt x="3015" y="131410"/>
                  </a:cubicBezTo>
                  <a:cubicBezTo>
                    <a:pt x="3099" y="136207"/>
                    <a:pt x="6968" y="140075"/>
                    <a:pt x="11765" y="140160"/>
                  </a:cubicBezTo>
                  <a:cubicBezTo>
                    <a:pt x="67977" y="139717"/>
                    <a:pt x="124119" y="141176"/>
                    <a:pt x="180190" y="144535"/>
                  </a:cubicBezTo>
                  <a:cubicBezTo>
                    <a:pt x="183310" y="144583"/>
                    <a:pt x="186207" y="142926"/>
                    <a:pt x="187747" y="140213"/>
                  </a:cubicBezTo>
                  <a:cubicBezTo>
                    <a:pt x="202039" y="108686"/>
                    <a:pt x="217338" y="77743"/>
                    <a:pt x="234308" y="47568"/>
                  </a:cubicBezTo>
                  <a:cubicBezTo>
                    <a:pt x="256156" y="8697"/>
                    <a:pt x="285429" y="19065"/>
                    <a:pt x="325361" y="20682"/>
                  </a:cubicBezTo>
                  <a:cubicBezTo>
                    <a:pt x="336630" y="21133"/>
                    <a:pt x="336604" y="3659"/>
                    <a:pt x="325361" y="3182"/>
                  </a:cubicBezTo>
                  <a:lnTo>
                    <a:pt x="246876" y="0"/>
                  </a:lnTo>
                  <a:cubicBezTo>
                    <a:pt x="243774" y="-5"/>
                    <a:pt x="240905" y="1641"/>
                    <a:pt x="239346" y="4322"/>
                  </a:cubicBezTo>
                  <a:cubicBezTo>
                    <a:pt x="225637" y="27072"/>
                    <a:pt x="212380" y="50194"/>
                    <a:pt x="200262" y="73845"/>
                  </a:cubicBezTo>
                  <a:cubicBezTo>
                    <a:pt x="184592" y="104232"/>
                    <a:pt x="182895" y="123349"/>
                    <a:pt x="146542" y="125179"/>
                  </a:cubicBezTo>
                  <a:cubicBezTo>
                    <a:pt x="121565" y="126425"/>
                    <a:pt x="95792" y="123164"/>
                    <a:pt x="70735" y="122792"/>
                  </a:cubicBezTo>
                  <a:cubicBezTo>
                    <a:pt x="27276" y="122156"/>
                    <a:pt x="20356" y="126611"/>
                    <a:pt x="17492" y="79732"/>
                  </a:cubicBezTo>
                  <a:cubicBezTo>
                    <a:pt x="16856" y="68542"/>
                    <a:pt x="-645" y="68463"/>
                    <a:pt x="18" y="79732"/>
                  </a:cubicBezTo>
                  <a:close/>
                </a:path>
              </a:pathLst>
            </a:custGeom>
            <a:solidFill>
              <a:srgbClr val="2A2E2D"/>
            </a:solidFill>
            <a:ln w="26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7DF2C77A-5512-504D-6A48-ABC483953C59}"/>
                </a:ext>
              </a:extLst>
            </p:cNvPr>
            <p:cNvSpPr/>
            <p:nvPr/>
          </p:nvSpPr>
          <p:spPr>
            <a:xfrm>
              <a:off x="9084779" y="6012182"/>
              <a:ext cx="28866" cy="90873"/>
            </a:xfrm>
            <a:custGeom>
              <a:avLst/>
              <a:gdLst>
                <a:gd name="connsiteX0" fmla="*/ 8 w 28866"/>
                <a:gd name="connsiteY0" fmla="*/ 8399 h 90873"/>
                <a:gd name="connsiteX1" fmla="*/ 11648 w 28866"/>
                <a:gd name="connsiteY1" fmla="*/ 84683 h 90873"/>
                <a:gd name="connsiteX2" fmla="*/ 28512 w 28866"/>
                <a:gd name="connsiteY2" fmla="*/ 80043 h 90873"/>
                <a:gd name="connsiteX3" fmla="*/ 17481 w 28866"/>
                <a:gd name="connsiteY3" fmla="*/ 8452 h 90873"/>
                <a:gd name="connsiteX4" fmla="*/ 8 w 28866"/>
                <a:gd name="connsiteY4" fmla="*/ 8452 h 9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866" h="90873">
                  <a:moveTo>
                    <a:pt x="8" y="8399"/>
                  </a:moveTo>
                  <a:cubicBezTo>
                    <a:pt x="897" y="34193"/>
                    <a:pt x="4804" y="59796"/>
                    <a:pt x="11648" y="84683"/>
                  </a:cubicBezTo>
                  <a:cubicBezTo>
                    <a:pt x="14618" y="95528"/>
                    <a:pt x="31508" y="90941"/>
                    <a:pt x="28512" y="80043"/>
                  </a:cubicBezTo>
                  <a:cubicBezTo>
                    <a:pt x="22047" y="56694"/>
                    <a:pt x="18346" y="32666"/>
                    <a:pt x="17481" y="8452"/>
                  </a:cubicBezTo>
                  <a:cubicBezTo>
                    <a:pt x="17083" y="-2791"/>
                    <a:pt x="-417" y="-2844"/>
                    <a:pt x="8" y="8452"/>
                  </a:cubicBezTo>
                  <a:close/>
                </a:path>
              </a:pathLst>
            </a:custGeom>
            <a:solidFill>
              <a:srgbClr val="2A2E2D"/>
            </a:solidFill>
            <a:ln w="26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1BA89A62-76D5-A23C-E825-D983D9323582}"/>
                </a:ext>
              </a:extLst>
            </p:cNvPr>
            <p:cNvSpPr/>
            <p:nvPr/>
          </p:nvSpPr>
          <p:spPr>
            <a:xfrm>
              <a:off x="9019349" y="6165144"/>
              <a:ext cx="25289" cy="52813"/>
            </a:xfrm>
            <a:custGeom>
              <a:avLst/>
              <a:gdLst>
                <a:gd name="connsiteX0" fmla="*/ 236 w 25289"/>
                <a:gd name="connsiteY0" fmla="*/ 10922 h 52813"/>
                <a:gd name="connsiteX1" fmla="*/ 8190 w 25289"/>
                <a:gd name="connsiteY1" fmla="*/ 46532 h 52813"/>
                <a:gd name="connsiteX2" fmla="*/ 25054 w 25289"/>
                <a:gd name="connsiteY2" fmla="*/ 41892 h 52813"/>
                <a:gd name="connsiteX3" fmla="*/ 17099 w 25289"/>
                <a:gd name="connsiteY3" fmla="*/ 6282 h 52813"/>
                <a:gd name="connsiteX4" fmla="*/ 236 w 25289"/>
                <a:gd name="connsiteY4" fmla="*/ 10922 h 52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89" h="52813">
                  <a:moveTo>
                    <a:pt x="236" y="10922"/>
                  </a:moveTo>
                  <a:cubicBezTo>
                    <a:pt x="2834" y="22801"/>
                    <a:pt x="5486" y="34672"/>
                    <a:pt x="8190" y="46532"/>
                  </a:cubicBezTo>
                  <a:cubicBezTo>
                    <a:pt x="10603" y="57536"/>
                    <a:pt x="27467" y="52869"/>
                    <a:pt x="25054" y="41892"/>
                  </a:cubicBezTo>
                  <a:cubicBezTo>
                    <a:pt x="22455" y="30013"/>
                    <a:pt x="19804" y="18142"/>
                    <a:pt x="17099" y="6282"/>
                  </a:cubicBezTo>
                  <a:cubicBezTo>
                    <a:pt x="14686" y="-4722"/>
                    <a:pt x="-2177" y="-55"/>
                    <a:pt x="236" y="10922"/>
                  </a:cubicBezTo>
                  <a:close/>
                </a:path>
              </a:pathLst>
            </a:custGeom>
            <a:solidFill>
              <a:srgbClr val="2A2E2D"/>
            </a:solidFill>
            <a:ln w="26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FCC1B176-462D-2FD0-3B45-00A103F2ED7C}"/>
                </a:ext>
              </a:extLst>
            </p:cNvPr>
            <p:cNvSpPr/>
            <p:nvPr/>
          </p:nvSpPr>
          <p:spPr>
            <a:xfrm>
              <a:off x="9162017" y="5896169"/>
              <a:ext cx="438283" cy="367408"/>
            </a:xfrm>
            <a:custGeom>
              <a:avLst/>
              <a:gdLst>
                <a:gd name="connsiteX0" fmla="*/ 618 w 438283"/>
                <a:gd name="connsiteY0" fmla="*/ 288409 h 367408"/>
                <a:gd name="connsiteX1" fmla="*/ 2103 w 438283"/>
                <a:gd name="connsiteY1" fmla="*/ 349394 h 367408"/>
                <a:gd name="connsiteX2" fmla="*/ 10853 w 438283"/>
                <a:gd name="connsiteY2" fmla="*/ 358118 h 367408"/>
                <a:gd name="connsiteX3" fmla="*/ 95702 w 438283"/>
                <a:gd name="connsiteY3" fmla="*/ 359868 h 367408"/>
                <a:gd name="connsiteX4" fmla="*/ 160001 w 438283"/>
                <a:gd name="connsiteY4" fmla="*/ 364587 h 367408"/>
                <a:gd name="connsiteX5" fmla="*/ 219051 w 438283"/>
                <a:gd name="connsiteY5" fmla="*/ 255583 h 367408"/>
                <a:gd name="connsiteX6" fmla="*/ 232998 w 438283"/>
                <a:gd name="connsiteY6" fmla="*/ 227742 h 367408"/>
                <a:gd name="connsiteX7" fmla="*/ 249570 w 438283"/>
                <a:gd name="connsiteY7" fmla="*/ 221060 h 367408"/>
                <a:gd name="connsiteX8" fmla="*/ 304351 w 438283"/>
                <a:gd name="connsiteY8" fmla="*/ 219734 h 367408"/>
                <a:gd name="connsiteX9" fmla="*/ 361677 w 438283"/>
                <a:gd name="connsiteY9" fmla="*/ 211780 h 367408"/>
                <a:gd name="connsiteX10" fmla="*/ 396598 w 438283"/>
                <a:gd name="connsiteY10" fmla="*/ 160552 h 367408"/>
                <a:gd name="connsiteX11" fmla="*/ 435734 w 438283"/>
                <a:gd name="connsiteY11" fmla="*/ 103120 h 367408"/>
                <a:gd name="connsiteX12" fmla="*/ 422477 w 438283"/>
                <a:gd name="connsiteY12" fmla="*/ 6312 h 367408"/>
                <a:gd name="connsiteX13" fmla="*/ 405613 w 438283"/>
                <a:gd name="connsiteY13" fmla="*/ 10953 h 367408"/>
                <a:gd name="connsiteX14" fmla="*/ 418871 w 438283"/>
                <a:gd name="connsiteY14" fmla="*/ 85195 h 367408"/>
                <a:gd name="connsiteX15" fmla="*/ 421124 w 438283"/>
                <a:gd name="connsiteY15" fmla="*/ 97949 h 367408"/>
                <a:gd name="connsiteX16" fmla="*/ 418897 w 438283"/>
                <a:gd name="connsiteY16" fmla="*/ 97021 h 367408"/>
                <a:gd name="connsiteX17" fmla="*/ 395696 w 438283"/>
                <a:gd name="connsiteY17" fmla="*/ 131067 h 367408"/>
                <a:gd name="connsiteX18" fmla="*/ 347969 w 438283"/>
                <a:gd name="connsiteY18" fmla="*/ 200935 h 367408"/>
                <a:gd name="connsiteX19" fmla="*/ 309972 w 438283"/>
                <a:gd name="connsiteY19" fmla="*/ 201783 h 367408"/>
                <a:gd name="connsiteX20" fmla="*/ 236047 w 438283"/>
                <a:gd name="connsiteY20" fmla="*/ 200431 h 367408"/>
                <a:gd name="connsiteX21" fmla="*/ 226157 w 438283"/>
                <a:gd name="connsiteY21" fmla="*/ 204461 h 367408"/>
                <a:gd name="connsiteX22" fmla="*/ 130569 w 438283"/>
                <a:gd name="connsiteY22" fmla="*/ 345947 h 367408"/>
                <a:gd name="connsiteX23" fmla="*/ 53251 w 438283"/>
                <a:gd name="connsiteY23" fmla="*/ 340299 h 367408"/>
                <a:gd name="connsiteX24" fmla="*/ 18091 w 438283"/>
                <a:gd name="connsiteY24" fmla="*/ 288303 h 367408"/>
                <a:gd name="connsiteX25" fmla="*/ 591 w 438283"/>
                <a:gd name="connsiteY25" fmla="*/ 288303 h 367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38283" h="367408">
                  <a:moveTo>
                    <a:pt x="618" y="288409"/>
                  </a:moveTo>
                  <a:cubicBezTo>
                    <a:pt x="-554" y="308743"/>
                    <a:pt x="-58" y="329139"/>
                    <a:pt x="2103" y="349394"/>
                  </a:cubicBezTo>
                  <a:cubicBezTo>
                    <a:pt x="2214" y="354175"/>
                    <a:pt x="6072" y="358020"/>
                    <a:pt x="10853" y="358118"/>
                  </a:cubicBezTo>
                  <a:cubicBezTo>
                    <a:pt x="39147" y="357213"/>
                    <a:pt x="67468" y="357799"/>
                    <a:pt x="95702" y="359868"/>
                  </a:cubicBezTo>
                  <a:cubicBezTo>
                    <a:pt x="111903" y="361140"/>
                    <a:pt x="143960" y="372595"/>
                    <a:pt x="160001" y="364587"/>
                  </a:cubicBezTo>
                  <a:cubicBezTo>
                    <a:pt x="191263" y="348996"/>
                    <a:pt x="205290" y="284882"/>
                    <a:pt x="219051" y="255583"/>
                  </a:cubicBezTo>
                  <a:cubicBezTo>
                    <a:pt x="222710" y="247628"/>
                    <a:pt x="226794" y="233734"/>
                    <a:pt x="232998" y="227742"/>
                  </a:cubicBezTo>
                  <a:cubicBezTo>
                    <a:pt x="245354" y="215836"/>
                    <a:pt x="236392" y="223102"/>
                    <a:pt x="249570" y="221060"/>
                  </a:cubicBezTo>
                  <a:cubicBezTo>
                    <a:pt x="266673" y="218408"/>
                    <a:pt x="286692" y="221060"/>
                    <a:pt x="304351" y="219734"/>
                  </a:cubicBezTo>
                  <a:cubicBezTo>
                    <a:pt x="322514" y="218435"/>
                    <a:pt x="347491" y="222704"/>
                    <a:pt x="361677" y="211780"/>
                  </a:cubicBezTo>
                  <a:cubicBezTo>
                    <a:pt x="375863" y="200855"/>
                    <a:pt x="386760" y="174976"/>
                    <a:pt x="396598" y="160552"/>
                  </a:cubicBezTo>
                  <a:cubicBezTo>
                    <a:pt x="408158" y="143609"/>
                    <a:pt x="429105" y="122635"/>
                    <a:pt x="435734" y="103120"/>
                  </a:cubicBezTo>
                  <a:cubicBezTo>
                    <a:pt x="444723" y="76605"/>
                    <a:pt x="427435" y="33994"/>
                    <a:pt x="422477" y="6312"/>
                  </a:cubicBezTo>
                  <a:cubicBezTo>
                    <a:pt x="420514" y="-4744"/>
                    <a:pt x="403651" y="-51"/>
                    <a:pt x="405613" y="10953"/>
                  </a:cubicBezTo>
                  <a:cubicBezTo>
                    <a:pt x="409961" y="35479"/>
                    <a:pt x="412639" y="60987"/>
                    <a:pt x="418871" y="85195"/>
                  </a:cubicBezTo>
                  <a:cubicBezTo>
                    <a:pt x="419639" y="88192"/>
                    <a:pt x="421655" y="94582"/>
                    <a:pt x="421124" y="97949"/>
                  </a:cubicBezTo>
                  <a:cubicBezTo>
                    <a:pt x="422530" y="88934"/>
                    <a:pt x="420514" y="93707"/>
                    <a:pt x="418897" y="97021"/>
                  </a:cubicBezTo>
                  <a:cubicBezTo>
                    <a:pt x="413090" y="108927"/>
                    <a:pt x="403120" y="120169"/>
                    <a:pt x="395696" y="131067"/>
                  </a:cubicBezTo>
                  <a:cubicBezTo>
                    <a:pt x="383526" y="148912"/>
                    <a:pt x="366529" y="189401"/>
                    <a:pt x="347969" y="200935"/>
                  </a:cubicBezTo>
                  <a:cubicBezTo>
                    <a:pt x="346537" y="201836"/>
                    <a:pt x="320021" y="201094"/>
                    <a:pt x="309972" y="201783"/>
                  </a:cubicBezTo>
                  <a:cubicBezTo>
                    <a:pt x="285790" y="203427"/>
                    <a:pt x="259593" y="207405"/>
                    <a:pt x="236047" y="200431"/>
                  </a:cubicBezTo>
                  <a:cubicBezTo>
                    <a:pt x="232221" y="199431"/>
                    <a:pt x="228194" y="201073"/>
                    <a:pt x="226157" y="204461"/>
                  </a:cubicBezTo>
                  <a:cubicBezTo>
                    <a:pt x="204335" y="242352"/>
                    <a:pt x="181479" y="342606"/>
                    <a:pt x="130569" y="345947"/>
                  </a:cubicBezTo>
                  <a:cubicBezTo>
                    <a:pt x="105857" y="347538"/>
                    <a:pt x="78308" y="340803"/>
                    <a:pt x="53251" y="340299"/>
                  </a:cubicBezTo>
                  <a:cubicBezTo>
                    <a:pt x="11463" y="339451"/>
                    <a:pt x="15838" y="327837"/>
                    <a:pt x="18091" y="288303"/>
                  </a:cubicBezTo>
                  <a:cubicBezTo>
                    <a:pt x="18701" y="277060"/>
                    <a:pt x="1228" y="277087"/>
                    <a:pt x="591" y="288303"/>
                  </a:cubicBezTo>
                  <a:close/>
                </a:path>
              </a:pathLst>
            </a:custGeom>
            <a:solidFill>
              <a:srgbClr val="2A2E2D"/>
            </a:solidFill>
            <a:ln w="26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BCFFF9FD-02B5-D9BA-79CA-C7C828C36B44}"/>
                </a:ext>
              </a:extLst>
            </p:cNvPr>
            <p:cNvSpPr/>
            <p:nvPr/>
          </p:nvSpPr>
          <p:spPr>
            <a:xfrm>
              <a:off x="9298394" y="6189690"/>
              <a:ext cx="20825" cy="57884"/>
            </a:xfrm>
            <a:custGeom>
              <a:avLst/>
              <a:gdLst>
                <a:gd name="connsiteX0" fmla="*/ 3685 w 20825"/>
                <a:gd name="connsiteY0" fmla="*/ 6263 h 57884"/>
                <a:gd name="connsiteX1" fmla="*/ 424 w 20825"/>
                <a:gd name="connsiteY1" fmla="*/ 49483 h 57884"/>
                <a:gd name="connsiteX2" fmla="*/ 17924 w 20825"/>
                <a:gd name="connsiteY2" fmla="*/ 49483 h 57884"/>
                <a:gd name="connsiteX3" fmla="*/ 20575 w 20825"/>
                <a:gd name="connsiteY3" fmla="*/ 10903 h 57884"/>
                <a:gd name="connsiteX4" fmla="*/ 3712 w 20825"/>
                <a:gd name="connsiteY4" fmla="*/ 6263 h 57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825" h="57884">
                  <a:moveTo>
                    <a:pt x="3685" y="6263"/>
                  </a:moveTo>
                  <a:cubicBezTo>
                    <a:pt x="405" y="20419"/>
                    <a:pt x="-695" y="34995"/>
                    <a:pt x="424" y="49483"/>
                  </a:cubicBezTo>
                  <a:cubicBezTo>
                    <a:pt x="1325" y="60646"/>
                    <a:pt x="18825" y="60725"/>
                    <a:pt x="17924" y="49483"/>
                  </a:cubicBezTo>
                  <a:cubicBezTo>
                    <a:pt x="16813" y="36562"/>
                    <a:pt x="17709" y="23548"/>
                    <a:pt x="20575" y="10903"/>
                  </a:cubicBezTo>
                  <a:cubicBezTo>
                    <a:pt x="23068" y="-48"/>
                    <a:pt x="6204" y="-4715"/>
                    <a:pt x="3712" y="6263"/>
                  </a:cubicBezTo>
                  <a:close/>
                </a:path>
              </a:pathLst>
            </a:custGeom>
            <a:solidFill>
              <a:srgbClr val="2A2E2D"/>
            </a:solidFill>
            <a:ln w="26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AE03321F-2896-06AB-C8B5-BEDB385B8D37}"/>
                </a:ext>
              </a:extLst>
            </p:cNvPr>
            <p:cNvSpPr/>
            <p:nvPr/>
          </p:nvSpPr>
          <p:spPr>
            <a:xfrm>
              <a:off x="9383694" y="6028416"/>
              <a:ext cx="20509" cy="85377"/>
            </a:xfrm>
            <a:custGeom>
              <a:avLst/>
              <a:gdLst>
                <a:gd name="connsiteX0" fmla="*/ 875 w 20509"/>
                <a:gd name="connsiteY0" fmla="*/ 8392 h 85377"/>
                <a:gd name="connsiteX1" fmla="*/ 3526 w 20509"/>
                <a:gd name="connsiteY1" fmla="*/ 79055 h 85377"/>
                <a:gd name="connsiteX2" fmla="*/ 20390 w 20509"/>
                <a:gd name="connsiteY2" fmla="*/ 74389 h 85377"/>
                <a:gd name="connsiteX3" fmla="*/ 18216 w 20509"/>
                <a:gd name="connsiteY3" fmla="*/ 8392 h 85377"/>
                <a:gd name="connsiteX4" fmla="*/ 716 w 20509"/>
                <a:gd name="connsiteY4" fmla="*/ 8392 h 85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09" h="85377">
                  <a:moveTo>
                    <a:pt x="875" y="8392"/>
                  </a:moveTo>
                  <a:cubicBezTo>
                    <a:pt x="-881" y="31972"/>
                    <a:pt x="8" y="55674"/>
                    <a:pt x="3526" y="79055"/>
                  </a:cubicBezTo>
                  <a:cubicBezTo>
                    <a:pt x="5170" y="90139"/>
                    <a:pt x="22087" y="85419"/>
                    <a:pt x="20390" y="74389"/>
                  </a:cubicBezTo>
                  <a:cubicBezTo>
                    <a:pt x="17213" y="52540"/>
                    <a:pt x="16484" y="30402"/>
                    <a:pt x="18216" y="8392"/>
                  </a:cubicBezTo>
                  <a:cubicBezTo>
                    <a:pt x="19064" y="-2824"/>
                    <a:pt x="1564" y="-2771"/>
                    <a:pt x="716" y="8392"/>
                  </a:cubicBezTo>
                  <a:close/>
                </a:path>
              </a:pathLst>
            </a:custGeom>
            <a:solidFill>
              <a:srgbClr val="2A2E2D"/>
            </a:solidFill>
            <a:ln w="26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FC3158F4-9BA4-21FA-422A-205A40DD6B62}"/>
                </a:ext>
              </a:extLst>
            </p:cNvPr>
            <p:cNvSpPr/>
            <p:nvPr/>
          </p:nvSpPr>
          <p:spPr>
            <a:xfrm>
              <a:off x="9503287" y="6020249"/>
              <a:ext cx="19431" cy="93443"/>
            </a:xfrm>
            <a:custGeom>
              <a:avLst/>
              <a:gdLst>
                <a:gd name="connsiteX0" fmla="*/ 1900 w 19431"/>
                <a:gd name="connsiteY0" fmla="*/ 8392 h 93443"/>
                <a:gd name="connsiteX1" fmla="*/ 680 w 19431"/>
                <a:gd name="connsiteY1" fmla="*/ 85021 h 93443"/>
                <a:gd name="connsiteX2" fmla="*/ 18180 w 19431"/>
                <a:gd name="connsiteY2" fmla="*/ 85021 h 93443"/>
                <a:gd name="connsiteX3" fmla="*/ 19400 w 19431"/>
                <a:gd name="connsiteY3" fmla="*/ 8392 h 93443"/>
                <a:gd name="connsiteX4" fmla="*/ 1900 w 19431"/>
                <a:gd name="connsiteY4" fmla="*/ 8392 h 93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31" h="93443">
                  <a:moveTo>
                    <a:pt x="1900" y="8392"/>
                  </a:moveTo>
                  <a:cubicBezTo>
                    <a:pt x="-123" y="33884"/>
                    <a:pt x="-532" y="59479"/>
                    <a:pt x="680" y="85021"/>
                  </a:cubicBezTo>
                  <a:cubicBezTo>
                    <a:pt x="1210" y="96211"/>
                    <a:pt x="18710" y="96290"/>
                    <a:pt x="18180" y="85021"/>
                  </a:cubicBezTo>
                  <a:cubicBezTo>
                    <a:pt x="16955" y="59479"/>
                    <a:pt x="17363" y="33884"/>
                    <a:pt x="19400" y="8392"/>
                  </a:cubicBezTo>
                  <a:cubicBezTo>
                    <a:pt x="20275" y="-2824"/>
                    <a:pt x="2801" y="-2771"/>
                    <a:pt x="1900" y="8392"/>
                  </a:cubicBezTo>
                  <a:close/>
                </a:path>
              </a:pathLst>
            </a:custGeom>
            <a:solidFill>
              <a:srgbClr val="2A2E2D"/>
            </a:solidFill>
            <a:ln w="26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CD55B295-C2B0-69E7-D464-4E1D6F5F8456}"/>
                </a:ext>
              </a:extLst>
            </p:cNvPr>
            <p:cNvSpPr/>
            <p:nvPr/>
          </p:nvSpPr>
          <p:spPr>
            <a:xfrm>
              <a:off x="9493513" y="5625479"/>
              <a:ext cx="225346" cy="272247"/>
            </a:xfrm>
            <a:custGeom>
              <a:avLst/>
              <a:gdLst>
                <a:gd name="connsiteX0" fmla="*/ 17613 w 225346"/>
                <a:gd name="connsiteY0" fmla="*/ 266661 h 272247"/>
                <a:gd name="connsiteX1" fmla="*/ 63511 w 225346"/>
                <a:gd name="connsiteY1" fmla="*/ 191782 h 272247"/>
                <a:gd name="connsiteX2" fmla="*/ 137329 w 225346"/>
                <a:gd name="connsiteY2" fmla="*/ 205437 h 272247"/>
                <a:gd name="connsiteX3" fmla="*/ 147219 w 225346"/>
                <a:gd name="connsiteY3" fmla="*/ 201407 h 272247"/>
                <a:gd name="connsiteX4" fmla="*/ 207303 w 225346"/>
                <a:gd name="connsiteY4" fmla="*/ 2542 h 272247"/>
                <a:gd name="connsiteX5" fmla="*/ 193568 w 225346"/>
                <a:gd name="connsiteY5" fmla="*/ 4292 h 272247"/>
                <a:gd name="connsiteX6" fmla="*/ 192375 w 225346"/>
                <a:gd name="connsiteY6" fmla="*/ 6175 h 272247"/>
                <a:gd name="connsiteX7" fmla="*/ 195504 w 225346"/>
                <a:gd name="connsiteY7" fmla="*/ 18159 h 272247"/>
                <a:gd name="connsiteX8" fmla="*/ 196856 w 225346"/>
                <a:gd name="connsiteY8" fmla="*/ 19114 h 272247"/>
                <a:gd name="connsiteX9" fmla="*/ 205686 w 225346"/>
                <a:gd name="connsiteY9" fmla="*/ 4027 h 272247"/>
                <a:gd name="connsiteX10" fmla="*/ 204333 w 225346"/>
                <a:gd name="connsiteY10" fmla="*/ 3046 h 272247"/>
                <a:gd name="connsiteX11" fmla="*/ 207462 w 225346"/>
                <a:gd name="connsiteY11" fmla="*/ 15004 h 272247"/>
                <a:gd name="connsiteX12" fmla="*/ 208682 w 225346"/>
                <a:gd name="connsiteY12" fmla="*/ 13122 h 272247"/>
                <a:gd name="connsiteX13" fmla="*/ 194947 w 225346"/>
                <a:gd name="connsiteY13" fmla="*/ 14898 h 272247"/>
                <a:gd name="connsiteX14" fmla="*/ 167000 w 225346"/>
                <a:gd name="connsiteY14" fmla="*/ 137876 h 272247"/>
                <a:gd name="connsiteX15" fmla="*/ 127227 w 225346"/>
                <a:gd name="connsiteY15" fmla="*/ 185604 h 272247"/>
                <a:gd name="connsiteX16" fmla="*/ 75549 w 225346"/>
                <a:gd name="connsiteY16" fmla="*/ 176032 h 272247"/>
                <a:gd name="connsiteX17" fmla="*/ 36704 w 225346"/>
                <a:gd name="connsiteY17" fmla="*/ 175793 h 272247"/>
                <a:gd name="connsiteX18" fmla="*/ 26097 w 225346"/>
                <a:gd name="connsiteY18" fmla="*/ 198676 h 272247"/>
                <a:gd name="connsiteX19" fmla="*/ 669 w 225346"/>
                <a:gd name="connsiteY19" fmla="*/ 261782 h 272247"/>
                <a:gd name="connsiteX20" fmla="*/ 17533 w 225346"/>
                <a:gd name="connsiteY20" fmla="*/ 266422 h 272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25346" h="272247">
                  <a:moveTo>
                    <a:pt x="17613" y="266661"/>
                  </a:moveTo>
                  <a:cubicBezTo>
                    <a:pt x="26389" y="244892"/>
                    <a:pt x="35616" y="196369"/>
                    <a:pt x="63511" y="191782"/>
                  </a:cubicBezTo>
                  <a:cubicBezTo>
                    <a:pt x="84140" y="188388"/>
                    <a:pt x="116700" y="201619"/>
                    <a:pt x="137329" y="205437"/>
                  </a:cubicBezTo>
                  <a:cubicBezTo>
                    <a:pt x="141150" y="206365"/>
                    <a:pt x="145135" y="204742"/>
                    <a:pt x="147219" y="201407"/>
                  </a:cubicBezTo>
                  <a:cubicBezTo>
                    <a:pt x="177924" y="153361"/>
                    <a:pt x="261951" y="63686"/>
                    <a:pt x="207303" y="2542"/>
                  </a:cubicBezTo>
                  <a:cubicBezTo>
                    <a:pt x="203405" y="-1833"/>
                    <a:pt x="196458" y="-110"/>
                    <a:pt x="193568" y="4292"/>
                  </a:cubicBezTo>
                  <a:lnTo>
                    <a:pt x="192375" y="6175"/>
                  </a:lnTo>
                  <a:cubicBezTo>
                    <a:pt x="190060" y="10365"/>
                    <a:pt x="191436" y="15635"/>
                    <a:pt x="195504" y="18159"/>
                  </a:cubicBezTo>
                  <a:lnTo>
                    <a:pt x="196856" y="19114"/>
                  </a:lnTo>
                  <a:cubicBezTo>
                    <a:pt x="206031" y="25690"/>
                    <a:pt x="214781" y="10523"/>
                    <a:pt x="205686" y="4027"/>
                  </a:cubicBezTo>
                  <a:lnTo>
                    <a:pt x="204333" y="3046"/>
                  </a:lnTo>
                  <a:lnTo>
                    <a:pt x="207462" y="15004"/>
                  </a:lnTo>
                  <a:lnTo>
                    <a:pt x="208682" y="13122"/>
                  </a:lnTo>
                  <a:lnTo>
                    <a:pt x="194947" y="14898"/>
                  </a:lnTo>
                  <a:cubicBezTo>
                    <a:pt x="228224" y="52020"/>
                    <a:pt x="187337" y="106058"/>
                    <a:pt x="167000" y="137876"/>
                  </a:cubicBezTo>
                  <a:cubicBezTo>
                    <a:pt x="156765" y="153785"/>
                    <a:pt x="147166" y="180301"/>
                    <a:pt x="127227" y="185604"/>
                  </a:cubicBezTo>
                  <a:cubicBezTo>
                    <a:pt x="114924" y="188892"/>
                    <a:pt x="88435" y="178418"/>
                    <a:pt x="75549" y="176032"/>
                  </a:cubicBezTo>
                  <a:cubicBezTo>
                    <a:pt x="62662" y="173645"/>
                    <a:pt x="48105" y="167759"/>
                    <a:pt x="36704" y="175793"/>
                  </a:cubicBezTo>
                  <a:cubicBezTo>
                    <a:pt x="32700" y="178604"/>
                    <a:pt x="25700" y="199869"/>
                    <a:pt x="26097" y="198676"/>
                  </a:cubicBezTo>
                  <a:cubicBezTo>
                    <a:pt x="17594" y="219694"/>
                    <a:pt x="9120" y="240729"/>
                    <a:pt x="669" y="261782"/>
                  </a:cubicBezTo>
                  <a:cubicBezTo>
                    <a:pt x="-3547" y="272203"/>
                    <a:pt x="13370" y="276737"/>
                    <a:pt x="17533" y="266422"/>
                  </a:cubicBezTo>
                  <a:close/>
                </a:path>
              </a:pathLst>
            </a:custGeom>
            <a:solidFill>
              <a:srgbClr val="2A2E2D"/>
            </a:solidFill>
            <a:ln w="26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84DAA9EC-5998-EAF4-BE73-EEC2EC8293D8}"/>
                </a:ext>
              </a:extLst>
            </p:cNvPr>
            <p:cNvSpPr/>
            <p:nvPr/>
          </p:nvSpPr>
          <p:spPr>
            <a:xfrm>
              <a:off x="9617456" y="5752381"/>
              <a:ext cx="18756" cy="77086"/>
            </a:xfrm>
            <a:custGeom>
              <a:avLst/>
              <a:gdLst>
                <a:gd name="connsiteX0" fmla="*/ 23 w 18756"/>
                <a:gd name="connsiteY0" fmla="*/ 8402 h 77086"/>
                <a:gd name="connsiteX1" fmla="*/ 845 w 18756"/>
                <a:gd name="connsiteY1" fmla="*/ 68645 h 77086"/>
                <a:gd name="connsiteX2" fmla="*/ 18319 w 18756"/>
                <a:gd name="connsiteY2" fmla="*/ 68645 h 77086"/>
                <a:gd name="connsiteX3" fmla="*/ 17523 w 18756"/>
                <a:gd name="connsiteY3" fmla="*/ 8402 h 77086"/>
                <a:gd name="connsiteX4" fmla="*/ 23 w 18756"/>
                <a:gd name="connsiteY4" fmla="*/ 8402 h 77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56" h="77086">
                  <a:moveTo>
                    <a:pt x="23" y="8402"/>
                  </a:moveTo>
                  <a:cubicBezTo>
                    <a:pt x="1343" y="28456"/>
                    <a:pt x="1619" y="48562"/>
                    <a:pt x="845" y="68645"/>
                  </a:cubicBezTo>
                  <a:cubicBezTo>
                    <a:pt x="394" y="79914"/>
                    <a:pt x="17894" y="79887"/>
                    <a:pt x="18319" y="68645"/>
                  </a:cubicBezTo>
                  <a:cubicBezTo>
                    <a:pt x="19101" y="48565"/>
                    <a:pt x="18836" y="28456"/>
                    <a:pt x="17523" y="8402"/>
                  </a:cubicBezTo>
                  <a:cubicBezTo>
                    <a:pt x="16781" y="-2761"/>
                    <a:pt x="-719" y="-2840"/>
                    <a:pt x="23" y="8402"/>
                  </a:cubicBezTo>
                  <a:close/>
                </a:path>
              </a:pathLst>
            </a:custGeom>
            <a:solidFill>
              <a:srgbClr val="2A2E2D"/>
            </a:solidFill>
            <a:ln w="26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8F1BC7E1-3C6B-6A39-1611-7AAE03122F31}"/>
                </a:ext>
              </a:extLst>
            </p:cNvPr>
            <p:cNvSpPr/>
            <p:nvPr/>
          </p:nvSpPr>
          <p:spPr>
            <a:xfrm>
              <a:off x="9509425" y="5749670"/>
              <a:ext cx="30059" cy="71918"/>
            </a:xfrm>
            <a:custGeom>
              <a:avLst/>
              <a:gdLst>
                <a:gd name="connsiteX0" fmla="*/ 455 w 30059"/>
                <a:gd name="connsiteY0" fmla="*/ 10689 h 71918"/>
                <a:gd name="connsiteX1" fmla="*/ 13076 w 30059"/>
                <a:gd name="connsiteY1" fmla="*/ 65576 h 71918"/>
                <a:gd name="connsiteX2" fmla="*/ 29940 w 30059"/>
                <a:gd name="connsiteY2" fmla="*/ 60936 h 71918"/>
                <a:gd name="connsiteX3" fmla="*/ 17318 w 30059"/>
                <a:gd name="connsiteY3" fmla="*/ 6049 h 71918"/>
                <a:gd name="connsiteX4" fmla="*/ 455 w 30059"/>
                <a:gd name="connsiteY4" fmla="*/ 10689 h 7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59" h="71918">
                  <a:moveTo>
                    <a:pt x="455" y="10689"/>
                  </a:moveTo>
                  <a:cubicBezTo>
                    <a:pt x="6153" y="28611"/>
                    <a:pt x="10374" y="46968"/>
                    <a:pt x="13076" y="65576"/>
                  </a:cubicBezTo>
                  <a:cubicBezTo>
                    <a:pt x="14693" y="76686"/>
                    <a:pt x="31637" y="71966"/>
                    <a:pt x="29940" y="60936"/>
                  </a:cubicBezTo>
                  <a:cubicBezTo>
                    <a:pt x="27238" y="42327"/>
                    <a:pt x="23017" y="23968"/>
                    <a:pt x="17318" y="6049"/>
                  </a:cubicBezTo>
                  <a:cubicBezTo>
                    <a:pt x="13924" y="-4557"/>
                    <a:pt x="-2966" y="-76"/>
                    <a:pt x="455" y="10689"/>
                  </a:cubicBezTo>
                  <a:close/>
                </a:path>
              </a:pathLst>
            </a:custGeom>
            <a:solidFill>
              <a:srgbClr val="2A2E2D"/>
            </a:solidFill>
            <a:ln w="26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36CBD719-E8B0-7AE4-897C-A257BB4B2877}"/>
                </a:ext>
              </a:extLst>
            </p:cNvPr>
            <p:cNvSpPr/>
            <p:nvPr/>
          </p:nvSpPr>
          <p:spPr>
            <a:xfrm>
              <a:off x="9602703" y="5501394"/>
              <a:ext cx="35927" cy="119562"/>
            </a:xfrm>
            <a:custGeom>
              <a:avLst/>
              <a:gdLst>
                <a:gd name="connsiteX0" fmla="*/ 11541 w 35927"/>
                <a:gd name="connsiteY0" fmla="*/ 8236 h 119562"/>
                <a:gd name="connsiteX1" fmla="*/ 17162 w 35927"/>
                <a:gd name="connsiteY1" fmla="*/ 58615 h 119562"/>
                <a:gd name="connsiteX2" fmla="*/ 1253 w 35927"/>
                <a:gd name="connsiteY2" fmla="*/ 106502 h 119562"/>
                <a:gd name="connsiteX3" fmla="*/ 16340 w 35927"/>
                <a:gd name="connsiteY3" fmla="*/ 115332 h 119562"/>
                <a:gd name="connsiteX4" fmla="*/ 35829 w 35927"/>
                <a:gd name="connsiteY4" fmla="*/ 70256 h 119562"/>
                <a:gd name="connsiteX5" fmla="*/ 28935 w 35927"/>
                <a:gd name="connsiteY5" fmla="*/ 8342 h 119562"/>
                <a:gd name="connsiteX6" fmla="*/ 11435 w 35927"/>
                <a:gd name="connsiteY6" fmla="*/ 8342 h 119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927" h="119562">
                  <a:moveTo>
                    <a:pt x="11541" y="8236"/>
                  </a:moveTo>
                  <a:lnTo>
                    <a:pt x="17162" y="58615"/>
                  </a:lnTo>
                  <a:cubicBezTo>
                    <a:pt x="19416" y="78953"/>
                    <a:pt x="11249" y="89479"/>
                    <a:pt x="1253" y="106502"/>
                  </a:cubicBezTo>
                  <a:cubicBezTo>
                    <a:pt x="-4421" y="116260"/>
                    <a:pt x="10692" y="125063"/>
                    <a:pt x="16340" y="115332"/>
                  </a:cubicBezTo>
                  <a:cubicBezTo>
                    <a:pt x="24772" y="100854"/>
                    <a:pt x="37155" y="87305"/>
                    <a:pt x="35829" y="70256"/>
                  </a:cubicBezTo>
                  <a:cubicBezTo>
                    <a:pt x="34265" y="49600"/>
                    <a:pt x="31242" y="28945"/>
                    <a:pt x="28935" y="8342"/>
                  </a:cubicBezTo>
                  <a:cubicBezTo>
                    <a:pt x="27689" y="-2714"/>
                    <a:pt x="10189" y="-2847"/>
                    <a:pt x="11435" y="8342"/>
                  </a:cubicBezTo>
                  <a:close/>
                </a:path>
              </a:pathLst>
            </a:custGeom>
            <a:solidFill>
              <a:srgbClr val="2A2E2D"/>
            </a:solidFill>
            <a:ln w="26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E6A7C701-105C-4EFD-5C71-8D323848EF59}"/>
                </a:ext>
              </a:extLst>
            </p:cNvPr>
            <p:cNvSpPr/>
            <p:nvPr/>
          </p:nvSpPr>
          <p:spPr>
            <a:xfrm>
              <a:off x="9305023" y="5487796"/>
              <a:ext cx="35542" cy="115013"/>
            </a:xfrm>
            <a:custGeom>
              <a:avLst/>
              <a:gdLst>
                <a:gd name="connsiteX0" fmla="*/ 6920 w 35542"/>
                <a:gd name="connsiteY0" fmla="*/ 10486 h 115013"/>
                <a:gd name="connsiteX1" fmla="*/ 16545 w 35542"/>
                <a:gd name="connsiteY1" fmla="*/ 63516 h 115013"/>
                <a:gd name="connsiteX2" fmla="*/ 159 w 35542"/>
                <a:gd name="connsiteY2" fmla="*/ 104032 h 115013"/>
                <a:gd name="connsiteX3" fmla="*/ 17022 w 35542"/>
                <a:gd name="connsiteY3" fmla="*/ 108699 h 115013"/>
                <a:gd name="connsiteX4" fmla="*/ 35106 w 35542"/>
                <a:gd name="connsiteY4" fmla="*/ 59433 h 115013"/>
                <a:gd name="connsiteX5" fmla="*/ 23784 w 35542"/>
                <a:gd name="connsiteY5" fmla="*/ 5819 h 115013"/>
                <a:gd name="connsiteX6" fmla="*/ 6920 w 35542"/>
                <a:gd name="connsiteY6" fmla="*/ 10486 h 115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542" h="115013">
                  <a:moveTo>
                    <a:pt x="6920" y="10486"/>
                  </a:moveTo>
                  <a:cubicBezTo>
                    <a:pt x="13549" y="26899"/>
                    <a:pt x="21583" y="45486"/>
                    <a:pt x="16545" y="63516"/>
                  </a:cubicBezTo>
                  <a:cubicBezTo>
                    <a:pt x="12541" y="77835"/>
                    <a:pt x="2837" y="89104"/>
                    <a:pt x="159" y="104032"/>
                  </a:cubicBezTo>
                  <a:cubicBezTo>
                    <a:pt x="-1803" y="115036"/>
                    <a:pt x="15034" y="119782"/>
                    <a:pt x="17022" y="108699"/>
                  </a:cubicBezTo>
                  <a:cubicBezTo>
                    <a:pt x="20178" y="91145"/>
                    <a:pt x="32932" y="77331"/>
                    <a:pt x="35106" y="59433"/>
                  </a:cubicBezTo>
                  <a:cubicBezTo>
                    <a:pt x="37333" y="40872"/>
                    <a:pt x="30651" y="22842"/>
                    <a:pt x="23784" y="5819"/>
                  </a:cubicBezTo>
                  <a:cubicBezTo>
                    <a:pt x="19648" y="-4469"/>
                    <a:pt x="2704" y="12"/>
                    <a:pt x="6920" y="10486"/>
                  </a:cubicBezTo>
                  <a:close/>
                </a:path>
              </a:pathLst>
            </a:custGeom>
            <a:solidFill>
              <a:srgbClr val="2A2E2D"/>
            </a:solidFill>
            <a:ln w="26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EB5A9CCF-0A10-9A6A-50BB-0547C43B8549}"/>
                </a:ext>
              </a:extLst>
            </p:cNvPr>
            <p:cNvSpPr/>
            <p:nvPr/>
          </p:nvSpPr>
          <p:spPr>
            <a:xfrm>
              <a:off x="8926547" y="5719930"/>
              <a:ext cx="92001" cy="71339"/>
            </a:xfrm>
            <a:custGeom>
              <a:avLst/>
              <a:gdLst>
                <a:gd name="connsiteX0" fmla="*/ 48 w 92001"/>
                <a:gd name="connsiteY0" fmla="*/ 8372 h 71339"/>
                <a:gd name="connsiteX1" fmla="*/ 3124 w 92001"/>
                <a:gd name="connsiteY1" fmla="*/ 43850 h 71339"/>
                <a:gd name="connsiteX2" fmla="*/ 9726 w 92001"/>
                <a:gd name="connsiteY2" fmla="*/ 59759 h 71339"/>
                <a:gd name="connsiteX3" fmla="*/ 39689 w 92001"/>
                <a:gd name="connsiteY3" fmla="*/ 65407 h 71339"/>
                <a:gd name="connsiteX4" fmla="*/ 81026 w 92001"/>
                <a:gd name="connsiteY4" fmla="*/ 71240 h 71339"/>
                <a:gd name="connsiteX5" fmla="*/ 85666 w 92001"/>
                <a:gd name="connsiteY5" fmla="*/ 54376 h 71339"/>
                <a:gd name="connsiteX6" fmla="*/ 32636 w 92001"/>
                <a:gd name="connsiteY6" fmla="*/ 46899 h 71339"/>
                <a:gd name="connsiteX7" fmla="*/ 20810 w 92001"/>
                <a:gd name="connsiteY7" fmla="*/ 45229 h 71339"/>
                <a:gd name="connsiteX8" fmla="*/ 20014 w 92001"/>
                <a:gd name="connsiteY8" fmla="*/ 35603 h 71339"/>
                <a:gd name="connsiteX9" fmla="*/ 17522 w 92001"/>
                <a:gd name="connsiteY9" fmla="*/ 8372 h 71339"/>
                <a:gd name="connsiteX10" fmla="*/ 48 w 92001"/>
                <a:gd name="connsiteY10" fmla="*/ 8372 h 71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2001" h="71339">
                  <a:moveTo>
                    <a:pt x="48" y="8372"/>
                  </a:moveTo>
                  <a:cubicBezTo>
                    <a:pt x="1056" y="20198"/>
                    <a:pt x="1851" y="32077"/>
                    <a:pt x="3124" y="43850"/>
                  </a:cubicBezTo>
                  <a:cubicBezTo>
                    <a:pt x="3787" y="49922"/>
                    <a:pt x="4317" y="56020"/>
                    <a:pt x="9726" y="59759"/>
                  </a:cubicBezTo>
                  <a:cubicBezTo>
                    <a:pt x="17336" y="65062"/>
                    <a:pt x="30780" y="64160"/>
                    <a:pt x="39689" y="65407"/>
                  </a:cubicBezTo>
                  <a:lnTo>
                    <a:pt x="81026" y="71240"/>
                  </a:lnTo>
                  <a:cubicBezTo>
                    <a:pt x="92030" y="72778"/>
                    <a:pt x="96776" y="55941"/>
                    <a:pt x="85666" y="54376"/>
                  </a:cubicBezTo>
                  <a:lnTo>
                    <a:pt x="32636" y="46899"/>
                  </a:lnTo>
                  <a:cubicBezTo>
                    <a:pt x="30700" y="46607"/>
                    <a:pt x="22030" y="46607"/>
                    <a:pt x="20810" y="45229"/>
                  </a:cubicBezTo>
                  <a:cubicBezTo>
                    <a:pt x="19590" y="43850"/>
                    <a:pt x="20173" y="37274"/>
                    <a:pt x="20014" y="35603"/>
                  </a:cubicBezTo>
                  <a:lnTo>
                    <a:pt x="17522" y="8372"/>
                  </a:lnTo>
                  <a:cubicBezTo>
                    <a:pt x="16567" y="-2738"/>
                    <a:pt x="-1039" y="-2844"/>
                    <a:pt x="48" y="8372"/>
                  </a:cubicBezTo>
                  <a:close/>
                </a:path>
              </a:pathLst>
            </a:custGeom>
            <a:solidFill>
              <a:srgbClr val="2A2E2D"/>
            </a:solidFill>
            <a:ln w="26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FD6BE7A3-89B0-1F13-CE53-60B82E747CDD}"/>
                </a:ext>
              </a:extLst>
            </p:cNvPr>
            <p:cNvSpPr/>
            <p:nvPr/>
          </p:nvSpPr>
          <p:spPr>
            <a:xfrm>
              <a:off x="8823292" y="6001244"/>
              <a:ext cx="87968" cy="75063"/>
            </a:xfrm>
            <a:custGeom>
              <a:avLst/>
              <a:gdLst>
                <a:gd name="connsiteX0" fmla="*/ 478 w 87968"/>
                <a:gd name="connsiteY0" fmla="*/ 8306 h 75063"/>
                <a:gd name="connsiteX1" fmla="*/ 1803 w 87968"/>
                <a:gd name="connsiteY1" fmla="*/ 49007 h 75063"/>
                <a:gd name="connsiteX2" fmla="*/ 9758 w 87968"/>
                <a:gd name="connsiteY2" fmla="*/ 71625 h 75063"/>
                <a:gd name="connsiteX3" fmla="*/ 37520 w 87968"/>
                <a:gd name="connsiteY3" fmla="*/ 73825 h 75063"/>
                <a:gd name="connsiteX4" fmla="*/ 79546 w 87968"/>
                <a:gd name="connsiteY4" fmla="*/ 71333 h 75063"/>
                <a:gd name="connsiteX5" fmla="*/ 79546 w 87968"/>
                <a:gd name="connsiteY5" fmla="*/ 53833 h 75063"/>
                <a:gd name="connsiteX6" fmla="*/ 53296 w 87968"/>
                <a:gd name="connsiteY6" fmla="*/ 55397 h 75063"/>
                <a:gd name="connsiteX7" fmla="*/ 24394 w 87968"/>
                <a:gd name="connsiteY7" fmla="*/ 57121 h 75063"/>
                <a:gd name="connsiteX8" fmla="*/ 19887 w 87968"/>
                <a:gd name="connsiteY8" fmla="*/ 51818 h 75063"/>
                <a:gd name="connsiteX9" fmla="*/ 18031 w 87968"/>
                <a:gd name="connsiteY9" fmla="*/ 36439 h 75063"/>
                <a:gd name="connsiteX10" fmla="*/ 18031 w 87968"/>
                <a:gd name="connsiteY10" fmla="*/ 8412 h 75063"/>
                <a:gd name="connsiteX11" fmla="*/ 557 w 87968"/>
                <a:gd name="connsiteY11" fmla="*/ 8412 h 7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7968" h="75063">
                  <a:moveTo>
                    <a:pt x="478" y="8306"/>
                  </a:moveTo>
                  <a:cubicBezTo>
                    <a:pt x="-460" y="21882"/>
                    <a:pt x="-16" y="35519"/>
                    <a:pt x="1803" y="49007"/>
                  </a:cubicBezTo>
                  <a:cubicBezTo>
                    <a:pt x="2811" y="56484"/>
                    <a:pt x="3103" y="66507"/>
                    <a:pt x="9758" y="71625"/>
                  </a:cubicBezTo>
                  <a:cubicBezTo>
                    <a:pt x="17103" y="77378"/>
                    <a:pt x="29114" y="74276"/>
                    <a:pt x="37520" y="73825"/>
                  </a:cubicBezTo>
                  <a:lnTo>
                    <a:pt x="79546" y="71333"/>
                  </a:lnTo>
                  <a:cubicBezTo>
                    <a:pt x="90736" y="70670"/>
                    <a:pt x="90815" y="53170"/>
                    <a:pt x="79546" y="53833"/>
                  </a:cubicBezTo>
                  <a:lnTo>
                    <a:pt x="53296" y="55397"/>
                  </a:lnTo>
                  <a:cubicBezTo>
                    <a:pt x="45527" y="55874"/>
                    <a:pt x="31660" y="59454"/>
                    <a:pt x="24394" y="57121"/>
                  </a:cubicBezTo>
                  <a:cubicBezTo>
                    <a:pt x="19383" y="55503"/>
                    <a:pt x="21743" y="60276"/>
                    <a:pt x="19887" y="51818"/>
                  </a:cubicBezTo>
                  <a:cubicBezTo>
                    <a:pt x="18911" y="46740"/>
                    <a:pt x="18291" y="41601"/>
                    <a:pt x="18031" y="36439"/>
                  </a:cubicBezTo>
                  <a:cubicBezTo>
                    <a:pt x="17368" y="27108"/>
                    <a:pt x="17368" y="17743"/>
                    <a:pt x="18031" y="8412"/>
                  </a:cubicBezTo>
                  <a:cubicBezTo>
                    <a:pt x="18773" y="-2831"/>
                    <a:pt x="1273" y="-2777"/>
                    <a:pt x="557" y="8412"/>
                  </a:cubicBezTo>
                  <a:close/>
                </a:path>
              </a:pathLst>
            </a:custGeom>
            <a:solidFill>
              <a:srgbClr val="2A2E2D"/>
            </a:solidFill>
            <a:ln w="264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65" name="Graphic 34">
            <a:extLst>
              <a:ext uri="{FF2B5EF4-FFF2-40B4-BE49-F238E27FC236}">
                <a16:creationId xmlns:a16="http://schemas.microsoft.com/office/drawing/2014/main" id="{D2FC57D6-6E25-58B1-BBEF-495D75A8DFF4}"/>
              </a:ext>
            </a:extLst>
          </p:cNvPr>
          <p:cNvGrpSpPr/>
          <p:nvPr/>
        </p:nvGrpSpPr>
        <p:grpSpPr>
          <a:xfrm>
            <a:off x="1118963" y="2562531"/>
            <a:ext cx="532451" cy="848977"/>
            <a:chOff x="1118963" y="2562531"/>
            <a:chExt cx="532451" cy="848977"/>
          </a:xfrm>
          <a:solidFill>
            <a:srgbClr val="2A2E2D"/>
          </a:solidFill>
        </p:grpSpPr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B1BEA6FA-BA5E-F1C1-1DB1-FF3CCD9DE6A5}"/>
                </a:ext>
              </a:extLst>
            </p:cNvPr>
            <p:cNvSpPr/>
            <p:nvPr/>
          </p:nvSpPr>
          <p:spPr>
            <a:xfrm>
              <a:off x="1199978" y="2807611"/>
              <a:ext cx="161528" cy="364929"/>
            </a:xfrm>
            <a:custGeom>
              <a:avLst/>
              <a:gdLst>
                <a:gd name="connsiteX0" fmla="*/ 12257 w 161528"/>
                <a:gd name="connsiteY0" fmla="*/ 6189 h 364929"/>
                <a:gd name="connsiteX1" fmla="*/ 38480 w 161528"/>
                <a:gd name="connsiteY1" fmla="*/ 179148 h 364929"/>
                <a:gd name="connsiteX2" fmla="*/ 142420 w 161528"/>
                <a:gd name="connsiteY2" fmla="*/ 239789 h 364929"/>
                <a:gd name="connsiteX3" fmla="*/ 96920 w 161528"/>
                <a:gd name="connsiteY3" fmla="*/ 350225 h 364929"/>
                <a:gd name="connsiteX4" fmla="*/ 109276 w 161528"/>
                <a:gd name="connsiteY4" fmla="*/ 362608 h 364929"/>
                <a:gd name="connsiteX5" fmla="*/ 154591 w 161528"/>
                <a:gd name="connsiteY5" fmla="*/ 220459 h 364929"/>
                <a:gd name="connsiteX6" fmla="*/ 89284 w 161528"/>
                <a:gd name="connsiteY6" fmla="*/ 184876 h 364929"/>
                <a:gd name="connsiteX7" fmla="*/ 29121 w 161528"/>
                <a:gd name="connsiteY7" fmla="*/ 10909 h 364929"/>
                <a:gd name="connsiteX8" fmla="*/ 12257 w 161528"/>
                <a:gd name="connsiteY8" fmla="*/ 6242 h 364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528" h="364929">
                  <a:moveTo>
                    <a:pt x="12257" y="6189"/>
                  </a:moveTo>
                  <a:cubicBezTo>
                    <a:pt x="-1717" y="63913"/>
                    <a:pt x="-14497" y="136724"/>
                    <a:pt x="38480" y="179148"/>
                  </a:cubicBezTo>
                  <a:cubicBezTo>
                    <a:pt x="68628" y="203330"/>
                    <a:pt x="125716" y="200679"/>
                    <a:pt x="142420" y="239789"/>
                  </a:cubicBezTo>
                  <a:cubicBezTo>
                    <a:pt x="156155" y="271952"/>
                    <a:pt x="120227" y="329358"/>
                    <a:pt x="96920" y="350225"/>
                  </a:cubicBezTo>
                  <a:cubicBezTo>
                    <a:pt x="88515" y="357756"/>
                    <a:pt x="100924" y="370085"/>
                    <a:pt x="109276" y="362608"/>
                  </a:cubicBezTo>
                  <a:cubicBezTo>
                    <a:pt x="142924" y="332486"/>
                    <a:pt x="176360" y="265588"/>
                    <a:pt x="154591" y="220459"/>
                  </a:cubicBezTo>
                  <a:cubicBezTo>
                    <a:pt x="141333" y="193281"/>
                    <a:pt x="115189" y="192645"/>
                    <a:pt x="89284" y="184876"/>
                  </a:cubicBezTo>
                  <a:cubicBezTo>
                    <a:pt x="7086" y="160216"/>
                    <a:pt x="12389" y="79875"/>
                    <a:pt x="29121" y="10909"/>
                  </a:cubicBezTo>
                  <a:cubicBezTo>
                    <a:pt x="31772" y="-42"/>
                    <a:pt x="14908" y="-4709"/>
                    <a:pt x="12257" y="6242"/>
                  </a:cubicBezTo>
                  <a:close/>
                </a:path>
              </a:pathLst>
            </a:custGeom>
            <a:solidFill>
              <a:srgbClr val="2A2E2D"/>
            </a:solidFill>
            <a:ln w="26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7953ABAA-0B9F-2A3F-9B64-6AFC8DEF3ADE}"/>
                </a:ext>
              </a:extLst>
            </p:cNvPr>
            <p:cNvSpPr/>
            <p:nvPr/>
          </p:nvSpPr>
          <p:spPr>
            <a:xfrm>
              <a:off x="1430775" y="2844825"/>
              <a:ext cx="140874" cy="328281"/>
            </a:xfrm>
            <a:custGeom>
              <a:avLst/>
              <a:gdLst>
                <a:gd name="connsiteX0" fmla="*/ 123904 w 140874"/>
                <a:gd name="connsiteY0" fmla="*/ 6256 h 328281"/>
                <a:gd name="connsiteX1" fmla="*/ 73525 w 140874"/>
                <a:gd name="connsiteY1" fmla="*/ 141484 h 328281"/>
                <a:gd name="connsiteX2" fmla="*/ 6839 w 140874"/>
                <a:gd name="connsiteY2" fmla="*/ 183723 h 328281"/>
                <a:gd name="connsiteX3" fmla="*/ 27574 w 140874"/>
                <a:gd name="connsiteY3" fmla="*/ 323697 h 328281"/>
                <a:gd name="connsiteX4" fmla="*/ 42688 w 140874"/>
                <a:gd name="connsiteY4" fmla="*/ 314868 h 328281"/>
                <a:gd name="connsiteX5" fmla="*/ 19673 w 140874"/>
                <a:gd name="connsiteY5" fmla="*/ 226784 h 328281"/>
                <a:gd name="connsiteX6" fmla="*/ 88613 w 140874"/>
                <a:gd name="connsiteY6" fmla="*/ 154901 h 328281"/>
                <a:gd name="connsiteX7" fmla="*/ 140768 w 140874"/>
                <a:gd name="connsiteY7" fmla="*/ 10976 h 328281"/>
                <a:gd name="connsiteX8" fmla="*/ 123904 w 140874"/>
                <a:gd name="connsiteY8" fmla="*/ 6335 h 328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874" h="328281">
                  <a:moveTo>
                    <a:pt x="123904" y="6256"/>
                  </a:moveTo>
                  <a:cubicBezTo>
                    <a:pt x="117037" y="53161"/>
                    <a:pt x="117011" y="113457"/>
                    <a:pt x="73525" y="141484"/>
                  </a:cubicBezTo>
                  <a:cubicBezTo>
                    <a:pt x="50457" y="156253"/>
                    <a:pt x="19646" y="155935"/>
                    <a:pt x="6839" y="183723"/>
                  </a:cubicBezTo>
                  <a:cubicBezTo>
                    <a:pt x="-11721" y="223973"/>
                    <a:pt x="11665" y="286470"/>
                    <a:pt x="27574" y="323697"/>
                  </a:cubicBezTo>
                  <a:cubicBezTo>
                    <a:pt x="32002" y="334012"/>
                    <a:pt x="47063" y="325102"/>
                    <a:pt x="42688" y="314868"/>
                  </a:cubicBezTo>
                  <a:cubicBezTo>
                    <a:pt x="30454" y="286891"/>
                    <a:pt x="22688" y="257168"/>
                    <a:pt x="19673" y="226784"/>
                  </a:cubicBezTo>
                  <a:cubicBezTo>
                    <a:pt x="15589" y="177651"/>
                    <a:pt x="59764" y="175689"/>
                    <a:pt x="88613" y="154901"/>
                  </a:cubicBezTo>
                  <a:cubicBezTo>
                    <a:pt x="132681" y="123082"/>
                    <a:pt x="133689" y="59446"/>
                    <a:pt x="140768" y="10976"/>
                  </a:cubicBezTo>
                  <a:cubicBezTo>
                    <a:pt x="142359" y="-28"/>
                    <a:pt x="125522" y="-4775"/>
                    <a:pt x="123904" y="6335"/>
                  </a:cubicBezTo>
                  <a:close/>
                </a:path>
              </a:pathLst>
            </a:custGeom>
            <a:solidFill>
              <a:srgbClr val="2A2E2D"/>
            </a:solidFill>
            <a:ln w="26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E0F6A9C9-52F8-8992-FEC8-C9A9991B2386}"/>
                </a:ext>
              </a:extLst>
            </p:cNvPr>
            <p:cNvSpPr/>
            <p:nvPr/>
          </p:nvSpPr>
          <p:spPr>
            <a:xfrm>
              <a:off x="1118963" y="2562531"/>
              <a:ext cx="532451" cy="511842"/>
            </a:xfrm>
            <a:custGeom>
              <a:avLst/>
              <a:gdLst>
                <a:gd name="connsiteX0" fmla="*/ 311122 w 532451"/>
                <a:gd name="connsiteY0" fmla="*/ 125905 h 511842"/>
                <a:gd name="connsiteX1" fmla="*/ 101651 w 532451"/>
                <a:gd name="connsiteY1" fmla="*/ 253603 h 511842"/>
                <a:gd name="connsiteX2" fmla="*/ 98999 w 532451"/>
                <a:gd name="connsiteY2" fmla="*/ 383872 h 511842"/>
                <a:gd name="connsiteX3" fmla="*/ 221420 w 532451"/>
                <a:gd name="connsiteY3" fmla="*/ 458699 h 511842"/>
                <a:gd name="connsiteX4" fmla="*/ 231867 w 532451"/>
                <a:gd name="connsiteY4" fmla="*/ 482562 h 511842"/>
                <a:gd name="connsiteX5" fmla="*/ 27699 w 532451"/>
                <a:gd name="connsiteY5" fmla="*/ 477259 h 511842"/>
                <a:gd name="connsiteX6" fmla="*/ 105920 w 532451"/>
                <a:gd name="connsiteY6" fmla="*/ 39147 h 511842"/>
                <a:gd name="connsiteX7" fmla="*/ 309027 w 532451"/>
                <a:gd name="connsiteY7" fmla="*/ 30317 h 511842"/>
                <a:gd name="connsiteX8" fmla="*/ 444255 w 532451"/>
                <a:gd name="connsiteY8" fmla="*/ 39147 h 511842"/>
                <a:gd name="connsiteX9" fmla="*/ 526187 w 532451"/>
                <a:gd name="connsiteY9" fmla="*/ 404766 h 511842"/>
                <a:gd name="connsiteX10" fmla="*/ 331114 w 532451"/>
                <a:gd name="connsiteY10" fmla="*/ 461456 h 511842"/>
                <a:gd name="connsiteX11" fmla="*/ 424607 w 532451"/>
                <a:gd name="connsiteY11" fmla="*/ 391217 h 511842"/>
                <a:gd name="connsiteX12" fmla="*/ 444255 w 532451"/>
                <a:gd name="connsiteY12" fmla="*/ 290857 h 511842"/>
                <a:gd name="connsiteX13" fmla="*/ 311122 w 532451"/>
                <a:gd name="connsiteY13" fmla="*/ 125905 h 511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32451" h="511842">
                  <a:moveTo>
                    <a:pt x="311122" y="125905"/>
                  </a:moveTo>
                  <a:cubicBezTo>
                    <a:pt x="266205" y="205742"/>
                    <a:pt x="168655" y="253603"/>
                    <a:pt x="101651" y="253603"/>
                  </a:cubicBezTo>
                  <a:cubicBezTo>
                    <a:pt x="101651" y="253603"/>
                    <a:pt x="83090" y="359505"/>
                    <a:pt x="98999" y="383872"/>
                  </a:cubicBezTo>
                  <a:cubicBezTo>
                    <a:pt x="114908" y="408240"/>
                    <a:pt x="221420" y="458699"/>
                    <a:pt x="221420" y="458699"/>
                  </a:cubicBezTo>
                  <a:lnTo>
                    <a:pt x="231867" y="482562"/>
                  </a:lnTo>
                  <a:cubicBezTo>
                    <a:pt x="231867" y="482562"/>
                    <a:pt x="76594" y="551847"/>
                    <a:pt x="27699" y="477259"/>
                  </a:cubicBezTo>
                  <a:cubicBezTo>
                    <a:pt x="-21195" y="402672"/>
                    <a:pt x="-11358" y="121742"/>
                    <a:pt x="105920" y="39147"/>
                  </a:cubicBezTo>
                  <a:cubicBezTo>
                    <a:pt x="223197" y="-43448"/>
                    <a:pt x="309027" y="30317"/>
                    <a:pt x="309027" y="30317"/>
                  </a:cubicBezTo>
                  <a:cubicBezTo>
                    <a:pt x="309027" y="30317"/>
                    <a:pt x="381732" y="-28017"/>
                    <a:pt x="444255" y="39147"/>
                  </a:cubicBezTo>
                  <a:cubicBezTo>
                    <a:pt x="506778" y="106310"/>
                    <a:pt x="548991" y="322118"/>
                    <a:pt x="526187" y="404766"/>
                  </a:cubicBezTo>
                  <a:cubicBezTo>
                    <a:pt x="503384" y="487415"/>
                    <a:pt x="380353" y="500593"/>
                    <a:pt x="331114" y="461456"/>
                  </a:cubicBezTo>
                  <a:cubicBezTo>
                    <a:pt x="331114" y="461456"/>
                    <a:pt x="411058" y="449869"/>
                    <a:pt x="424607" y="391217"/>
                  </a:cubicBezTo>
                  <a:cubicBezTo>
                    <a:pt x="438157" y="332565"/>
                    <a:pt x="444255" y="290857"/>
                    <a:pt x="444255" y="290857"/>
                  </a:cubicBezTo>
                  <a:cubicBezTo>
                    <a:pt x="363304" y="267523"/>
                    <a:pt x="309027" y="210807"/>
                    <a:pt x="311122" y="125905"/>
                  </a:cubicBezTo>
                  <a:close/>
                </a:path>
              </a:pathLst>
            </a:custGeom>
            <a:solidFill>
              <a:srgbClr val="2A2E2D"/>
            </a:solidFill>
            <a:ln w="26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597661B6-82AC-AECF-7650-1DE0D9818ECA}"/>
                </a:ext>
              </a:extLst>
            </p:cNvPr>
            <p:cNvSpPr/>
            <p:nvPr/>
          </p:nvSpPr>
          <p:spPr>
            <a:xfrm>
              <a:off x="1119007" y="3140707"/>
              <a:ext cx="509501" cy="270800"/>
            </a:xfrm>
            <a:custGeom>
              <a:avLst/>
              <a:gdLst>
                <a:gd name="connsiteX0" fmla="*/ 0 w 509501"/>
                <a:gd name="connsiteY0" fmla="*/ 270801 h 270800"/>
                <a:gd name="connsiteX1" fmla="*/ 506443 w 509501"/>
                <a:gd name="connsiteY1" fmla="*/ 270801 h 270800"/>
                <a:gd name="connsiteX2" fmla="*/ 465795 w 509501"/>
                <a:gd name="connsiteY2" fmla="*/ 23254 h 270800"/>
                <a:gd name="connsiteX3" fmla="*/ 336055 w 509501"/>
                <a:gd name="connsiteY3" fmla="*/ 0 h 270800"/>
                <a:gd name="connsiteX4" fmla="*/ 203479 w 509501"/>
                <a:gd name="connsiteY4" fmla="*/ 6337 h 270800"/>
                <a:gd name="connsiteX5" fmla="*/ 37360 w 509501"/>
                <a:gd name="connsiteY5" fmla="*/ 85167 h 270800"/>
                <a:gd name="connsiteX6" fmla="*/ 0 w 509501"/>
                <a:gd name="connsiteY6" fmla="*/ 270801 h 27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9501" h="270800">
                  <a:moveTo>
                    <a:pt x="0" y="270801"/>
                  </a:moveTo>
                  <a:lnTo>
                    <a:pt x="506443" y="270801"/>
                  </a:lnTo>
                  <a:cubicBezTo>
                    <a:pt x="506443" y="270801"/>
                    <a:pt x="526091" y="46057"/>
                    <a:pt x="465795" y="23254"/>
                  </a:cubicBezTo>
                  <a:cubicBezTo>
                    <a:pt x="405499" y="451"/>
                    <a:pt x="336055" y="0"/>
                    <a:pt x="336055" y="0"/>
                  </a:cubicBezTo>
                  <a:cubicBezTo>
                    <a:pt x="308930" y="53375"/>
                    <a:pt x="234448" y="51625"/>
                    <a:pt x="203479" y="6337"/>
                  </a:cubicBezTo>
                  <a:cubicBezTo>
                    <a:pt x="203479" y="6337"/>
                    <a:pt x="63425" y="23307"/>
                    <a:pt x="37360" y="85167"/>
                  </a:cubicBezTo>
                  <a:cubicBezTo>
                    <a:pt x="11296" y="147027"/>
                    <a:pt x="0" y="270801"/>
                    <a:pt x="0" y="270801"/>
                  </a:cubicBezTo>
                  <a:close/>
                </a:path>
              </a:pathLst>
            </a:custGeom>
            <a:solidFill>
              <a:srgbClr val="2A2E2D"/>
            </a:solidFill>
            <a:ln w="26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70" name="Graphic 36">
            <a:extLst>
              <a:ext uri="{FF2B5EF4-FFF2-40B4-BE49-F238E27FC236}">
                <a16:creationId xmlns:a16="http://schemas.microsoft.com/office/drawing/2014/main" id="{2A321E7D-DB65-0895-3085-BAC2F60E89A8}"/>
              </a:ext>
            </a:extLst>
          </p:cNvPr>
          <p:cNvGrpSpPr/>
          <p:nvPr/>
        </p:nvGrpSpPr>
        <p:grpSpPr>
          <a:xfrm>
            <a:off x="6816859" y="5603575"/>
            <a:ext cx="970501" cy="523697"/>
            <a:chOff x="6816859" y="5603575"/>
            <a:chExt cx="970501" cy="523697"/>
          </a:xfrm>
        </p:grpSpPr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EA8BA702-A26A-8347-A3EA-2102244ECDDF}"/>
                </a:ext>
              </a:extLst>
            </p:cNvPr>
            <p:cNvSpPr/>
            <p:nvPr/>
          </p:nvSpPr>
          <p:spPr>
            <a:xfrm>
              <a:off x="7431405" y="5606457"/>
              <a:ext cx="355956" cy="520816"/>
            </a:xfrm>
            <a:custGeom>
              <a:avLst/>
              <a:gdLst>
                <a:gd name="connsiteX0" fmla="*/ 128708 w 355956"/>
                <a:gd name="connsiteY0" fmla="*/ 15253 h 520816"/>
                <a:gd name="connsiteX1" fmla="*/ 66424 w 355956"/>
                <a:gd name="connsiteY1" fmla="*/ 218281 h 520816"/>
                <a:gd name="connsiteX2" fmla="*/ 3078 w 355956"/>
                <a:gd name="connsiteY2" fmla="*/ 354544 h 520816"/>
                <a:gd name="connsiteX3" fmla="*/ 113356 w 355956"/>
                <a:gd name="connsiteY3" fmla="*/ 517401 h 520816"/>
                <a:gd name="connsiteX4" fmla="*/ 328475 w 355956"/>
                <a:gd name="connsiteY4" fmla="*/ 427116 h 520816"/>
                <a:gd name="connsiteX5" fmla="*/ 296365 w 355956"/>
                <a:gd name="connsiteY5" fmla="*/ 222603 h 520816"/>
                <a:gd name="connsiteX6" fmla="*/ 287535 w 355956"/>
                <a:gd name="connsiteY6" fmla="*/ 237690 h 520816"/>
                <a:gd name="connsiteX7" fmla="*/ 247895 w 355956"/>
                <a:gd name="connsiteY7" fmla="*/ 477522 h 520816"/>
                <a:gd name="connsiteX8" fmla="*/ 16681 w 355956"/>
                <a:gd name="connsiteY8" fmla="*/ 392832 h 520816"/>
                <a:gd name="connsiteX9" fmla="*/ 131678 w 355956"/>
                <a:gd name="connsiteY9" fmla="*/ 153027 h 520816"/>
                <a:gd name="connsiteX10" fmla="*/ 141144 w 355956"/>
                <a:gd name="connsiteY10" fmla="*/ 2897 h 520816"/>
                <a:gd name="connsiteX11" fmla="*/ 128761 w 355956"/>
                <a:gd name="connsiteY11" fmla="*/ 15253 h 520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55956" h="520816">
                  <a:moveTo>
                    <a:pt x="128708" y="15253"/>
                  </a:moveTo>
                  <a:cubicBezTo>
                    <a:pt x="183144" y="79155"/>
                    <a:pt x="101901" y="165251"/>
                    <a:pt x="66424" y="218281"/>
                  </a:cubicBezTo>
                  <a:cubicBezTo>
                    <a:pt x="38476" y="260016"/>
                    <a:pt x="12518" y="304589"/>
                    <a:pt x="3078" y="354544"/>
                  </a:cubicBezTo>
                  <a:cubicBezTo>
                    <a:pt x="-12353" y="436317"/>
                    <a:pt x="31132" y="501704"/>
                    <a:pt x="113356" y="517401"/>
                  </a:cubicBezTo>
                  <a:cubicBezTo>
                    <a:pt x="193830" y="532727"/>
                    <a:pt x="283266" y="495393"/>
                    <a:pt x="328475" y="427116"/>
                  </a:cubicBezTo>
                  <a:cubicBezTo>
                    <a:pt x="373100" y="359767"/>
                    <a:pt x="364058" y="270331"/>
                    <a:pt x="296365" y="222603"/>
                  </a:cubicBezTo>
                  <a:cubicBezTo>
                    <a:pt x="287137" y="216080"/>
                    <a:pt x="278387" y="231247"/>
                    <a:pt x="287535" y="237690"/>
                  </a:cubicBezTo>
                  <a:cubicBezTo>
                    <a:pt x="381267" y="303979"/>
                    <a:pt x="333274" y="430245"/>
                    <a:pt x="247895" y="477522"/>
                  </a:cubicBezTo>
                  <a:cubicBezTo>
                    <a:pt x="167500" y="522041"/>
                    <a:pt x="19147" y="511249"/>
                    <a:pt x="16681" y="392832"/>
                  </a:cubicBezTo>
                  <a:cubicBezTo>
                    <a:pt x="14798" y="300346"/>
                    <a:pt x="86151" y="226474"/>
                    <a:pt x="131678" y="153027"/>
                  </a:cubicBezTo>
                  <a:cubicBezTo>
                    <a:pt x="161110" y="105618"/>
                    <a:pt x="181314" y="50254"/>
                    <a:pt x="141144" y="2897"/>
                  </a:cubicBezTo>
                  <a:cubicBezTo>
                    <a:pt x="133826" y="-5694"/>
                    <a:pt x="121496" y="6742"/>
                    <a:pt x="128761" y="15253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2F4612ED-51B1-7EAB-975C-2D7D35A006FF}"/>
                </a:ext>
              </a:extLst>
            </p:cNvPr>
            <p:cNvSpPr/>
            <p:nvPr/>
          </p:nvSpPr>
          <p:spPr>
            <a:xfrm>
              <a:off x="7558152" y="5603575"/>
              <a:ext cx="185159" cy="355790"/>
            </a:xfrm>
            <a:custGeom>
              <a:avLst/>
              <a:gdLst>
                <a:gd name="connsiteX0" fmla="*/ 6441 w 185159"/>
                <a:gd name="connsiteY0" fmla="*/ 17101 h 355790"/>
                <a:gd name="connsiteX1" fmla="*/ 54699 w 185159"/>
                <a:gd name="connsiteY1" fmla="*/ 228799 h 355790"/>
                <a:gd name="connsiteX2" fmla="*/ 69866 w 185159"/>
                <a:gd name="connsiteY2" fmla="*/ 342073 h 355790"/>
                <a:gd name="connsiteX3" fmla="*/ 165321 w 185159"/>
                <a:gd name="connsiteY3" fmla="*/ 333694 h 355790"/>
                <a:gd name="connsiteX4" fmla="*/ 167655 w 185159"/>
                <a:gd name="connsiteY4" fmla="*/ 227076 h 355790"/>
                <a:gd name="connsiteX5" fmla="*/ 152541 w 185159"/>
                <a:gd name="connsiteY5" fmla="*/ 235905 h 355790"/>
                <a:gd name="connsiteX6" fmla="*/ 130639 w 185159"/>
                <a:gd name="connsiteY6" fmla="*/ 335417 h 355790"/>
                <a:gd name="connsiteX7" fmla="*/ 61991 w 185159"/>
                <a:gd name="connsiteY7" fmla="*/ 271781 h 355790"/>
                <a:gd name="connsiteX8" fmla="*/ 101128 w 185159"/>
                <a:gd name="connsiteY8" fmla="*/ 137852 h 355790"/>
                <a:gd name="connsiteX9" fmla="*/ 10976 w 185159"/>
                <a:gd name="connsiteY9" fmla="*/ 131 h 355790"/>
                <a:gd name="connsiteX10" fmla="*/ 6335 w 185159"/>
                <a:gd name="connsiteY10" fmla="*/ 16995 h 355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5159" h="355790">
                  <a:moveTo>
                    <a:pt x="6441" y="17101"/>
                  </a:moveTo>
                  <a:cubicBezTo>
                    <a:pt x="119582" y="35503"/>
                    <a:pt x="79677" y="158189"/>
                    <a:pt x="54699" y="228799"/>
                  </a:cubicBezTo>
                  <a:cubicBezTo>
                    <a:pt x="41760" y="265417"/>
                    <a:pt x="34521" y="314842"/>
                    <a:pt x="69866" y="342073"/>
                  </a:cubicBezTo>
                  <a:cubicBezTo>
                    <a:pt x="97760" y="363550"/>
                    <a:pt x="141458" y="359096"/>
                    <a:pt x="165321" y="333694"/>
                  </a:cubicBezTo>
                  <a:cubicBezTo>
                    <a:pt x="193560" y="303732"/>
                    <a:pt x="189185" y="258868"/>
                    <a:pt x="167655" y="227076"/>
                  </a:cubicBezTo>
                  <a:cubicBezTo>
                    <a:pt x="161397" y="217795"/>
                    <a:pt x="146230" y="226519"/>
                    <a:pt x="152541" y="235905"/>
                  </a:cubicBezTo>
                  <a:cubicBezTo>
                    <a:pt x="174045" y="267724"/>
                    <a:pt x="174655" y="319932"/>
                    <a:pt x="130639" y="335417"/>
                  </a:cubicBezTo>
                  <a:cubicBezTo>
                    <a:pt x="90283" y="349603"/>
                    <a:pt x="58597" y="309406"/>
                    <a:pt x="61991" y="271781"/>
                  </a:cubicBezTo>
                  <a:cubicBezTo>
                    <a:pt x="66207" y="225193"/>
                    <a:pt x="95931" y="184890"/>
                    <a:pt x="101128" y="137852"/>
                  </a:cubicBezTo>
                  <a:cubicBezTo>
                    <a:pt x="108048" y="75408"/>
                    <a:pt x="77264" y="10923"/>
                    <a:pt x="10976" y="131"/>
                  </a:cubicBezTo>
                  <a:cubicBezTo>
                    <a:pt x="-28" y="-1645"/>
                    <a:pt x="-4775" y="15192"/>
                    <a:pt x="6335" y="16995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6ED59D4A-0815-2816-9B89-56C83E63AD43}"/>
                </a:ext>
              </a:extLst>
            </p:cNvPr>
            <p:cNvSpPr/>
            <p:nvPr/>
          </p:nvSpPr>
          <p:spPr>
            <a:xfrm>
              <a:off x="7480642" y="5901520"/>
              <a:ext cx="54578" cy="155323"/>
            </a:xfrm>
            <a:custGeom>
              <a:avLst/>
              <a:gdLst>
                <a:gd name="connsiteX0" fmla="*/ 20660 w 54578"/>
                <a:gd name="connsiteY0" fmla="*/ 3904 h 155323"/>
                <a:gd name="connsiteX1" fmla="*/ 39353 w 54578"/>
                <a:gd name="connsiteY1" fmla="*/ 153053 h 155323"/>
                <a:gd name="connsiteX2" fmla="*/ 51736 w 54578"/>
                <a:gd name="connsiteY2" fmla="*/ 140697 h 155323"/>
                <a:gd name="connsiteX3" fmla="*/ 35827 w 54578"/>
                <a:gd name="connsiteY3" fmla="*/ 12734 h 155323"/>
                <a:gd name="connsiteX4" fmla="*/ 20713 w 54578"/>
                <a:gd name="connsiteY4" fmla="*/ 3904 h 1553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78" h="155323">
                  <a:moveTo>
                    <a:pt x="20660" y="3904"/>
                  </a:moveTo>
                  <a:cubicBezTo>
                    <a:pt x="-12776" y="52427"/>
                    <a:pt x="-4980" y="114288"/>
                    <a:pt x="39353" y="153053"/>
                  </a:cubicBezTo>
                  <a:cubicBezTo>
                    <a:pt x="47812" y="160424"/>
                    <a:pt x="60221" y="148121"/>
                    <a:pt x="51736" y="140697"/>
                  </a:cubicBezTo>
                  <a:cubicBezTo>
                    <a:pt x="12944" y="106784"/>
                    <a:pt x="6660" y="55079"/>
                    <a:pt x="35827" y="12734"/>
                  </a:cubicBezTo>
                  <a:cubicBezTo>
                    <a:pt x="42217" y="3454"/>
                    <a:pt x="27077" y="-5296"/>
                    <a:pt x="20713" y="3904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C053E8A1-D3D2-A968-84AA-2832957BE1CD}"/>
                </a:ext>
              </a:extLst>
            </p:cNvPr>
            <p:cNvSpPr/>
            <p:nvPr/>
          </p:nvSpPr>
          <p:spPr>
            <a:xfrm>
              <a:off x="7550052" y="6058909"/>
              <a:ext cx="27832" cy="20704"/>
            </a:xfrm>
            <a:custGeom>
              <a:avLst/>
              <a:gdLst>
                <a:gd name="connsiteX0" fmla="*/ 1284 w 27832"/>
                <a:gd name="connsiteY0" fmla="*/ 13164 h 20704"/>
                <a:gd name="connsiteX1" fmla="*/ 22271 w 27832"/>
                <a:gd name="connsiteY1" fmla="*/ 18576 h 20704"/>
                <a:gd name="connsiteX2" fmla="*/ 24936 w 27832"/>
                <a:gd name="connsiteY2" fmla="*/ 16585 h 20704"/>
                <a:gd name="connsiteX3" fmla="*/ 12580 w 27832"/>
                <a:gd name="connsiteY3" fmla="*/ 4202 h 20704"/>
                <a:gd name="connsiteX4" fmla="*/ 16398 w 27832"/>
                <a:gd name="connsiteY4" fmla="*/ 4202 h 20704"/>
                <a:gd name="connsiteX5" fmla="*/ 1284 w 27832"/>
                <a:gd name="connsiteY5" fmla="*/ 13032 h 20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32" h="20704">
                  <a:moveTo>
                    <a:pt x="1284" y="13164"/>
                  </a:moveTo>
                  <a:cubicBezTo>
                    <a:pt x="5585" y="20453"/>
                    <a:pt x="14982" y="22877"/>
                    <a:pt x="22271" y="18576"/>
                  </a:cubicBezTo>
                  <a:cubicBezTo>
                    <a:pt x="23228" y="18011"/>
                    <a:pt x="24122" y="17343"/>
                    <a:pt x="24936" y="16585"/>
                  </a:cubicBezTo>
                  <a:cubicBezTo>
                    <a:pt x="33527" y="9240"/>
                    <a:pt x="21091" y="-3063"/>
                    <a:pt x="12580" y="4202"/>
                  </a:cubicBezTo>
                  <a:cubicBezTo>
                    <a:pt x="13508" y="3406"/>
                    <a:pt x="15576" y="2956"/>
                    <a:pt x="16398" y="4202"/>
                  </a:cubicBezTo>
                  <a:cubicBezTo>
                    <a:pt x="10644" y="-5476"/>
                    <a:pt x="-4470" y="3300"/>
                    <a:pt x="1284" y="13032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C066D368-583E-CCA8-F0E1-49B05CA97322}"/>
                </a:ext>
              </a:extLst>
            </p:cNvPr>
            <p:cNvSpPr/>
            <p:nvPr/>
          </p:nvSpPr>
          <p:spPr>
            <a:xfrm>
              <a:off x="6816960" y="5736345"/>
              <a:ext cx="746944" cy="248890"/>
            </a:xfrm>
            <a:custGeom>
              <a:avLst/>
              <a:gdLst>
                <a:gd name="connsiteX0" fmla="*/ 746944 w 746944"/>
                <a:gd name="connsiteY0" fmla="*/ 3677 h 248890"/>
                <a:gd name="connsiteX1" fmla="*/ 7379 w 746944"/>
                <a:gd name="connsiteY1" fmla="*/ 3677 h 248890"/>
                <a:gd name="connsiteX2" fmla="*/ 7379 w 746944"/>
                <a:gd name="connsiteY2" fmla="*/ 242766 h 248890"/>
                <a:gd name="connsiteX3" fmla="*/ 623011 w 746944"/>
                <a:gd name="connsiteY3" fmla="*/ 248360 h 248890"/>
                <a:gd name="connsiteX4" fmla="*/ 676466 w 746944"/>
                <a:gd name="connsiteY4" fmla="*/ 111037 h 248890"/>
                <a:gd name="connsiteX5" fmla="*/ 746944 w 746944"/>
                <a:gd name="connsiteY5" fmla="*/ 3677 h 248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6944" h="248890">
                  <a:moveTo>
                    <a:pt x="746944" y="3677"/>
                  </a:moveTo>
                  <a:cubicBezTo>
                    <a:pt x="746944" y="3677"/>
                    <a:pt x="15519" y="-4596"/>
                    <a:pt x="7379" y="3677"/>
                  </a:cubicBezTo>
                  <a:cubicBezTo>
                    <a:pt x="-762" y="11950"/>
                    <a:pt x="-4023" y="234095"/>
                    <a:pt x="7379" y="242766"/>
                  </a:cubicBezTo>
                  <a:cubicBezTo>
                    <a:pt x="18780" y="251436"/>
                    <a:pt x="623011" y="248360"/>
                    <a:pt x="623011" y="248360"/>
                  </a:cubicBezTo>
                  <a:cubicBezTo>
                    <a:pt x="623011" y="248360"/>
                    <a:pt x="634837" y="172420"/>
                    <a:pt x="676466" y="111037"/>
                  </a:cubicBezTo>
                  <a:cubicBezTo>
                    <a:pt x="718095" y="49654"/>
                    <a:pt x="746944" y="3677"/>
                    <a:pt x="746944" y="3677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FA38429C-73A0-21BC-A3B9-CE3811681470}"/>
                </a:ext>
              </a:extLst>
            </p:cNvPr>
            <p:cNvSpPr/>
            <p:nvPr/>
          </p:nvSpPr>
          <p:spPr>
            <a:xfrm>
              <a:off x="6857301" y="5795922"/>
              <a:ext cx="72214" cy="20907"/>
            </a:xfrm>
            <a:custGeom>
              <a:avLst/>
              <a:gdLst>
                <a:gd name="connsiteX0" fmla="*/ 8402 w 72214"/>
                <a:gd name="connsiteY0" fmla="*/ 20887 h 20907"/>
                <a:gd name="connsiteX1" fmla="*/ 63793 w 72214"/>
                <a:gd name="connsiteY1" fmla="*/ 17493 h 20907"/>
                <a:gd name="connsiteX2" fmla="*/ 63793 w 72214"/>
                <a:gd name="connsiteY2" fmla="*/ 20 h 20907"/>
                <a:gd name="connsiteX3" fmla="*/ 8402 w 72214"/>
                <a:gd name="connsiteY3" fmla="*/ 3387 h 20907"/>
                <a:gd name="connsiteX4" fmla="*/ 8402 w 72214"/>
                <a:gd name="connsiteY4" fmla="*/ 20887 h 20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214" h="20907">
                  <a:moveTo>
                    <a:pt x="8402" y="20887"/>
                  </a:moveTo>
                  <a:lnTo>
                    <a:pt x="63793" y="17493"/>
                  </a:lnTo>
                  <a:cubicBezTo>
                    <a:pt x="74982" y="16804"/>
                    <a:pt x="75062" y="-670"/>
                    <a:pt x="63793" y="20"/>
                  </a:cubicBezTo>
                  <a:lnTo>
                    <a:pt x="8402" y="3387"/>
                  </a:lnTo>
                  <a:cubicBezTo>
                    <a:pt x="-2761" y="4077"/>
                    <a:pt x="-2840" y="21577"/>
                    <a:pt x="8402" y="20887"/>
                  </a:cubicBezTo>
                  <a:close/>
                </a:path>
              </a:pathLst>
            </a:custGeom>
            <a:solidFill>
              <a:srgbClr val="FFFFFF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9854EB97-8A9B-860F-936B-43007100BE19}"/>
                </a:ext>
              </a:extLst>
            </p:cNvPr>
            <p:cNvSpPr/>
            <p:nvPr/>
          </p:nvSpPr>
          <p:spPr>
            <a:xfrm>
              <a:off x="6886305" y="5801553"/>
              <a:ext cx="17500" cy="78796"/>
            </a:xfrm>
            <a:custGeom>
              <a:avLst/>
              <a:gdLst>
                <a:gd name="connsiteX0" fmla="*/ 0 w 17500"/>
                <a:gd name="connsiteY0" fmla="*/ 8442 h 78796"/>
                <a:gd name="connsiteX1" fmla="*/ 0 w 17500"/>
                <a:gd name="connsiteY1" fmla="*/ 70355 h 78796"/>
                <a:gd name="connsiteX2" fmla="*/ 17500 w 17500"/>
                <a:gd name="connsiteY2" fmla="*/ 70355 h 78796"/>
                <a:gd name="connsiteX3" fmla="*/ 17500 w 17500"/>
                <a:gd name="connsiteY3" fmla="*/ 8442 h 78796"/>
                <a:gd name="connsiteX4" fmla="*/ 0 w 17500"/>
                <a:gd name="connsiteY4" fmla="*/ 8442 h 78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00" h="78796">
                  <a:moveTo>
                    <a:pt x="0" y="8442"/>
                  </a:moveTo>
                  <a:lnTo>
                    <a:pt x="0" y="70355"/>
                  </a:lnTo>
                  <a:cubicBezTo>
                    <a:pt x="0" y="81598"/>
                    <a:pt x="17500" y="81624"/>
                    <a:pt x="17500" y="70355"/>
                  </a:cubicBezTo>
                  <a:lnTo>
                    <a:pt x="17500" y="8442"/>
                  </a:lnTo>
                  <a:cubicBezTo>
                    <a:pt x="17500" y="-2801"/>
                    <a:pt x="0" y="-2827"/>
                    <a:pt x="0" y="8442"/>
                  </a:cubicBezTo>
                  <a:close/>
                </a:path>
              </a:pathLst>
            </a:custGeom>
            <a:solidFill>
              <a:srgbClr val="FFFFFF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1916414C-4629-9042-6458-7E880FF33F3A}"/>
                </a:ext>
              </a:extLst>
            </p:cNvPr>
            <p:cNvSpPr/>
            <p:nvPr/>
          </p:nvSpPr>
          <p:spPr>
            <a:xfrm>
              <a:off x="6949730" y="5791852"/>
              <a:ext cx="19780" cy="79864"/>
            </a:xfrm>
            <a:custGeom>
              <a:avLst/>
              <a:gdLst>
                <a:gd name="connsiteX0" fmla="*/ 2360 w 19780"/>
                <a:gd name="connsiteY0" fmla="*/ 8412 h 79864"/>
                <a:gd name="connsiteX1" fmla="*/ 0 w 19780"/>
                <a:gd name="connsiteY1" fmla="*/ 71412 h 79864"/>
                <a:gd name="connsiteX2" fmla="*/ 17500 w 19780"/>
                <a:gd name="connsiteY2" fmla="*/ 71412 h 79864"/>
                <a:gd name="connsiteX3" fmla="*/ 17500 w 19780"/>
                <a:gd name="connsiteY3" fmla="*/ 65393 h 79864"/>
                <a:gd name="connsiteX4" fmla="*/ 0 w 19780"/>
                <a:gd name="connsiteY4" fmla="*/ 65393 h 79864"/>
                <a:gd name="connsiteX5" fmla="*/ 0 w 19780"/>
                <a:gd name="connsiteY5" fmla="*/ 71412 h 79864"/>
                <a:gd name="connsiteX6" fmla="*/ 17500 w 19780"/>
                <a:gd name="connsiteY6" fmla="*/ 71412 h 79864"/>
                <a:gd name="connsiteX7" fmla="*/ 19754 w 19780"/>
                <a:gd name="connsiteY7" fmla="*/ 8412 h 79864"/>
                <a:gd name="connsiteX8" fmla="*/ 2280 w 19780"/>
                <a:gd name="connsiteY8" fmla="*/ 8412 h 79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780" h="79864">
                  <a:moveTo>
                    <a:pt x="2360" y="8412"/>
                  </a:moveTo>
                  <a:cubicBezTo>
                    <a:pt x="857" y="29377"/>
                    <a:pt x="71" y="50377"/>
                    <a:pt x="0" y="71412"/>
                  </a:cubicBezTo>
                  <a:cubicBezTo>
                    <a:pt x="0" y="82681"/>
                    <a:pt x="17288" y="82681"/>
                    <a:pt x="17500" y="71412"/>
                  </a:cubicBezTo>
                  <a:cubicBezTo>
                    <a:pt x="17500" y="69397"/>
                    <a:pt x="17500" y="67409"/>
                    <a:pt x="17500" y="65393"/>
                  </a:cubicBezTo>
                  <a:cubicBezTo>
                    <a:pt x="17712" y="54124"/>
                    <a:pt x="212" y="54124"/>
                    <a:pt x="0" y="65393"/>
                  </a:cubicBezTo>
                  <a:lnTo>
                    <a:pt x="0" y="71412"/>
                  </a:lnTo>
                  <a:lnTo>
                    <a:pt x="17500" y="71412"/>
                  </a:lnTo>
                  <a:cubicBezTo>
                    <a:pt x="17500" y="50377"/>
                    <a:pt x="18251" y="29377"/>
                    <a:pt x="19754" y="8412"/>
                  </a:cubicBezTo>
                  <a:cubicBezTo>
                    <a:pt x="20549" y="-2830"/>
                    <a:pt x="3049" y="-2777"/>
                    <a:pt x="2280" y="8412"/>
                  </a:cubicBezTo>
                  <a:close/>
                </a:path>
              </a:pathLst>
            </a:custGeom>
            <a:solidFill>
              <a:srgbClr val="FFFFFF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EE940410-6119-839B-6956-500AEF5AA177}"/>
                </a:ext>
              </a:extLst>
            </p:cNvPr>
            <p:cNvSpPr/>
            <p:nvPr/>
          </p:nvSpPr>
          <p:spPr>
            <a:xfrm>
              <a:off x="6953004" y="5789957"/>
              <a:ext cx="51873" cy="61405"/>
            </a:xfrm>
            <a:custGeom>
              <a:avLst/>
              <a:gdLst>
                <a:gd name="connsiteX0" fmla="*/ 12556 w 51873"/>
                <a:gd name="connsiteY0" fmla="*/ 23698 h 61405"/>
                <a:gd name="connsiteX1" fmla="*/ 34537 w 51873"/>
                <a:gd name="connsiteY1" fmla="*/ 24599 h 61405"/>
                <a:gd name="connsiteX2" fmla="*/ 14836 w 51873"/>
                <a:gd name="connsiteY2" fmla="*/ 43823 h 61405"/>
                <a:gd name="connsiteX3" fmla="*/ 22393 w 51873"/>
                <a:gd name="connsiteY3" fmla="*/ 48171 h 61405"/>
                <a:gd name="connsiteX4" fmla="*/ 22897 w 51873"/>
                <a:gd name="connsiteY4" fmla="*/ 50186 h 61405"/>
                <a:gd name="connsiteX5" fmla="*/ 18575 w 51873"/>
                <a:gd name="connsiteY5" fmla="*/ 57664 h 61405"/>
                <a:gd name="connsiteX6" fmla="*/ 19529 w 51873"/>
                <a:gd name="connsiteY6" fmla="*/ 57054 h 61405"/>
                <a:gd name="connsiteX7" fmla="*/ 10700 w 51873"/>
                <a:gd name="connsiteY7" fmla="*/ 41940 h 61405"/>
                <a:gd name="connsiteX8" fmla="*/ 19132 w 51873"/>
                <a:gd name="connsiteY8" fmla="*/ 61137 h 61405"/>
                <a:gd name="connsiteX9" fmla="*/ 49280 w 51873"/>
                <a:gd name="connsiteY9" fmla="*/ 34993 h 61405"/>
                <a:gd name="connsiteX10" fmla="*/ 40848 w 51873"/>
                <a:gd name="connsiteY10" fmla="*/ 3970 h 61405"/>
                <a:gd name="connsiteX11" fmla="*/ 3726 w 51873"/>
                <a:gd name="connsiteY11" fmla="*/ 8504 h 61405"/>
                <a:gd name="connsiteX12" fmla="*/ 12556 w 51873"/>
                <a:gd name="connsiteY12" fmla="*/ 23618 h 61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873" h="61405">
                  <a:moveTo>
                    <a:pt x="12556" y="23698"/>
                  </a:moveTo>
                  <a:cubicBezTo>
                    <a:pt x="17355" y="20091"/>
                    <a:pt x="35253" y="11739"/>
                    <a:pt x="34537" y="24599"/>
                  </a:cubicBezTo>
                  <a:cubicBezTo>
                    <a:pt x="34192" y="30565"/>
                    <a:pt x="21279" y="44512"/>
                    <a:pt x="14836" y="43823"/>
                  </a:cubicBezTo>
                  <a:lnTo>
                    <a:pt x="22393" y="48171"/>
                  </a:lnTo>
                  <a:lnTo>
                    <a:pt x="22897" y="50186"/>
                  </a:lnTo>
                  <a:lnTo>
                    <a:pt x="18575" y="57664"/>
                  </a:lnTo>
                  <a:lnTo>
                    <a:pt x="19529" y="57054"/>
                  </a:lnTo>
                  <a:cubicBezTo>
                    <a:pt x="28969" y="50982"/>
                    <a:pt x="20219" y="35842"/>
                    <a:pt x="10700" y="41940"/>
                  </a:cubicBezTo>
                  <a:cubicBezTo>
                    <a:pt x="94" y="48781"/>
                    <a:pt x="7173" y="63577"/>
                    <a:pt x="19132" y="61137"/>
                  </a:cubicBezTo>
                  <a:cubicBezTo>
                    <a:pt x="31090" y="58698"/>
                    <a:pt x="44321" y="45626"/>
                    <a:pt x="49280" y="34993"/>
                  </a:cubicBezTo>
                  <a:cubicBezTo>
                    <a:pt x="54583" y="23698"/>
                    <a:pt x="51746" y="10705"/>
                    <a:pt x="40848" y="3970"/>
                  </a:cubicBezTo>
                  <a:cubicBezTo>
                    <a:pt x="28730" y="-3507"/>
                    <a:pt x="14332" y="470"/>
                    <a:pt x="3726" y="8504"/>
                  </a:cubicBezTo>
                  <a:cubicBezTo>
                    <a:pt x="-5183" y="15186"/>
                    <a:pt x="3541" y="30379"/>
                    <a:pt x="12556" y="23618"/>
                  </a:cubicBezTo>
                  <a:close/>
                </a:path>
              </a:pathLst>
            </a:custGeom>
            <a:solidFill>
              <a:srgbClr val="FFFFFF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8A310C00-4D9A-9FAB-22E6-7F068E6EA02C}"/>
                </a:ext>
              </a:extLst>
            </p:cNvPr>
            <p:cNvSpPr/>
            <p:nvPr/>
          </p:nvSpPr>
          <p:spPr>
            <a:xfrm>
              <a:off x="6963350" y="5831396"/>
              <a:ext cx="37494" cy="38249"/>
            </a:xfrm>
            <a:custGeom>
              <a:avLst/>
              <a:gdLst>
                <a:gd name="connsiteX0" fmla="*/ 4357 w 37494"/>
                <a:gd name="connsiteY0" fmla="*/ 16463 h 38249"/>
                <a:gd name="connsiteX1" fmla="*/ 21221 w 37494"/>
                <a:gd name="connsiteY1" fmla="*/ 33990 h 38249"/>
                <a:gd name="connsiteX2" fmla="*/ 33179 w 37494"/>
                <a:gd name="connsiteY2" fmla="*/ 37145 h 38249"/>
                <a:gd name="connsiteX3" fmla="*/ 36308 w 37494"/>
                <a:gd name="connsiteY3" fmla="*/ 25160 h 38249"/>
                <a:gd name="connsiteX4" fmla="*/ 13186 w 37494"/>
                <a:gd name="connsiteY4" fmla="*/ 1297 h 38249"/>
                <a:gd name="connsiteX5" fmla="*/ 1201 w 37494"/>
                <a:gd name="connsiteY5" fmla="*/ 4452 h 38249"/>
                <a:gd name="connsiteX6" fmla="*/ 4357 w 37494"/>
                <a:gd name="connsiteY6" fmla="*/ 16410 h 38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494" h="38249">
                  <a:moveTo>
                    <a:pt x="4357" y="16463"/>
                  </a:moveTo>
                  <a:cubicBezTo>
                    <a:pt x="10787" y="21469"/>
                    <a:pt x="16466" y="27372"/>
                    <a:pt x="21221" y="33990"/>
                  </a:cubicBezTo>
                  <a:cubicBezTo>
                    <a:pt x="23735" y="38052"/>
                    <a:pt x="28988" y="39439"/>
                    <a:pt x="33179" y="37145"/>
                  </a:cubicBezTo>
                  <a:cubicBezTo>
                    <a:pt x="37332" y="34684"/>
                    <a:pt x="38727" y="29338"/>
                    <a:pt x="36308" y="25160"/>
                  </a:cubicBezTo>
                  <a:cubicBezTo>
                    <a:pt x="29817" y="16111"/>
                    <a:pt x="22026" y="8070"/>
                    <a:pt x="13186" y="1297"/>
                  </a:cubicBezTo>
                  <a:cubicBezTo>
                    <a:pt x="9421" y="-1594"/>
                    <a:pt x="3376" y="740"/>
                    <a:pt x="1201" y="4452"/>
                  </a:cubicBezTo>
                  <a:cubicBezTo>
                    <a:pt x="-1450" y="8959"/>
                    <a:pt x="592" y="13520"/>
                    <a:pt x="4357" y="16410"/>
                  </a:cubicBezTo>
                  <a:close/>
                </a:path>
              </a:pathLst>
            </a:custGeom>
            <a:solidFill>
              <a:srgbClr val="FFFFFF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F70CC255-E8D9-31A8-E362-AC8752AE78ED}"/>
                </a:ext>
              </a:extLst>
            </p:cNvPr>
            <p:cNvSpPr/>
            <p:nvPr/>
          </p:nvSpPr>
          <p:spPr>
            <a:xfrm>
              <a:off x="7023719" y="5793712"/>
              <a:ext cx="52455" cy="77931"/>
            </a:xfrm>
            <a:custGeom>
              <a:avLst/>
              <a:gdLst>
                <a:gd name="connsiteX0" fmla="*/ 44004 w 52455"/>
                <a:gd name="connsiteY0" fmla="*/ 1090 h 77931"/>
                <a:gd name="connsiteX1" fmla="*/ 3886 w 52455"/>
                <a:gd name="connsiteY1" fmla="*/ 10582 h 77931"/>
                <a:gd name="connsiteX2" fmla="*/ 307 w 52455"/>
                <a:gd name="connsiteY2" fmla="*/ 69181 h 77931"/>
                <a:gd name="connsiteX3" fmla="*/ 9057 w 52455"/>
                <a:gd name="connsiteY3" fmla="*/ 77931 h 77931"/>
                <a:gd name="connsiteX4" fmla="*/ 35864 w 52455"/>
                <a:gd name="connsiteY4" fmla="*/ 77242 h 77931"/>
                <a:gd name="connsiteX5" fmla="*/ 35864 w 52455"/>
                <a:gd name="connsiteY5" fmla="*/ 59742 h 77931"/>
                <a:gd name="connsiteX6" fmla="*/ 9057 w 52455"/>
                <a:gd name="connsiteY6" fmla="*/ 60431 h 77931"/>
                <a:gd name="connsiteX7" fmla="*/ 17807 w 52455"/>
                <a:gd name="connsiteY7" fmla="*/ 69181 h 77931"/>
                <a:gd name="connsiteX8" fmla="*/ 18310 w 52455"/>
                <a:gd name="connsiteY8" fmla="*/ 40969 h 77931"/>
                <a:gd name="connsiteX9" fmla="*/ 21837 w 52455"/>
                <a:gd name="connsiteY9" fmla="*/ 12597 h 77931"/>
                <a:gd name="connsiteX10" fmla="*/ 15712 w 52455"/>
                <a:gd name="connsiteY10" fmla="*/ 18696 h 77931"/>
                <a:gd name="connsiteX11" fmla="*/ 44004 w 52455"/>
                <a:gd name="connsiteY11" fmla="*/ 18696 h 77931"/>
                <a:gd name="connsiteX12" fmla="*/ 44004 w 52455"/>
                <a:gd name="connsiteY12" fmla="*/ 1222 h 77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2455" h="77931">
                  <a:moveTo>
                    <a:pt x="44004" y="1090"/>
                  </a:moveTo>
                  <a:cubicBezTo>
                    <a:pt x="32178" y="1090"/>
                    <a:pt x="8182" y="-4744"/>
                    <a:pt x="3886" y="10582"/>
                  </a:cubicBezTo>
                  <a:cubicBezTo>
                    <a:pt x="-1125" y="28480"/>
                    <a:pt x="41" y="50779"/>
                    <a:pt x="307" y="69181"/>
                  </a:cubicBezTo>
                  <a:cubicBezTo>
                    <a:pt x="350" y="73996"/>
                    <a:pt x="4242" y="77889"/>
                    <a:pt x="9057" y="77931"/>
                  </a:cubicBezTo>
                  <a:cubicBezTo>
                    <a:pt x="17969" y="77144"/>
                    <a:pt x="26922" y="76916"/>
                    <a:pt x="35864" y="77242"/>
                  </a:cubicBezTo>
                  <a:cubicBezTo>
                    <a:pt x="47133" y="77640"/>
                    <a:pt x="47106" y="60139"/>
                    <a:pt x="35864" y="59742"/>
                  </a:cubicBezTo>
                  <a:cubicBezTo>
                    <a:pt x="26922" y="59428"/>
                    <a:pt x="17970" y="59658"/>
                    <a:pt x="9057" y="60431"/>
                  </a:cubicBezTo>
                  <a:lnTo>
                    <a:pt x="17807" y="69181"/>
                  </a:lnTo>
                  <a:cubicBezTo>
                    <a:pt x="17807" y="59768"/>
                    <a:pt x="17807" y="50382"/>
                    <a:pt x="18310" y="40969"/>
                  </a:cubicBezTo>
                  <a:cubicBezTo>
                    <a:pt x="18841" y="32139"/>
                    <a:pt x="18470" y="20923"/>
                    <a:pt x="21837" y="12597"/>
                  </a:cubicBezTo>
                  <a:lnTo>
                    <a:pt x="15712" y="18696"/>
                  </a:lnTo>
                  <a:cubicBezTo>
                    <a:pt x="24276" y="16734"/>
                    <a:pt x="35280" y="18510"/>
                    <a:pt x="44004" y="18696"/>
                  </a:cubicBezTo>
                  <a:cubicBezTo>
                    <a:pt x="55273" y="18696"/>
                    <a:pt x="55273" y="1275"/>
                    <a:pt x="44004" y="1222"/>
                  </a:cubicBezTo>
                  <a:close/>
                </a:path>
              </a:pathLst>
            </a:custGeom>
            <a:solidFill>
              <a:srgbClr val="FFFFFF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CC6788C1-0735-D8F8-5DFE-C638994719D6}"/>
                </a:ext>
              </a:extLst>
            </p:cNvPr>
            <p:cNvSpPr/>
            <p:nvPr/>
          </p:nvSpPr>
          <p:spPr>
            <a:xfrm>
              <a:off x="7026710" y="5824048"/>
              <a:ext cx="44585" cy="17500"/>
            </a:xfrm>
            <a:custGeom>
              <a:avLst/>
              <a:gdLst>
                <a:gd name="connsiteX0" fmla="*/ 8452 w 44585"/>
                <a:gd name="connsiteY0" fmla="*/ 17500 h 17500"/>
                <a:gd name="connsiteX1" fmla="*/ 36134 w 44585"/>
                <a:gd name="connsiteY1" fmla="*/ 17500 h 17500"/>
                <a:gd name="connsiteX2" fmla="*/ 36134 w 44585"/>
                <a:gd name="connsiteY2" fmla="*/ 0 h 17500"/>
                <a:gd name="connsiteX3" fmla="*/ 8452 w 44585"/>
                <a:gd name="connsiteY3" fmla="*/ 0 h 17500"/>
                <a:gd name="connsiteX4" fmla="*/ 8452 w 44585"/>
                <a:gd name="connsiteY4" fmla="*/ 17500 h 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85" h="17500">
                  <a:moveTo>
                    <a:pt x="8452" y="17500"/>
                  </a:moveTo>
                  <a:lnTo>
                    <a:pt x="36134" y="17500"/>
                  </a:lnTo>
                  <a:cubicBezTo>
                    <a:pt x="47403" y="17500"/>
                    <a:pt x="47403" y="0"/>
                    <a:pt x="36134" y="0"/>
                  </a:cubicBezTo>
                  <a:lnTo>
                    <a:pt x="8452" y="0"/>
                  </a:lnTo>
                  <a:cubicBezTo>
                    <a:pt x="-2817" y="0"/>
                    <a:pt x="-2817" y="17500"/>
                    <a:pt x="8452" y="17500"/>
                  </a:cubicBezTo>
                  <a:close/>
                </a:path>
              </a:pathLst>
            </a:custGeom>
            <a:solidFill>
              <a:srgbClr val="FFFFFF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171C6DBA-D755-7EC7-6F42-977E4CFF7A45}"/>
                </a:ext>
              </a:extLst>
            </p:cNvPr>
            <p:cNvSpPr/>
            <p:nvPr/>
          </p:nvSpPr>
          <p:spPr>
            <a:xfrm>
              <a:off x="7092441" y="5795133"/>
              <a:ext cx="71781" cy="78924"/>
            </a:xfrm>
            <a:custGeom>
              <a:avLst/>
              <a:gdLst>
                <a:gd name="connsiteX0" fmla="*/ 16937 w 71781"/>
                <a:gd name="connsiteY0" fmla="*/ 72612 h 78924"/>
                <a:gd name="connsiteX1" fmla="*/ 28419 w 71781"/>
                <a:gd name="connsiteY1" fmla="*/ 12263 h 78924"/>
                <a:gd name="connsiteX2" fmla="*/ 12509 w 71781"/>
                <a:gd name="connsiteY2" fmla="*/ 14358 h 78924"/>
                <a:gd name="connsiteX3" fmla="*/ 48146 w 71781"/>
                <a:gd name="connsiteY3" fmla="*/ 67866 h 78924"/>
                <a:gd name="connsiteX4" fmla="*/ 64426 w 71781"/>
                <a:gd name="connsiteY4" fmla="*/ 63464 h 78924"/>
                <a:gd name="connsiteX5" fmla="*/ 71692 w 71781"/>
                <a:gd name="connsiteY5" fmla="*/ 8313 h 78924"/>
                <a:gd name="connsiteX6" fmla="*/ 54218 w 71781"/>
                <a:gd name="connsiteY6" fmla="*/ 8313 h 78924"/>
                <a:gd name="connsiteX7" fmla="*/ 46926 w 71781"/>
                <a:gd name="connsiteY7" fmla="*/ 63464 h 78924"/>
                <a:gd name="connsiteX8" fmla="*/ 63233 w 71781"/>
                <a:gd name="connsiteY8" fmla="*/ 59036 h 78924"/>
                <a:gd name="connsiteX9" fmla="*/ 27623 w 71781"/>
                <a:gd name="connsiteY9" fmla="*/ 5528 h 78924"/>
                <a:gd name="connsiteX10" fmla="*/ 11714 w 71781"/>
                <a:gd name="connsiteY10" fmla="*/ 7597 h 78924"/>
                <a:gd name="connsiteX11" fmla="*/ 180 w 71781"/>
                <a:gd name="connsiteY11" fmla="*/ 67972 h 78924"/>
                <a:gd name="connsiteX12" fmla="*/ 17043 w 71781"/>
                <a:gd name="connsiteY12" fmla="*/ 72612 h 78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1781" h="78924">
                  <a:moveTo>
                    <a:pt x="16937" y="72612"/>
                  </a:moveTo>
                  <a:cubicBezTo>
                    <a:pt x="20790" y="52478"/>
                    <a:pt x="24619" y="32362"/>
                    <a:pt x="28419" y="12263"/>
                  </a:cubicBezTo>
                  <a:lnTo>
                    <a:pt x="12509" y="14358"/>
                  </a:lnTo>
                  <a:cubicBezTo>
                    <a:pt x="24990" y="31805"/>
                    <a:pt x="36869" y="49641"/>
                    <a:pt x="48146" y="67866"/>
                  </a:cubicBezTo>
                  <a:cubicBezTo>
                    <a:pt x="53078" y="75821"/>
                    <a:pt x="63339" y="71631"/>
                    <a:pt x="64426" y="63464"/>
                  </a:cubicBezTo>
                  <a:cubicBezTo>
                    <a:pt x="66866" y="45063"/>
                    <a:pt x="69287" y="26679"/>
                    <a:pt x="71692" y="8313"/>
                  </a:cubicBezTo>
                  <a:cubicBezTo>
                    <a:pt x="73176" y="-2824"/>
                    <a:pt x="55782" y="-2718"/>
                    <a:pt x="54218" y="8313"/>
                  </a:cubicBezTo>
                  <a:lnTo>
                    <a:pt x="46926" y="63464"/>
                  </a:lnTo>
                  <a:lnTo>
                    <a:pt x="63233" y="59036"/>
                  </a:lnTo>
                  <a:cubicBezTo>
                    <a:pt x="51972" y="40794"/>
                    <a:pt x="40104" y="22958"/>
                    <a:pt x="27623" y="5528"/>
                  </a:cubicBezTo>
                  <a:cubicBezTo>
                    <a:pt x="23699" y="13"/>
                    <a:pt x="13172" y="-464"/>
                    <a:pt x="11714" y="7597"/>
                  </a:cubicBezTo>
                  <a:cubicBezTo>
                    <a:pt x="7790" y="27731"/>
                    <a:pt x="3945" y="47856"/>
                    <a:pt x="180" y="67972"/>
                  </a:cubicBezTo>
                  <a:cubicBezTo>
                    <a:pt x="-1915" y="78976"/>
                    <a:pt x="14949" y="83669"/>
                    <a:pt x="17043" y="72612"/>
                  </a:cubicBezTo>
                  <a:close/>
                </a:path>
              </a:pathLst>
            </a:custGeom>
            <a:solidFill>
              <a:srgbClr val="FFFFFF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FA421F15-A47D-66DE-8981-8A32C66B63FB}"/>
                </a:ext>
              </a:extLst>
            </p:cNvPr>
            <p:cNvSpPr/>
            <p:nvPr/>
          </p:nvSpPr>
          <p:spPr>
            <a:xfrm>
              <a:off x="7178881" y="5795845"/>
              <a:ext cx="54568" cy="75740"/>
            </a:xfrm>
            <a:custGeom>
              <a:avLst/>
              <a:gdLst>
                <a:gd name="connsiteX0" fmla="*/ 683 w 54568"/>
                <a:gd name="connsiteY0" fmla="*/ 9351 h 75740"/>
                <a:gd name="connsiteX1" fmla="*/ 683 w 54568"/>
                <a:gd name="connsiteY1" fmla="*/ 45464 h 75740"/>
                <a:gd name="connsiteX2" fmla="*/ 3733 w 54568"/>
                <a:gd name="connsiteY2" fmla="*/ 72271 h 75740"/>
                <a:gd name="connsiteX3" fmla="*/ 44301 w 54568"/>
                <a:gd name="connsiteY3" fmla="*/ 59465 h 75740"/>
                <a:gd name="connsiteX4" fmla="*/ 8850 w 54568"/>
                <a:gd name="connsiteY4" fmla="*/ 1396 h 75740"/>
                <a:gd name="connsiteX5" fmla="*/ 13490 w 54568"/>
                <a:gd name="connsiteY5" fmla="*/ 18260 h 75740"/>
                <a:gd name="connsiteX6" fmla="*/ 36638 w 54568"/>
                <a:gd name="connsiteY6" fmla="*/ 37961 h 75740"/>
                <a:gd name="connsiteX7" fmla="*/ 10123 w 54568"/>
                <a:gd name="connsiteY7" fmla="*/ 58616 h 75740"/>
                <a:gd name="connsiteX8" fmla="*/ 16858 w 54568"/>
                <a:gd name="connsiteY8" fmla="*/ 59491 h 75740"/>
                <a:gd name="connsiteX9" fmla="*/ 14392 w 54568"/>
                <a:gd name="connsiteY9" fmla="*/ 58430 h 75740"/>
                <a:gd name="connsiteX10" fmla="*/ 18396 w 54568"/>
                <a:gd name="connsiteY10" fmla="*/ 63733 h 75740"/>
                <a:gd name="connsiteX11" fmla="*/ 18237 w 54568"/>
                <a:gd name="connsiteY11" fmla="*/ 36423 h 75740"/>
                <a:gd name="connsiteX12" fmla="*/ 18237 w 54568"/>
                <a:gd name="connsiteY12" fmla="*/ 9324 h 75740"/>
                <a:gd name="connsiteX13" fmla="*/ 737 w 54568"/>
                <a:gd name="connsiteY13" fmla="*/ 9324 h 7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4568" h="75740">
                  <a:moveTo>
                    <a:pt x="683" y="9351"/>
                  </a:moveTo>
                  <a:cubicBezTo>
                    <a:pt x="683" y="21389"/>
                    <a:pt x="683" y="33426"/>
                    <a:pt x="683" y="45464"/>
                  </a:cubicBezTo>
                  <a:cubicBezTo>
                    <a:pt x="683" y="52756"/>
                    <a:pt x="-2154" y="66438"/>
                    <a:pt x="3733" y="72271"/>
                  </a:cubicBezTo>
                  <a:cubicBezTo>
                    <a:pt x="14153" y="82612"/>
                    <a:pt x="36559" y="67287"/>
                    <a:pt x="44301" y="59465"/>
                  </a:cubicBezTo>
                  <a:cubicBezTo>
                    <a:pt x="70180" y="33214"/>
                    <a:pt x="42975" y="-8123"/>
                    <a:pt x="8850" y="1396"/>
                  </a:cubicBezTo>
                  <a:cubicBezTo>
                    <a:pt x="-1995" y="4419"/>
                    <a:pt x="2619" y="21282"/>
                    <a:pt x="13490" y="18260"/>
                  </a:cubicBezTo>
                  <a:cubicBezTo>
                    <a:pt x="26218" y="14707"/>
                    <a:pt x="39449" y="23961"/>
                    <a:pt x="36638" y="37961"/>
                  </a:cubicBezTo>
                  <a:cubicBezTo>
                    <a:pt x="34331" y="49309"/>
                    <a:pt x="20278" y="56071"/>
                    <a:pt x="10123" y="58616"/>
                  </a:cubicBezTo>
                  <a:lnTo>
                    <a:pt x="16858" y="59491"/>
                  </a:lnTo>
                  <a:lnTo>
                    <a:pt x="14392" y="58430"/>
                  </a:lnTo>
                  <a:lnTo>
                    <a:pt x="18396" y="63733"/>
                  </a:lnTo>
                  <a:cubicBezTo>
                    <a:pt x="16672" y="55196"/>
                    <a:pt x="18237" y="45173"/>
                    <a:pt x="18237" y="36423"/>
                  </a:cubicBezTo>
                  <a:cubicBezTo>
                    <a:pt x="18237" y="27673"/>
                    <a:pt x="18237" y="18339"/>
                    <a:pt x="18237" y="9324"/>
                  </a:cubicBezTo>
                  <a:cubicBezTo>
                    <a:pt x="18237" y="-1945"/>
                    <a:pt x="763" y="-1945"/>
                    <a:pt x="737" y="9324"/>
                  </a:cubicBezTo>
                  <a:close/>
                </a:path>
              </a:pathLst>
            </a:custGeom>
            <a:solidFill>
              <a:srgbClr val="FFFFFF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B49837B6-0720-9CDA-9A2E-C29A33BBB35F}"/>
                </a:ext>
              </a:extLst>
            </p:cNvPr>
            <p:cNvSpPr/>
            <p:nvPr/>
          </p:nvSpPr>
          <p:spPr>
            <a:xfrm>
              <a:off x="7249406" y="5801553"/>
              <a:ext cx="20207" cy="67395"/>
            </a:xfrm>
            <a:custGeom>
              <a:avLst/>
              <a:gdLst>
                <a:gd name="connsiteX0" fmla="*/ 2652 w 20207"/>
                <a:gd name="connsiteY0" fmla="*/ 8362 h 67395"/>
                <a:gd name="connsiteX1" fmla="*/ 0 w 20207"/>
                <a:gd name="connsiteY1" fmla="*/ 58954 h 67395"/>
                <a:gd name="connsiteX2" fmla="*/ 17500 w 20207"/>
                <a:gd name="connsiteY2" fmla="*/ 58954 h 67395"/>
                <a:gd name="connsiteX3" fmla="*/ 20152 w 20207"/>
                <a:gd name="connsiteY3" fmla="*/ 8362 h 67395"/>
                <a:gd name="connsiteX4" fmla="*/ 2652 w 20207"/>
                <a:gd name="connsiteY4" fmla="*/ 8362 h 67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07" h="67395">
                  <a:moveTo>
                    <a:pt x="2652" y="8362"/>
                  </a:moveTo>
                  <a:cubicBezTo>
                    <a:pt x="867" y="25167"/>
                    <a:pt x="-18" y="42055"/>
                    <a:pt x="0" y="58954"/>
                  </a:cubicBezTo>
                  <a:cubicBezTo>
                    <a:pt x="0" y="70196"/>
                    <a:pt x="17527" y="70223"/>
                    <a:pt x="17500" y="58954"/>
                  </a:cubicBezTo>
                  <a:cubicBezTo>
                    <a:pt x="17482" y="42055"/>
                    <a:pt x="18367" y="25167"/>
                    <a:pt x="20152" y="8362"/>
                  </a:cubicBezTo>
                  <a:cubicBezTo>
                    <a:pt x="21319" y="-2827"/>
                    <a:pt x="3818" y="-2748"/>
                    <a:pt x="2652" y="8362"/>
                  </a:cubicBezTo>
                  <a:close/>
                </a:path>
              </a:pathLst>
            </a:custGeom>
            <a:solidFill>
              <a:srgbClr val="FFFFFF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540D706D-B08A-64E8-D7C4-86B9B5E24916}"/>
                </a:ext>
              </a:extLst>
            </p:cNvPr>
            <p:cNvSpPr/>
            <p:nvPr/>
          </p:nvSpPr>
          <p:spPr>
            <a:xfrm>
              <a:off x="7283611" y="5801335"/>
              <a:ext cx="70992" cy="77326"/>
            </a:xfrm>
            <a:custGeom>
              <a:avLst/>
              <a:gdLst>
                <a:gd name="connsiteX0" fmla="*/ 17632 w 70992"/>
                <a:gd name="connsiteY0" fmla="*/ 66464 h 77326"/>
                <a:gd name="connsiteX1" fmla="*/ 34125 w 70992"/>
                <a:gd name="connsiteY1" fmla="*/ 16297 h 77326"/>
                <a:gd name="connsiteX2" fmla="*/ 17261 w 70992"/>
                <a:gd name="connsiteY2" fmla="*/ 16297 h 77326"/>
                <a:gd name="connsiteX3" fmla="*/ 41257 w 70992"/>
                <a:gd name="connsiteY3" fmla="*/ 73199 h 77326"/>
                <a:gd name="connsiteX4" fmla="*/ 57166 w 70992"/>
                <a:gd name="connsiteY4" fmla="*/ 71104 h 77326"/>
                <a:gd name="connsiteX5" fmla="*/ 70742 w 70992"/>
                <a:gd name="connsiteY5" fmla="*/ 10914 h 77326"/>
                <a:gd name="connsiteX6" fmla="*/ 53879 w 70992"/>
                <a:gd name="connsiteY6" fmla="*/ 6274 h 77326"/>
                <a:gd name="connsiteX7" fmla="*/ 40303 w 70992"/>
                <a:gd name="connsiteY7" fmla="*/ 66464 h 77326"/>
                <a:gd name="connsiteX8" fmla="*/ 56212 w 70992"/>
                <a:gd name="connsiteY8" fmla="*/ 64369 h 77326"/>
                <a:gd name="connsiteX9" fmla="*/ 33966 w 70992"/>
                <a:gd name="connsiteY9" fmla="*/ 11630 h 77326"/>
                <a:gd name="connsiteX10" fmla="*/ 17102 w 70992"/>
                <a:gd name="connsiteY10" fmla="*/ 11630 h 77326"/>
                <a:gd name="connsiteX11" fmla="*/ 609 w 70992"/>
                <a:gd name="connsiteY11" fmla="*/ 61797 h 77326"/>
                <a:gd name="connsiteX12" fmla="*/ 17473 w 70992"/>
                <a:gd name="connsiteY12" fmla="*/ 66464 h 7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0992" h="77326">
                  <a:moveTo>
                    <a:pt x="17632" y="66464"/>
                  </a:moveTo>
                  <a:cubicBezTo>
                    <a:pt x="23890" y="49972"/>
                    <a:pt x="29386" y="33249"/>
                    <a:pt x="34125" y="16297"/>
                  </a:cubicBezTo>
                  <a:lnTo>
                    <a:pt x="17261" y="16297"/>
                  </a:lnTo>
                  <a:cubicBezTo>
                    <a:pt x="22010" y="36476"/>
                    <a:pt x="30124" y="55712"/>
                    <a:pt x="41257" y="73199"/>
                  </a:cubicBezTo>
                  <a:cubicBezTo>
                    <a:pt x="45102" y="79218"/>
                    <a:pt x="55523" y="78767"/>
                    <a:pt x="57166" y="71104"/>
                  </a:cubicBezTo>
                  <a:cubicBezTo>
                    <a:pt x="61693" y="51059"/>
                    <a:pt x="66216" y="30995"/>
                    <a:pt x="70742" y="10914"/>
                  </a:cubicBezTo>
                  <a:cubicBezTo>
                    <a:pt x="73235" y="-36"/>
                    <a:pt x="56371" y="-4730"/>
                    <a:pt x="53879" y="6274"/>
                  </a:cubicBezTo>
                  <a:cubicBezTo>
                    <a:pt x="49352" y="26355"/>
                    <a:pt x="44829" y="46418"/>
                    <a:pt x="40303" y="66464"/>
                  </a:cubicBezTo>
                  <a:lnTo>
                    <a:pt x="56212" y="64369"/>
                  </a:lnTo>
                  <a:cubicBezTo>
                    <a:pt x="45866" y="48175"/>
                    <a:pt x="38343" y="30342"/>
                    <a:pt x="33966" y="11630"/>
                  </a:cubicBezTo>
                  <a:cubicBezTo>
                    <a:pt x="31950" y="3092"/>
                    <a:pt x="19356" y="3517"/>
                    <a:pt x="17102" y="11630"/>
                  </a:cubicBezTo>
                  <a:cubicBezTo>
                    <a:pt x="12364" y="28618"/>
                    <a:pt x="6867" y="45340"/>
                    <a:pt x="609" y="61797"/>
                  </a:cubicBezTo>
                  <a:cubicBezTo>
                    <a:pt x="-3395" y="72404"/>
                    <a:pt x="13496" y="76885"/>
                    <a:pt x="17473" y="66464"/>
                  </a:cubicBezTo>
                  <a:close/>
                </a:path>
              </a:pathLst>
            </a:custGeom>
            <a:solidFill>
              <a:srgbClr val="FFFFFF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3BB1AE88-EC43-5306-D1A0-115070562466}"/>
                </a:ext>
              </a:extLst>
            </p:cNvPr>
            <p:cNvSpPr/>
            <p:nvPr/>
          </p:nvSpPr>
          <p:spPr>
            <a:xfrm>
              <a:off x="7365107" y="5805736"/>
              <a:ext cx="57072" cy="78169"/>
            </a:xfrm>
            <a:custGeom>
              <a:avLst/>
              <a:gdLst>
                <a:gd name="connsiteX0" fmla="*/ 40845 w 57072"/>
                <a:gd name="connsiteY0" fmla="*/ 2112 h 78169"/>
                <a:gd name="connsiteX1" fmla="*/ 144 w 57072"/>
                <a:gd name="connsiteY1" fmla="*/ 50051 h 78169"/>
                <a:gd name="connsiteX2" fmla="*/ 17406 w 57072"/>
                <a:gd name="connsiteY2" fmla="*/ 76752 h 78169"/>
                <a:gd name="connsiteX3" fmla="*/ 54103 w 57072"/>
                <a:gd name="connsiteY3" fmla="*/ 64555 h 78169"/>
                <a:gd name="connsiteX4" fmla="*/ 41720 w 57072"/>
                <a:gd name="connsiteY4" fmla="*/ 52173 h 78169"/>
                <a:gd name="connsiteX5" fmla="*/ 21330 w 57072"/>
                <a:gd name="connsiteY5" fmla="*/ 59173 h 78169"/>
                <a:gd name="connsiteX6" fmla="*/ 17459 w 57072"/>
                <a:gd name="connsiteY6" fmla="*/ 44006 h 78169"/>
                <a:gd name="connsiteX7" fmla="*/ 36179 w 57072"/>
                <a:gd name="connsiteY7" fmla="*/ 18975 h 78169"/>
                <a:gd name="connsiteX8" fmla="*/ 40845 w 57072"/>
                <a:gd name="connsiteY8" fmla="*/ 2112 h 78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072" h="78169">
                  <a:moveTo>
                    <a:pt x="40845" y="2112"/>
                  </a:moveTo>
                  <a:cubicBezTo>
                    <a:pt x="12129" y="-9263"/>
                    <a:pt x="-1579" y="27991"/>
                    <a:pt x="144" y="50051"/>
                  </a:cubicBezTo>
                  <a:cubicBezTo>
                    <a:pt x="1072" y="61214"/>
                    <a:pt x="6110" y="72749"/>
                    <a:pt x="17406" y="76752"/>
                  </a:cubicBezTo>
                  <a:cubicBezTo>
                    <a:pt x="31220" y="81658"/>
                    <a:pt x="43921" y="72908"/>
                    <a:pt x="54103" y="64555"/>
                  </a:cubicBezTo>
                  <a:cubicBezTo>
                    <a:pt x="62827" y="57423"/>
                    <a:pt x="50391" y="45120"/>
                    <a:pt x="41720" y="52173"/>
                  </a:cubicBezTo>
                  <a:cubicBezTo>
                    <a:pt x="37001" y="56044"/>
                    <a:pt x="27667" y="64051"/>
                    <a:pt x="21330" y="59173"/>
                  </a:cubicBezTo>
                  <a:cubicBezTo>
                    <a:pt x="17379" y="56097"/>
                    <a:pt x="17300" y="48567"/>
                    <a:pt x="17459" y="44006"/>
                  </a:cubicBezTo>
                  <a:cubicBezTo>
                    <a:pt x="17830" y="34036"/>
                    <a:pt x="21940" y="13328"/>
                    <a:pt x="36179" y="18975"/>
                  </a:cubicBezTo>
                  <a:cubicBezTo>
                    <a:pt x="46785" y="23138"/>
                    <a:pt x="51186" y="6222"/>
                    <a:pt x="40845" y="2112"/>
                  </a:cubicBezTo>
                  <a:close/>
                </a:path>
              </a:pathLst>
            </a:custGeom>
            <a:solidFill>
              <a:srgbClr val="FFFFFF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CF2F38A0-A3E7-4C92-E8BF-CF3AE9CA391F}"/>
                </a:ext>
              </a:extLst>
            </p:cNvPr>
            <p:cNvSpPr/>
            <p:nvPr/>
          </p:nvSpPr>
          <p:spPr>
            <a:xfrm>
              <a:off x="7400719" y="5835500"/>
              <a:ext cx="32504" cy="43256"/>
            </a:xfrm>
            <a:custGeom>
              <a:avLst/>
              <a:gdLst>
                <a:gd name="connsiteX0" fmla="*/ 8442 w 32504"/>
                <a:gd name="connsiteY0" fmla="*/ 17583 h 43256"/>
                <a:gd name="connsiteX1" fmla="*/ 23582 w 32504"/>
                <a:gd name="connsiteY1" fmla="*/ 17954 h 43256"/>
                <a:gd name="connsiteX2" fmla="*/ 15150 w 32504"/>
                <a:gd name="connsiteY2" fmla="*/ 6817 h 43256"/>
                <a:gd name="connsiteX3" fmla="*/ 8919 w 32504"/>
                <a:gd name="connsiteY3" fmla="*/ 34844 h 43256"/>
                <a:gd name="connsiteX4" fmla="*/ 26419 w 32504"/>
                <a:gd name="connsiteY4" fmla="*/ 34844 h 43256"/>
                <a:gd name="connsiteX5" fmla="*/ 32014 w 32504"/>
                <a:gd name="connsiteY5" fmla="*/ 11458 h 43256"/>
                <a:gd name="connsiteX6" fmla="*/ 23582 w 32504"/>
                <a:gd name="connsiteY6" fmla="*/ 374 h 43256"/>
                <a:gd name="connsiteX7" fmla="*/ 8442 w 32504"/>
                <a:gd name="connsiteY7" fmla="*/ 3 h 43256"/>
                <a:gd name="connsiteX8" fmla="*/ 8442 w 32504"/>
                <a:gd name="connsiteY8" fmla="*/ 17503 h 43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504" h="43256">
                  <a:moveTo>
                    <a:pt x="8442" y="17583"/>
                  </a:moveTo>
                  <a:lnTo>
                    <a:pt x="23582" y="17954"/>
                  </a:lnTo>
                  <a:lnTo>
                    <a:pt x="15150" y="6817"/>
                  </a:lnTo>
                  <a:cubicBezTo>
                    <a:pt x="11640" y="15782"/>
                    <a:pt x="9537" y="25236"/>
                    <a:pt x="8919" y="34844"/>
                  </a:cubicBezTo>
                  <a:cubicBezTo>
                    <a:pt x="8097" y="46087"/>
                    <a:pt x="25571" y="46034"/>
                    <a:pt x="26419" y="34844"/>
                  </a:cubicBezTo>
                  <a:cubicBezTo>
                    <a:pt x="27069" y="26807"/>
                    <a:pt x="28957" y="18918"/>
                    <a:pt x="32014" y="11458"/>
                  </a:cubicBezTo>
                  <a:cubicBezTo>
                    <a:pt x="34188" y="5969"/>
                    <a:pt x="28726" y="507"/>
                    <a:pt x="23582" y="374"/>
                  </a:cubicBezTo>
                  <a:lnTo>
                    <a:pt x="8442" y="3"/>
                  </a:lnTo>
                  <a:cubicBezTo>
                    <a:pt x="-2827" y="-262"/>
                    <a:pt x="-2801" y="17238"/>
                    <a:pt x="8442" y="17503"/>
                  </a:cubicBezTo>
                  <a:close/>
                </a:path>
              </a:pathLst>
            </a:custGeom>
            <a:solidFill>
              <a:srgbClr val="FFFFFF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183A3695-599D-FC3E-EA63-837DB7A168B2}"/>
                </a:ext>
              </a:extLst>
            </p:cNvPr>
            <p:cNvSpPr/>
            <p:nvPr/>
          </p:nvSpPr>
          <p:spPr>
            <a:xfrm>
              <a:off x="6864864" y="5897692"/>
              <a:ext cx="549733" cy="30773"/>
            </a:xfrm>
            <a:custGeom>
              <a:avLst/>
              <a:gdLst>
                <a:gd name="connsiteX0" fmla="*/ 8422 w 549733"/>
                <a:gd name="connsiteY0" fmla="*/ 17489 h 30773"/>
                <a:gd name="connsiteX1" fmla="*/ 274344 w 549733"/>
                <a:gd name="connsiteY1" fmla="*/ 22951 h 30773"/>
                <a:gd name="connsiteX2" fmla="*/ 538675 w 549733"/>
                <a:gd name="connsiteY2" fmla="*/ 30667 h 30773"/>
                <a:gd name="connsiteX3" fmla="*/ 543342 w 549733"/>
                <a:gd name="connsiteY3" fmla="*/ 13804 h 30773"/>
                <a:gd name="connsiteX4" fmla="*/ 290969 w 549733"/>
                <a:gd name="connsiteY4" fmla="*/ 5160 h 30773"/>
                <a:gd name="connsiteX5" fmla="*/ 8422 w 549733"/>
                <a:gd name="connsiteY5" fmla="*/ 16 h 30773"/>
                <a:gd name="connsiteX6" fmla="*/ 8422 w 549733"/>
                <a:gd name="connsiteY6" fmla="*/ 17489 h 30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9733" h="30773">
                  <a:moveTo>
                    <a:pt x="8422" y="17489"/>
                  </a:moveTo>
                  <a:cubicBezTo>
                    <a:pt x="96983" y="22288"/>
                    <a:pt x="185650" y="24304"/>
                    <a:pt x="274344" y="22951"/>
                  </a:cubicBezTo>
                  <a:cubicBezTo>
                    <a:pt x="363038" y="21599"/>
                    <a:pt x="450353" y="17648"/>
                    <a:pt x="538675" y="30667"/>
                  </a:cubicBezTo>
                  <a:cubicBezTo>
                    <a:pt x="549706" y="32258"/>
                    <a:pt x="554585" y="15421"/>
                    <a:pt x="543342" y="13804"/>
                  </a:cubicBezTo>
                  <a:cubicBezTo>
                    <a:pt x="458917" y="1474"/>
                    <a:pt x="375924" y="3489"/>
                    <a:pt x="290969" y="5160"/>
                  </a:cubicBezTo>
                  <a:cubicBezTo>
                    <a:pt x="196734" y="7016"/>
                    <a:pt x="102525" y="5160"/>
                    <a:pt x="8422" y="16"/>
                  </a:cubicBezTo>
                  <a:cubicBezTo>
                    <a:pt x="-2821" y="-594"/>
                    <a:pt x="-2794" y="16906"/>
                    <a:pt x="8422" y="17489"/>
                  </a:cubicBezTo>
                  <a:close/>
                </a:path>
              </a:pathLst>
            </a:custGeom>
            <a:solidFill>
              <a:srgbClr val="FFFFFF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1724ECF8-59D2-F1FA-62D7-BE0628993896}"/>
                </a:ext>
              </a:extLst>
            </p:cNvPr>
            <p:cNvSpPr/>
            <p:nvPr/>
          </p:nvSpPr>
          <p:spPr>
            <a:xfrm>
              <a:off x="6816859" y="5967672"/>
              <a:ext cx="630069" cy="55656"/>
            </a:xfrm>
            <a:custGeom>
              <a:avLst/>
              <a:gdLst>
                <a:gd name="connsiteX0" fmla="*/ 639 w 630069"/>
                <a:gd name="connsiteY0" fmla="*/ 10431 h 55656"/>
                <a:gd name="connsiteX1" fmla="*/ 35957 w 630069"/>
                <a:gd name="connsiteY1" fmla="*/ 51238 h 55656"/>
                <a:gd name="connsiteX2" fmla="*/ 87503 w 630069"/>
                <a:gd name="connsiteY2" fmla="*/ 52723 h 55656"/>
                <a:gd name="connsiteX3" fmla="*/ 281834 w 630069"/>
                <a:gd name="connsiteY3" fmla="*/ 54685 h 55656"/>
                <a:gd name="connsiteX4" fmla="*/ 621628 w 630069"/>
                <a:gd name="connsiteY4" fmla="*/ 54950 h 55656"/>
                <a:gd name="connsiteX5" fmla="*/ 621628 w 630069"/>
                <a:gd name="connsiteY5" fmla="*/ 37450 h 55656"/>
                <a:gd name="connsiteX6" fmla="*/ 320201 w 630069"/>
                <a:gd name="connsiteY6" fmla="*/ 37450 h 55656"/>
                <a:gd name="connsiteX7" fmla="*/ 132605 w 630069"/>
                <a:gd name="connsiteY7" fmla="*/ 36018 h 55656"/>
                <a:gd name="connsiteX8" fmla="*/ 64726 w 630069"/>
                <a:gd name="connsiteY8" fmla="*/ 34825 h 55656"/>
                <a:gd name="connsiteX9" fmla="*/ 17502 w 630069"/>
                <a:gd name="connsiteY9" fmla="*/ 5870 h 55656"/>
                <a:gd name="connsiteX10" fmla="*/ 639 w 630069"/>
                <a:gd name="connsiteY10" fmla="*/ 10510 h 55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0069" h="55656">
                  <a:moveTo>
                    <a:pt x="639" y="10431"/>
                  </a:moveTo>
                  <a:cubicBezTo>
                    <a:pt x="10449" y="35541"/>
                    <a:pt x="9972" y="48162"/>
                    <a:pt x="35957" y="51238"/>
                  </a:cubicBezTo>
                  <a:cubicBezTo>
                    <a:pt x="52847" y="53227"/>
                    <a:pt x="70427" y="52405"/>
                    <a:pt x="87503" y="52723"/>
                  </a:cubicBezTo>
                  <a:cubicBezTo>
                    <a:pt x="152280" y="53996"/>
                    <a:pt x="217057" y="54340"/>
                    <a:pt x="281834" y="54685"/>
                  </a:cubicBezTo>
                  <a:cubicBezTo>
                    <a:pt x="395081" y="55295"/>
                    <a:pt x="508381" y="56382"/>
                    <a:pt x="621628" y="54950"/>
                  </a:cubicBezTo>
                  <a:cubicBezTo>
                    <a:pt x="632870" y="54818"/>
                    <a:pt x="632897" y="37317"/>
                    <a:pt x="621628" y="37450"/>
                  </a:cubicBezTo>
                  <a:cubicBezTo>
                    <a:pt x="521161" y="38723"/>
                    <a:pt x="420641" y="37795"/>
                    <a:pt x="320201" y="37450"/>
                  </a:cubicBezTo>
                  <a:cubicBezTo>
                    <a:pt x="257678" y="37185"/>
                    <a:pt x="195129" y="36840"/>
                    <a:pt x="132605" y="36018"/>
                  </a:cubicBezTo>
                  <a:cubicBezTo>
                    <a:pt x="109988" y="35727"/>
                    <a:pt x="87344" y="35408"/>
                    <a:pt x="64726" y="34825"/>
                  </a:cubicBezTo>
                  <a:cubicBezTo>
                    <a:pt x="35559" y="34056"/>
                    <a:pt x="29965" y="37742"/>
                    <a:pt x="17502" y="5870"/>
                  </a:cubicBezTo>
                  <a:cubicBezTo>
                    <a:pt x="13445" y="-4497"/>
                    <a:pt x="-3471" y="10"/>
                    <a:pt x="639" y="10510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91" name="Graphic 38">
            <a:extLst>
              <a:ext uri="{FF2B5EF4-FFF2-40B4-BE49-F238E27FC236}">
                <a16:creationId xmlns:a16="http://schemas.microsoft.com/office/drawing/2014/main" id="{9B0C8852-E412-0105-9C10-9281B9C3D0DC}"/>
              </a:ext>
            </a:extLst>
          </p:cNvPr>
          <p:cNvGrpSpPr/>
          <p:nvPr/>
        </p:nvGrpSpPr>
        <p:grpSpPr>
          <a:xfrm>
            <a:off x="3010151" y="4182453"/>
            <a:ext cx="725789" cy="630062"/>
            <a:chOff x="3010151" y="4182453"/>
            <a:chExt cx="725789" cy="630062"/>
          </a:xfrm>
          <a:solidFill>
            <a:srgbClr val="2A2E2D"/>
          </a:solidFill>
        </p:grpSpPr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3B479DA6-3A8E-8383-0EC5-41B1755BC0A2}"/>
                </a:ext>
              </a:extLst>
            </p:cNvPr>
            <p:cNvSpPr/>
            <p:nvPr/>
          </p:nvSpPr>
          <p:spPr>
            <a:xfrm>
              <a:off x="3302059" y="4342738"/>
              <a:ext cx="247729" cy="233017"/>
            </a:xfrm>
            <a:custGeom>
              <a:avLst/>
              <a:gdLst>
                <a:gd name="connsiteX0" fmla="*/ 171103 w 247729"/>
                <a:gd name="connsiteY0" fmla="*/ 424 h 233017"/>
                <a:gd name="connsiteX1" fmla="*/ 240335 w 247729"/>
                <a:gd name="connsiteY1" fmla="*/ 227342 h 233017"/>
                <a:gd name="connsiteX2" fmla="*/ 0 w 247729"/>
                <a:gd name="connsiteY2" fmla="*/ 175638 h 233017"/>
                <a:gd name="connsiteX3" fmla="*/ 171103 w 247729"/>
                <a:gd name="connsiteY3" fmla="*/ 424 h 233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729" h="233017">
                  <a:moveTo>
                    <a:pt x="171103" y="424"/>
                  </a:moveTo>
                  <a:cubicBezTo>
                    <a:pt x="203160" y="9837"/>
                    <a:pt x="269952" y="207244"/>
                    <a:pt x="240335" y="227342"/>
                  </a:cubicBezTo>
                  <a:cubicBezTo>
                    <a:pt x="210717" y="247441"/>
                    <a:pt x="212" y="210346"/>
                    <a:pt x="0" y="175638"/>
                  </a:cubicBezTo>
                  <a:cubicBezTo>
                    <a:pt x="-212" y="140929"/>
                    <a:pt x="139020" y="-8988"/>
                    <a:pt x="171103" y="424"/>
                  </a:cubicBezTo>
                  <a:close/>
                </a:path>
              </a:pathLst>
            </a:custGeom>
            <a:solidFill>
              <a:srgbClr val="2A2E2D"/>
            </a:solidFill>
            <a:ln w="26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8FB67C96-14BD-EC52-0B56-5DB12B80F654}"/>
                </a:ext>
              </a:extLst>
            </p:cNvPr>
            <p:cNvSpPr/>
            <p:nvPr/>
          </p:nvSpPr>
          <p:spPr>
            <a:xfrm>
              <a:off x="3143411" y="4391063"/>
              <a:ext cx="263191" cy="250073"/>
            </a:xfrm>
            <a:custGeom>
              <a:avLst/>
              <a:gdLst>
                <a:gd name="connsiteX0" fmla="*/ 173974 w 263191"/>
                <a:gd name="connsiteY0" fmla="*/ 16399 h 250073"/>
                <a:gd name="connsiteX1" fmla="*/ 215418 w 263191"/>
                <a:gd name="connsiteY1" fmla="*/ 86002 h 250073"/>
                <a:gd name="connsiteX2" fmla="*/ 242331 w 263191"/>
                <a:gd name="connsiteY2" fmla="*/ 176472 h 250073"/>
                <a:gd name="connsiteX3" fmla="*/ 220641 w 263191"/>
                <a:gd name="connsiteY3" fmla="*/ 232525 h 250073"/>
                <a:gd name="connsiteX4" fmla="*/ 123357 w 263191"/>
                <a:gd name="connsiteY4" fmla="*/ 222900 h 250073"/>
                <a:gd name="connsiteX5" fmla="*/ 34583 w 263191"/>
                <a:gd name="connsiteY5" fmla="*/ 197419 h 250073"/>
                <a:gd name="connsiteX6" fmla="*/ 36970 w 263191"/>
                <a:gd name="connsiteY6" fmla="*/ 145157 h 250073"/>
                <a:gd name="connsiteX7" fmla="*/ 106493 w 263191"/>
                <a:gd name="connsiteY7" fmla="*/ 66407 h 250073"/>
                <a:gd name="connsiteX8" fmla="*/ 176069 w 263191"/>
                <a:gd name="connsiteY8" fmla="*/ 17274 h 250073"/>
                <a:gd name="connsiteX9" fmla="*/ 180709 w 263191"/>
                <a:gd name="connsiteY9" fmla="*/ 410 h 250073"/>
                <a:gd name="connsiteX10" fmla="*/ 52614 w 263191"/>
                <a:gd name="connsiteY10" fmla="*/ 97827 h 250073"/>
                <a:gd name="connsiteX11" fmla="*/ 11674 w 263191"/>
                <a:gd name="connsiteY11" fmla="*/ 204286 h 250073"/>
                <a:gd name="connsiteX12" fmla="*/ 199562 w 263191"/>
                <a:gd name="connsiteY12" fmla="*/ 249866 h 250073"/>
                <a:gd name="connsiteX13" fmla="*/ 261740 w 263191"/>
                <a:gd name="connsiteY13" fmla="*/ 187211 h 250073"/>
                <a:gd name="connsiteX14" fmla="*/ 225626 w 263191"/>
                <a:gd name="connsiteY14" fmla="*/ 65081 h 250073"/>
                <a:gd name="connsiteX15" fmla="*/ 182804 w 263191"/>
                <a:gd name="connsiteY15" fmla="*/ 1285 h 250073"/>
                <a:gd name="connsiteX16" fmla="*/ 173974 w 263191"/>
                <a:gd name="connsiteY16" fmla="*/ 16399 h 250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63191" h="250073">
                  <a:moveTo>
                    <a:pt x="173974" y="16399"/>
                  </a:moveTo>
                  <a:cubicBezTo>
                    <a:pt x="195187" y="25785"/>
                    <a:pt x="207834" y="66778"/>
                    <a:pt x="215418" y="86002"/>
                  </a:cubicBezTo>
                  <a:cubicBezTo>
                    <a:pt x="227230" y="115240"/>
                    <a:pt x="236243" y="145531"/>
                    <a:pt x="242331" y="176472"/>
                  </a:cubicBezTo>
                  <a:cubicBezTo>
                    <a:pt x="247369" y="203597"/>
                    <a:pt x="254475" y="230298"/>
                    <a:pt x="220641" y="232525"/>
                  </a:cubicBezTo>
                  <a:cubicBezTo>
                    <a:pt x="188478" y="234673"/>
                    <a:pt x="154777" y="228866"/>
                    <a:pt x="123357" y="222900"/>
                  </a:cubicBezTo>
                  <a:cubicBezTo>
                    <a:pt x="93951" y="217305"/>
                    <a:pt x="61443" y="211207"/>
                    <a:pt x="34583" y="197419"/>
                  </a:cubicBezTo>
                  <a:cubicBezTo>
                    <a:pt x="6902" y="183207"/>
                    <a:pt x="22280" y="165760"/>
                    <a:pt x="36970" y="145157"/>
                  </a:cubicBezTo>
                  <a:cubicBezTo>
                    <a:pt x="57672" y="116826"/>
                    <a:pt x="80946" y="90461"/>
                    <a:pt x="106493" y="66407"/>
                  </a:cubicBezTo>
                  <a:cubicBezTo>
                    <a:pt x="120440" y="52990"/>
                    <a:pt x="153982" y="14092"/>
                    <a:pt x="176069" y="17274"/>
                  </a:cubicBezTo>
                  <a:cubicBezTo>
                    <a:pt x="187073" y="18865"/>
                    <a:pt x="191978" y="2028"/>
                    <a:pt x="180709" y="410"/>
                  </a:cubicBezTo>
                  <a:cubicBezTo>
                    <a:pt x="134891" y="-6192"/>
                    <a:pt x="77963" y="68661"/>
                    <a:pt x="52614" y="97827"/>
                  </a:cubicBezTo>
                  <a:cubicBezTo>
                    <a:pt x="32436" y="121055"/>
                    <a:pt x="-24280" y="174722"/>
                    <a:pt x="11674" y="204286"/>
                  </a:cubicBezTo>
                  <a:cubicBezTo>
                    <a:pt x="56750" y="241408"/>
                    <a:pt x="143853" y="247639"/>
                    <a:pt x="199562" y="249866"/>
                  </a:cubicBezTo>
                  <a:cubicBezTo>
                    <a:pt x="250126" y="251908"/>
                    <a:pt x="268846" y="239472"/>
                    <a:pt x="261740" y="187211"/>
                  </a:cubicBezTo>
                  <a:cubicBezTo>
                    <a:pt x="256066" y="145369"/>
                    <a:pt x="242251" y="103767"/>
                    <a:pt x="225626" y="65081"/>
                  </a:cubicBezTo>
                  <a:cubicBezTo>
                    <a:pt x="216823" y="44638"/>
                    <a:pt x="205236" y="11175"/>
                    <a:pt x="182804" y="1285"/>
                  </a:cubicBezTo>
                  <a:cubicBezTo>
                    <a:pt x="172596" y="-3196"/>
                    <a:pt x="163713" y="11865"/>
                    <a:pt x="173974" y="16399"/>
                  </a:cubicBezTo>
                  <a:close/>
                </a:path>
              </a:pathLst>
            </a:custGeom>
            <a:solidFill>
              <a:srgbClr val="2A2E2D"/>
            </a:solidFill>
            <a:ln w="26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4AFC9BF-18BB-8EBE-F5B8-4913CFC4B8F6}"/>
                </a:ext>
              </a:extLst>
            </p:cNvPr>
            <p:cNvSpPr/>
            <p:nvPr/>
          </p:nvSpPr>
          <p:spPr>
            <a:xfrm>
              <a:off x="3010151" y="4182453"/>
              <a:ext cx="725789" cy="630062"/>
            </a:xfrm>
            <a:custGeom>
              <a:avLst/>
              <a:gdLst>
                <a:gd name="connsiteX0" fmla="*/ 425 w 725789"/>
                <a:gd name="connsiteY0" fmla="*/ 256748 h 630062"/>
                <a:gd name="connsiteX1" fmla="*/ 138305 w 725789"/>
                <a:gd name="connsiteY1" fmla="*/ 625735 h 630062"/>
                <a:gd name="connsiteX2" fmla="*/ 148169 w 725789"/>
                <a:gd name="connsiteY2" fmla="*/ 629739 h 630062"/>
                <a:gd name="connsiteX3" fmla="*/ 721456 w 725789"/>
                <a:gd name="connsiteY3" fmla="*/ 364586 h 630062"/>
                <a:gd name="connsiteX4" fmla="*/ 725486 w 725789"/>
                <a:gd name="connsiteY4" fmla="*/ 354696 h 630062"/>
                <a:gd name="connsiteX5" fmla="*/ 586679 w 725789"/>
                <a:gd name="connsiteY5" fmla="*/ 6524 h 630062"/>
                <a:gd name="connsiteX6" fmla="*/ 575913 w 725789"/>
                <a:gd name="connsiteY6" fmla="*/ 425 h 630062"/>
                <a:gd name="connsiteX7" fmla="*/ 4429 w 725789"/>
                <a:gd name="connsiteY7" fmla="*/ 246858 h 630062"/>
                <a:gd name="connsiteX8" fmla="*/ 13259 w 725789"/>
                <a:gd name="connsiteY8" fmla="*/ 261972 h 630062"/>
                <a:gd name="connsiteX9" fmla="*/ 580686 w 725789"/>
                <a:gd name="connsiteY9" fmla="*/ 17289 h 630062"/>
                <a:gd name="connsiteX10" fmla="*/ 569921 w 725789"/>
                <a:gd name="connsiteY10" fmla="*/ 11190 h 630062"/>
                <a:gd name="connsiteX11" fmla="*/ 640929 w 725789"/>
                <a:gd name="connsiteY11" fmla="*/ 184600 h 630062"/>
                <a:gd name="connsiteX12" fmla="*/ 672190 w 725789"/>
                <a:gd name="connsiteY12" fmla="*/ 263828 h 630062"/>
                <a:gd name="connsiteX13" fmla="*/ 700800 w 725789"/>
                <a:gd name="connsiteY13" fmla="*/ 350347 h 630062"/>
                <a:gd name="connsiteX14" fmla="*/ 628042 w 725789"/>
                <a:gd name="connsiteY14" fmla="*/ 396378 h 630062"/>
                <a:gd name="connsiteX15" fmla="*/ 556451 w 725789"/>
                <a:gd name="connsiteY15" fmla="*/ 433818 h 630062"/>
                <a:gd name="connsiteX16" fmla="*/ 396060 w 725789"/>
                <a:gd name="connsiteY16" fmla="*/ 510579 h 630062"/>
                <a:gd name="connsiteX17" fmla="*/ 226813 w 725789"/>
                <a:gd name="connsiteY17" fmla="*/ 581587 h 630062"/>
                <a:gd name="connsiteX18" fmla="*/ 148646 w 725789"/>
                <a:gd name="connsiteY18" fmla="*/ 605981 h 630062"/>
                <a:gd name="connsiteX19" fmla="*/ 119081 w 725789"/>
                <a:gd name="connsiteY19" fmla="*/ 536432 h 630062"/>
                <a:gd name="connsiteX20" fmla="*/ 17289 w 725789"/>
                <a:gd name="connsiteY20" fmla="*/ 252082 h 630062"/>
                <a:gd name="connsiteX21" fmla="*/ 425 w 725789"/>
                <a:gd name="connsiteY21" fmla="*/ 256748 h 63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725789" h="630062">
                  <a:moveTo>
                    <a:pt x="425" y="256748"/>
                  </a:moveTo>
                  <a:cubicBezTo>
                    <a:pt x="37547" y="382564"/>
                    <a:pt x="84983" y="505992"/>
                    <a:pt x="138305" y="625735"/>
                  </a:cubicBezTo>
                  <a:cubicBezTo>
                    <a:pt x="140297" y="629161"/>
                    <a:pt x="144353" y="630808"/>
                    <a:pt x="148169" y="629739"/>
                  </a:cubicBezTo>
                  <a:cubicBezTo>
                    <a:pt x="346325" y="557501"/>
                    <a:pt x="538092" y="468807"/>
                    <a:pt x="721456" y="364586"/>
                  </a:cubicBezTo>
                  <a:cubicBezTo>
                    <a:pt x="724866" y="362568"/>
                    <a:pt x="726515" y="358525"/>
                    <a:pt x="725486" y="354696"/>
                  </a:cubicBezTo>
                  <a:cubicBezTo>
                    <a:pt x="681259" y="237834"/>
                    <a:pt x="634989" y="121777"/>
                    <a:pt x="586679" y="6524"/>
                  </a:cubicBezTo>
                  <a:cubicBezTo>
                    <a:pt x="584929" y="2387"/>
                    <a:pt x="580845" y="-1272"/>
                    <a:pt x="575913" y="425"/>
                  </a:cubicBezTo>
                  <a:cubicBezTo>
                    <a:pt x="379700" y="68066"/>
                    <a:pt x="190010" y="154214"/>
                    <a:pt x="4429" y="246858"/>
                  </a:cubicBezTo>
                  <a:cubicBezTo>
                    <a:pt x="-5620" y="251896"/>
                    <a:pt x="3210" y="266983"/>
                    <a:pt x="13259" y="261972"/>
                  </a:cubicBezTo>
                  <a:cubicBezTo>
                    <a:pt x="197487" y="169884"/>
                    <a:pt x="385693" y="84319"/>
                    <a:pt x="580686" y="17289"/>
                  </a:cubicBezTo>
                  <a:lnTo>
                    <a:pt x="569921" y="11190"/>
                  </a:lnTo>
                  <a:cubicBezTo>
                    <a:pt x="594050" y="68782"/>
                    <a:pt x="617720" y="126585"/>
                    <a:pt x="640929" y="184600"/>
                  </a:cubicBezTo>
                  <a:cubicBezTo>
                    <a:pt x="651535" y="210957"/>
                    <a:pt x="661955" y="237366"/>
                    <a:pt x="672190" y="263828"/>
                  </a:cubicBezTo>
                  <a:cubicBezTo>
                    <a:pt x="680145" y="283953"/>
                    <a:pt x="707641" y="330116"/>
                    <a:pt x="700800" y="350347"/>
                  </a:cubicBezTo>
                  <a:cubicBezTo>
                    <a:pt x="694172" y="369783"/>
                    <a:pt x="646630" y="386382"/>
                    <a:pt x="628042" y="396378"/>
                  </a:cubicBezTo>
                  <a:cubicBezTo>
                    <a:pt x="604338" y="409105"/>
                    <a:pt x="580474" y="421586"/>
                    <a:pt x="556451" y="433818"/>
                  </a:cubicBezTo>
                  <a:cubicBezTo>
                    <a:pt x="503667" y="460686"/>
                    <a:pt x="450204" y="486273"/>
                    <a:pt x="396060" y="510579"/>
                  </a:cubicBezTo>
                  <a:cubicBezTo>
                    <a:pt x="340272" y="535681"/>
                    <a:pt x="283855" y="559349"/>
                    <a:pt x="226813" y="581587"/>
                  </a:cubicBezTo>
                  <a:cubicBezTo>
                    <a:pt x="210665" y="587871"/>
                    <a:pt x="165324" y="614678"/>
                    <a:pt x="148646" y="605981"/>
                  </a:cubicBezTo>
                  <a:cubicBezTo>
                    <a:pt x="137059" y="599962"/>
                    <a:pt x="123350" y="546852"/>
                    <a:pt x="119081" y="536432"/>
                  </a:cubicBezTo>
                  <a:cubicBezTo>
                    <a:pt x="80926" y="443310"/>
                    <a:pt x="45793" y="348624"/>
                    <a:pt x="17289" y="252082"/>
                  </a:cubicBezTo>
                  <a:cubicBezTo>
                    <a:pt x="14107" y="241290"/>
                    <a:pt x="-2650" y="245904"/>
                    <a:pt x="425" y="256748"/>
                  </a:cubicBezTo>
                  <a:close/>
                </a:path>
              </a:pathLst>
            </a:custGeom>
            <a:solidFill>
              <a:srgbClr val="2A2E2D"/>
            </a:solidFill>
            <a:ln w="26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195" name="Graphic 40">
            <a:extLst>
              <a:ext uri="{FF2B5EF4-FFF2-40B4-BE49-F238E27FC236}">
                <a16:creationId xmlns:a16="http://schemas.microsoft.com/office/drawing/2014/main" id="{A93344AF-AEFD-D089-DE8C-2CCCF2C269F0}"/>
              </a:ext>
            </a:extLst>
          </p:cNvPr>
          <p:cNvGrpSpPr/>
          <p:nvPr/>
        </p:nvGrpSpPr>
        <p:grpSpPr>
          <a:xfrm>
            <a:off x="6880361" y="2709811"/>
            <a:ext cx="843439" cy="555173"/>
            <a:chOff x="6880361" y="2709811"/>
            <a:chExt cx="843439" cy="555173"/>
          </a:xfrm>
          <a:solidFill>
            <a:srgbClr val="2A2E2D"/>
          </a:solidFill>
        </p:grpSpPr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CB736FA0-78B1-130F-461C-F79FADD1C066}"/>
                </a:ext>
              </a:extLst>
            </p:cNvPr>
            <p:cNvSpPr/>
            <p:nvPr/>
          </p:nvSpPr>
          <p:spPr>
            <a:xfrm>
              <a:off x="6890336" y="2856146"/>
              <a:ext cx="240148" cy="399001"/>
            </a:xfrm>
            <a:custGeom>
              <a:avLst/>
              <a:gdLst>
                <a:gd name="connsiteX0" fmla="*/ 0 w 240148"/>
                <a:gd name="connsiteY0" fmla="*/ 0 h 399001"/>
                <a:gd name="connsiteX1" fmla="*/ 4534 w 240148"/>
                <a:gd name="connsiteY1" fmla="*/ 399002 h 399001"/>
                <a:gd name="connsiteX2" fmla="*/ 219573 w 240148"/>
                <a:gd name="connsiteY2" fmla="*/ 396350 h 399001"/>
                <a:gd name="connsiteX3" fmla="*/ 240149 w 240148"/>
                <a:gd name="connsiteY3" fmla="*/ 1777 h 399001"/>
                <a:gd name="connsiteX4" fmla="*/ 0 w 240148"/>
                <a:gd name="connsiteY4" fmla="*/ 0 h 399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148" h="399001">
                  <a:moveTo>
                    <a:pt x="0" y="0"/>
                  </a:moveTo>
                  <a:cubicBezTo>
                    <a:pt x="3686" y="134008"/>
                    <a:pt x="6364" y="264941"/>
                    <a:pt x="4534" y="399002"/>
                  </a:cubicBezTo>
                  <a:cubicBezTo>
                    <a:pt x="76098" y="393863"/>
                    <a:pt x="147904" y="392977"/>
                    <a:pt x="219573" y="396350"/>
                  </a:cubicBezTo>
                  <a:cubicBezTo>
                    <a:pt x="226449" y="264800"/>
                    <a:pt x="233308" y="133274"/>
                    <a:pt x="240149" y="1777"/>
                  </a:cubicBezTo>
                  <a:lnTo>
                    <a:pt x="0" y="0"/>
                  </a:lnTo>
                </a:path>
              </a:pathLst>
            </a:custGeom>
            <a:solidFill>
              <a:srgbClr val="2A2E2D"/>
            </a:solidFill>
            <a:ln w="26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1684BF17-85A0-6DA7-4A1C-8ACF488EFA26}"/>
                </a:ext>
              </a:extLst>
            </p:cNvPr>
            <p:cNvSpPr/>
            <p:nvPr/>
          </p:nvSpPr>
          <p:spPr>
            <a:xfrm>
              <a:off x="6880361" y="2846309"/>
              <a:ext cx="259986" cy="418675"/>
            </a:xfrm>
            <a:custGeom>
              <a:avLst/>
              <a:gdLst>
                <a:gd name="connsiteX0" fmla="*/ 137 w 259986"/>
                <a:gd name="connsiteY0" fmla="*/ 9837 h 418675"/>
                <a:gd name="connsiteX1" fmla="*/ 4671 w 259986"/>
                <a:gd name="connsiteY1" fmla="*/ 408839 h 418675"/>
                <a:gd name="connsiteX2" fmla="*/ 14508 w 259986"/>
                <a:gd name="connsiteY2" fmla="*/ 418676 h 418675"/>
                <a:gd name="connsiteX3" fmla="*/ 229547 w 259986"/>
                <a:gd name="connsiteY3" fmla="*/ 416024 h 418675"/>
                <a:gd name="connsiteX4" fmla="*/ 239384 w 259986"/>
                <a:gd name="connsiteY4" fmla="*/ 406187 h 418675"/>
                <a:gd name="connsiteX5" fmla="*/ 259987 w 259986"/>
                <a:gd name="connsiteY5" fmla="*/ 11508 h 418675"/>
                <a:gd name="connsiteX6" fmla="*/ 250150 w 259986"/>
                <a:gd name="connsiteY6" fmla="*/ 1670 h 418675"/>
                <a:gd name="connsiteX7" fmla="*/ 9974 w 259986"/>
                <a:gd name="connsiteY7" fmla="*/ 0 h 418675"/>
                <a:gd name="connsiteX8" fmla="*/ 9974 w 259986"/>
                <a:gd name="connsiteY8" fmla="*/ 19674 h 418675"/>
                <a:gd name="connsiteX9" fmla="*/ 157744 w 259986"/>
                <a:gd name="connsiteY9" fmla="*/ 20682 h 418675"/>
                <a:gd name="connsiteX10" fmla="*/ 231642 w 259986"/>
                <a:gd name="connsiteY10" fmla="*/ 21212 h 418675"/>
                <a:gd name="connsiteX11" fmla="*/ 236362 w 259986"/>
                <a:gd name="connsiteY11" fmla="*/ 86652 h 418675"/>
                <a:gd name="connsiteX12" fmla="*/ 228407 w 259986"/>
                <a:gd name="connsiteY12" fmla="*/ 236967 h 418675"/>
                <a:gd name="connsiteX13" fmla="*/ 224483 w 259986"/>
                <a:gd name="connsiteY13" fmla="*/ 312138 h 418675"/>
                <a:gd name="connsiteX14" fmla="*/ 221062 w 259986"/>
                <a:gd name="connsiteY14" fmla="*/ 377896 h 418675"/>
                <a:gd name="connsiteX15" fmla="*/ 92516 w 259986"/>
                <a:gd name="connsiteY15" fmla="*/ 395051 h 418675"/>
                <a:gd name="connsiteX16" fmla="*/ 24452 w 259986"/>
                <a:gd name="connsiteY16" fmla="*/ 389748 h 418675"/>
                <a:gd name="connsiteX17" fmla="*/ 24796 w 259986"/>
                <a:gd name="connsiteY17" fmla="*/ 313596 h 418675"/>
                <a:gd name="connsiteX18" fmla="*/ 19679 w 259986"/>
                <a:gd name="connsiteY18" fmla="*/ 9890 h 418675"/>
                <a:gd name="connsiteX19" fmla="*/ 4 w 259986"/>
                <a:gd name="connsiteY19" fmla="*/ 9890 h 41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59986" h="418675">
                  <a:moveTo>
                    <a:pt x="137" y="9837"/>
                  </a:moveTo>
                  <a:cubicBezTo>
                    <a:pt x="3770" y="142811"/>
                    <a:pt x="6262" y="275812"/>
                    <a:pt x="4671" y="408839"/>
                  </a:cubicBezTo>
                  <a:cubicBezTo>
                    <a:pt x="4714" y="414253"/>
                    <a:pt x="9093" y="418634"/>
                    <a:pt x="14508" y="418676"/>
                  </a:cubicBezTo>
                  <a:cubicBezTo>
                    <a:pt x="86087" y="413909"/>
                    <a:pt x="157872" y="413023"/>
                    <a:pt x="229547" y="416024"/>
                  </a:cubicBezTo>
                  <a:cubicBezTo>
                    <a:pt x="234939" y="415926"/>
                    <a:pt x="239286" y="411578"/>
                    <a:pt x="239384" y="406187"/>
                  </a:cubicBezTo>
                  <a:cubicBezTo>
                    <a:pt x="246243" y="274566"/>
                    <a:pt x="253111" y="143005"/>
                    <a:pt x="259987" y="11508"/>
                  </a:cubicBezTo>
                  <a:cubicBezTo>
                    <a:pt x="259930" y="6099"/>
                    <a:pt x="255559" y="1728"/>
                    <a:pt x="250150" y="1670"/>
                  </a:cubicBezTo>
                  <a:lnTo>
                    <a:pt x="9974" y="0"/>
                  </a:lnTo>
                  <a:cubicBezTo>
                    <a:pt x="-2674" y="0"/>
                    <a:pt x="-2700" y="19568"/>
                    <a:pt x="9974" y="19674"/>
                  </a:cubicBezTo>
                  <a:lnTo>
                    <a:pt x="157744" y="20682"/>
                  </a:lnTo>
                  <a:cubicBezTo>
                    <a:pt x="170524" y="20682"/>
                    <a:pt x="222547" y="13496"/>
                    <a:pt x="231642" y="21212"/>
                  </a:cubicBezTo>
                  <a:cubicBezTo>
                    <a:pt x="246994" y="34231"/>
                    <a:pt x="237316" y="68436"/>
                    <a:pt x="236362" y="86652"/>
                  </a:cubicBezTo>
                  <a:cubicBezTo>
                    <a:pt x="233728" y="136766"/>
                    <a:pt x="231076" y="186872"/>
                    <a:pt x="228407" y="236967"/>
                  </a:cubicBezTo>
                  <a:cubicBezTo>
                    <a:pt x="227081" y="262016"/>
                    <a:pt x="225773" y="287073"/>
                    <a:pt x="224483" y="312138"/>
                  </a:cubicBezTo>
                  <a:cubicBezTo>
                    <a:pt x="223475" y="331414"/>
                    <a:pt x="227134" y="359680"/>
                    <a:pt x="221062" y="377896"/>
                  </a:cubicBezTo>
                  <a:cubicBezTo>
                    <a:pt x="210112" y="409926"/>
                    <a:pt x="125210" y="394096"/>
                    <a:pt x="92516" y="395051"/>
                  </a:cubicBezTo>
                  <a:cubicBezTo>
                    <a:pt x="73664" y="395581"/>
                    <a:pt x="37736" y="405657"/>
                    <a:pt x="24452" y="389748"/>
                  </a:cubicBezTo>
                  <a:cubicBezTo>
                    <a:pt x="16736" y="380494"/>
                    <a:pt x="24823" y="326642"/>
                    <a:pt x="24796" y="313596"/>
                  </a:cubicBezTo>
                  <a:cubicBezTo>
                    <a:pt x="24796" y="212334"/>
                    <a:pt x="22436" y="111099"/>
                    <a:pt x="19679" y="9890"/>
                  </a:cubicBezTo>
                  <a:cubicBezTo>
                    <a:pt x="19334" y="-2758"/>
                    <a:pt x="-340" y="-2811"/>
                    <a:pt x="4" y="9890"/>
                  </a:cubicBezTo>
                  <a:close/>
                </a:path>
              </a:pathLst>
            </a:custGeom>
            <a:solidFill>
              <a:srgbClr val="2A2E2D"/>
            </a:solidFill>
            <a:ln w="26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FD036536-5432-2063-D801-CF392A939EF3}"/>
                </a:ext>
              </a:extLst>
            </p:cNvPr>
            <p:cNvSpPr/>
            <p:nvPr/>
          </p:nvSpPr>
          <p:spPr>
            <a:xfrm>
              <a:off x="7104645" y="2709811"/>
              <a:ext cx="619155" cy="502710"/>
            </a:xfrm>
            <a:custGeom>
              <a:avLst/>
              <a:gdLst>
                <a:gd name="connsiteX0" fmla="*/ 28729 w 619155"/>
                <a:gd name="connsiteY0" fmla="*/ 184649 h 502710"/>
                <a:gd name="connsiteX1" fmla="*/ 254719 w 619155"/>
                <a:gd name="connsiteY1" fmla="*/ 181096 h 502710"/>
                <a:gd name="connsiteX2" fmla="*/ 300431 w 619155"/>
                <a:gd name="connsiteY2" fmla="*/ 137611 h 502710"/>
                <a:gd name="connsiteX3" fmla="*/ 362901 w 619155"/>
                <a:gd name="connsiteY3" fmla="*/ 29429 h 502710"/>
                <a:gd name="connsiteX4" fmla="*/ 407527 w 619155"/>
                <a:gd name="connsiteY4" fmla="*/ 32425 h 502710"/>
                <a:gd name="connsiteX5" fmla="*/ 406625 w 619155"/>
                <a:gd name="connsiteY5" fmla="*/ 92668 h 502710"/>
                <a:gd name="connsiteX6" fmla="*/ 397000 w 619155"/>
                <a:gd name="connsiteY6" fmla="*/ 154289 h 502710"/>
                <a:gd name="connsiteX7" fmla="*/ 405724 w 619155"/>
                <a:gd name="connsiteY7" fmla="*/ 163013 h 502710"/>
                <a:gd name="connsiteX8" fmla="*/ 514622 w 619155"/>
                <a:gd name="connsiteY8" fmla="*/ 160202 h 502710"/>
                <a:gd name="connsiteX9" fmla="*/ 599471 w 619155"/>
                <a:gd name="connsiteY9" fmla="*/ 206471 h 502710"/>
                <a:gd name="connsiteX10" fmla="*/ 593797 w 619155"/>
                <a:gd name="connsiteY10" fmla="*/ 269206 h 502710"/>
                <a:gd name="connsiteX11" fmla="*/ 554846 w 619155"/>
                <a:gd name="connsiteY11" fmla="*/ 374127 h 502710"/>
                <a:gd name="connsiteX12" fmla="*/ 470394 w 619155"/>
                <a:gd name="connsiteY12" fmla="*/ 476741 h 502710"/>
                <a:gd name="connsiteX13" fmla="*/ 352454 w 619155"/>
                <a:gd name="connsiteY13" fmla="*/ 482257 h 502710"/>
                <a:gd name="connsiteX14" fmla="*/ 237139 w 619155"/>
                <a:gd name="connsiteY14" fmla="*/ 484616 h 502710"/>
                <a:gd name="connsiteX15" fmla="*/ 8313 w 619155"/>
                <a:gd name="connsiteY15" fmla="*/ 473533 h 502710"/>
                <a:gd name="connsiteX16" fmla="*/ 8313 w 619155"/>
                <a:gd name="connsiteY16" fmla="*/ 491033 h 502710"/>
                <a:gd name="connsiteX17" fmla="*/ 237139 w 619155"/>
                <a:gd name="connsiteY17" fmla="*/ 502116 h 502710"/>
                <a:gd name="connsiteX18" fmla="*/ 459125 w 619155"/>
                <a:gd name="connsiteY18" fmla="*/ 496336 h 502710"/>
                <a:gd name="connsiteX19" fmla="*/ 556065 w 619155"/>
                <a:gd name="connsiteY19" fmla="*/ 418912 h 502710"/>
                <a:gd name="connsiteX20" fmla="*/ 594963 w 619155"/>
                <a:gd name="connsiteY20" fmla="*/ 317013 h 502710"/>
                <a:gd name="connsiteX21" fmla="*/ 619145 w 619155"/>
                <a:gd name="connsiteY21" fmla="*/ 228585 h 502710"/>
                <a:gd name="connsiteX22" fmla="*/ 545300 w 619155"/>
                <a:gd name="connsiteY22" fmla="*/ 143391 h 502710"/>
                <a:gd name="connsiteX23" fmla="*/ 452285 w 619155"/>
                <a:gd name="connsiteY23" fmla="*/ 144320 h 502710"/>
                <a:gd name="connsiteX24" fmla="*/ 414368 w 619155"/>
                <a:gd name="connsiteY24" fmla="*/ 147820 h 502710"/>
                <a:gd name="connsiteX25" fmla="*/ 423383 w 619155"/>
                <a:gd name="connsiteY25" fmla="*/ 97441 h 502710"/>
                <a:gd name="connsiteX26" fmla="*/ 403682 w 619155"/>
                <a:gd name="connsiteY26" fmla="*/ 2145 h 502710"/>
                <a:gd name="connsiteX27" fmla="*/ 339595 w 619155"/>
                <a:gd name="connsiteY27" fmla="*/ 27202 h 502710"/>
                <a:gd name="connsiteX28" fmla="*/ 271132 w 619155"/>
                <a:gd name="connsiteY28" fmla="*/ 156278 h 502710"/>
                <a:gd name="connsiteX29" fmla="*/ 176420 w 619155"/>
                <a:gd name="connsiteY29" fmla="*/ 166486 h 502710"/>
                <a:gd name="connsiteX30" fmla="*/ 28623 w 619155"/>
                <a:gd name="connsiteY30" fmla="*/ 167282 h 502710"/>
                <a:gd name="connsiteX31" fmla="*/ 28623 w 619155"/>
                <a:gd name="connsiteY31" fmla="*/ 184782 h 502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619155" h="502710">
                  <a:moveTo>
                    <a:pt x="28729" y="184649"/>
                  </a:moveTo>
                  <a:cubicBezTo>
                    <a:pt x="104033" y="185551"/>
                    <a:pt x="179469" y="184967"/>
                    <a:pt x="254719" y="181096"/>
                  </a:cubicBezTo>
                  <a:cubicBezTo>
                    <a:pt x="286166" y="179479"/>
                    <a:pt x="286537" y="165187"/>
                    <a:pt x="300431" y="137611"/>
                  </a:cubicBezTo>
                  <a:cubicBezTo>
                    <a:pt x="317136" y="104838"/>
                    <a:pt x="333363" y="52391"/>
                    <a:pt x="362901" y="29429"/>
                  </a:cubicBezTo>
                  <a:cubicBezTo>
                    <a:pt x="375920" y="19300"/>
                    <a:pt x="394720" y="11558"/>
                    <a:pt x="407527" y="32425"/>
                  </a:cubicBezTo>
                  <a:cubicBezTo>
                    <a:pt x="414394" y="43588"/>
                    <a:pt x="408349" y="81399"/>
                    <a:pt x="406625" y="92668"/>
                  </a:cubicBezTo>
                  <a:cubicBezTo>
                    <a:pt x="403470" y="113111"/>
                    <a:pt x="396947" y="133475"/>
                    <a:pt x="397000" y="154289"/>
                  </a:cubicBezTo>
                  <a:cubicBezTo>
                    <a:pt x="397058" y="159083"/>
                    <a:pt x="400930" y="162956"/>
                    <a:pt x="405724" y="163013"/>
                  </a:cubicBezTo>
                  <a:cubicBezTo>
                    <a:pt x="441997" y="162085"/>
                    <a:pt x="478349" y="160361"/>
                    <a:pt x="514622" y="160202"/>
                  </a:cubicBezTo>
                  <a:cubicBezTo>
                    <a:pt x="550258" y="160202"/>
                    <a:pt x="589316" y="165054"/>
                    <a:pt x="599471" y="206471"/>
                  </a:cubicBezTo>
                  <a:cubicBezTo>
                    <a:pt x="604641" y="227312"/>
                    <a:pt x="599471" y="249134"/>
                    <a:pt x="593797" y="269206"/>
                  </a:cubicBezTo>
                  <a:cubicBezTo>
                    <a:pt x="583562" y="304763"/>
                    <a:pt x="567944" y="339525"/>
                    <a:pt x="554846" y="374127"/>
                  </a:cubicBezTo>
                  <a:cubicBezTo>
                    <a:pt x="537902" y="418938"/>
                    <a:pt x="522762" y="464120"/>
                    <a:pt x="470394" y="476741"/>
                  </a:cubicBezTo>
                  <a:cubicBezTo>
                    <a:pt x="433140" y="485730"/>
                    <a:pt x="390371" y="481435"/>
                    <a:pt x="352454" y="482257"/>
                  </a:cubicBezTo>
                  <a:cubicBezTo>
                    <a:pt x="314007" y="483079"/>
                    <a:pt x="275560" y="484192"/>
                    <a:pt x="237139" y="484616"/>
                  </a:cubicBezTo>
                  <a:cubicBezTo>
                    <a:pt x="160590" y="485491"/>
                    <a:pt x="84279" y="483635"/>
                    <a:pt x="8313" y="473533"/>
                  </a:cubicBezTo>
                  <a:cubicBezTo>
                    <a:pt x="-2824" y="472075"/>
                    <a:pt x="-2718" y="489575"/>
                    <a:pt x="8313" y="491033"/>
                  </a:cubicBezTo>
                  <a:cubicBezTo>
                    <a:pt x="84252" y="501109"/>
                    <a:pt x="160616" y="502992"/>
                    <a:pt x="237139" y="502116"/>
                  </a:cubicBezTo>
                  <a:cubicBezTo>
                    <a:pt x="309659" y="501295"/>
                    <a:pt x="387269" y="506438"/>
                    <a:pt x="459125" y="496336"/>
                  </a:cubicBezTo>
                  <a:cubicBezTo>
                    <a:pt x="507516" y="489548"/>
                    <a:pt x="536471" y="462768"/>
                    <a:pt x="556065" y="418912"/>
                  </a:cubicBezTo>
                  <a:cubicBezTo>
                    <a:pt x="570834" y="385847"/>
                    <a:pt x="582236" y="350900"/>
                    <a:pt x="594963" y="317013"/>
                  </a:cubicBezTo>
                  <a:cubicBezTo>
                    <a:pt x="605569" y="288748"/>
                    <a:pt x="618827" y="259316"/>
                    <a:pt x="619145" y="228585"/>
                  </a:cubicBezTo>
                  <a:cubicBezTo>
                    <a:pt x="619782" y="181547"/>
                    <a:pt x="591808" y="148695"/>
                    <a:pt x="545300" y="143391"/>
                  </a:cubicBezTo>
                  <a:cubicBezTo>
                    <a:pt x="514967" y="139918"/>
                    <a:pt x="482751" y="143551"/>
                    <a:pt x="452285" y="144320"/>
                  </a:cubicBezTo>
                  <a:cubicBezTo>
                    <a:pt x="448652" y="144320"/>
                    <a:pt x="414606" y="148085"/>
                    <a:pt x="414368" y="147820"/>
                  </a:cubicBezTo>
                  <a:cubicBezTo>
                    <a:pt x="410549" y="143577"/>
                    <a:pt x="422322" y="104441"/>
                    <a:pt x="423383" y="97441"/>
                  </a:cubicBezTo>
                  <a:cubicBezTo>
                    <a:pt x="427678" y="70660"/>
                    <a:pt x="437303" y="15243"/>
                    <a:pt x="403682" y="2145"/>
                  </a:cubicBezTo>
                  <a:cubicBezTo>
                    <a:pt x="382284" y="-6155"/>
                    <a:pt x="352826" y="11213"/>
                    <a:pt x="339595" y="27202"/>
                  </a:cubicBezTo>
                  <a:cubicBezTo>
                    <a:pt x="309208" y="63872"/>
                    <a:pt x="302897" y="121782"/>
                    <a:pt x="271132" y="156278"/>
                  </a:cubicBezTo>
                  <a:cubicBezTo>
                    <a:pt x="255011" y="173778"/>
                    <a:pt x="202457" y="165850"/>
                    <a:pt x="176420" y="166486"/>
                  </a:cubicBezTo>
                  <a:cubicBezTo>
                    <a:pt x="127154" y="167733"/>
                    <a:pt x="77889" y="167892"/>
                    <a:pt x="28623" y="167282"/>
                  </a:cubicBezTo>
                  <a:cubicBezTo>
                    <a:pt x="17354" y="167149"/>
                    <a:pt x="17354" y="184649"/>
                    <a:pt x="28623" y="184782"/>
                  </a:cubicBezTo>
                  <a:close/>
                </a:path>
              </a:pathLst>
            </a:custGeom>
            <a:solidFill>
              <a:srgbClr val="2A2E2D"/>
            </a:solidFill>
            <a:ln w="26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CFF0F66C-37DB-713A-B2AF-ECA12A11681B}"/>
                </a:ext>
              </a:extLst>
            </p:cNvPr>
            <p:cNvSpPr/>
            <p:nvPr/>
          </p:nvSpPr>
          <p:spPr>
            <a:xfrm>
              <a:off x="7251538" y="2991268"/>
              <a:ext cx="22516" cy="108251"/>
            </a:xfrm>
            <a:custGeom>
              <a:avLst/>
              <a:gdLst>
                <a:gd name="connsiteX0" fmla="*/ 5000 w 22516"/>
                <a:gd name="connsiteY0" fmla="*/ 8432 h 108251"/>
                <a:gd name="connsiteX1" fmla="*/ 16 w 22516"/>
                <a:gd name="connsiteY1" fmla="*/ 99830 h 108251"/>
                <a:gd name="connsiteX2" fmla="*/ 17516 w 22516"/>
                <a:gd name="connsiteY2" fmla="*/ 99830 h 108251"/>
                <a:gd name="connsiteX3" fmla="*/ 22501 w 22516"/>
                <a:gd name="connsiteY3" fmla="*/ 8432 h 108251"/>
                <a:gd name="connsiteX4" fmla="*/ 5000 w 22516"/>
                <a:gd name="connsiteY4" fmla="*/ 8432 h 108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16" h="108251">
                  <a:moveTo>
                    <a:pt x="5000" y="8432"/>
                  </a:moveTo>
                  <a:cubicBezTo>
                    <a:pt x="3338" y="38906"/>
                    <a:pt x="1678" y="69372"/>
                    <a:pt x="16" y="99830"/>
                  </a:cubicBezTo>
                  <a:cubicBezTo>
                    <a:pt x="-594" y="111072"/>
                    <a:pt x="16906" y="111046"/>
                    <a:pt x="17516" y="99830"/>
                  </a:cubicBezTo>
                  <a:cubicBezTo>
                    <a:pt x="19160" y="69372"/>
                    <a:pt x="20822" y="38906"/>
                    <a:pt x="22501" y="8432"/>
                  </a:cubicBezTo>
                  <a:cubicBezTo>
                    <a:pt x="23110" y="-2837"/>
                    <a:pt x="5610" y="-2784"/>
                    <a:pt x="5000" y="8432"/>
                  </a:cubicBezTo>
                  <a:close/>
                </a:path>
              </a:pathLst>
            </a:custGeom>
            <a:solidFill>
              <a:srgbClr val="2A2E2D"/>
            </a:solidFill>
            <a:ln w="26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1A7D0ECF-9837-F82D-B6C3-0F05FE7CCD28}"/>
                </a:ext>
              </a:extLst>
            </p:cNvPr>
            <p:cNvSpPr/>
            <p:nvPr/>
          </p:nvSpPr>
          <p:spPr>
            <a:xfrm>
              <a:off x="7216295" y="3027015"/>
              <a:ext cx="108112" cy="20454"/>
            </a:xfrm>
            <a:custGeom>
              <a:avLst/>
              <a:gdLst>
                <a:gd name="connsiteX0" fmla="*/ 8372 w 108112"/>
                <a:gd name="connsiteY0" fmla="*/ 19405 h 20454"/>
                <a:gd name="connsiteX1" fmla="*/ 99770 w 108112"/>
                <a:gd name="connsiteY1" fmla="*/ 20386 h 20454"/>
                <a:gd name="connsiteX2" fmla="*/ 99770 w 108112"/>
                <a:gd name="connsiteY2" fmla="*/ 2912 h 20454"/>
                <a:gd name="connsiteX3" fmla="*/ 8372 w 108112"/>
                <a:gd name="connsiteY3" fmla="*/ 1931 h 20454"/>
                <a:gd name="connsiteX4" fmla="*/ 8372 w 108112"/>
                <a:gd name="connsiteY4" fmla="*/ 19405 h 2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112" h="20454">
                  <a:moveTo>
                    <a:pt x="8372" y="19405"/>
                  </a:moveTo>
                  <a:cubicBezTo>
                    <a:pt x="38791" y="16549"/>
                    <a:pt x="69421" y="16878"/>
                    <a:pt x="99770" y="20386"/>
                  </a:cubicBezTo>
                  <a:cubicBezTo>
                    <a:pt x="110933" y="21685"/>
                    <a:pt x="110854" y="4185"/>
                    <a:pt x="99770" y="2912"/>
                  </a:cubicBezTo>
                  <a:cubicBezTo>
                    <a:pt x="69424" y="-609"/>
                    <a:pt x="38788" y="-938"/>
                    <a:pt x="8372" y="1931"/>
                  </a:cubicBezTo>
                  <a:cubicBezTo>
                    <a:pt x="-2738" y="2965"/>
                    <a:pt x="-2844" y="20492"/>
                    <a:pt x="8372" y="19405"/>
                  </a:cubicBezTo>
                  <a:close/>
                </a:path>
              </a:pathLst>
            </a:custGeom>
            <a:solidFill>
              <a:srgbClr val="2A2E2D"/>
            </a:solidFill>
            <a:ln w="26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7A88FF52-0C39-6445-5CC7-C86051655055}"/>
                </a:ext>
              </a:extLst>
            </p:cNvPr>
            <p:cNvSpPr/>
            <p:nvPr/>
          </p:nvSpPr>
          <p:spPr>
            <a:xfrm>
              <a:off x="7396581" y="2975157"/>
              <a:ext cx="55454" cy="131724"/>
            </a:xfrm>
            <a:custGeom>
              <a:avLst/>
              <a:gdLst>
                <a:gd name="connsiteX0" fmla="*/ 13003 w 55454"/>
                <a:gd name="connsiteY0" fmla="*/ 41751 h 131724"/>
                <a:gd name="connsiteX1" fmla="*/ 51212 w 55454"/>
                <a:gd name="connsiteY1" fmla="*/ 16296 h 131724"/>
                <a:gd name="connsiteX2" fmla="*/ 37954 w 55454"/>
                <a:gd name="connsiteY2" fmla="*/ 8740 h 131724"/>
                <a:gd name="connsiteX3" fmla="*/ 30000 w 55454"/>
                <a:gd name="connsiteY3" fmla="*/ 123312 h 131724"/>
                <a:gd name="connsiteX4" fmla="*/ 47500 w 55454"/>
                <a:gd name="connsiteY4" fmla="*/ 123312 h 131724"/>
                <a:gd name="connsiteX5" fmla="*/ 55454 w 55454"/>
                <a:gd name="connsiteY5" fmla="*/ 8740 h 131724"/>
                <a:gd name="connsiteX6" fmla="*/ 46590 w 55454"/>
                <a:gd name="connsiteY6" fmla="*/ 0 h 131724"/>
                <a:gd name="connsiteX7" fmla="*/ 42197 w 55454"/>
                <a:gd name="connsiteY7" fmla="*/ 1209 h 131724"/>
                <a:gd name="connsiteX8" fmla="*/ 3988 w 55454"/>
                <a:gd name="connsiteY8" fmla="*/ 26664 h 131724"/>
                <a:gd name="connsiteX9" fmla="*/ 12818 w 55454"/>
                <a:gd name="connsiteY9" fmla="*/ 41751 h 13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454" h="131724">
                  <a:moveTo>
                    <a:pt x="13003" y="41751"/>
                  </a:moveTo>
                  <a:lnTo>
                    <a:pt x="51212" y="16296"/>
                  </a:lnTo>
                  <a:lnTo>
                    <a:pt x="37954" y="8740"/>
                  </a:lnTo>
                  <a:cubicBezTo>
                    <a:pt x="35356" y="46940"/>
                    <a:pt x="32704" y="85130"/>
                    <a:pt x="30000" y="123312"/>
                  </a:cubicBezTo>
                  <a:cubicBezTo>
                    <a:pt x="29257" y="134555"/>
                    <a:pt x="46731" y="134502"/>
                    <a:pt x="47500" y="123312"/>
                  </a:cubicBezTo>
                  <a:cubicBezTo>
                    <a:pt x="50098" y="85130"/>
                    <a:pt x="52750" y="46940"/>
                    <a:pt x="55454" y="8740"/>
                  </a:cubicBezTo>
                  <a:cubicBezTo>
                    <a:pt x="55420" y="3877"/>
                    <a:pt x="51450" y="-34"/>
                    <a:pt x="46590" y="0"/>
                  </a:cubicBezTo>
                  <a:cubicBezTo>
                    <a:pt x="45044" y="11"/>
                    <a:pt x="43530" y="427"/>
                    <a:pt x="42197" y="1209"/>
                  </a:cubicBezTo>
                  <a:lnTo>
                    <a:pt x="3988" y="26664"/>
                  </a:lnTo>
                  <a:cubicBezTo>
                    <a:pt x="-5345" y="32869"/>
                    <a:pt x="3405" y="48035"/>
                    <a:pt x="12818" y="41751"/>
                  </a:cubicBezTo>
                  <a:close/>
                </a:path>
              </a:pathLst>
            </a:custGeom>
            <a:solidFill>
              <a:srgbClr val="2A2E2D"/>
            </a:solidFill>
            <a:ln w="26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2767CEB1-53AF-FD39-3FA3-691214816C12}"/>
                </a:ext>
              </a:extLst>
            </p:cNvPr>
            <p:cNvSpPr/>
            <p:nvPr/>
          </p:nvSpPr>
          <p:spPr>
            <a:xfrm>
              <a:off x="7399101" y="3091999"/>
              <a:ext cx="62569" cy="17500"/>
            </a:xfrm>
            <a:custGeom>
              <a:avLst/>
              <a:gdLst>
                <a:gd name="connsiteX0" fmla="*/ 8442 w 62569"/>
                <a:gd name="connsiteY0" fmla="*/ 17500 h 17500"/>
                <a:gd name="connsiteX1" fmla="*/ 54128 w 62569"/>
                <a:gd name="connsiteY1" fmla="*/ 17500 h 17500"/>
                <a:gd name="connsiteX2" fmla="*/ 54128 w 62569"/>
                <a:gd name="connsiteY2" fmla="*/ 0 h 17500"/>
                <a:gd name="connsiteX3" fmla="*/ 8442 w 62569"/>
                <a:gd name="connsiteY3" fmla="*/ 0 h 17500"/>
                <a:gd name="connsiteX4" fmla="*/ 8442 w 62569"/>
                <a:gd name="connsiteY4" fmla="*/ 17500 h 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569" h="17500">
                  <a:moveTo>
                    <a:pt x="8442" y="17500"/>
                  </a:moveTo>
                  <a:lnTo>
                    <a:pt x="54128" y="17500"/>
                  </a:lnTo>
                  <a:cubicBezTo>
                    <a:pt x="65370" y="17500"/>
                    <a:pt x="65397" y="0"/>
                    <a:pt x="54128" y="0"/>
                  </a:cubicBezTo>
                  <a:lnTo>
                    <a:pt x="8442" y="0"/>
                  </a:lnTo>
                  <a:cubicBezTo>
                    <a:pt x="-2801" y="0"/>
                    <a:pt x="-2827" y="17500"/>
                    <a:pt x="8442" y="17500"/>
                  </a:cubicBezTo>
                  <a:close/>
                </a:path>
              </a:pathLst>
            </a:custGeom>
            <a:solidFill>
              <a:srgbClr val="2A2E2D"/>
            </a:solidFill>
            <a:ln w="26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203" name="Graphic 42">
            <a:extLst>
              <a:ext uri="{FF2B5EF4-FFF2-40B4-BE49-F238E27FC236}">
                <a16:creationId xmlns:a16="http://schemas.microsoft.com/office/drawing/2014/main" id="{823E5D32-82BA-7F25-248D-F35FDA29321E}"/>
              </a:ext>
            </a:extLst>
          </p:cNvPr>
          <p:cNvGrpSpPr/>
          <p:nvPr/>
        </p:nvGrpSpPr>
        <p:grpSpPr>
          <a:xfrm>
            <a:off x="924127" y="1300502"/>
            <a:ext cx="923595" cy="592823"/>
            <a:chOff x="924127" y="1300502"/>
            <a:chExt cx="923595" cy="592823"/>
          </a:xfrm>
          <a:solidFill>
            <a:srgbClr val="2A2E2D"/>
          </a:solidFill>
        </p:grpSpPr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C6F863A4-DCD0-0C18-8020-2BE4DF4392C1}"/>
                </a:ext>
              </a:extLst>
            </p:cNvPr>
            <p:cNvSpPr/>
            <p:nvPr/>
          </p:nvSpPr>
          <p:spPr>
            <a:xfrm>
              <a:off x="924127" y="1300502"/>
              <a:ext cx="919548" cy="592823"/>
            </a:xfrm>
            <a:custGeom>
              <a:avLst/>
              <a:gdLst>
                <a:gd name="connsiteX0" fmla="*/ 729429 w 919548"/>
                <a:gd name="connsiteY0" fmla="*/ 21637 h 592823"/>
                <a:gd name="connsiteX1" fmla="*/ 286014 w 919548"/>
                <a:gd name="connsiteY1" fmla="*/ 6391 h 592823"/>
                <a:gd name="connsiteX2" fmla="*/ 147047 w 919548"/>
                <a:gd name="connsiteY2" fmla="*/ 9811 h 592823"/>
                <a:gd name="connsiteX3" fmla="*/ 89005 w 919548"/>
                <a:gd name="connsiteY3" fmla="*/ 133744 h 592823"/>
                <a:gd name="connsiteX4" fmla="*/ 29557 w 919548"/>
                <a:gd name="connsiteY4" fmla="*/ 335870 h 592823"/>
                <a:gd name="connsiteX5" fmla="*/ 4819 w 919548"/>
                <a:gd name="connsiteY5" fmla="*/ 500848 h 592823"/>
                <a:gd name="connsiteX6" fmla="*/ 109846 w 919548"/>
                <a:gd name="connsiteY6" fmla="*/ 560269 h 592823"/>
                <a:gd name="connsiteX7" fmla="*/ 519852 w 919548"/>
                <a:gd name="connsiteY7" fmla="*/ 584477 h 592823"/>
                <a:gd name="connsiteX8" fmla="*/ 805316 w 919548"/>
                <a:gd name="connsiteY8" fmla="*/ 525454 h 592823"/>
                <a:gd name="connsiteX9" fmla="*/ 845089 w 919548"/>
                <a:gd name="connsiteY9" fmla="*/ 405446 h 592823"/>
                <a:gd name="connsiteX10" fmla="*/ 882449 w 919548"/>
                <a:gd name="connsiteY10" fmla="*/ 273638 h 592823"/>
                <a:gd name="connsiteX11" fmla="*/ 915275 w 919548"/>
                <a:gd name="connsiteY11" fmla="*/ 138410 h 592823"/>
                <a:gd name="connsiteX12" fmla="*/ 915089 w 919548"/>
                <a:gd name="connsiteY12" fmla="*/ 77425 h 592823"/>
                <a:gd name="connsiteX13" fmla="*/ 729482 w 919548"/>
                <a:gd name="connsiteY13" fmla="*/ 21743 h 592823"/>
                <a:gd name="connsiteX14" fmla="*/ 729482 w 919548"/>
                <a:gd name="connsiteY14" fmla="*/ 39216 h 592823"/>
                <a:gd name="connsiteX15" fmla="*/ 900586 w 919548"/>
                <a:gd name="connsiteY15" fmla="*/ 89251 h 592823"/>
                <a:gd name="connsiteX16" fmla="*/ 871419 w 919548"/>
                <a:gd name="connsiteY16" fmla="*/ 247786 h 592823"/>
                <a:gd name="connsiteX17" fmla="*/ 811627 w 919548"/>
                <a:gd name="connsiteY17" fmla="*/ 457787 h 592823"/>
                <a:gd name="connsiteX18" fmla="*/ 700262 w 919548"/>
                <a:gd name="connsiteY18" fmla="*/ 570795 h 592823"/>
                <a:gd name="connsiteX19" fmla="*/ 536742 w 919548"/>
                <a:gd name="connsiteY19" fmla="*/ 567799 h 592823"/>
                <a:gd name="connsiteX20" fmla="*/ 189551 w 919548"/>
                <a:gd name="connsiteY20" fmla="*/ 552659 h 592823"/>
                <a:gd name="connsiteX21" fmla="*/ 91868 w 919548"/>
                <a:gd name="connsiteY21" fmla="*/ 538473 h 592823"/>
                <a:gd name="connsiteX22" fmla="*/ 21019 w 919548"/>
                <a:gd name="connsiteY22" fmla="*/ 456408 h 592823"/>
                <a:gd name="connsiteX23" fmla="*/ 60792 w 919548"/>
                <a:gd name="connsiteY23" fmla="*/ 285623 h 592823"/>
                <a:gd name="connsiteX24" fmla="*/ 111172 w 919548"/>
                <a:gd name="connsiteY24" fmla="*/ 123058 h 592823"/>
                <a:gd name="connsiteX25" fmla="*/ 186846 w 919548"/>
                <a:gd name="connsiteY25" fmla="*/ 20921 h 592823"/>
                <a:gd name="connsiteX26" fmla="*/ 320033 w 919548"/>
                <a:gd name="connsiteY26" fmla="*/ 25057 h 592823"/>
                <a:gd name="connsiteX27" fmla="*/ 729429 w 919548"/>
                <a:gd name="connsiteY27" fmla="*/ 39110 h 592823"/>
                <a:gd name="connsiteX28" fmla="*/ 729429 w 919548"/>
                <a:gd name="connsiteY28" fmla="*/ 21637 h 592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919548" h="592823">
                  <a:moveTo>
                    <a:pt x="729429" y="21637"/>
                  </a:moveTo>
                  <a:cubicBezTo>
                    <a:pt x="581580" y="18137"/>
                    <a:pt x="433810" y="11402"/>
                    <a:pt x="286014" y="6391"/>
                  </a:cubicBezTo>
                  <a:cubicBezTo>
                    <a:pt x="249714" y="5277"/>
                    <a:pt x="180960" y="-9360"/>
                    <a:pt x="147047" y="9811"/>
                  </a:cubicBezTo>
                  <a:cubicBezTo>
                    <a:pt x="111490" y="29936"/>
                    <a:pt x="100751" y="99168"/>
                    <a:pt x="89005" y="133744"/>
                  </a:cubicBezTo>
                  <a:cubicBezTo>
                    <a:pt x="66414" y="200279"/>
                    <a:pt x="46598" y="267654"/>
                    <a:pt x="29557" y="335870"/>
                  </a:cubicBezTo>
                  <a:cubicBezTo>
                    <a:pt x="17970" y="382325"/>
                    <a:pt x="-11515" y="453014"/>
                    <a:pt x="4819" y="500848"/>
                  </a:cubicBezTo>
                  <a:cubicBezTo>
                    <a:pt x="19163" y="542901"/>
                    <a:pt x="71770" y="552951"/>
                    <a:pt x="109846" y="560269"/>
                  </a:cubicBezTo>
                  <a:cubicBezTo>
                    <a:pt x="242422" y="585803"/>
                    <a:pt x="385260" y="578830"/>
                    <a:pt x="519852" y="584477"/>
                  </a:cubicBezTo>
                  <a:cubicBezTo>
                    <a:pt x="607220" y="588137"/>
                    <a:pt x="753558" y="620856"/>
                    <a:pt x="805316" y="525454"/>
                  </a:cubicBezTo>
                  <a:cubicBezTo>
                    <a:pt x="825096" y="488969"/>
                    <a:pt x="833555" y="445113"/>
                    <a:pt x="845089" y="405446"/>
                  </a:cubicBezTo>
                  <a:cubicBezTo>
                    <a:pt x="857896" y="361616"/>
                    <a:pt x="870491" y="317707"/>
                    <a:pt x="882449" y="273638"/>
                  </a:cubicBezTo>
                  <a:cubicBezTo>
                    <a:pt x="894593" y="228934"/>
                    <a:pt x="907029" y="183937"/>
                    <a:pt x="915275" y="138410"/>
                  </a:cubicBezTo>
                  <a:cubicBezTo>
                    <a:pt x="918987" y="117781"/>
                    <a:pt x="922752" y="97497"/>
                    <a:pt x="915089" y="77425"/>
                  </a:cubicBezTo>
                  <a:cubicBezTo>
                    <a:pt x="890298" y="12197"/>
                    <a:pt x="783202" y="21319"/>
                    <a:pt x="729482" y="21743"/>
                  </a:cubicBezTo>
                  <a:cubicBezTo>
                    <a:pt x="718240" y="21743"/>
                    <a:pt x="718213" y="39323"/>
                    <a:pt x="729482" y="39216"/>
                  </a:cubicBezTo>
                  <a:cubicBezTo>
                    <a:pt x="775354" y="38792"/>
                    <a:pt x="884729" y="27709"/>
                    <a:pt x="900586" y="89251"/>
                  </a:cubicBezTo>
                  <a:cubicBezTo>
                    <a:pt x="912464" y="135388"/>
                    <a:pt x="883112" y="203717"/>
                    <a:pt x="871419" y="247786"/>
                  </a:cubicBezTo>
                  <a:cubicBezTo>
                    <a:pt x="852725" y="318131"/>
                    <a:pt x="832282" y="388025"/>
                    <a:pt x="811627" y="457787"/>
                  </a:cubicBezTo>
                  <a:cubicBezTo>
                    <a:pt x="793543" y="518772"/>
                    <a:pt x="769414" y="562629"/>
                    <a:pt x="700262" y="570795"/>
                  </a:cubicBezTo>
                  <a:cubicBezTo>
                    <a:pt x="646728" y="577106"/>
                    <a:pt x="590409" y="570053"/>
                    <a:pt x="536742" y="567799"/>
                  </a:cubicBezTo>
                  <a:cubicBezTo>
                    <a:pt x="421136" y="562973"/>
                    <a:pt x="304945" y="561170"/>
                    <a:pt x="189551" y="552659"/>
                  </a:cubicBezTo>
                  <a:cubicBezTo>
                    <a:pt x="156672" y="550246"/>
                    <a:pt x="123899" y="546428"/>
                    <a:pt x="91868" y="538473"/>
                  </a:cubicBezTo>
                  <a:cubicBezTo>
                    <a:pt x="45069" y="526807"/>
                    <a:pt x="17069" y="512647"/>
                    <a:pt x="21019" y="456408"/>
                  </a:cubicBezTo>
                  <a:cubicBezTo>
                    <a:pt x="24970" y="400169"/>
                    <a:pt x="45970" y="339741"/>
                    <a:pt x="60792" y="285623"/>
                  </a:cubicBezTo>
                  <a:cubicBezTo>
                    <a:pt x="75765" y="230825"/>
                    <a:pt x="92558" y="176637"/>
                    <a:pt x="111172" y="123058"/>
                  </a:cubicBezTo>
                  <a:cubicBezTo>
                    <a:pt x="126153" y="79838"/>
                    <a:pt x="132569" y="25137"/>
                    <a:pt x="186846" y="20921"/>
                  </a:cubicBezTo>
                  <a:cubicBezTo>
                    <a:pt x="230305" y="17553"/>
                    <a:pt x="276548" y="23572"/>
                    <a:pt x="320033" y="25057"/>
                  </a:cubicBezTo>
                  <a:cubicBezTo>
                    <a:pt x="456481" y="29804"/>
                    <a:pt x="592928" y="35876"/>
                    <a:pt x="729429" y="39110"/>
                  </a:cubicBezTo>
                  <a:cubicBezTo>
                    <a:pt x="740698" y="39376"/>
                    <a:pt x="740672" y="21902"/>
                    <a:pt x="729429" y="21637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00D8FFBC-E908-163D-9589-F3A2AE7E591F}"/>
                </a:ext>
              </a:extLst>
            </p:cNvPr>
            <p:cNvSpPr/>
            <p:nvPr/>
          </p:nvSpPr>
          <p:spPr>
            <a:xfrm>
              <a:off x="1719622" y="1386382"/>
              <a:ext cx="123980" cy="435704"/>
            </a:xfrm>
            <a:custGeom>
              <a:avLst/>
              <a:gdLst>
                <a:gd name="connsiteX0" fmla="*/ 8442 w 123980"/>
                <a:gd name="connsiteY0" fmla="*/ 435676 h 435704"/>
                <a:gd name="connsiteX1" fmla="*/ 77620 w 123980"/>
                <a:gd name="connsiteY1" fmla="*/ 435040 h 435704"/>
                <a:gd name="connsiteX2" fmla="*/ 86052 w 123980"/>
                <a:gd name="connsiteY2" fmla="*/ 428623 h 435704"/>
                <a:gd name="connsiteX3" fmla="*/ 123943 w 123980"/>
                <a:gd name="connsiteY3" fmla="*/ 8382 h 435704"/>
                <a:gd name="connsiteX4" fmla="*/ 106442 w 123980"/>
                <a:gd name="connsiteY4" fmla="*/ 8382 h 435704"/>
                <a:gd name="connsiteX5" fmla="*/ 89181 w 123980"/>
                <a:gd name="connsiteY5" fmla="*/ 233152 h 435704"/>
                <a:gd name="connsiteX6" fmla="*/ 79423 w 123980"/>
                <a:gd name="connsiteY6" fmla="*/ 340062 h 435704"/>
                <a:gd name="connsiteX7" fmla="*/ 72662 w 123980"/>
                <a:gd name="connsiteY7" fmla="*/ 398396 h 435704"/>
                <a:gd name="connsiteX8" fmla="*/ 8442 w 123980"/>
                <a:gd name="connsiteY8" fmla="*/ 418203 h 435704"/>
                <a:gd name="connsiteX9" fmla="*/ 8442 w 123980"/>
                <a:gd name="connsiteY9" fmla="*/ 435703 h 435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980" h="435704">
                  <a:moveTo>
                    <a:pt x="8442" y="435676"/>
                  </a:moveTo>
                  <a:cubicBezTo>
                    <a:pt x="31510" y="435218"/>
                    <a:pt x="54570" y="435006"/>
                    <a:pt x="77620" y="435040"/>
                  </a:cubicBezTo>
                  <a:cubicBezTo>
                    <a:pt x="81547" y="435022"/>
                    <a:pt x="84989" y="432404"/>
                    <a:pt x="86052" y="428623"/>
                  </a:cubicBezTo>
                  <a:cubicBezTo>
                    <a:pt x="105567" y="289259"/>
                    <a:pt x="112064" y="148516"/>
                    <a:pt x="123943" y="8382"/>
                  </a:cubicBezTo>
                  <a:cubicBezTo>
                    <a:pt x="124897" y="-2834"/>
                    <a:pt x="107397" y="-2754"/>
                    <a:pt x="106442" y="8382"/>
                  </a:cubicBezTo>
                  <a:cubicBezTo>
                    <a:pt x="100105" y="83261"/>
                    <a:pt x="95253" y="158247"/>
                    <a:pt x="89181" y="233152"/>
                  </a:cubicBezTo>
                  <a:cubicBezTo>
                    <a:pt x="86291" y="268816"/>
                    <a:pt x="83189" y="304479"/>
                    <a:pt x="79423" y="340062"/>
                  </a:cubicBezTo>
                  <a:cubicBezTo>
                    <a:pt x="77594" y="357509"/>
                    <a:pt x="78946" y="382009"/>
                    <a:pt x="72662" y="398396"/>
                  </a:cubicBezTo>
                  <a:cubicBezTo>
                    <a:pt x="61578" y="427351"/>
                    <a:pt x="34003" y="417699"/>
                    <a:pt x="8442" y="418203"/>
                  </a:cubicBezTo>
                  <a:cubicBezTo>
                    <a:pt x="-2801" y="418442"/>
                    <a:pt x="-2827" y="435915"/>
                    <a:pt x="8442" y="435703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06C0CC43-F996-4B54-CB69-9ACDCAEFA125}"/>
                </a:ext>
              </a:extLst>
            </p:cNvPr>
            <p:cNvSpPr/>
            <p:nvPr/>
          </p:nvSpPr>
          <p:spPr>
            <a:xfrm>
              <a:off x="1003619" y="1368490"/>
              <a:ext cx="713107" cy="457559"/>
            </a:xfrm>
            <a:custGeom>
              <a:avLst/>
              <a:gdLst>
                <a:gd name="connsiteX0" fmla="*/ 121725 w 713107"/>
                <a:gd name="connsiteY0" fmla="*/ 448 h 457559"/>
                <a:gd name="connsiteX1" fmla="*/ 93990 w 713107"/>
                <a:gd name="connsiteY1" fmla="*/ 44066 h 457559"/>
                <a:gd name="connsiteX2" fmla="*/ 62941 w 713107"/>
                <a:gd name="connsiteY2" fmla="*/ 158426 h 457559"/>
                <a:gd name="connsiteX3" fmla="*/ 1399 w 713107"/>
                <a:gd name="connsiteY3" fmla="*/ 384973 h 457559"/>
                <a:gd name="connsiteX4" fmla="*/ 23963 w 713107"/>
                <a:gd name="connsiteY4" fmla="*/ 418250 h 457559"/>
                <a:gd name="connsiteX5" fmla="*/ 102740 w 713107"/>
                <a:gd name="connsiteY5" fmla="*/ 423977 h 457559"/>
                <a:gd name="connsiteX6" fmla="*/ 413155 w 713107"/>
                <a:gd name="connsiteY6" fmla="*/ 444898 h 457559"/>
                <a:gd name="connsiteX7" fmla="*/ 548887 w 713107"/>
                <a:gd name="connsiteY7" fmla="*/ 454125 h 457559"/>
                <a:gd name="connsiteX8" fmla="*/ 618065 w 713107"/>
                <a:gd name="connsiteY8" fmla="*/ 440019 h 457559"/>
                <a:gd name="connsiteX9" fmla="*/ 632198 w 713107"/>
                <a:gd name="connsiteY9" fmla="*/ 381685 h 457559"/>
                <a:gd name="connsiteX10" fmla="*/ 663645 w 713107"/>
                <a:gd name="connsiteY10" fmla="*/ 251495 h 457559"/>
                <a:gd name="connsiteX11" fmla="*/ 696073 w 713107"/>
                <a:gd name="connsiteY11" fmla="*/ 117328 h 457559"/>
                <a:gd name="connsiteX12" fmla="*/ 713096 w 713107"/>
                <a:gd name="connsiteY12" fmla="*/ 46903 h 457559"/>
                <a:gd name="connsiteX13" fmla="*/ 618410 w 713107"/>
                <a:gd name="connsiteY13" fmla="*/ 15085 h 457559"/>
                <a:gd name="connsiteX14" fmla="*/ 124032 w 713107"/>
                <a:gd name="connsiteY14" fmla="*/ 130 h 457559"/>
                <a:gd name="connsiteX15" fmla="*/ 124032 w 713107"/>
                <a:gd name="connsiteY15" fmla="*/ 17630 h 457559"/>
                <a:gd name="connsiteX16" fmla="*/ 509803 w 713107"/>
                <a:gd name="connsiteY16" fmla="*/ 29111 h 457559"/>
                <a:gd name="connsiteX17" fmla="*/ 618516 w 713107"/>
                <a:gd name="connsiteY17" fmla="*/ 32346 h 457559"/>
                <a:gd name="connsiteX18" fmla="*/ 683187 w 713107"/>
                <a:gd name="connsiteY18" fmla="*/ 34255 h 457559"/>
                <a:gd name="connsiteX19" fmla="*/ 692229 w 713107"/>
                <a:gd name="connsiteY19" fmla="*/ 59047 h 457559"/>
                <a:gd name="connsiteX20" fmla="*/ 669717 w 713107"/>
                <a:gd name="connsiteY20" fmla="*/ 152275 h 457559"/>
                <a:gd name="connsiteX21" fmla="*/ 613266 w 713107"/>
                <a:gd name="connsiteY21" fmla="*/ 385901 h 457559"/>
                <a:gd name="connsiteX22" fmla="*/ 591258 w 713107"/>
                <a:gd name="connsiteY22" fmla="*/ 439648 h 457559"/>
                <a:gd name="connsiteX23" fmla="*/ 503546 w 713107"/>
                <a:gd name="connsiteY23" fmla="*/ 433523 h 457559"/>
                <a:gd name="connsiteX24" fmla="*/ 224949 w 713107"/>
                <a:gd name="connsiteY24" fmla="*/ 414776 h 457559"/>
                <a:gd name="connsiteX25" fmla="*/ 95873 w 713107"/>
                <a:gd name="connsiteY25" fmla="*/ 406000 h 457559"/>
                <a:gd name="connsiteX26" fmla="*/ 25183 w 713107"/>
                <a:gd name="connsiteY26" fmla="*/ 400856 h 457559"/>
                <a:gd name="connsiteX27" fmla="*/ 30486 w 713107"/>
                <a:gd name="connsiteY27" fmla="*/ 344749 h 457559"/>
                <a:gd name="connsiteX28" fmla="*/ 65195 w 713107"/>
                <a:gd name="connsiteY28" fmla="*/ 217052 h 457559"/>
                <a:gd name="connsiteX29" fmla="*/ 101043 w 713107"/>
                <a:gd name="connsiteY29" fmla="*/ 85005 h 457559"/>
                <a:gd name="connsiteX30" fmla="*/ 126418 w 713107"/>
                <a:gd name="connsiteY30" fmla="*/ 17312 h 457559"/>
                <a:gd name="connsiteX31" fmla="*/ 121725 w 713107"/>
                <a:gd name="connsiteY31" fmla="*/ 448 h 457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713107" h="457559">
                  <a:moveTo>
                    <a:pt x="121725" y="448"/>
                  </a:moveTo>
                  <a:cubicBezTo>
                    <a:pt x="100301" y="7183"/>
                    <a:pt x="99267" y="24789"/>
                    <a:pt x="93990" y="44066"/>
                  </a:cubicBezTo>
                  <a:cubicBezTo>
                    <a:pt x="83649" y="82195"/>
                    <a:pt x="73299" y="120315"/>
                    <a:pt x="62941" y="158426"/>
                  </a:cubicBezTo>
                  <a:cubicBezTo>
                    <a:pt x="42603" y="233253"/>
                    <a:pt x="16247" y="308848"/>
                    <a:pt x="1399" y="384973"/>
                  </a:cubicBezTo>
                  <a:cubicBezTo>
                    <a:pt x="-2764" y="406185"/>
                    <a:pt x="1690" y="414432"/>
                    <a:pt x="23963" y="418250"/>
                  </a:cubicBezTo>
                  <a:cubicBezTo>
                    <a:pt x="49550" y="422598"/>
                    <a:pt x="76994" y="422174"/>
                    <a:pt x="102740" y="423977"/>
                  </a:cubicBezTo>
                  <a:cubicBezTo>
                    <a:pt x="206203" y="431049"/>
                    <a:pt x="309674" y="438022"/>
                    <a:pt x="413155" y="444898"/>
                  </a:cubicBezTo>
                  <a:cubicBezTo>
                    <a:pt x="458390" y="447955"/>
                    <a:pt x="503633" y="451031"/>
                    <a:pt x="548887" y="454125"/>
                  </a:cubicBezTo>
                  <a:cubicBezTo>
                    <a:pt x="572539" y="455769"/>
                    <a:pt x="605603" y="466216"/>
                    <a:pt x="618065" y="440019"/>
                  </a:cubicBezTo>
                  <a:cubicBezTo>
                    <a:pt x="626020" y="423129"/>
                    <a:pt x="627850" y="399610"/>
                    <a:pt x="632198" y="381685"/>
                  </a:cubicBezTo>
                  <a:lnTo>
                    <a:pt x="663645" y="251495"/>
                  </a:lnTo>
                  <a:cubicBezTo>
                    <a:pt x="674464" y="206756"/>
                    <a:pt x="685274" y="162032"/>
                    <a:pt x="696073" y="117328"/>
                  </a:cubicBezTo>
                  <a:cubicBezTo>
                    <a:pt x="701377" y="95665"/>
                    <a:pt x="712593" y="69308"/>
                    <a:pt x="713096" y="46903"/>
                  </a:cubicBezTo>
                  <a:cubicBezTo>
                    <a:pt x="714077" y="3312"/>
                    <a:pt x="647656" y="15854"/>
                    <a:pt x="618410" y="15085"/>
                  </a:cubicBezTo>
                  <a:lnTo>
                    <a:pt x="124032" y="130"/>
                  </a:lnTo>
                  <a:cubicBezTo>
                    <a:pt x="112790" y="-188"/>
                    <a:pt x="112790" y="17285"/>
                    <a:pt x="124032" y="17630"/>
                  </a:cubicBezTo>
                  <a:lnTo>
                    <a:pt x="509803" y="29111"/>
                  </a:lnTo>
                  <a:lnTo>
                    <a:pt x="618516" y="32346"/>
                  </a:lnTo>
                  <a:cubicBezTo>
                    <a:pt x="637793" y="32903"/>
                    <a:pt x="664547" y="28873"/>
                    <a:pt x="683187" y="34255"/>
                  </a:cubicBezTo>
                  <a:cubicBezTo>
                    <a:pt x="698566" y="38710"/>
                    <a:pt x="695967" y="43615"/>
                    <a:pt x="692229" y="59047"/>
                  </a:cubicBezTo>
                  <a:lnTo>
                    <a:pt x="669717" y="152275"/>
                  </a:lnTo>
                  <a:cubicBezTo>
                    <a:pt x="650891" y="230158"/>
                    <a:pt x="632073" y="308034"/>
                    <a:pt x="613266" y="385901"/>
                  </a:cubicBezTo>
                  <a:cubicBezTo>
                    <a:pt x="609209" y="402685"/>
                    <a:pt x="609236" y="433284"/>
                    <a:pt x="591258" y="439648"/>
                  </a:cubicBezTo>
                  <a:cubicBezTo>
                    <a:pt x="570046" y="447152"/>
                    <a:pt x="525819" y="435034"/>
                    <a:pt x="503546" y="433523"/>
                  </a:cubicBezTo>
                  <a:cubicBezTo>
                    <a:pt x="410689" y="427178"/>
                    <a:pt x="317825" y="420928"/>
                    <a:pt x="224949" y="414776"/>
                  </a:cubicBezTo>
                  <a:cubicBezTo>
                    <a:pt x="181924" y="411878"/>
                    <a:pt x="138898" y="408951"/>
                    <a:pt x="95873" y="406000"/>
                  </a:cubicBezTo>
                  <a:cubicBezTo>
                    <a:pt x="78744" y="404807"/>
                    <a:pt x="40350" y="409606"/>
                    <a:pt x="25183" y="400856"/>
                  </a:cubicBezTo>
                  <a:cubicBezTo>
                    <a:pt x="9486" y="391788"/>
                    <a:pt x="26244" y="360632"/>
                    <a:pt x="30486" y="344749"/>
                  </a:cubicBezTo>
                  <a:lnTo>
                    <a:pt x="65195" y="217052"/>
                  </a:lnTo>
                  <a:cubicBezTo>
                    <a:pt x="77162" y="173036"/>
                    <a:pt x="89111" y="129021"/>
                    <a:pt x="101043" y="85005"/>
                  </a:cubicBezTo>
                  <a:cubicBezTo>
                    <a:pt x="105074" y="70183"/>
                    <a:pt x="108998" y="22774"/>
                    <a:pt x="126418" y="17312"/>
                  </a:cubicBezTo>
                  <a:cubicBezTo>
                    <a:pt x="137078" y="13944"/>
                    <a:pt x="132623" y="-2946"/>
                    <a:pt x="121725" y="448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3A44F474-87EE-9329-A2B0-89A07DEDCA70}"/>
                </a:ext>
              </a:extLst>
            </p:cNvPr>
            <p:cNvSpPr/>
            <p:nvPr/>
          </p:nvSpPr>
          <p:spPr>
            <a:xfrm>
              <a:off x="1695296" y="1598050"/>
              <a:ext cx="54400" cy="59223"/>
            </a:xfrm>
            <a:custGeom>
              <a:avLst/>
              <a:gdLst>
                <a:gd name="connsiteX0" fmla="*/ 10442 w 54400"/>
                <a:gd name="connsiteY0" fmla="*/ 4700 h 59223"/>
                <a:gd name="connsiteX1" fmla="*/ 2806 w 54400"/>
                <a:gd name="connsiteY1" fmla="*/ 26204 h 59223"/>
                <a:gd name="connsiteX2" fmla="*/ 446 w 54400"/>
                <a:gd name="connsiteY2" fmla="*/ 47761 h 59223"/>
                <a:gd name="connsiteX3" fmla="*/ 37886 w 54400"/>
                <a:gd name="connsiteY3" fmla="*/ 58367 h 59223"/>
                <a:gd name="connsiteX4" fmla="*/ 46318 w 54400"/>
                <a:gd name="connsiteY4" fmla="*/ 51950 h 59223"/>
                <a:gd name="connsiteX5" fmla="*/ 52124 w 54400"/>
                <a:gd name="connsiteY5" fmla="*/ 28563 h 59223"/>
                <a:gd name="connsiteX6" fmla="*/ 53530 w 54400"/>
                <a:gd name="connsiteY6" fmla="*/ 11859 h 59223"/>
                <a:gd name="connsiteX7" fmla="*/ 19511 w 54400"/>
                <a:gd name="connsiteY7" fmla="*/ 1253 h 59223"/>
                <a:gd name="connsiteX8" fmla="*/ 19511 w 54400"/>
                <a:gd name="connsiteY8" fmla="*/ 18726 h 59223"/>
                <a:gd name="connsiteX9" fmla="*/ 31151 w 54400"/>
                <a:gd name="connsiteY9" fmla="*/ 18488 h 59223"/>
                <a:gd name="connsiteX10" fmla="*/ 37462 w 54400"/>
                <a:gd name="connsiteY10" fmla="*/ 19628 h 59223"/>
                <a:gd name="connsiteX11" fmla="*/ 35605 w 54400"/>
                <a:gd name="connsiteY11" fmla="*/ 22597 h 59223"/>
                <a:gd name="connsiteX12" fmla="*/ 29454 w 54400"/>
                <a:gd name="connsiteY12" fmla="*/ 47257 h 59223"/>
                <a:gd name="connsiteX13" fmla="*/ 37886 w 54400"/>
                <a:gd name="connsiteY13" fmla="*/ 40840 h 59223"/>
                <a:gd name="connsiteX14" fmla="*/ 23727 w 54400"/>
                <a:gd name="connsiteY14" fmla="*/ 41052 h 59223"/>
                <a:gd name="connsiteX15" fmla="*/ 15772 w 54400"/>
                <a:gd name="connsiteY15" fmla="*/ 41052 h 59223"/>
                <a:gd name="connsiteX16" fmla="*/ 17469 w 54400"/>
                <a:gd name="connsiteY16" fmla="*/ 44711 h 59223"/>
                <a:gd name="connsiteX17" fmla="*/ 17708 w 54400"/>
                <a:gd name="connsiteY17" fmla="*/ 41423 h 59223"/>
                <a:gd name="connsiteX18" fmla="*/ 25450 w 54400"/>
                <a:gd name="connsiteY18" fmla="*/ 13397 h 59223"/>
                <a:gd name="connsiteX19" fmla="*/ 10363 w 54400"/>
                <a:gd name="connsiteY19" fmla="*/ 4567 h 59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4400" h="59223">
                  <a:moveTo>
                    <a:pt x="10442" y="4700"/>
                  </a:moveTo>
                  <a:cubicBezTo>
                    <a:pt x="7226" y="11612"/>
                    <a:pt x="4670" y="18811"/>
                    <a:pt x="2806" y="26204"/>
                  </a:cubicBezTo>
                  <a:cubicBezTo>
                    <a:pt x="1268" y="32726"/>
                    <a:pt x="-959" y="41079"/>
                    <a:pt x="446" y="47761"/>
                  </a:cubicBezTo>
                  <a:cubicBezTo>
                    <a:pt x="3707" y="63458"/>
                    <a:pt x="26431" y="58526"/>
                    <a:pt x="37886" y="58367"/>
                  </a:cubicBezTo>
                  <a:cubicBezTo>
                    <a:pt x="41805" y="58322"/>
                    <a:pt x="45230" y="55715"/>
                    <a:pt x="46318" y="51950"/>
                  </a:cubicBezTo>
                  <a:lnTo>
                    <a:pt x="52124" y="28563"/>
                  </a:lnTo>
                  <a:cubicBezTo>
                    <a:pt x="53450" y="23260"/>
                    <a:pt x="55625" y="17321"/>
                    <a:pt x="53530" y="11859"/>
                  </a:cubicBezTo>
                  <a:cubicBezTo>
                    <a:pt x="48863" y="-338"/>
                    <a:pt x="30090" y="33"/>
                    <a:pt x="19511" y="1253"/>
                  </a:cubicBezTo>
                  <a:cubicBezTo>
                    <a:pt x="8427" y="2366"/>
                    <a:pt x="8295" y="19813"/>
                    <a:pt x="19511" y="18726"/>
                  </a:cubicBezTo>
                  <a:cubicBezTo>
                    <a:pt x="23374" y="18276"/>
                    <a:pt x="27272" y="18196"/>
                    <a:pt x="31151" y="18488"/>
                  </a:cubicBezTo>
                  <a:cubicBezTo>
                    <a:pt x="33309" y="18443"/>
                    <a:pt x="35454" y="18830"/>
                    <a:pt x="37462" y="19628"/>
                  </a:cubicBezTo>
                  <a:cubicBezTo>
                    <a:pt x="35314" y="17878"/>
                    <a:pt x="36268" y="19972"/>
                    <a:pt x="35605" y="22597"/>
                  </a:cubicBezTo>
                  <a:cubicBezTo>
                    <a:pt x="33572" y="30817"/>
                    <a:pt x="31522" y="39037"/>
                    <a:pt x="29454" y="47257"/>
                  </a:cubicBezTo>
                  <a:lnTo>
                    <a:pt x="37886" y="40840"/>
                  </a:lnTo>
                  <a:lnTo>
                    <a:pt x="23727" y="41052"/>
                  </a:lnTo>
                  <a:cubicBezTo>
                    <a:pt x="21080" y="40792"/>
                    <a:pt x="18418" y="40792"/>
                    <a:pt x="15772" y="41052"/>
                  </a:cubicBezTo>
                  <a:cubicBezTo>
                    <a:pt x="16355" y="42272"/>
                    <a:pt x="16912" y="43492"/>
                    <a:pt x="17469" y="44711"/>
                  </a:cubicBezTo>
                  <a:cubicBezTo>
                    <a:pt x="17469" y="43598"/>
                    <a:pt x="17469" y="42510"/>
                    <a:pt x="17708" y="41423"/>
                  </a:cubicBezTo>
                  <a:cubicBezTo>
                    <a:pt x="18787" y="31729"/>
                    <a:pt x="21401" y="22269"/>
                    <a:pt x="25450" y="13397"/>
                  </a:cubicBezTo>
                  <a:cubicBezTo>
                    <a:pt x="30011" y="3188"/>
                    <a:pt x="14844" y="-5721"/>
                    <a:pt x="10363" y="4567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96BA5236-E997-0107-A3E9-92040617E4DF}"/>
                </a:ext>
              </a:extLst>
            </p:cNvPr>
            <p:cNvSpPr/>
            <p:nvPr/>
          </p:nvSpPr>
          <p:spPr>
            <a:xfrm>
              <a:off x="1634083" y="1341056"/>
              <a:ext cx="186803" cy="542509"/>
            </a:xfrm>
            <a:custGeom>
              <a:avLst/>
              <a:gdLst>
                <a:gd name="connsiteX0" fmla="*/ 156584 w 186803"/>
                <a:gd name="connsiteY0" fmla="*/ 14651 h 542509"/>
                <a:gd name="connsiteX1" fmla="*/ 158201 w 186803"/>
                <a:gd name="connsiteY1" fmla="*/ 132909 h 542509"/>
                <a:gd name="connsiteX2" fmla="*/ 124341 w 186803"/>
                <a:gd name="connsiteY2" fmla="*/ 273149 h 542509"/>
                <a:gd name="connsiteX3" fmla="*/ 82420 w 186803"/>
                <a:gd name="connsiteY3" fmla="*/ 420309 h 542509"/>
                <a:gd name="connsiteX4" fmla="*/ 4412 w 186803"/>
                <a:gd name="connsiteY4" fmla="*/ 526370 h 542509"/>
                <a:gd name="connsiteX5" fmla="*/ 13242 w 186803"/>
                <a:gd name="connsiteY5" fmla="*/ 541457 h 542509"/>
                <a:gd name="connsiteX6" fmla="*/ 89924 w 186803"/>
                <a:gd name="connsiteY6" fmla="*/ 454222 h 542509"/>
                <a:gd name="connsiteX7" fmla="*/ 145421 w 186803"/>
                <a:gd name="connsiteY7" fmla="*/ 261508 h 542509"/>
                <a:gd name="connsiteX8" fmla="*/ 182913 w 186803"/>
                <a:gd name="connsiteY8" fmla="*/ 94462 h 542509"/>
                <a:gd name="connsiteX9" fmla="*/ 168940 w 186803"/>
                <a:gd name="connsiteY9" fmla="*/ 2321 h 542509"/>
                <a:gd name="connsiteX10" fmla="*/ 156584 w 186803"/>
                <a:gd name="connsiteY10" fmla="*/ 14704 h 542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6803" h="542509">
                  <a:moveTo>
                    <a:pt x="156584" y="14651"/>
                  </a:moveTo>
                  <a:cubicBezTo>
                    <a:pt x="183947" y="39151"/>
                    <a:pt x="164538" y="102973"/>
                    <a:pt x="158201" y="132909"/>
                  </a:cubicBezTo>
                  <a:cubicBezTo>
                    <a:pt x="148258" y="179947"/>
                    <a:pt x="136538" y="226667"/>
                    <a:pt x="124341" y="273149"/>
                  </a:cubicBezTo>
                  <a:cubicBezTo>
                    <a:pt x="111375" y="322494"/>
                    <a:pt x="97295" y="371520"/>
                    <a:pt x="82420" y="420309"/>
                  </a:cubicBezTo>
                  <a:cubicBezTo>
                    <a:pt x="68022" y="467426"/>
                    <a:pt x="50363" y="502877"/>
                    <a:pt x="4412" y="526370"/>
                  </a:cubicBezTo>
                  <a:cubicBezTo>
                    <a:pt x="-5611" y="531487"/>
                    <a:pt x="3219" y="546601"/>
                    <a:pt x="13242" y="541457"/>
                  </a:cubicBezTo>
                  <a:cubicBezTo>
                    <a:pt x="51371" y="521942"/>
                    <a:pt x="75129" y="494339"/>
                    <a:pt x="89924" y="454222"/>
                  </a:cubicBezTo>
                  <a:cubicBezTo>
                    <a:pt x="112913" y="391884"/>
                    <a:pt x="128849" y="325755"/>
                    <a:pt x="145421" y="261508"/>
                  </a:cubicBezTo>
                  <a:cubicBezTo>
                    <a:pt x="159606" y="206542"/>
                    <a:pt x="175038" y="150727"/>
                    <a:pt x="182913" y="94462"/>
                  </a:cubicBezTo>
                  <a:cubicBezTo>
                    <a:pt x="186944" y="65666"/>
                    <a:pt x="193387" y="24223"/>
                    <a:pt x="168940" y="2321"/>
                  </a:cubicBezTo>
                  <a:cubicBezTo>
                    <a:pt x="160587" y="-5156"/>
                    <a:pt x="148152" y="7173"/>
                    <a:pt x="156584" y="14704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B75A87E8-AA05-98A4-BD14-5DFB53BB3D79}"/>
                </a:ext>
              </a:extLst>
            </p:cNvPr>
            <p:cNvSpPr/>
            <p:nvPr/>
          </p:nvSpPr>
          <p:spPr>
            <a:xfrm>
              <a:off x="1785752" y="1402400"/>
              <a:ext cx="61970" cy="418896"/>
            </a:xfrm>
            <a:custGeom>
              <a:avLst/>
              <a:gdLst>
                <a:gd name="connsiteX0" fmla="*/ 41691 w 61970"/>
                <a:gd name="connsiteY0" fmla="*/ 8405 h 418896"/>
                <a:gd name="connsiteX1" fmla="*/ 42779 w 61970"/>
                <a:gd name="connsiteY1" fmla="*/ 204619 h 418896"/>
                <a:gd name="connsiteX2" fmla="*/ 6320 w 61970"/>
                <a:gd name="connsiteY2" fmla="*/ 401866 h 418896"/>
                <a:gd name="connsiteX3" fmla="*/ 10960 w 61970"/>
                <a:gd name="connsiteY3" fmla="*/ 418730 h 418896"/>
                <a:gd name="connsiteX4" fmla="*/ 56036 w 61970"/>
                <a:gd name="connsiteY4" fmla="*/ 281301 h 418896"/>
                <a:gd name="connsiteX5" fmla="*/ 59324 w 61970"/>
                <a:gd name="connsiteY5" fmla="*/ 8432 h 418896"/>
                <a:gd name="connsiteX6" fmla="*/ 41824 w 61970"/>
                <a:gd name="connsiteY6" fmla="*/ 8432 h 418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970" h="418896">
                  <a:moveTo>
                    <a:pt x="41691" y="8405"/>
                  </a:moveTo>
                  <a:cubicBezTo>
                    <a:pt x="44741" y="73792"/>
                    <a:pt x="45324" y="139179"/>
                    <a:pt x="42779" y="204619"/>
                  </a:cubicBezTo>
                  <a:cubicBezTo>
                    <a:pt x="41347" y="240998"/>
                    <a:pt x="48665" y="394097"/>
                    <a:pt x="6320" y="401866"/>
                  </a:cubicBezTo>
                  <a:cubicBezTo>
                    <a:pt x="-4737" y="403881"/>
                    <a:pt x="-70" y="420745"/>
                    <a:pt x="10960" y="418730"/>
                  </a:cubicBezTo>
                  <a:cubicBezTo>
                    <a:pt x="61657" y="409423"/>
                    <a:pt x="53226" y="317282"/>
                    <a:pt x="56036" y="281301"/>
                  </a:cubicBezTo>
                  <a:cubicBezTo>
                    <a:pt x="62633" y="190494"/>
                    <a:pt x="63731" y="99371"/>
                    <a:pt x="59324" y="8432"/>
                  </a:cubicBezTo>
                  <a:cubicBezTo>
                    <a:pt x="58794" y="-2784"/>
                    <a:pt x="41294" y="-2837"/>
                    <a:pt x="41824" y="8432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EEBE0F90-2287-0A6B-2D1A-BD146BC7700A}"/>
                </a:ext>
              </a:extLst>
            </p:cNvPr>
            <p:cNvSpPr/>
            <p:nvPr/>
          </p:nvSpPr>
          <p:spPr>
            <a:xfrm>
              <a:off x="1100433" y="1440965"/>
              <a:ext cx="347414" cy="211544"/>
            </a:xfrm>
            <a:custGeom>
              <a:avLst/>
              <a:gdLst>
                <a:gd name="connsiteX0" fmla="*/ 89795 w 347414"/>
                <a:gd name="connsiteY0" fmla="*/ 135535 h 211544"/>
                <a:gd name="connsiteX1" fmla="*/ 269171 w 347414"/>
                <a:gd name="connsiteY1" fmla="*/ 146141 h 211544"/>
                <a:gd name="connsiteX2" fmla="*/ 340152 w 347414"/>
                <a:gd name="connsiteY2" fmla="*/ 114588 h 211544"/>
                <a:gd name="connsiteX3" fmla="*/ 230617 w 347414"/>
                <a:gd name="connsiteY3" fmla="*/ 9905 h 211544"/>
                <a:gd name="connsiteX4" fmla="*/ 3567 w 347414"/>
                <a:gd name="connsiteY4" fmla="*/ 52118 h 211544"/>
                <a:gd name="connsiteX5" fmla="*/ 18283 w 347414"/>
                <a:gd name="connsiteY5" fmla="*/ 119811 h 211544"/>
                <a:gd name="connsiteX6" fmla="*/ 34669 w 347414"/>
                <a:gd name="connsiteY6" fmla="*/ 135720 h 211544"/>
                <a:gd name="connsiteX7" fmla="*/ 45116 w 347414"/>
                <a:gd name="connsiteY7" fmla="*/ 167141 h 211544"/>
                <a:gd name="connsiteX8" fmla="*/ 68423 w 347414"/>
                <a:gd name="connsiteY8" fmla="*/ 209168 h 211544"/>
                <a:gd name="connsiteX9" fmla="*/ 83033 w 347414"/>
                <a:gd name="connsiteY9" fmla="*/ 200683 h 211544"/>
                <a:gd name="connsiteX10" fmla="*/ 92526 w 347414"/>
                <a:gd name="connsiteY10" fmla="*/ 127607 h 211544"/>
                <a:gd name="connsiteX11" fmla="*/ 77412 w 347414"/>
                <a:gd name="connsiteY11" fmla="*/ 118777 h 211544"/>
                <a:gd name="connsiteX12" fmla="*/ 66169 w 347414"/>
                <a:gd name="connsiteY12" fmla="*/ 205323 h 211544"/>
                <a:gd name="connsiteX13" fmla="*/ 80885 w 347414"/>
                <a:gd name="connsiteY13" fmla="*/ 196759 h 211544"/>
                <a:gd name="connsiteX14" fmla="*/ 54370 w 347414"/>
                <a:gd name="connsiteY14" fmla="*/ 128243 h 211544"/>
                <a:gd name="connsiteX15" fmla="*/ 24090 w 347414"/>
                <a:gd name="connsiteY15" fmla="*/ 91731 h 211544"/>
                <a:gd name="connsiteX16" fmla="*/ 191773 w 347414"/>
                <a:gd name="connsiteY16" fmla="*/ 24356 h 211544"/>
                <a:gd name="connsiteX17" fmla="*/ 273095 w 347414"/>
                <a:gd name="connsiteY17" fmla="*/ 33849 h 211544"/>
                <a:gd name="connsiteX18" fmla="*/ 269171 w 347414"/>
                <a:gd name="connsiteY18" fmla="*/ 128720 h 211544"/>
                <a:gd name="connsiteX19" fmla="*/ 89795 w 347414"/>
                <a:gd name="connsiteY19" fmla="*/ 118114 h 211544"/>
                <a:gd name="connsiteX20" fmla="*/ 89795 w 347414"/>
                <a:gd name="connsiteY20" fmla="*/ 135614 h 21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47414" h="211544">
                  <a:moveTo>
                    <a:pt x="89795" y="135535"/>
                  </a:moveTo>
                  <a:cubicBezTo>
                    <a:pt x="149242" y="139141"/>
                    <a:pt x="209617" y="146141"/>
                    <a:pt x="269171" y="146141"/>
                  </a:cubicBezTo>
                  <a:cubicBezTo>
                    <a:pt x="295978" y="146141"/>
                    <a:pt x="326921" y="141448"/>
                    <a:pt x="340152" y="114588"/>
                  </a:cubicBezTo>
                  <a:cubicBezTo>
                    <a:pt x="374410" y="45118"/>
                    <a:pt x="278981" y="14360"/>
                    <a:pt x="230617" y="9905"/>
                  </a:cubicBezTo>
                  <a:cubicBezTo>
                    <a:pt x="172602" y="4602"/>
                    <a:pt x="30719" y="-24750"/>
                    <a:pt x="3567" y="52118"/>
                  </a:cubicBezTo>
                  <a:cubicBezTo>
                    <a:pt x="-4971" y="76273"/>
                    <a:pt x="2559" y="100879"/>
                    <a:pt x="18283" y="119811"/>
                  </a:cubicBezTo>
                  <a:cubicBezTo>
                    <a:pt x="23427" y="126016"/>
                    <a:pt x="29684" y="128747"/>
                    <a:pt x="34669" y="135720"/>
                  </a:cubicBezTo>
                  <a:cubicBezTo>
                    <a:pt x="42385" y="146327"/>
                    <a:pt x="42306" y="154679"/>
                    <a:pt x="45116" y="167141"/>
                  </a:cubicBezTo>
                  <a:cubicBezTo>
                    <a:pt x="49173" y="185118"/>
                    <a:pt x="54078" y="197448"/>
                    <a:pt x="68423" y="209168"/>
                  </a:cubicBezTo>
                  <a:cubicBezTo>
                    <a:pt x="75503" y="214948"/>
                    <a:pt x="84332" y="209433"/>
                    <a:pt x="83033" y="200683"/>
                  </a:cubicBezTo>
                  <a:cubicBezTo>
                    <a:pt x="79118" y="175918"/>
                    <a:pt x="82413" y="150550"/>
                    <a:pt x="92526" y="127607"/>
                  </a:cubicBezTo>
                  <a:cubicBezTo>
                    <a:pt x="96848" y="117372"/>
                    <a:pt x="81920" y="108436"/>
                    <a:pt x="77412" y="118777"/>
                  </a:cubicBezTo>
                  <a:cubicBezTo>
                    <a:pt x="65459" y="145955"/>
                    <a:pt x="61557" y="175992"/>
                    <a:pt x="66169" y="205323"/>
                  </a:cubicBezTo>
                  <a:lnTo>
                    <a:pt x="80885" y="196759"/>
                  </a:lnTo>
                  <a:cubicBezTo>
                    <a:pt x="56067" y="176501"/>
                    <a:pt x="67628" y="152027"/>
                    <a:pt x="54370" y="128243"/>
                  </a:cubicBezTo>
                  <a:cubicBezTo>
                    <a:pt x="45938" y="112944"/>
                    <a:pt x="31647" y="109682"/>
                    <a:pt x="24090" y="91731"/>
                  </a:cubicBezTo>
                  <a:cubicBezTo>
                    <a:pt x="-12289" y="5106"/>
                    <a:pt x="145636" y="21254"/>
                    <a:pt x="191773" y="24356"/>
                  </a:cubicBezTo>
                  <a:cubicBezTo>
                    <a:pt x="218447" y="26212"/>
                    <a:pt x="247269" y="26424"/>
                    <a:pt x="273095" y="33849"/>
                  </a:cubicBezTo>
                  <a:cubicBezTo>
                    <a:pt x="326762" y="49254"/>
                    <a:pt x="353569" y="123046"/>
                    <a:pt x="269171" y="128720"/>
                  </a:cubicBezTo>
                  <a:cubicBezTo>
                    <a:pt x="211102" y="132618"/>
                    <a:pt x="147916" y="121588"/>
                    <a:pt x="89795" y="118114"/>
                  </a:cubicBezTo>
                  <a:cubicBezTo>
                    <a:pt x="78552" y="117451"/>
                    <a:pt x="78605" y="134925"/>
                    <a:pt x="89795" y="135614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8707B0B2-8ED1-91FA-09FD-E3A24CF85D84}"/>
                </a:ext>
              </a:extLst>
            </p:cNvPr>
            <p:cNvSpPr/>
            <p:nvPr/>
          </p:nvSpPr>
          <p:spPr>
            <a:xfrm>
              <a:off x="1270109" y="1591569"/>
              <a:ext cx="337563" cy="180167"/>
            </a:xfrm>
            <a:custGeom>
              <a:avLst/>
              <a:gdLst>
                <a:gd name="connsiteX0" fmla="*/ 215738 w 337563"/>
                <a:gd name="connsiteY0" fmla="*/ 105947 h 180167"/>
                <a:gd name="connsiteX1" fmla="*/ 136855 w 337563"/>
                <a:gd name="connsiteY1" fmla="*/ 98469 h 180167"/>
                <a:gd name="connsiteX2" fmla="*/ 38748 w 337563"/>
                <a:gd name="connsiteY2" fmla="*/ 81897 h 180167"/>
                <a:gd name="connsiteX3" fmla="*/ 60703 w 337563"/>
                <a:gd name="connsiteY3" fmla="*/ 22238 h 180167"/>
                <a:gd name="connsiteX4" fmla="*/ 85229 w 337563"/>
                <a:gd name="connsiteY4" fmla="*/ 20541 h 180167"/>
                <a:gd name="connsiteX5" fmla="*/ 117949 w 337563"/>
                <a:gd name="connsiteY5" fmla="*/ 19056 h 180167"/>
                <a:gd name="connsiteX6" fmla="*/ 208101 w 337563"/>
                <a:gd name="connsiteY6" fmla="*/ 19348 h 180167"/>
                <a:gd name="connsiteX7" fmla="*/ 291545 w 337563"/>
                <a:gd name="connsiteY7" fmla="*/ 33242 h 180167"/>
                <a:gd name="connsiteX8" fmla="*/ 295284 w 337563"/>
                <a:gd name="connsiteY8" fmla="*/ 63867 h 180167"/>
                <a:gd name="connsiteX9" fmla="*/ 277704 w 337563"/>
                <a:gd name="connsiteY9" fmla="*/ 91098 h 180167"/>
                <a:gd name="connsiteX10" fmla="*/ 263173 w 337563"/>
                <a:gd name="connsiteY10" fmla="*/ 93750 h 180167"/>
                <a:gd name="connsiteX11" fmla="*/ 206590 w 337563"/>
                <a:gd name="connsiteY11" fmla="*/ 165659 h 180167"/>
                <a:gd name="connsiteX12" fmla="*/ 221518 w 337563"/>
                <a:gd name="connsiteY12" fmla="*/ 171837 h 180167"/>
                <a:gd name="connsiteX13" fmla="*/ 229393 w 337563"/>
                <a:gd name="connsiteY13" fmla="*/ 109288 h 180167"/>
                <a:gd name="connsiteX14" fmla="*/ 211919 w 337563"/>
                <a:gd name="connsiteY14" fmla="*/ 109288 h 180167"/>
                <a:gd name="connsiteX15" fmla="*/ 203965 w 337563"/>
                <a:gd name="connsiteY15" fmla="*/ 171890 h 180167"/>
                <a:gd name="connsiteX16" fmla="*/ 218893 w 337563"/>
                <a:gd name="connsiteY16" fmla="*/ 178068 h 180167"/>
                <a:gd name="connsiteX17" fmla="*/ 239151 w 337563"/>
                <a:gd name="connsiteY17" fmla="*/ 151261 h 180167"/>
                <a:gd name="connsiteX18" fmla="*/ 269961 w 337563"/>
                <a:gd name="connsiteY18" fmla="*/ 116288 h 180167"/>
                <a:gd name="connsiteX19" fmla="*/ 302840 w 337563"/>
                <a:gd name="connsiteY19" fmla="*/ 106053 h 180167"/>
                <a:gd name="connsiteX20" fmla="*/ 336303 w 337563"/>
                <a:gd name="connsiteY20" fmla="*/ 56628 h 180167"/>
                <a:gd name="connsiteX21" fmla="*/ 150695 w 337563"/>
                <a:gd name="connsiteY21" fmla="*/ 946 h 180167"/>
                <a:gd name="connsiteX22" fmla="*/ 1732 w 337563"/>
                <a:gd name="connsiteY22" fmla="*/ 61109 h 180167"/>
                <a:gd name="connsiteX23" fmla="*/ 65793 w 337563"/>
                <a:gd name="connsiteY23" fmla="*/ 108545 h 180167"/>
                <a:gd name="connsiteX24" fmla="*/ 215738 w 337563"/>
                <a:gd name="connsiteY24" fmla="*/ 123473 h 180167"/>
                <a:gd name="connsiteX25" fmla="*/ 215738 w 337563"/>
                <a:gd name="connsiteY25" fmla="*/ 105973 h 180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37563" h="180167">
                  <a:moveTo>
                    <a:pt x="215738" y="105947"/>
                  </a:moveTo>
                  <a:lnTo>
                    <a:pt x="136855" y="98469"/>
                  </a:lnTo>
                  <a:cubicBezTo>
                    <a:pt x="111135" y="96030"/>
                    <a:pt x="58343" y="100405"/>
                    <a:pt x="38748" y="81897"/>
                  </a:cubicBezTo>
                  <a:cubicBezTo>
                    <a:pt x="28407" y="41469"/>
                    <a:pt x="35725" y="21583"/>
                    <a:pt x="60703" y="22238"/>
                  </a:cubicBezTo>
                  <a:cubicBezTo>
                    <a:pt x="68869" y="21575"/>
                    <a:pt x="77036" y="20992"/>
                    <a:pt x="85229" y="20541"/>
                  </a:cubicBezTo>
                  <a:cubicBezTo>
                    <a:pt x="96119" y="19905"/>
                    <a:pt x="107025" y="19409"/>
                    <a:pt x="117949" y="19056"/>
                  </a:cubicBezTo>
                  <a:cubicBezTo>
                    <a:pt x="147999" y="18067"/>
                    <a:pt x="178051" y="18162"/>
                    <a:pt x="208101" y="19348"/>
                  </a:cubicBezTo>
                  <a:cubicBezTo>
                    <a:pt x="232124" y="20302"/>
                    <a:pt x="271923" y="17624"/>
                    <a:pt x="291545" y="33242"/>
                  </a:cubicBezTo>
                  <a:cubicBezTo>
                    <a:pt x="307083" y="36299"/>
                    <a:pt x="308329" y="46507"/>
                    <a:pt x="295284" y="63867"/>
                  </a:cubicBezTo>
                  <a:cubicBezTo>
                    <a:pt x="299332" y="84390"/>
                    <a:pt x="293473" y="93466"/>
                    <a:pt x="277704" y="91098"/>
                  </a:cubicBezTo>
                  <a:cubicBezTo>
                    <a:pt x="273567" y="93193"/>
                    <a:pt x="267681" y="92185"/>
                    <a:pt x="263173" y="93750"/>
                  </a:cubicBezTo>
                  <a:cubicBezTo>
                    <a:pt x="228704" y="106397"/>
                    <a:pt x="232601" y="144712"/>
                    <a:pt x="206590" y="165659"/>
                  </a:cubicBezTo>
                  <a:lnTo>
                    <a:pt x="221518" y="171837"/>
                  </a:lnTo>
                  <a:lnTo>
                    <a:pt x="229393" y="109288"/>
                  </a:lnTo>
                  <a:cubicBezTo>
                    <a:pt x="230798" y="98151"/>
                    <a:pt x="213298" y="98257"/>
                    <a:pt x="211919" y="109288"/>
                  </a:cubicBezTo>
                  <a:lnTo>
                    <a:pt x="203965" y="171890"/>
                  </a:lnTo>
                  <a:cubicBezTo>
                    <a:pt x="202904" y="180322"/>
                    <a:pt x="213802" y="182178"/>
                    <a:pt x="218893" y="178068"/>
                  </a:cubicBezTo>
                  <a:cubicBezTo>
                    <a:pt x="228810" y="170114"/>
                    <a:pt x="233264" y="162875"/>
                    <a:pt x="239151" y="151261"/>
                  </a:cubicBezTo>
                  <a:cubicBezTo>
                    <a:pt x="249571" y="130659"/>
                    <a:pt x="246257" y="127000"/>
                    <a:pt x="269961" y="116288"/>
                  </a:cubicBezTo>
                  <a:cubicBezTo>
                    <a:pt x="285658" y="109182"/>
                    <a:pt x="289344" y="110666"/>
                    <a:pt x="302840" y="106053"/>
                  </a:cubicBezTo>
                  <a:cubicBezTo>
                    <a:pt x="326227" y="98098"/>
                    <a:pt x="342295" y="84416"/>
                    <a:pt x="336303" y="56628"/>
                  </a:cubicBezTo>
                  <a:cubicBezTo>
                    <a:pt x="321746" y="-10747"/>
                    <a:pt x="198423" y="548"/>
                    <a:pt x="150695" y="946"/>
                  </a:cubicBezTo>
                  <a:cubicBezTo>
                    <a:pt x="112222" y="1185"/>
                    <a:pt x="-16351" y="-12948"/>
                    <a:pt x="1732" y="61109"/>
                  </a:cubicBezTo>
                  <a:cubicBezTo>
                    <a:pt x="8998" y="90780"/>
                    <a:pt x="38350" y="103534"/>
                    <a:pt x="65793" y="108545"/>
                  </a:cubicBezTo>
                  <a:cubicBezTo>
                    <a:pt x="114820" y="117401"/>
                    <a:pt x="166154" y="118780"/>
                    <a:pt x="215738" y="123473"/>
                  </a:cubicBezTo>
                  <a:cubicBezTo>
                    <a:pt x="226954" y="124534"/>
                    <a:pt x="226874" y="107034"/>
                    <a:pt x="215738" y="105973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09887EA7-D75D-9E2C-FAC2-0B7EC92ABA5F}"/>
                </a:ext>
              </a:extLst>
            </p:cNvPr>
            <p:cNvSpPr/>
            <p:nvPr/>
          </p:nvSpPr>
          <p:spPr>
            <a:xfrm>
              <a:off x="1178858" y="1497877"/>
              <a:ext cx="20140" cy="20174"/>
            </a:xfrm>
            <a:custGeom>
              <a:avLst/>
              <a:gdLst>
                <a:gd name="connsiteX0" fmla="*/ 14922 w 20140"/>
                <a:gd name="connsiteY0" fmla="*/ 17585 h 20174"/>
                <a:gd name="connsiteX1" fmla="*/ 17574 w 20140"/>
                <a:gd name="connsiteY1" fmla="*/ 14933 h 20174"/>
                <a:gd name="connsiteX2" fmla="*/ 5218 w 20140"/>
                <a:gd name="connsiteY2" fmla="*/ 2577 h 20174"/>
                <a:gd name="connsiteX3" fmla="*/ 2566 w 20140"/>
                <a:gd name="connsiteY3" fmla="*/ 5229 h 20174"/>
                <a:gd name="connsiteX4" fmla="*/ 14949 w 20140"/>
                <a:gd name="connsiteY4" fmla="*/ 17611 h 20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40" h="20174">
                  <a:moveTo>
                    <a:pt x="14922" y="17585"/>
                  </a:moveTo>
                  <a:lnTo>
                    <a:pt x="17574" y="14933"/>
                  </a:lnTo>
                  <a:cubicBezTo>
                    <a:pt x="25528" y="6979"/>
                    <a:pt x="13172" y="-5404"/>
                    <a:pt x="5218" y="2577"/>
                  </a:cubicBezTo>
                  <a:lnTo>
                    <a:pt x="2566" y="5229"/>
                  </a:lnTo>
                  <a:cubicBezTo>
                    <a:pt x="-5389" y="13183"/>
                    <a:pt x="6968" y="25566"/>
                    <a:pt x="14949" y="17611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43158A29-953D-DCFB-8708-80256DDF55B6}"/>
                </a:ext>
              </a:extLst>
            </p:cNvPr>
            <p:cNvSpPr/>
            <p:nvPr/>
          </p:nvSpPr>
          <p:spPr>
            <a:xfrm>
              <a:off x="1232393" y="1503185"/>
              <a:ext cx="16893" cy="17500"/>
            </a:xfrm>
            <a:custGeom>
              <a:avLst/>
              <a:gdLst>
                <a:gd name="connsiteX0" fmla="*/ 8452 w 16893"/>
                <a:gd name="connsiteY0" fmla="*/ 17500 h 17500"/>
                <a:gd name="connsiteX1" fmla="*/ 8452 w 16893"/>
                <a:gd name="connsiteY1" fmla="*/ 0 h 17500"/>
                <a:gd name="connsiteX2" fmla="*/ 8452 w 16893"/>
                <a:gd name="connsiteY2" fmla="*/ 17500 h 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893" h="17500">
                  <a:moveTo>
                    <a:pt x="8452" y="17500"/>
                  </a:moveTo>
                  <a:cubicBezTo>
                    <a:pt x="19694" y="17500"/>
                    <a:pt x="19721" y="0"/>
                    <a:pt x="8452" y="0"/>
                  </a:cubicBezTo>
                  <a:cubicBezTo>
                    <a:pt x="-2817" y="0"/>
                    <a:pt x="-2817" y="17500"/>
                    <a:pt x="8452" y="17500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60EE59E3-C9DD-2ABA-1E44-157D77637762}"/>
                </a:ext>
              </a:extLst>
            </p:cNvPr>
            <p:cNvSpPr/>
            <p:nvPr/>
          </p:nvSpPr>
          <p:spPr>
            <a:xfrm>
              <a:off x="1287972" y="1505869"/>
              <a:ext cx="20174" cy="20140"/>
            </a:xfrm>
            <a:custGeom>
              <a:avLst/>
              <a:gdLst>
                <a:gd name="connsiteX0" fmla="*/ 2589 w 20174"/>
                <a:gd name="connsiteY0" fmla="*/ 14922 h 20140"/>
                <a:gd name="connsiteX1" fmla="*/ 5241 w 20174"/>
                <a:gd name="connsiteY1" fmla="*/ 17574 h 20140"/>
                <a:gd name="connsiteX2" fmla="*/ 17597 w 20174"/>
                <a:gd name="connsiteY2" fmla="*/ 5218 h 20140"/>
                <a:gd name="connsiteX3" fmla="*/ 14946 w 20174"/>
                <a:gd name="connsiteY3" fmla="*/ 2566 h 20140"/>
                <a:gd name="connsiteX4" fmla="*/ 2563 w 20174"/>
                <a:gd name="connsiteY4" fmla="*/ 14949 h 20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74" h="20140">
                  <a:moveTo>
                    <a:pt x="2589" y="14922"/>
                  </a:moveTo>
                  <a:lnTo>
                    <a:pt x="5241" y="17574"/>
                  </a:lnTo>
                  <a:cubicBezTo>
                    <a:pt x="13196" y="25528"/>
                    <a:pt x="25578" y="13172"/>
                    <a:pt x="17597" y="5218"/>
                  </a:cubicBezTo>
                  <a:lnTo>
                    <a:pt x="14946" y="2566"/>
                  </a:lnTo>
                  <a:cubicBezTo>
                    <a:pt x="6991" y="-5389"/>
                    <a:pt x="-5392" y="6968"/>
                    <a:pt x="2563" y="14949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1FBB607C-DD63-F7D2-4B98-F3A2669E9B3B}"/>
                </a:ext>
              </a:extLst>
            </p:cNvPr>
            <p:cNvSpPr/>
            <p:nvPr/>
          </p:nvSpPr>
          <p:spPr>
            <a:xfrm>
              <a:off x="1346588" y="1511474"/>
              <a:ext cx="17500" cy="19535"/>
            </a:xfrm>
            <a:custGeom>
              <a:avLst/>
              <a:gdLst>
                <a:gd name="connsiteX0" fmla="*/ 0 w 17500"/>
                <a:gd name="connsiteY0" fmla="*/ 8442 h 19535"/>
                <a:gd name="connsiteX1" fmla="*/ 0 w 17500"/>
                <a:gd name="connsiteY1" fmla="*/ 11093 h 19535"/>
                <a:gd name="connsiteX2" fmla="*/ 17500 w 17500"/>
                <a:gd name="connsiteY2" fmla="*/ 11093 h 19535"/>
                <a:gd name="connsiteX3" fmla="*/ 17500 w 17500"/>
                <a:gd name="connsiteY3" fmla="*/ 8442 h 19535"/>
                <a:gd name="connsiteX4" fmla="*/ 0 w 17500"/>
                <a:gd name="connsiteY4" fmla="*/ 8442 h 19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00" h="19535">
                  <a:moveTo>
                    <a:pt x="0" y="8442"/>
                  </a:moveTo>
                  <a:lnTo>
                    <a:pt x="0" y="11093"/>
                  </a:lnTo>
                  <a:cubicBezTo>
                    <a:pt x="0" y="22336"/>
                    <a:pt x="17500" y="22362"/>
                    <a:pt x="17500" y="11093"/>
                  </a:cubicBezTo>
                  <a:lnTo>
                    <a:pt x="17500" y="8442"/>
                  </a:lnTo>
                  <a:cubicBezTo>
                    <a:pt x="17500" y="-2801"/>
                    <a:pt x="0" y="-2827"/>
                    <a:pt x="0" y="8442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2AF40AFF-25F0-4470-2B6B-B604EC1324CE}"/>
                </a:ext>
              </a:extLst>
            </p:cNvPr>
            <p:cNvSpPr/>
            <p:nvPr/>
          </p:nvSpPr>
          <p:spPr>
            <a:xfrm>
              <a:off x="1344198" y="1638970"/>
              <a:ext cx="16923" cy="17500"/>
            </a:xfrm>
            <a:custGeom>
              <a:avLst/>
              <a:gdLst>
                <a:gd name="connsiteX0" fmla="*/ 8462 w 16923"/>
                <a:gd name="connsiteY0" fmla="*/ 17500 h 17500"/>
                <a:gd name="connsiteX1" fmla="*/ 8462 w 16923"/>
                <a:gd name="connsiteY1" fmla="*/ 0 h 17500"/>
                <a:gd name="connsiteX2" fmla="*/ 8462 w 16923"/>
                <a:gd name="connsiteY2" fmla="*/ 17500 h 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923" h="17500">
                  <a:moveTo>
                    <a:pt x="8462" y="17500"/>
                  </a:moveTo>
                  <a:cubicBezTo>
                    <a:pt x="19731" y="17500"/>
                    <a:pt x="19757" y="0"/>
                    <a:pt x="8462" y="0"/>
                  </a:cubicBezTo>
                  <a:cubicBezTo>
                    <a:pt x="-2834" y="0"/>
                    <a:pt x="-2807" y="17500"/>
                    <a:pt x="8462" y="17500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C17182B3-C5A6-2273-53CE-02BD0504AAF8}"/>
                </a:ext>
              </a:extLst>
            </p:cNvPr>
            <p:cNvSpPr/>
            <p:nvPr/>
          </p:nvSpPr>
          <p:spPr>
            <a:xfrm>
              <a:off x="1402797" y="1644300"/>
              <a:ext cx="16903" cy="17500"/>
            </a:xfrm>
            <a:custGeom>
              <a:avLst/>
              <a:gdLst>
                <a:gd name="connsiteX0" fmla="*/ 8462 w 16903"/>
                <a:gd name="connsiteY0" fmla="*/ 17500 h 17500"/>
                <a:gd name="connsiteX1" fmla="*/ 8462 w 16903"/>
                <a:gd name="connsiteY1" fmla="*/ 0 h 17500"/>
                <a:gd name="connsiteX2" fmla="*/ 8462 w 16903"/>
                <a:gd name="connsiteY2" fmla="*/ 17500 h 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903" h="17500">
                  <a:moveTo>
                    <a:pt x="8462" y="17500"/>
                  </a:moveTo>
                  <a:cubicBezTo>
                    <a:pt x="19704" y="17500"/>
                    <a:pt x="19731" y="0"/>
                    <a:pt x="8462" y="0"/>
                  </a:cubicBezTo>
                  <a:cubicBezTo>
                    <a:pt x="-2807" y="0"/>
                    <a:pt x="-2834" y="17500"/>
                    <a:pt x="8462" y="17500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6643D9E5-957B-53CE-EEB5-0660F5E264FB}"/>
                </a:ext>
              </a:extLst>
            </p:cNvPr>
            <p:cNvSpPr/>
            <p:nvPr/>
          </p:nvSpPr>
          <p:spPr>
            <a:xfrm>
              <a:off x="1461379" y="1644300"/>
              <a:ext cx="16893" cy="17500"/>
            </a:xfrm>
            <a:custGeom>
              <a:avLst/>
              <a:gdLst>
                <a:gd name="connsiteX0" fmla="*/ 8452 w 16893"/>
                <a:gd name="connsiteY0" fmla="*/ 17500 h 17500"/>
                <a:gd name="connsiteX1" fmla="*/ 8452 w 16893"/>
                <a:gd name="connsiteY1" fmla="*/ 0 h 17500"/>
                <a:gd name="connsiteX2" fmla="*/ 8452 w 16893"/>
                <a:gd name="connsiteY2" fmla="*/ 17500 h 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893" h="17500">
                  <a:moveTo>
                    <a:pt x="8452" y="17500"/>
                  </a:moveTo>
                  <a:cubicBezTo>
                    <a:pt x="19694" y="17500"/>
                    <a:pt x="19721" y="0"/>
                    <a:pt x="8452" y="0"/>
                  </a:cubicBezTo>
                  <a:cubicBezTo>
                    <a:pt x="-2817" y="0"/>
                    <a:pt x="-2817" y="17500"/>
                    <a:pt x="8452" y="17500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6CF6C544-107C-C31C-F76E-ABFBF94F890A}"/>
                </a:ext>
              </a:extLst>
            </p:cNvPr>
            <p:cNvSpPr/>
            <p:nvPr/>
          </p:nvSpPr>
          <p:spPr>
            <a:xfrm>
              <a:off x="1514632" y="1649629"/>
              <a:ext cx="19535" cy="17500"/>
            </a:xfrm>
            <a:custGeom>
              <a:avLst/>
              <a:gdLst>
                <a:gd name="connsiteX0" fmla="*/ 8442 w 19535"/>
                <a:gd name="connsiteY0" fmla="*/ 17500 h 17500"/>
                <a:gd name="connsiteX1" fmla="*/ 11093 w 19535"/>
                <a:gd name="connsiteY1" fmla="*/ 17500 h 17500"/>
                <a:gd name="connsiteX2" fmla="*/ 11093 w 19535"/>
                <a:gd name="connsiteY2" fmla="*/ 0 h 17500"/>
                <a:gd name="connsiteX3" fmla="*/ 8442 w 19535"/>
                <a:gd name="connsiteY3" fmla="*/ 0 h 17500"/>
                <a:gd name="connsiteX4" fmla="*/ 8442 w 19535"/>
                <a:gd name="connsiteY4" fmla="*/ 17500 h 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35" h="17500">
                  <a:moveTo>
                    <a:pt x="8442" y="17500"/>
                  </a:moveTo>
                  <a:lnTo>
                    <a:pt x="11093" y="17500"/>
                  </a:lnTo>
                  <a:cubicBezTo>
                    <a:pt x="22336" y="17500"/>
                    <a:pt x="22362" y="0"/>
                    <a:pt x="11093" y="0"/>
                  </a:cubicBezTo>
                  <a:lnTo>
                    <a:pt x="8442" y="0"/>
                  </a:lnTo>
                  <a:cubicBezTo>
                    <a:pt x="-2801" y="0"/>
                    <a:pt x="-2827" y="17500"/>
                    <a:pt x="8442" y="17500"/>
                  </a:cubicBezTo>
                  <a:close/>
                </a:path>
              </a:pathLst>
            </a:custGeom>
            <a:solidFill>
              <a:srgbClr val="2A2E2D"/>
            </a:solidFill>
            <a:ln w="26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220" name="Graphic 44">
            <a:extLst>
              <a:ext uri="{FF2B5EF4-FFF2-40B4-BE49-F238E27FC236}">
                <a16:creationId xmlns:a16="http://schemas.microsoft.com/office/drawing/2014/main" id="{E67E3C17-5138-5976-D9F7-7A0E62D2D661}"/>
              </a:ext>
            </a:extLst>
          </p:cNvPr>
          <p:cNvGrpSpPr/>
          <p:nvPr/>
        </p:nvGrpSpPr>
        <p:grpSpPr>
          <a:xfrm>
            <a:off x="5020996" y="2549255"/>
            <a:ext cx="589359" cy="874676"/>
            <a:chOff x="5020996" y="2549255"/>
            <a:chExt cx="589359" cy="874676"/>
          </a:xfrm>
          <a:solidFill>
            <a:srgbClr val="2A2E2D"/>
          </a:solidFill>
        </p:grpSpPr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26EE7655-C8E2-3057-6685-713ECD1DDE7C}"/>
                </a:ext>
              </a:extLst>
            </p:cNvPr>
            <p:cNvSpPr/>
            <p:nvPr/>
          </p:nvSpPr>
          <p:spPr>
            <a:xfrm>
              <a:off x="5020996" y="2752312"/>
              <a:ext cx="581500" cy="534149"/>
            </a:xfrm>
            <a:custGeom>
              <a:avLst/>
              <a:gdLst>
                <a:gd name="connsiteX0" fmla="*/ 416894 w 581500"/>
                <a:gd name="connsiteY0" fmla="*/ 493715 h 534149"/>
                <a:gd name="connsiteX1" fmla="*/ 158768 w 581500"/>
                <a:gd name="connsiteY1" fmla="*/ 483931 h 534149"/>
                <a:gd name="connsiteX2" fmla="*/ 20756 w 581500"/>
                <a:gd name="connsiteY2" fmla="*/ 231001 h 534149"/>
                <a:gd name="connsiteX3" fmla="*/ 226859 w 581500"/>
                <a:gd name="connsiteY3" fmla="*/ 21849 h 534149"/>
                <a:gd name="connsiteX4" fmla="*/ 496971 w 581500"/>
                <a:gd name="connsiteY4" fmla="*/ 98929 h 534149"/>
                <a:gd name="connsiteX5" fmla="*/ 416894 w 581500"/>
                <a:gd name="connsiteY5" fmla="*/ 493715 h 534149"/>
                <a:gd name="connsiteX6" fmla="*/ 425724 w 581500"/>
                <a:gd name="connsiteY6" fmla="*/ 508829 h 534149"/>
                <a:gd name="connsiteX7" fmla="*/ 563604 w 581500"/>
                <a:gd name="connsiteY7" fmla="*/ 166092 h 534149"/>
                <a:gd name="connsiteX8" fmla="*/ 280659 w 581500"/>
                <a:gd name="connsiteY8" fmla="*/ 0 h 534149"/>
                <a:gd name="connsiteX9" fmla="*/ 20490 w 581500"/>
                <a:gd name="connsiteY9" fmla="*/ 165137 h 534149"/>
                <a:gd name="connsiteX10" fmla="*/ 102688 w 581500"/>
                <a:gd name="connsiteY10" fmla="*/ 472291 h 534149"/>
                <a:gd name="connsiteX11" fmla="*/ 425724 w 581500"/>
                <a:gd name="connsiteY11" fmla="*/ 508829 h 534149"/>
                <a:gd name="connsiteX12" fmla="*/ 416894 w 581500"/>
                <a:gd name="connsiteY12" fmla="*/ 493715 h 53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1500" h="534149">
                  <a:moveTo>
                    <a:pt x="416894" y="493715"/>
                  </a:moveTo>
                  <a:cubicBezTo>
                    <a:pt x="338303" y="530836"/>
                    <a:pt x="235874" y="518957"/>
                    <a:pt x="158768" y="483931"/>
                  </a:cubicBezTo>
                  <a:cubicBezTo>
                    <a:pt x="57320" y="437821"/>
                    <a:pt x="2646" y="342127"/>
                    <a:pt x="20756" y="231001"/>
                  </a:cubicBezTo>
                  <a:cubicBezTo>
                    <a:pt x="38653" y="121042"/>
                    <a:pt x="116953" y="40568"/>
                    <a:pt x="226859" y="21849"/>
                  </a:cubicBezTo>
                  <a:cubicBezTo>
                    <a:pt x="320166" y="5939"/>
                    <a:pt x="428375" y="31606"/>
                    <a:pt x="496971" y="98929"/>
                  </a:cubicBezTo>
                  <a:cubicBezTo>
                    <a:pt x="619445" y="218910"/>
                    <a:pt x="558141" y="419764"/>
                    <a:pt x="416894" y="493715"/>
                  </a:cubicBezTo>
                  <a:cubicBezTo>
                    <a:pt x="406925" y="499018"/>
                    <a:pt x="415754" y="514052"/>
                    <a:pt x="425724" y="508829"/>
                  </a:cubicBezTo>
                  <a:cubicBezTo>
                    <a:pt x="544380" y="446597"/>
                    <a:pt x="617191" y="294559"/>
                    <a:pt x="563604" y="166092"/>
                  </a:cubicBezTo>
                  <a:cubicBezTo>
                    <a:pt x="517573" y="55815"/>
                    <a:pt x="394940" y="133"/>
                    <a:pt x="280659" y="0"/>
                  </a:cubicBezTo>
                  <a:cubicBezTo>
                    <a:pt x="168101" y="0"/>
                    <a:pt x="62464" y="57432"/>
                    <a:pt x="20490" y="165137"/>
                  </a:cubicBezTo>
                  <a:cubicBezTo>
                    <a:pt x="-23048" y="276873"/>
                    <a:pt x="2089" y="402237"/>
                    <a:pt x="102688" y="472291"/>
                  </a:cubicBezTo>
                  <a:cubicBezTo>
                    <a:pt x="191143" y="533886"/>
                    <a:pt x="326265" y="555787"/>
                    <a:pt x="425724" y="508829"/>
                  </a:cubicBezTo>
                  <a:cubicBezTo>
                    <a:pt x="435906" y="504029"/>
                    <a:pt x="427050" y="488995"/>
                    <a:pt x="416894" y="493715"/>
                  </a:cubicBezTo>
                  <a:close/>
                </a:path>
              </a:pathLst>
            </a:custGeom>
            <a:solidFill>
              <a:srgbClr val="2A2E2D"/>
            </a:solidFill>
            <a:ln w="26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B10359F0-972C-71C7-E884-01F0A833AB25}"/>
                </a:ext>
              </a:extLst>
            </p:cNvPr>
            <p:cNvSpPr/>
            <p:nvPr/>
          </p:nvSpPr>
          <p:spPr>
            <a:xfrm>
              <a:off x="5177702" y="2752451"/>
              <a:ext cx="132108" cy="519320"/>
            </a:xfrm>
            <a:custGeom>
              <a:avLst/>
              <a:gdLst>
                <a:gd name="connsiteX0" fmla="*/ 119048 w 132108"/>
                <a:gd name="connsiteY0" fmla="*/ 1346 h 519320"/>
                <a:gd name="connsiteX1" fmla="*/ 6119 w 132108"/>
                <a:gd name="connsiteY1" fmla="*/ 233169 h 519320"/>
                <a:gd name="connsiteX2" fmla="*/ 39104 w 132108"/>
                <a:gd name="connsiteY2" fmla="*/ 513489 h 519320"/>
                <a:gd name="connsiteX3" fmla="*/ 55968 w 132108"/>
                <a:gd name="connsiteY3" fmla="*/ 508849 h 519320"/>
                <a:gd name="connsiteX4" fmla="*/ 19801 w 132108"/>
                <a:gd name="connsiteY4" fmla="*/ 264112 h 519320"/>
                <a:gd name="connsiteX5" fmla="*/ 127957 w 132108"/>
                <a:gd name="connsiteY5" fmla="*/ 16433 h 519320"/>
                <a:gd name="connsiteX6" fmla="*/ 119127 w 132108"/>
                <a:gd name="connsiteY6" fmla="*/ 1346 h 519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2108" h="519320">
                  <a:moveTo>
                    <a:pt x="119048" y="1346"/>
                  </a:moveTo>
                  <a:cubicBezTo>
                    <a:pt x="47669" y="44937"/>
                    <a:pt x="18025" y="155930"/>
                    <a:pt x="6119" y="233169"/>
                  </a:cubicBezTo>
                  <a:cubicBezTo>
                    <a:pt x="-8387" y="327874"/>
                    <a:pt x="3011" y="424739"/>
                    <a:pt x="39104" y="513489"/>
                  </a:cubicBezTo>
                  <a:cubicBezTo>
                    <a:pt x="43241" y="523803"/>
                    <a:pt x="60316" y="519296"/>
                    <a:pt x="55968" y="508849"/>
                  </a:cubicBezTo>
                  <a:cubicBezTo>
                    <a:pt x="24653" y="431212"/>
                    <a:pt x="11263" y="347636"/>
                    <a:pt x="19801" y="264112"/>
                  </a:cubicBezTo>
                  <a:cubicBezTo>
                    <a:pt x="27915" y="184752"/>
                    <a:pt x="54483" y="61323"/>
                    <a:pt x="127957" y="16433"/>
                  </a:cubicBezTo>
                  <a:cubicBezTo>
                    <a:pt x="137556" y="10573"/>
                    <a:pt x="128779" y="-4567"/>
                    <a:pt x="119127" y="1346"/>
                  </a:cubicBezTo>
                  <a:close/>
                </a:path>
              </a:pathLst>
            </a:custGeom>
            <a:solidFill>
              <a:srgbClr val="2A2E2D"/>
            </a:solidFill>
            <a:ln w="26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4E031DE5-AD09-3EFE-3477-15D80FC0A86A}"/>
                </a:ext>
              </a:extLst>
            </p:cNvPr>
            <p:cNvSpPr/>
            <p:nvPr/>
          </p:nvSpPr>
          <p:spPr>
            <a:xfrm>
              <a:off x="5390280" y="2772749"/>
              <a:ext cx="66635" cy="498690"/>
            </a:xfrm>
            <a:custGeom>
              <a:avLst/>
              <a:gdLst>
                <a:gd name="connsiteX0" fmla="*/ 705 w 66635"/>
                <a:gd name="connsiteY0" fmla="*/ 10453 h 498690"/>
                <a:gd name="connsiteX1" fmla="*/ 5372 w 66635"/>
                <a:gd name="connsiteY1" fmla="*/ 488127 h 498690"/>
                <a:gd name="connsiteX2" fmla="*/ 22235 w 66635"/>
                <a:gd name="connsiteY2" fmla="*/ 492767 h 498690"/>
                <a:gd name="connsiteX3" fmla="*/ 17569 w 66635"/>
                <a:gd name="connsiteY3" fmla="*/ 5813 h 498690"/>
                <a:gd name="connsiteX4" fmla="*/ 705 w 66635"/>
                <a:gd name="connsiteY4" fmla="*/ 10453 h 498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35" h="498690">
                  <a:moveTo>
                    <a:pt x="705" y="10453"/>
                  </a:moveTo>
                  <a:cubicBezTo>
                    <a:pt x="63533" y="163174"/>
                    <a:pt x="65203" y="334208"/>
                    <a:pt x="5372" y="488127"/>
                  </a:cubicBezTo>
                  <a:cubicBezTo>
                    <a:pt x="1315" y="498733"/>
                    <a:pt x="18232" y="503187"/>
                    <a:pt x="22235" y="492767"/>
                  </a:cubicBezTo>
                  <a:cubicBezTo>
                    <a:pt x="83008" y="335825"/>
                    <a:pt x="81338" y="161561"/>
                    <a:pt x="17569" y="5813"/>
                  </a:cubicBezTo>
                  <a:cubicBezTo>
                    <a:pt x="13379" y="-4475"/>
                    <a:pt x="-3644" y="33"/>
                    <a:pt x="705" y="10453"/>
                  </a:cubicBezTo>
                  <a:close/>
                </a:path>
              </a:pathLst>
            </a:custGeom>
            <a:solidFill>
              <a:srgbClr val="2A2E2D"/>
            </a:solidFill>
            <a:ln w="26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03EB5F99-8E4A-6C0C-9927-384B2F95CAF0}"/>
                </a:ext>
              </a:extLst>
            </p:cNvPr>
            <p:cNvSpPr/>
            <p:nvPr/>
          </p:nvSpPr>
          <p:spPr>
            <a:xfrm>
              <a:off x="5116610" y="2817458"/>
              <a:ext cx="447275" cy="84014"/>
            </a:xfrm>
            <a:custGeom>
              <a:avLst/>
              <a:gdLst>
                <a:gd name="connsiteX0" fmla="*/ 2991 w 447275"/>
                <a:gd name="connsiteY0" fmla="*/ 14453 h 84014"/>
                <a:gd name="connsiteX1" fmla="*/ 190746 w 447275"/>
                <a:gd name="connsiteY1" fmla="*/ 77373 h 84014"/>
                <a:gd name="connsiteX2" fmla="*/ 440944 w 447275"/>
                <a:gd name="connsiteY2" fmla="*/ 72070 h 84014"/>
                <a:gd name="connsiteX3" fmla="*/ 436304 w 447275"/>
                <a:gd name="connsiteY3" fmla="*/ 55207 h 84014"/>
                <a:gd name="connsiteX4" fmla="*/ 223731 w 447275"/>
                <a:gd name="connsiteY4" fmla="*/ 63612 h 84014"/>
                <a:gd name="connsiteX5" fmla="*/ 15294 w 447275"/>
                <a:gd name="connsiteY5" fmla="*/ 2176 h 84014"/>
                <a:gd name="connsiteX6" fmla="*/ 2911 w 447275"/>
                <a:gd name="connsiteY6" fmla="*/ 14559 h 84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7275" h="84014">
                  <a:moveTo>
                    <a:pt x="2991" y="14453"/>
                  </a:moveTo>
                  <a:cubicBezTo>
                    <a:pt x="54749" y="57938"/>
                    <a:pt x="125651" y="68968"/>
                    <a:pt x="190746" y="77373"/>
                  </a:cubicBezTo>
                  <a:cubicBezTo>
                    <a:pt x="273961" y="87746"/>
                    <a:pt x="358243" y="85959"/>
                    <a:pt x="440944" y="72070"/>
                  </a:cubicBezTo>
                  <a:cubicBezTo>
                    <a:pt x="452028" y="70294"/>
                    <a:pt x="447335" y="53510"/>
                    <a:pt x="436304" y="55207"/>
                  </a:cubicBezTo>
                  <a:cubicBezTo>
                    <a:pt x="366078" y="66892"/>
                    <a:pt x="294662" y="69716"/>
                    <a:pt x="223731" y="63612"/>
                  </a:cubicBezTo>
                  <a:cubicBezTo>
                    <a:pt x="155454" y="57514"/>
                    <a:pt x="69756" y="47942"/>
                    <a:pt x="15294" y="2176"/>
                  </a:cubicBezTo>
                  <a:cubicBezTo>
                    <a:pt x="6729" y="-5010"/>
                    <a:pt x="-5706" y="7294"/>
                    <a:pt x="2911" y="14559"/>
                  </a:cubicBezTo>
                  <a:close/>
                </a:path>
              </a:pathLst>
            </a:custGeom>
            <a:solidFill>
              <a:srgbClr val="2A2E2D"/>
            </a:solidFill>
            <a:ln w="26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2CFB07D7-6825-73EA-B936-B5F621CE1F81}"/>
                </a:ext>
              </a:extLst>
            </p:cNvPr>
            <p:cNvSpPr/>
            <p:nvPr/>
          </p:nvSpPr>
          <p:spPr>
            <a:xfrm>
              <a:off x="5036847" y="2984366"/>
              <a:ext cx="561137" cy="51740"/>
            </a:xfrm>
            <a:custGeom>
              <a:avLst/>
              <a:gdLst>
                <a:gd name="connsiteX0" fmla="*/ 8352 w 561137"/>
                <a:gd name="connsiteY0" fmla="*/ 17561 h 51740"/>
                <a:gd name="connsiteX1" fmla="*/ 552685 w 561137"/>
                <a:gd name="connsiteY1" fmla="*/ 51739 h 51740"/>
                <a:gd name="connsiteX2" fmla="*/ 552685 w 561137"/>
                <a:gd name="connsiteY2" fmla="*/ 34239 h 51740"/>
                <a:gd name="connsiteX3" fmla="*/ 8352 w 561137"/>
                <a:gd name="connsiteY3" fmla="*/ 61 h 51740"/>
                <a:gd name="connsiteX4" fmla="*/ 8352 w 561137"/>
                <a:gd name="connsiteY4" fmla="*/ 17561 h 5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1137" h="51740">
                  <a:moveTo>
                    <a:pt x="8352" y="17561"/>
                  </a:moveTo>
                  <a:cubicBezTo>
                    <a:pt x="189222" y="37201"/>
                    <a:pt x="370666" y="48592"/>
                    <a:pt x="552685" y="51739"/>
                  </a:cubicBezTo>
                  <a:cubicBezTo>
                    <a:pt x="563954" y="51925"/>
                    <a:pt x="563954" y="34425"/>
                    <a:pt x="552685" y="34239"/>
                  </a:cubicBezTo>
                  <a:cubicBezTo>
                    <a:pt x="370772" y="31110"/>
                    <a:pt x="189328" y="19717"/>
                    <a:pt x="8352" y="61"/>
                  </a:cubicBezTo>
                  <a:cubicBezTo>
                    <a:pt x="-2837" y="-1159"/>
                    <a:pt x="-2731" y="16341"/>
                    <a:pt x="8352" y="17561"/>
                  </a:cubicBezTo>
                  <a:close/>
                </a:path>
              </a:pathLst>
            </a:custGeom>
            <a:solidFill>
              <a:srgbClr val="2A2E2D"/>
            </a:solidFill>
            <a:ln w="26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99920EE3-C0E8-578A-3268-D7A0940D2B51}"/>
                </a:ext>
              </a:extLst>
            </p:cNvPr>
            <p:cNvSpPr/>
            <p:nvPr/>
          </p:nvSpPr>
          <p:spPr>
            <a:xfrm>
              <a:off x="5075554" y="3131027"/>
              <a:ext cx="427460" cy="80504"/>
            </a:xfrm>
            <a:custGeom>
              <a:avLst/>
              <a:gdLst>
                <a:gd name="connsiteX0" fmla="*/ 10478 w 427460"/>
                <a:gd name="connsiteY0" fmla="*/ 40518 h 80504"/>
                <a:gd name="connsiteX1" fmla="*/ 215521 w 427460"/>
                <a:gd name="connsiteY1" fmla="*/ 18935 h 80504"/>
                <a:gd name="connsiteX2" fmla="*/ 414810 w 427460"/>
                <a:gd name="connsiteY2" fmla="*/ 78886 h 80504"/>
                <a:gd name="connsiteX3" fmla="*/ 423640 w 427460"/>
                <a:gd name="connsiteY3" fmla="*/ 63799 h 80504"/>
                <a:gd name="connsiteX4" fmla="*/ 231510 w 427460"/>
                <a:gd name="connsiteY4" fmla="*/ 2044 h 80504"/>
                <a:gd name="connsiteX5" fmla="*/ 5812 w 427460"/>
                <a:gd name="connsiteY5" fmla="*/ 23654 h 80504"/>
                <a:gd name="connsiteX6" fmla="*/ 10478 w 427460"/>
                <a:gd name="connsiteY6" fmla="*/ 40518 h 80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7460" h="80504">
                  <a:moveTo>
                    <a:pt x="10478" y="40518"/>
                  </a:moveTo>
                  <a:cubicBezTo>
                    <a:pt x="70562" y="16204"/>
                    <a:pt x="151301" y="17344"/>
                    <a:pt x="215521" y="18935"/>
                  </a:cubicBezTo>
                  <a:cubicBezTo>
                    <a:pt x="287113" y="20711"/>
                    <a:pt x="356052" y="36620"/>
                    <a:pt x="414810" y="78886"/>
                  </a:cubicBezTo>
                  <a:cubicBezTo>
                    <a:pt x="423958" y="85462"/>
                    <a:pt x="432708" y="70295"/>
                    <a:pt x="423640" y="63799"/>
                  </a:cubicBezTo>
                  <a:cubicBezTo>
                    <a:pt x="367030" y="23071"/>
                    <a:pt x="300741" y="5651"/>
                    <a:pt x="231510" y="2044"/>
                  </a:cubicBezTo>
                  <a:cubicBezTo>
                    <a:pt x="161085" y="-1641"/>
                    <a:pt x="72179" y="-3259"/>
                    <a:pt x="5812" y="23654"/>
                  </a:cubicBezTo>
                  <a:cubicBezTo>
                    <a:pt x="-4476" y="27817"/>
                    <a:pt x="31" y="44734"/>
                    <a:pt x="10478" y="40518"/>
                  </a:cubicBezTo>
                  <a:close/>
                </a:path>
              </a:pathLst>
            </a:custGeom>
            <a:solidFill>
              <a:srgbClr val="2A2E2D"/>
            </a:solidFill>
            <a:ln w="26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EC94019C-F05C-868A-78E5-63BA86249EBF}"/>
                </a:ext>
              </a:extLst>
            </p:cNvPr>
            <p:cNvSpPr/>
            <p:nvPr/>
          </p:nvSpPr>
          <p:spPr>
            <a:xfrm>
              <a:off x="5035215" y="3305191"/>
              <a:ext cx="563351" cy="118741"/>
            </a:xfrm>
            <a:custGeom>
              <a:avLst/>
              <a:gdLst>
                <a:gd name="connsiteX0" fmla="*/ 2294 w 563351"/>
                <a:gd name="connsiteY0" fmla="*/ 15185 h 118741"/>
                <a:gd name="connsiteX1" fmla="*/ 559116 w 563351"/>
                <a:gd name="connsiteY1" fmla="*/ 20037 h 118741"/>
                <a:gd name="connsiteX2" fmla="*/ 550286 w 563351"/>
                <a:gd name="connsiteY2" fmla="*/ 4950 h 118741"/>
                <a:gd name="connsiteX3" fmla="*/ 14677 w 563351"/>
                <a:gd name="connsiteY3" fmla="*/ 2829 h 118741"/>
                <a:gd name="connsiteX4" fmla="*/ 2294 w 563351"/>
                <a:gd name="connsiteY4" fmla="*/ 15185 h 118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3351" h="118741">
                  <a:moveTo>
                    <a:pt x="2294" y="15185"/>
                  </a:moveTo>
                  <a:cubicBezTo>
                    <a:pt x="151204" y="183743"/>
                    <a:pt x="390850" y="117746"/>
                    <a:pt x="559116" y="20037"/>
                  </a:cubicBezTo>
                  <a:cubicBezTo>
                    <a:pt x="568847" y="14389"/>
                    <a:pt x="560070" y="-724"/>
                    <a:pt x="550286" y="4950"/>
                  </a:cubicBezTo>
                  <a:cubicBezTo>
                    <a:pt x="388834" y="98735"/>
                    <a:pt x="158416" y="165447"/>
                    <a:pt x="14677" y="2829"/>
                  </a:cubicBezTo>
                  <a:cubicBezTo>
                    <a:pt x="7199" y="-5630"/>
                    <a:pt x="-5130" y="6779"/>
                    <a:pt x="2294" y="15185"/>
                  </a:cubicBezTo>
                  <a:close/>
                </a:path>
              </a:pathLst>
            </a:custGeom>
            <a:solidFill>
              <a:srgbClr val="2A2E2D"/>
            </a:solidFill>
            <a:ln w="26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243C897A-90A3-68B4-4B58-8E5035719646}"/>
                </a:ext>
              </a:extLst>
            </p:cNvPr>
            <p:cNvSpPr/>
            <p:nvPr/>
          </p:nvSpPr>
          <p:spPr>
            <a:xfrm>
              <a:off x="5516711" y="3300349"/>
              <a:ext cx="93645" cy="81780"/>
            </a:xfrm>
            <a:custGeom>
              <a:avLst/>
              <a:gdLst>
                <a:gd name="connsiteX0" fmla="*/ 8495 w 93645"/>
                <a:gd name="connsiteY0" fmla="*/ 26523 h 81780"/>
                <a:gd name="connsiteX1" fmla="*/ 87298 w 93645"/>
                <a:gd name="connsiteY1" fmla="*/ 17110 h 81780"/>
                <a:gd name="connsiteX2" fmla="*/ 77408 w 93645"/>
                <a:gd name="connsiteY2" fmla="*/ 4277 h 81780"/>
                <a:gd name="connsiteX3" fmla="*/ 47844 w 93645"/>
                <a:gd name="connsiteY3" fmla="*/ 68444 h 81780"/>
                <a:gd name="connsiteX4" fmla="*/ 62957 w 93645"/>
                <a:gd name="connsiteY4" fmla="*/ 77247 h 81780"/>
                <a:gd name="connsiteX5" fmla="*/ 92575 w 93645"/>
                <a:gd name="connsiteY5" fmla="*/ 13106 h 81780"/>
                <a:gd name="connsiteX6" fmla="*/ 88985 w 93645"/>
                <a:gd name="connsiteY6" fmla="*/ 1068 h 81780"/>
                <a:gd name="connsiteX7" fmla="*/ 82685 w 93645"/>
                <a:gd name="connsiteY7" fmla="*/ 246 h 81780"/>
                <a:gd name="connsiteX8" fmla="*/ 8442 w 93645"/>
                <a:gd name="connsiteY8" fmla="*/ 9049 h 81780"/>
                <a:gd name="connsiteX9" fmla="*/ 8442 w 93645"/>
                <a:gd name="connsiteY9" fmla="*/ 26523 h 81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3645" h="81780">
                  <a:moveTo>
                    <a:pt x="8495" y="26523"/>
                  </a:moveTo>
                  <a:cubicBezTo>
                    <a:pt x="35026" y="26231"/>
                    <a:pt x="61446" y="23076"/>
                    <a:pt x="87298" y="17110"/>
                  </a:cubicBezTo>
                  <a:cubicBezTo>
                    <a:pt x="83984" y="12841"/>
                    <a:pt x="80696" y="8545"/>
                    <a:pt x="77408" y="4277"/>
                  </a:cubicBezTo>
                  <a:lnTo>
                    <a:pt x="47844" y="68444"/>
                  </a:lnTo>
                  <a:cubicBezTo>
                    <a:pt x="43150" y="78572"/>
                    <a:pt x="58238" y="87482"/>
                    <a:pt x="62957" y="77247"/>
                  </a:cubicBezTo>
                  <a:lnTo>
                    <a:pt x="92575" y="13106"/>
                  </a:lnTo>
                  <a:cubicBezTo>
                    <a:pt x="94908" y="8789"/>
                    <a:pt x="93299" y="3402"/>
                    <a:pt x="88985" y="1068"/>
                  </a:cubicBezTo>
                  <a:cubicBezTo>
                    <a:pt x="87057" y="26"/>
                    <a:pt x="84814" y="-266"/>
                    <a:pt x="82685" y="246"/>
                  </a:cubicBezTo>
                  <a:cubicBezTo>
                    <a:pt x="58325" y="5846"/>
                    <a:pt x="33435" y="8797"/>
                    <a:pt x="8442" y="9049"/>
                  </a:cubicBezTo>
                  <a:cubicBezTo>
                    <a:pt x="-2801" y="9049"/>
                    <a:pt x="-2827" y="26655"/>
                    <a:pt x="8442" y="26523"/>
                  </a:cubicBezTo>
                  <a:close/>
                </a:path>
              </a:pathLst>
            </a:custGeom>
            <a:solidFill>
              <a:srgbClr val="2A2E2D"/>
            </a:solidFill>
            <a:ln w="26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840F9D0B-95CA-D3F0-F4A0-59EDB9CBC12B}"/>
                </a:ext>
              </a:extLst>
            </p:cNvPr>
            <p:cNvSpPr/>
            <p:nvPr/>
          </p:nvSpPr>
          <p:spPr>
            <a:xfrm>
              <a:off x="5128058" y="2587914"/>
              <a:ext cx="425517" cy="82818"/>
            </a:xfrm>
            <a:custGeom>
              <a:avLst/>
              <a:gdLst>
                <a:gd name="connsiteX0" fmla="*/ 20206 w 425517"/>
                <a:gd name="connsiteY0" fmla="*/ 26862 h 82818"/>
                <a:gd name="connsiteX1" fmla="*/ 8593 w 425517"/>
                <a:gd name="connsiteY1" fmla="*/ 26226 h 82818"/>
                <a:gd name="connsiteX2" fmla="*/ 10926 w 425517"/>
                <a:gd name="connsiteY2" fmla="*/ 43408 h 82818"/>
                <a:gd name="connsiteX3" fmla="*/ 412447 w 425517"/>
                <a:gd name="connsiteY3" fmla="*/ 81617 h 82818"/>
                <a:gd name="connsiteX4" fmla="*/ 421277 w 425517"/>
                <a:gd name="connsiteY4" fmla="*/ 66529 h 82818"/>
                <a:gd name="connsiteX5" fmla="*/ 6127 w 425517"/>
                <a:gd name="connsiteY5" fmla="*/ 26544 h 82818"/>
                <a:gd name="connsiteX6" fmla="*/ 420 w 425517"/>
                <a:gd name="connsiteY6" fmla="*/ 37609 h 82818"/>
                <a:gd name="connsiteX7" fmla="*/ 8460 w 425517"/>
                <a:gd name="connsiteY7" fmla="*/ 43726 h 82818"/>
                <a:gd name="connsiteX8" fmla="*/ 20206 w 425517"/>
                <a:gd name="connsiteY8" fmla="*/ 44336 h 82818"/>
                <a:gd name="connsiteX9" fmla="*/ 20206 w 425517"/>
                <a:gd name="connsiteY9" fmla="*/ 26862 h 82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5517" h="82818">
                  <a:moveTo>
                    <a:pt x="20206" y="26862"/>
                  </a:moveTo>
                  <a:lnTo>
                    <a:pt x="8593" y="26226"/>
                  </a:lnTo>
                  <a:cubicBezTo>
                    <a:pt x="9362" y="31953"/>
                    <a:pt x="10157" y="37681"/>
                    <a:pt x="10926" y="43408"/>
                  </a:cubicBezTo>
                  <a:cubicBezTo>
                    <a:pt x="144113" y="-1510"/>
                    <a:pt x="290124" y="12384"/>
                    <a:pt x="412447" y="81617"/>
                  </a:cubicBezTo>
                  <a:cubicBezTo>
                    <a:pt x="422258" y="87158"/>
                    <a:pt x="431008" y="72045"/>
                    <a:pt x="421277" y="66529"/>
                  </a:cubicBezTo>
                  <a:cubicBezTo>
                    <a:pt x="294833" y="-5098"/>
                    <a:pt x="143915" y="-19634"/>
                    <a:pt x="6127" y="26544"/>
                  </a:cubicBezTo>
                  <a:cubicBezTo>
                    <a:pt x="1496" y="28024"/>
                    <a:pt x="-1060" y="32977"/>
                    <a:pt x="420" y="37609"/>
                  </a:cubicBezTo>
                  <a:cubicBezTo>
                    <a:pt x="1547" y="41136"/>
                    <a:pt x="4760" y="43581"/>
                    <a:pt x="8460" y="43726"/>
                  </a:cubicBezTo>
                  <a:lnTo>
                    <a:pt x="20206" y="44336"/>
                  </a:lnTo>
                  <a:cubicBezTo>
                    <a:pt x="31475" y="44972"/>
                    <a:pt x="31422" y="27472"/>
                    <a:pt x="20206" y="26862"/>
                  </a:cubicBezTo>
                  <a:close/>
                </a:path>
              </a:pathLst>
            </a:custGeom>
            <a:solidFill>
              <a:srgbClr val="2A2E2D"/>
            </a:solidFill>
            <a:ln w="26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FE1516D5-96DE-3846-B661-39E6174E3533}"/>
                </a:ext>
              </a:extLst>
            </p:cNvPr>
            <p:cNvSpPr/>
            <p:nvPr/>
          </p:nvSpPr>
          <p:spPr>
            <a:xfrm>
              <a:off x="5114407" y="2549255"/>
              <a:ext cx="101580" cy="109507"/>
            </a:xfrm>
            <a:custGeom>
              <a:avLst/>
              <a:gdLst>
                <a:gd name="connsiteX0" fmla="*/ 86225 w 101580"/>
                <a:gd name="connsiteY0" fmla="*/ 2070 h 109507"/>
                <a:gd name="connsiteX1" fmla="*/ 2649 w 101580"/>
                <a:gd name="connsiteY1" fmla="*/ 70586 h 109507"/>
                <a:gd name="connsiteX2" fmla="*/ 6520 w 101580"/>
                <a:gd name="connsiteY2" fmla="*/ 85196 h 109507"/>
                <a:gd name="connsiteX3" fmla="*/ 82619 w 101580"/>
                <a:gd name="connsiteY3" fmla="*/ 109060 h 109507"/>
                <a:gd name="connsiteX4" fmla="*/ 87259 w 101580"/>
                <a:gd name="connsiteY4" fmla="*/ 92196 h 109507"/>
                <a:gd name="connsiteX5" fmla="*/ 11160 w 101580"/>
                <a:gd name="connsiteY5" fmla="*/ 68332 h 109507"/>
                <a:gd name="connsiteX6" fmla="*/ 15032 w 101580"/>
                <a:gd name="connsiteY6" fmla="*/ 82969 h 109507"/>
                <a:gd name="connsiteX7" fmla="*/ 98581 w 101580"/>
                <a:gd name="connsiteY7" fmla="*/ 14427 h 109507"/>
                <a:gd name="connsiteX8" fmla="*/ 86225 w 101580"/>
                <a:gd name="connsiteY8" fmla="*/ 2070 h 109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580" h="109507">
                  <a:moveTo>
                    <a:pt x="86225" y="2070"/>
                  </a:moveTo>
                  <a:cubicBezTo>
                    <a:pt x="58101" y="24573"/>
                    <a:pt x="30243" y="47412"/>
                    <a:pt x="2649" y="70586"/>
                  </a:cubicBezTo>
                  <a:cubicBezTo>
                    <a:pt x="-2654" y="75041"/>
                    <a:pt x="713" y="83393"/>
                    <a:pt x="6520" y="85196"/>
                  </a:cubicBezTo>
                  <a:lnTo>
                    <a:pt x="82619" y="109060"/>
                  </a:lnTo>
                  <a:cubicBezTo>
                    <a:pt x="93384" y="112454"/>
                    <a:pt x="97972" y="95563"/>
                    <a:pt x="87259" y="92196"/>
                  </a:cubicBezTo>
                  <a:lnTo>
                    <a:pt x="11160" y="68332"/>
                  </a:lnTo>
                  <a:cubicBezTo>
                    <a:pt x="12460" y="73211"/>
                    <a:pt x="13812" y="78090"/>
                    <a:pt x="15032" y="82969"/>
                  </a:cubicBezTo>
                  <a:cubicBezTo>
                    <a:pt x="42608" y="59794"/>
                    <a:pt x="70457" y="36947"/>
                    <a:pt x="98581" y="14427"/>
                  </a:cubicBezTo>
                  <a:cubicBezTo>
                    <a:pt x="107384" y="7400"/>
                    <a:pt x="94843" y="-4903"/>
                    <a:pt x="86225" y="2070"/>
                  </a:cubicBezTo>
                  <a:close/>
                </a:path>
              </a:pathLst>
            </a:custGeom>
            <a:solidFill>
              <a:srgbClr val="2A2E2D"/>
            </a:solidFill>
            <a:ln w="26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231" name="Graphic 46">
            <a:extLst>
              <a:ext uri="{FF2B5EF4-FFF2-40B4-BE49-F238E27FC236}">
                <a16:creationId xmlns:a16="http://schemas.microsoft.com/office/drawing/2014/main" id="{27E73376-1A59-292B-0572-1ABA70ABD87A}"/>
              </a:ext>
            </a:extLst>
          </p:cNvPr>
          <p:cNvGrpSpPr/>
          <p:nvPr/>
        </p:nvGrpSpPr>
        <p:grpSpPr>
          <a:xfrm>
            <a:off x="4884423" y="1239541"/>
            <a:ext cx="861934" cy="715148"/>
            <a:chOff x="4884423" y="1239541"/>
            <a:chExt cx="861934" cy="715148"/>
          </a:xfrm>
          <a:solidFill>
            <a:srgbClr val="2A2E2D"/>
          </a:solidFill>
        </p:grpSpPr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A29F6885-8108-5540-C94F-340FE8783062}"/>
                </a:ext>
              </a:extLst>
            </p:cNvPr>
            <p:cNvSpPr/>
            <p:nvPr/>
          </p:nvSpPr>
          <p:spPr>
            <a:xfrm>
              <a:off x="4884423" y="1501891"/>
              <a:ext cx="329742" cy="452798"/>
            </a:xfrm>
            <a:custGeom>
              <a:avLst/>
              <a:gdLst>
                <a:gd name="connsiteX0" fmla="*/ 14307 w 329742"/>
                <a:gd name="connsiteY0" fmla="*/ 25185 h 452798"/>
                <a:gd name="connsiteX1" fmla="*/ 6909 w 329742"/>
                <a:gd name="connsiteY1" fmla="*/ 231659 h 452798"/>
                <a:gd name="connsiteX2" fmla="*/ 3568 w 329742"/>
                <a:gd name="connsiteY2" fmla="*/ 334883 h 452798"/>
                <a:gd name="connsiteX3" fmla="*/ 2666 w 329742"/>
                <a:gd name="connsiteY3" fmla="*/ 421350 h 452798"/>
                <a:gd name="connsiteX4" fmla="*/ 92818 w 329742"/>
                <a:gd name="connsiteY4" fmla="*/ 451895 h 452798"/>
                <a:gd name="connsiteX5" fmla="*/ 309077 w 329742"/>
                <a:gd name="connsiteY5" fmla="*/ 446751 h 452798"/>
                <a:gd name="connsiteX6" fmla="*/ 317801 w 329742"/>
                <a:gd name="connsiteY6" fmla="*/ 438001 h 452798"/>
                <a:gd name="connsiteX7" fmla="*/ 324483 w 329742"/>
                <a:gd name="connsiteY7" fmla="*/ 219701 h 452798"/>
                <a:gd name="connsiteX8" fmla="*/ 326895 w 329742"/>
                <a:gd name="connsiteY8" fmla="*/ 106162 h 452798"/>
                <a:gd name="connsiteX9" fmla="*/ 322680 w 329742"/>
                <a:gd name="connsiteY9" fmla="*/ 25158 h 452798"/>
                <a:gd name="connsiteX10" fmla="*/ 227224 w 329742"/>
                <a:gd name="connsiteY10" fmla="*/ 340 h 452798"/>
                <a:gd name="connsiteX11" fmla="*/ 26186 w 329742"/>
                <a:gd name="connsiteY11" fmla="*/ 15294 h 452798"/>
                <a:gd name="connsiteX12" fmla="*/ 30852 w 329742"/>
                <a:gd name="connsiteY12" fmla="*/ 32158 h 452798"/>
                <a:gd name="connsiteX13" fmla="*/ 193948 w 329742"/>
                <a:gd name="connsiteY13" fmla="*/ 17389 h 452798"/>
                <a:gd name="connsiteX14" fmla="*/ 277020 w 329742"/>
                <a:gd name="connsiteY14" fmla="*/ 20677 h 452798"/>
                <a:gd name="connsiteX15" fmla="*/ 309236 w 329742"/>
                <a:gd name="connsiteY15" fmla="*/ 114912 h 452798"/>
                <a:gd name="connsiteX16" fmla="*/ 305657 w 329742"/>
                <a:gd name="connsiteY16" fmla="*/ 272095 h 452798"/>
                <a:gd name="connsiteX17" fmla="*/ 303323 w 329742"/>
                <a:gd name="connsiteY17" fmla="*/ 350686 h 452798"/>
                <a:gd name="connsiteX18" fmla="*/ 291789 w 329742"/>
                <a:gd name="connsiteY18" fmla="*/ 430073 h 452798"/>
                <a:gd name="connsiteX19" fmla="*/ 213940 w 329742"/>
                <a:gd name="connsiteY19" fmla="*/ 432725 h 452798"/>
                <a:gd name="connsiteX20" fmla="*/ 136091 w 329742"/>
                <a:gd name="connsiteY20" fmla="*/ 434103 h 452798"/>
                <a:gd name="connsiteX21" fmla="*/ 58189 w 329742"/>
                <a:gd name="connsiteY21" fmla="*/ 434103 h 452798"/>
                <a:gd name="connsiteX22" fmla="*/ 20538 w 329742"/>
                <a:gd name="connsiteY22" fmla="*/ 351906 h 452798"/>
                <a:gd name="connsiteX23" fmla="*/ 31833 w 329742"/>
                <a:gd name="connsiteY23" fmla="*/ 25185 h 452798"/>
                <a:gd name="connsiteX24" fmla="*/ 14333 w 329742"/>
                <a:gd name="connsiteY24" fmla="*/ 25185 h 452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29742" h="452798">
                  <a:moveTo>
                    <a:pt x="14307" y="25185"/>
                  </a:moveTo>
                  <a:cubicBezTo>
                    <a:pt x="11708" y="94018"/>
                    <a:pt x="9242" y="162844"/>
                    <a:pt x="6909" y="231659"/>
                  </a:cubicBezTo>
                  <a:cubicBezTo>
                    <a:pt x="5848" y="266076"/>
                    <a:pt x="4735" y="300485"/>
                    <a:pt x="3568" y="334883"/>
                  </a:cubicBezTo>
                  <a:cubicBezTo>
                    <a:pt x="2666" y="361531"/>
                    <a:pt x="-3406" y="395179"/>
                    <a:pt x="2666" y="421350"/>
                  </a:cubicBezTo>
                  <a:cubicBezTo>
                    <a:pt x="11867" y="461123"/>
                    <a:pt x="62034" y="451842"/>
                    <a:pt x="92818" y="451895"/>
                  </a:cubicBezTo>
                  <a:cubicBezTo>
                    <a:pt x="164940" y="451895"/>
                    <a:pt x="237035" y="450119"/>
                    <a:pt x="309077" y="446751"/>
                  </a:cubicBezTo>
                  <a:cubicBezTo>
                    <a:pt x="313863" y="446653"/>
                    <a:pt x="317716" y="442787"/>
                    <a:pt x="317801" y="438001"/>
                  </a:cubicBezTo>
                  <a:cubicBezTo>
                    <a:pt x="320452" y="365243"/>
                    <a:pt x="322680" y="292477"/>
                    <a:pt x="324483" y="219701"/>
                  </a:cubicBezTo>
                  <a:cubicBezTo>
                    <a:pt x="325403" y="181871"/>
                    <a:pt x="326206" y="144026"/>
                    <a:pt x="326895" y="106162"/>
                  </a:cubicBezTo>
                  <a:cubicBezTo>
                    <a:pt x="327293" y="82299"/>
                    <a:pt x="335248" y="47192"/>
                    <a:pt x="322680" y="25158"/>
                  </a:cubicBezTo>
                  <a:cubicBezTo>
                    <a:pt x="305736" y="-4486"/>
                    <a:pt x="254906" y="1294"/>
                    <a:pt x="227224" y="340"/>
                  </a:cubicBezTo>
                  <a:cubicBezTo>
                    <a:pt x="159880" y="-1410"/>
                    <a:pt x="92530" y="3601"/>
                    <a:pt x="26186" y="15294"/>
                  </a:cubicBezTo>
                  <a:cubicBezTo>
                    <a:pt x="15129" y="17203"/>
                    <a:pt x="19822" y="34067"/>
                    <a:pt x="30852" y="32158"/>
                  </a:cubicBezTo>
                  <a:cubicBezTo>
                    <a:pt x="84716" y="22737"/>
                    <a:pt x="139268" y="17797"/>
                    <a:pt x="193948" y="17389"/>
                  </a:cubicBezTo>
                  <a:cubicBezTo>
                    <a:pt x="215160" y="17389"/>
                    <a:pt x="257717" y="11715"/>
                    <a:pt x="277020" y="20677"/>
                  </a:cubicBezTo>
                  <a:cubicBezTo>
                    <a:pt x="318198" y="39874"/>
                    <a:pt x="309899" y="78613"/>
                    <a:pt x="309236" y="114912"/>
                  </a:cubicBezTo>
                  <a:cubicBezTo>
                    <a:pt x="308282" y="167307"/>
                    <a:pt x="307089" y="219701"/>
                    <a:pt x="305657" y="272095"/>
                  </a:cubicBezTo>
                  <a:cubicBezTo>
                    <a:pt x="304949" y="298292"/>
                    <a:pt x="304172" y="324489"/>
                    <a:pt x="303323" y="350686"/>
                  </a:cubicBezTo>
                  <a:cubicBezTo>
                    <a:pt x="302714" y="369989"/>
                    <a:pt x="309634" y="418300"/>
                    <a:pt x="291789" y="430073"/>
                  </a:cubicBezTo>
                  <a:cubicBezTo>
                    <a:pt x="278532" y="438717"/>
                    <a:pt x="228868" y="432460"/>
                    <a:pt x="213940" y="432725"/>
                  </a:cubicBezTo>
                  <a:cubicBezTo>
                    <a:pt x="188008" y="433414"/>
                    <a:pt x="162059" y="433873"/>
                    <a:pt x="136091" y="434103"/>
                  </a:cubicBezTo>
                  <a:cubicBezTo>
                    <a:pt x="112228" y="434316"/>
                    <a:pt x="81178" y="440069"/>
                    <a:pt x="58189" y="434103"/>
                  </a:cubicBezTo>
                  <a:cubicBezTo>
                    <a:pt x="15553" y="422994"/>
                    <a:pt x="19424" y="387861"/>
                    <a:pt x="20538" y="351906"/>
                  </a:cubicBezTo>
                  <a:cubicBezTo>
                    <a:pt x="23879" y="243053"/>
                    <a:pt x="27644" y="134144"/>
                    <a:pt x="31833" y="25185"/>
                  </a:cubicBezTo>
                  <a:cubicBezTo>
                    <a:pt x="32258" y="13942"/>
                    <a:pt x="14757" y="13969"/>
                    <a:pt x="14333" y="25185"/>
                  </a:cubicBezTo>
                  <a:close/>
                </a:path>
              </a:pathLst>
            </a:custGeom>
            <a:solidFill>
              <a:srgbClr val="2A2E2D"/>
            </a:solidFill>
            <a:ln w="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41A038B6-FD23-D1D4-8CEA-76F442D6EAE2}"/>
                </a:ext>
              </a:extLst>
            </p:cNvPr>
            <p:cNvSpPr/>
            <p:nvPr/>
          </p:nvSpPr>
          <p:spPr>
            <a:xfrm>
              <a:off x="5195087" y="1239541"/>
              <a:ext cx="369470" cy="319301"/>
            </a:xfrm>
            <a:custGeom>
              <a:avLst/>
              <a:gdLst>
                <a:gd name="connsiteX0" fmla="*/ 8462 w 369470"/>
                <a:gd name="connsiteY0" fmla="*/ 319300 h 319301"/>
                <a:gd name="connsiteX1" fmla="*/ 153129 w 369470"/>
                <a:gd name="connsiteY1" fmla="*/ 249936 h 319301"/>
                <a:gd name="connsiteX2" fmla="*/ 238880 w 369470"/>
                <a:gd name="connsiteY2" fmla="*/ 71912 h 319301"/>
                <a:gd name="connsiteX3" fmla="*/ 339929 w 369470"/>
                <a:gd name="connsiteY3" fmla="*/ 39034 h 319301"/>
                <a:gd name="connsiteX4" fmla="*/ 350721 w 369470"/>
                <a:gd name="connsiteY4" fmla="*/ 122026 h 319301"/>
                <a:gd name="connsiteX5" fmla="*/ 244103 w 369470"/>
                <a:gd name="connsiteY5" fmla="*/ 299679 h 319301"/>
                <a:gd name="connsiteX6" fmla="*/ 256459 w 369470"/>
                <a:gd name="connsiteY6" fmla="*/ 312062 h 319301"/>
                <a:gd name="connsiteX7" fmla="*/ 366895 w 369470"/>
                <a:gd name="connsiteY7" fmla="*/ 133693 h 319301"/>
                <a:gd name="connsiteX8" fmla="*/ 326380 w 369470"/>
                <a:gd name="connsiteY8" fmla="*/ 4590 h 319301"/>
                <a:gd name="connsiteX9" fmla="*/ 207512 w 369470"/>
                <a:gd name="connsiteY9" fmla="*/ 92992 h 319301"/>
                <a:gd name="connsiteX10" fmla="*/ 155675 w 369470"/>
                <a:gd name="connsiteY10" fmla="*/ 212444 h 319301"/>
                <a:gd name="connsiteX11" fmla="*/ 8462 w 369470"/>
                <a:gd name="connsiteY11" fmla="*/ 301827 h 319301"/>
                <a:gd name="connsiteX12" fmla="*/ 8462 w 369470"/>
                <a:gd name="connsiteY12" fmla="*/ 319300 h 319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9470" h="319301">
                  <a:moveTo>
                    <a:pt x="8462" y="319300"/>
                  </a:moveTo>
                  <a:cubicBezTo>
                    <a:pt x="66371" y="318611"/>
                    <a:pt x="118262" y="297558"/>
                    <a:pt x="153129" y="249936"/>
                  </a:cubicBezTo>
                  <a:cubicBezTo>
                    <a:pt x="192398" y="196349"/>
                    <a:pt x="203985" y="127966"/>
                    <a:pt x="238880" y="71912"/>
                  </a:cubicBezTo>
                  <a:cubicBezTo>
                    <a:pt x="259084" y="39378"/>
                    <a:pt x="306891" y="-11584"/>
                    <a:pt x="339929" y="39034"/>
                  </a:cubicBezTo>
                  <a:cubicBezTo>
                    <a:pt x="354751" y="61757"/>
                    <a:pt x="353187" y="96147"/>
                    <a:pt x="350721" y="122026"/>
                  </a:cubicBezTo>
                  <a:cubicBezTo>
                    <a:pt x="343642" y="197728"/>
                    <a:pt x="295516" y="248478"/>
                    <a:pt x="244103" y="299679"/>
                  </a:cubicBezTo>
                  <a:cubicBezTo>
                    <a:pt x="236149" y="307633"/>
                    <a:pt x="248478" y="320016"/>
                    <a:pt x="256459" y="312062"/>
                  </a:cubicBezTo>
                  <a:cubicBezTo>
                    <a:pt x="308297" y="260542"/>
                    <a:pt x="356952" y="209182"/>
                    <a:pt x="366895" y="133693"/>
                  </a:cubicBezTo>
                  <a:cubicBezTo>
                    <a:pt x="372198" y="92223"/>
                    <a:pt x="373683" y="23708"/>
                    <a:pt x="326380" y="4590"/>
                  </a:cubicBezTo>
                  <a:cubicBezTo>
                    <a:pt x="269478" y="-18611"/>
                    <a:pt x="227849" y="51602"/>
                    <a:pt x="207512" y="92992"/>
                  </a:cubicBezTo>
                  <a:cubicBezTo>
                    <a:pt x="188341" y="131970"/>
                    <a:pt x="176171" y="174102"/>
                    <a:pt x="155675" y="212444"/>
                  </a:cubicBezTo>
                  <a:cubicBezTo>
                    <a:pt x="124440" y="270777"/>
                    <a:pt x="74246" y="301031"/>
                    <a:pt x="8462" y="301827"/>
                  </a:cubicBezTo>
                  <a:cubicBezTo>
                    <a:pt x="-2807" y="301959"/>
                    <a:pt x="-2834" y="319459"/>
                    <a:pt x="8462" y="319300"/>
                  </a:cubicBezTo>
                  <a:close/>
                </a:path>
              </a:pathLst>
            </a:custGeom>
            <a:solidFill>
              <a:srgbClr val="2A2E2D"/>
            </a:solidFill>
            <a:ln w="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040B21EB-B4A2-55C8-F97F-F25B542A38EC}"/>
                </a:ext>
              </a:extLst>
            </p:cNvPr>
            <p:cNvSpPr/>
            <p:nvPr/>
          </p:nvSpPr>
          <p:spPr>
            <a:xfrm>
              <a:off x="5409928" y="1490708"/>
              <a:ext cx="306530" cy="175352"/>
            </a:xfrm>
            <a:custGeom>
              <a:avLst/>
              <a:gdLst>
                <a:gd name="connsiteX0" fmla="*/ 43661 w 306530"/>
                <a:gd name="connsiteY0" fmla="*/ 56360 h 175352"/>
                <a:gd name="connsiteX1" fmla="*/ 201241 w 306530"/>
                <a:gd name="connsiteY1" fmla="*/ 20829 h 175352"/>
                <a:gd name="connsiteX2" fmla="*/ 276147 w 306530"/>
                <a:gd name="connsiteY2" fmla="*/ 30640 h 175352"/>
                <a:gd name="connsiteX3" fmla="*/ 252522 w 306530"/>
                <a:gd name="connsiteY3" fmla="*/ 91625 h 175352"/>
                <a:gd name="connsiteX4" fmla="*/ 74365 w 306530"/>
                <a:gd name="connsiteY4" fmla="*/ 154307 h 175352"/>
                <a:gd name="connsiteX5" fmla="*/ 39895 w 306530"/>
                <a:gd name="connsiteY5" fmla="*/ 156588 h 175352"/>
                <a:gd name="connsiteX6" fmla="*/ 30085 w 306530"/>
                <a:gd name="connsiteY6" fmla="*/ 127633 h 175352"/>
                <a:gd name="connsiteX7" fmla="*/ 50449 w 306530"/>
                <a:gd name="connsiteY7" fmla="*/ 111326 h 175352"/>
                <a:gd name="connsiteX8" fmla="*/ 140601 w 306530"/>
                <a:gd name="connsiteY8" fmla="*/ 84811 h 175352"/>
                <a:gd name="connsiteX9" fmla="*/ 140601 w 306530"/>
                <a:gd name="connsiteY9" fmla="*/ 67311 h 175352"/>
                <a:gd name="connsiteX10" fmla="*/ 7732 w 306530"/>
                <a:gd name="connsiteY10" fmla="*/ 162315 h 175352"/>
                <a:gd name="connsiteX11" fmla="*/ 87623 w 306530"/>
                <a:gd name="connsiteY11" fmla="*/ 169925 h 175352"/>
                <a:gd name="connsiteX12" fmla="*/ 238760 w 306530"/>
                <a:gd name="connsiteY12" fmla="*/ 118379 h 175352"/>
                <a:gd name="connsiteX13" fmla="*/ 306268 w 306530"/>
                <a:gd name="connsiteY13" fmla="*/ 57553 h 175352"/>
                <a:gd name="connsiteX14" fmla="*/ 274450 w 306530"/>
                <a:gd name="connsiteY14" fmla="*/ 11363 h 175352"/>
                <a:gd name="connsiteX15" fmla="*/ 34725 w 306530"/>
                <a:gd name="connsiteY15" fmla="*/ 41246 h 175352"/>
                <a:gd name="connsiteX16" fmla="*/ 43555 w 306530"/>
                <a:gd name="connsiteY16" fmla="*/ 56360 h 175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6530" h="175352">
                  <a:moveTo>
                    <a:pt x="43661" y="56360"/>
                  </a:moveTo>
                  <a:cubicBezTo>
                    <a:pt x="89983" y="29606"/>
                    <a:pt x="148555" y="21704"/>
                    <a:pt x="201241" y="20829"/>
                  </a:cubicBezTo>
                  <a:cubicBezTo>
                    <a:pt x="222453" y="20458"/>
                    <a:pt x="257719" y="17674"/>
                    <a:pt x="276147" y="30640"/>
                  </a:cubicBezTo>
                  <a:cubicBezTo>
                    <a:pt x="308522" y="53417"/>
                    <a:pt x="273946" y="79481"/>
                    <a:pt x="252522" y="91625"/>
                  </a:cubicBezTo>
                  <a:cubicBezTo>
                    <a:pt x="198536" y="122383"/>
                    <a:pt x="136040" y="145478"/>
                    <a:pt x="74365" y="154307"/>
                  </a:cubicBezTo>
                  <a:cubicBezTo>
                    <a:pt x="65271" y="155607"/>
                    <a:pt x="48911" y="160008"/>
                    <a:pt x="39895" y="156588"/>
                  </a:cubicBezTo>
                  <a:cubicBezTo>
                    <a:pt x="23422" y="157860"/>
                    <a:pt x="20150" y="148209"/>
                    <a:pt x="30085" y="127633"/>
                  </a:cubicBezTo>
                  <a:cubicBezTo>
                    <a:pt x="36088" y="121283"/>
                    <a:pt x="42939" y="115794"/>
                    <a:pt x="50449" y="111326"/>
                  </a:cubicBezTo>
                  <a:cubicBezTo>
                    <a:pt x="76513" y="94409"/>
                    <a:pt x="109525" y="83830"/>
                    <a:pt x="140601" y="84811"/>
                  </a:cubicBezTo>
                  <a:cubicBezTo>
                    <a:pt x="151843" y="85155"/>
                    <a:pt x="151843" y="67655"/>
                    <a:pt x="140601" y="67311"/>
                  </a:cubicBezTo>
                  <a:cubicBezTo>
                    <a:pt x="109869" y="66383"/>
                    <a:pt x="-34692" y="107693"/>
                    <a:pt x="7732" y="162315"/>
                  </a:cubicBezTo>
                  <a:cubicBezTo>
                    <a:pt x="23960" y="183209"/>
                    <a:pt x="66649" y="173610"/>
                    <a:pt x="87623" y="169925"/>
                  </a:cubicBezTo>
                  <a:cubicBezTo>
                    <a:pt x="140150" y="160698"/>
                    <a:pt x="191033" y="141872"/>
                    <a:pt x="238760" y="118379"/>
                  </a:cubicBezTo>
                  <a:cubicBezTo>
                    <a:pt x="263658" y="106102"/>
                    <a:pt x="303139" y="90061"/>
                    <a:pt x="306268" y="57553"/>
                  </a:cubicBezTo>
                  <a:cubicBezTo>
                    <a:pt x="308575" y="33689"/>
                    <a:pt x="295450" y="18947"/>
                    <a:pt x="274450" y="11363"/>
                  </a:cubicBezTo>
                  <a:cubicBezTo>
                    <a:pt x="205510" y="-13614"/>
                    <a:pt x="96797" y="5371"/>
                    <a:pt x="34725" y="41246"/>
                  </a:cubicBezTo>
                  <a:cubicBezTo>
                    <a:pt x="24994" y="46867"/>
                    <a:pt x="33797" y="62008"/>
                    <a:pt x="43555" y="56360"/>
                  </a:cubicBezTo>
                  <a:close/>
                </a:path>
              </a:pathLst>
            </a:custGeom>
            <a:solidFill>
              <a:srgbClr val="2A2E2D"/>
            </a:solidFill>
            <a:ln w="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FB57BF3D-A8D5-9EB3-9A90-3E71AF1577F3}"/>
                </a:ext>
              </a:extLst>
            </p:cNvPr>
            <p:cNvSpPr/>
            <p:nvPr/>
          </p:nvSpPr>
          <p:spPr>
            <a:xfrm>
              <a:off x="5434246" y="1563564"/>
              <a:ext cx="312111" cy="185732"/>
            </a:xfrm>
            <a:custGeom>
              <a:avLst/>
              <a:gdLst>
                <a:gd name="connsiteX0" fmla="*/ 61025 w 312111"/>
                <a:gd name="connsiteY0" fmla="*/ 80259 h 185732"/>
                <a:gd name="connsiteX1" fmla="*/ 543 w 312111"/>
                <a:gd name="connsiteY1" fmla="*/ 153680 h 185732"/>
                <a:gd name="connsiteX2" fmla="*/ 104430 w 312111"/>
                <a:gd name="connsiteY2" fmla="*/ 180195 h 185732"/>
                <a:gd name="connsiteX3" fmla="*/ 267632 w 312111"/>
                <a:gd name="connsiteY3" fmla="*/ 109319 h 185732"/>
                <a:gd name="connsiteX4" fmla="*/ 278026 w 312111"/>
                <a:gd name="connsiteY4" fmla="*/ 845 h 185732"/>
                <a:gd name="connsiteX5" fmla="*/ 269196 w 312111"/>
                <a:gd name="connsiteY5" fmla="*/ 15933 h 185732"/>
                <a:gd name="connsiteX6" fmla="*/ 218817 w 312111"/>
                <a:gd name="connsiteY6" fmla="*/ 122392 h 185732"/>
                <a:gd name="connsiteX7" fmla="*/ 120551 w 312111"/>
                <a:gd name="connsiteY7" fmla="*/ 158850 h 185732"/>
                <a:gd name="connsiteX8" fmla="*/ 26528 w 312111"/>
                <a:gd name="connsiteY8" fmla="*/ 150259 h 185732"/>
                <a:gd name="connsiteX9" fmla="*/ 69801 w 312111"/>
                <a:gd name="connsiteY9" fmla="*/ 95293 h 185732"/>
                <a:gd name="connsiteX10" fmla="*/ 60972 w 312111"/>
                <a:gd name="connsiteY10" fmla="*/ 80206 h 185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12111" h="185732">
                  <a:moveTo>
                    <a:pt x="61025" y="80259"/>
                  </a:moveTo>
                  <a:cubicBezTo>
                    <a:pt x="36869" y="93675"/>
                    <a:pt x="-5264" y="120801"/>
                    <a:pt x="543" y="153680"/>
                  </a:cubicBezTo>
                  <a:cubicBezTo>
                    <a:pt x="8206" y="197085"/>
                    <a:pt x="75449" y="185657"/>
                    <a:pt x="104430" y="180195"/>
                  </a:cubicBezTo>
                  <a:cubicBezTo>
                    <a:pt x="163162" y="169297"/>
                    <a:pt x="221256" y="147528"/>
                    <a:pt x="267632" y="109319"/>
                  </a:cubicBezTo>
                  <a:cubicBezTo>
                    <a:pt x="307087" y="76812"/>
                    <a:pt x="339090" y="28236"/>
                    <a:pt x="278026" y="845"/>
                  </a:cubicBezTo>
                  <a:cubicBezTo>
                    <a:pt x="267817" y="-3715"/>
                    <a:pt x="258908" y="11452"/>
                    <a:pt x="269196" y="15933"/>
                  </a:cubicBezTo>
                  <a:cubicBezTo>
                    <a:pt x="333787" y="44914"/>
                    <a:pt x="246685" y="106615"/>
                    <a:pt x="218817" y="122392"/>
                  </a:cubicBezTo>
                  <a:cubicBezTo>
                    <a:pt x="188590" y="139520"/>
                    <a:pt x="154199" y="150736"/>
                    <a:pt x="120551" y="158850"/>
                  </a:cubicBezTo>
                  <a:cubicBezTo>
                    <a:pt x="94036" y="165267"/>
                    <a:pt x="37638" y="181892"/>
                    <a:pt x="26528" y="150259"/>
                  </a:cubicBezTo>
                  <a:cubicBezTo>
                    <a:pt x="17460" y="124407"/>
                    <a:pt x="48350" y="107251"/>
                    <a:pt x="69801" y="95293"/>
                  </a:cubicBezTo>
                  <a:cubicBezTo>
                    <a:pt x="79638" y="89831"/>
                    <a:pt x="70835" y="74717"/>
                    <a:pt x="60972" y="80206"/>
                  </a:cubicBezTo>
                  <a:close/>
                </a:path>
              </a:pathLst>
            </a:custGeom>
            <a:solidFill>
              <a:srgbClr val="2A2E2D"/>
            </a:solidFill>
            <a:ln w="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1D93E8C0-B0E2-F1FF-3A73-B0DBF15F3178}"/>
                </a:ext>
              </a:extLst>
            </p:cNvPr>
            <p:cNvSpPr/>
            <p:nvPr/>
          </p:nvSpPr>
          <p:spPr>
            <a:xfrm>
              <a:off x="5463957" y="1649330"/>
              <a:ext cx="280409" cy="179129"/>
            </a:xfrm>
            <a:custGeom>
              <a:avLst/>
              <a:gdLst>
                <a:gd name="connsiteX0" fmla="*/ 19276 w 280409"/>
                <a:gd name="connsiteY0" fmla="*/ 91857 h 179129"/>
                <a:gd name="connsiteX1" fmla="*/ 12011 w 280409"/>
                <a:gd name="connsiteY1" fmla="*/ 167611 h 179129"/>
                <a:gd name="connsiteX2" fmla="*/ 130720 w 280409"/>
                <a:gd name="connsiteY2" fmla="*/ 158781 h 179129"/>
                <a:gd name="connsiteX3" fmla="*/ 248315 w 280409"/>
                <a:gd name="connsiteY3" fmla="*/ 1015 h 179129"/>
                <a:gd name="connsiteX4" fmla="*/ 239485 w 280409"/>
                <a:gd name="connsiteY4" fmla="*/ 16129 h 179129"/>
                <a:gd name="connsiteX5" fmla="*/ 120644 w 280409"/>
                <a:gd name="connsiteY5" fmla="*/ 143827 h 179129"/>
                <a:gd name="connsiteX6" fmla="*/ 41840 w 280409"/>
                <a:gd name="connsiteY6" fmla="*/ 159736 h 179129"/>
                <a:gd name="connsiteX7" fmla="*/ 34363 w 280409"/>
                <a:gd name="connsiteY7" fmla="*/ 100633 h 179129"/>
                <a:gd name="connsiteX8" fmla="*/ 19276 w 280409"/>
                <a:gd name="connsiteY8" fmla="*/ 91804 h 179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409" h="179129">
                  <a:moveTo>
                    <a:pt x="19276" y="91857"/>
                  </a:moveTo>
                  <a:cubicBezTo>
                    <a:pt x="4215" y="112565"/>
                    <a:pt x="-11508" y="147141"/>
                    <a:pt x="12011" y="167611"/>
                  </a:cubicBezTo>
                  <a:cubicBezTo>
                    <a:pt x="41390" y="193198"/>
                    <a:pt x="100784" y="169732"/>
                    <a:pt x="130720" y="158781"/>
                  </a:cubicBezTo>
                  <a:cubicBezTo>
                    <a:pt x="173012" y="143323"/>
                    <a:pt x="352600" y="53197"/>
                    <a:pt x="248315" y="1015"/>
                  </a:cubicBezTo>
                  <a:cubicBezTo>
                    <a:pt x="238266" y="-4023"/>
                    <a:pt x="229410" y="11065"/>
                    <a:pt x="239485" y="16129"/>
                  </a:cubicBezTo>
                  <a:cubicBezTo>
                    <a:pt x="322372" y="57599"/>
                    <a:pt x="146417" y="134785"/>
                    <a:pt x="120644" y="143827"/>
                  </a:cubicBezTo>
                  <a:cubicBezTo>
                    <a:pt x="99272" y="151331"/>
                    <a:pt x="64617" y="166232"/>
                    <a:pt x="41840" y="159736"/>
                  </a:cubicBezTo>
                  <a:cubicBezTo>
                    <a:pt x="5965" y="149554"/>
                    <a:pt x="18613" y="122296"/>
                    <a:pt x="34363" y="100633"/>
                  </a:cubicBezTo>
                  <a:cubicBezTo>
                    <a:pt x="40992" y="91512"/>
                    <a:pt x="25825" y="82762"/>
                    <a:pt x="19276" y="91804"/>
                  </a:cubicBezTo>
                  <a:close/>
                </a:path>
              </a:pathLst>
            </a:custGeom>
            <a:solidFill>
              <a:srgbClr val="2A2E2D"/>
            </a:solidFill>
            <a:ln w="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F35E2ACC-46E9-328F-ACC5-48D86F11A9FF}"/>
                </a:ext>
              </a:extLst>
            </p:cNvPr>
            <p:cNvSpPr/>
            <p:nvPr/>
          </p:nvSpPr>
          <p:spPr>
            <a:xfrm>
              <a:off x="5504219" y="1746456"/>
              <a:ext cx="214377" cy="152208"/>
            </a:xfrm>
            <a:custGeom>
              <a:avLst/>
              <a:gdLst>
                <a:gd name="connsiteX0" fmla="*/ 24540 w 214377"/>
                <a:gd name="connsiteY0" fmla="*/ 65765 h 152208"/>
                <a:gd name="connsiteX1" fmla="*/ 7570 w 214377"/>
                <a:gd name="connsiteY1" fmla="*/ 138656 h 152208"/>
                <a:gd name="connsiteX2" fmla="*/ 97722 w 214377"/>
                <a:gd name="connsiteY2" fmla="*/ 140406 h 152208"/>
                <a:gd name="connsiteX3" fmla="*/ 198772 w 214377"/>
                <a:gd name="connsiteY3" fmla="*/ 78360 h 152208"/>
                <a:gd name="connsiteX4" fmla="*/ 184374 w 214377"/>
                <a:gd name="connsiteY4" fmla="*/ 776 h 152208"/>
                <a:gd name="connsiteX5" fmla="*/ 175545 w 214377"/>
                <a:gd name="connsiteY5" fmla="*/ 15890 h 152208"/>
                <a:gd name="connsiteX6" fmla="*/ 96980 w 214377"/>
                <a:gd name="connsiteY6" fmla="*/ 122163 h 152208"/>
                <a:gd name="connsiteX7" fmla="*/ 31408 w 214377"/>
                <a:gd name="connsiteY7" fmla="*/ 133167 h 152208"/>
                <a:gd name="connsiteX8" fmla="*/ 36923 w 214377"/>
                <a:gd name="connsiteY8" fmla="*/ 78122 h 152208"/>
                <a:gd name="connsiteX9" fmla="*/ 24540 w 214377"/>
                <a:gd name="connsiteY9" fmla="*/ 65765 h 152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4377" h="152208">
                  <a:moveTo>
                    <a:pt x="24540" y="65765"/>
                  </a:moveTo>
                  <a:cubicBezTo>
                    <a:pt x="9161" y="83928"/>
                    <a:pt x="-11282" y="116330"/>
                    <a:pt x="7570" y="138656"/>
                  </a:cubicBezTo>
                  <a:cubicBezTo>
                    <a:pt x="28146" y="163023"/>
                    <a:pt x="72984" y="148732"/>
                    <a:pt x="97722" y="140406"/>
                  </a:cubicBezTo>
                  <a:cubicBezTo>
                    <a:pt x="133465" y="128368"/>
                    <a:pt x="175863" y="109754"/>
                    <a:pt x="198772" y="78360"/>
                  </a:cubicBezTo>
                  <a:cubicBezTo>
                    <a:pt x="221681" y="46966"/>
                    <a:pt x="221363" y="16473"/>
                    <a:pt x="184374" y="776"/>
                  </a:cubicBezTo>
                  <a:cubicBezTo>
                    <a:pt x="174113" y="-3546"/>
                    <a:pt x="165204" y="11383"/>
                    <a:pt x="175545" y="15890"/>
                  </a:cubicBezTo>
                  <a:cubicBezTo>
                    <a:pt x="247136" y="46250"/>
                    <a:pt x="126120" y="111822"/>
                    <a:pt x="96980" y="122163"/>
                  </a:cubicBezTo>
                  <a:cubicBezTo>
                    <a:pt x="79745" y="128262"/>
                    <a:pt x="49465" y="140353"/>
                    <a:pt x="31408" y="133167"/>
                  </a:cubicBezTo>
                  <a:cubicBezTo>
                    <a:pt x="5582" y="122932"/>
                    <a:pt x="24567" y="92731"/>
                    <a:pt x="36923" y="78122"/>
                  </a:cubicBezTo>
                  <a:cubicBezTo>
                    <a:pt x="44161" y="69584"/>
                    <a:pt x="31832" y="57148"/>
                    <a:pt x="24540" y="65765"/>
                  </a:cubicBezTo>
                  <a:close/>
                </a:path>
              </a:pathLst>
            </a:custGeom>
            <a:solidFill>
              <a:srgbClr val="2A2E2D"/>
            </a:solidFill>
            <a:ln w="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2A64B8C7-2406-D617-12E9-40A75E8F78E3}"/>
                </a:ext>
              </a:extLst>
            </p:cNvPr>
            <p:cNvSpPr/>
            <p:nvPr/>
          </p:nvSpPr>
          <p:spPr>
            <a:xfrm>
              <a:off x="5192756" y="1854422"/>
              <a:ext cx="329007" cy="37725"/>
            </a:xfrm>
            <a:custGeom>
              <a:avLst/>
              <a:gdLst>
                <a:gd name="connsiteX0" fmla="*/ 6100 w 329007"/>
                <a:gd name="connsiteY0" fmla="*/ 18042 h 37725"/>
                <a:gd name="connsiteX1" fmla="*/ 322401 w 329007"/>
                <a:gd name="connsiteY1" fmla="*/ 17113 h 37725"/>
                <a:gd name="connsiteX2" fmla="*/ 311635 w 329007"/>
                <a:gd name="connsiteY2" fmla="*/ 11015 h 37725"/>
                <a:gd name="connsiteX3" fmla="*/ 311848 w 329007"/>
                <a:gd name="connsiteY3" fmla="*/ 11757 h 37725"/>
                <a:gd name="connsiteX4" fmla="*/ 320279 w 329007"/>
                <a:gd name="connsiteY4" fmla="*/ 701 h 37725"/>
                <a:gd name="connsiteX5" fmla="*/ 319510 w 329007"/>
                <a:gd name="connsiteY5" fmla="*/ 701 h 37725"/>
                <a:gd name="connsiteX6" fmla="*/ 319510 w 329007"/>
                <a:gd name="connsiteY6" fmla="*/ 18201 h 37725"/>
                <a:gd name="connsiteX7" fmla="*/ 320279 w 329007"/>
                <a:gd name="connsiteY7" fmla="*/ 18201 h 37725"/>
                <a:gd name="connsiteX8" fmla="*/ 329006 w 329007"/>
                <a:gd name="connsiteY8" fmla="*/ 9111 h 37725"/>
                <a:gd name="connsiteX9" fmla="*/ 328738 w 329007"/>
                <a:gd name="connsiteY9" fmla="*/ 7117 h 37725"/>
                <a:gd name="connsiteX10" fmla="*/ 328499 w 329007"/>
                <a:gd name="connsiteY10" fmla="*/ 6375 h 37725"/>
                <a:gd name="connsiteX11" fmla="*/ 317893 w 329007"/>
                <a:gd name="connsiteY11" fmla="*/ 250 h 37725"/>
                <a:gd name="connsiteX12" fmla="*/ 10872 w 329007"/>
                <a:gd name="connsiteY12" fmla="*/ 1178 h 37725"/>
                <a:gd name="connsiteX13" fmla="*/ 6232 w 329007"/>
                <a:gd name="connsiteY13" fmla="*/ 18042 h 37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29007" h="37725">
                  <a:moveTo>
                    <a:pt x="6100" y="18042"/>
                  </a:moveTo>
                  <a:cubicBezTo>
                    <a:pt x="109902" y="44597"/>
                    <a:pt x="218758" y="44278"/>
                    <a:pt x="322401" y="17113"/>
                  </a:cubicBezTo>
                  <a:lnTo>
                    <a:pt x="311635" y="11015"/>
                  </a:lnTo>
                  <a:lnTo>
                    <a:pt x="311848" y="11757"/>
                  </a:lnTo>
                  <a:lnTo>
                    <a:pt x="320279" y="701"/>
                  </a:lnTo>
                  <a:lnTo>
                    <a:pt x="319510" y="701"/>
                  </a:lnTo>
                  <a:cubicBezTo>
                    <a:pt x="308374" y="1629"/>
                    <a:pt x="308268" y="19261"/>
                    <a:pt x="319510" y="18201"/>
                  </a:cubicBezTo>
                  <a:lnTo>
                    <a:pt x="320279" y="18201"/>
                  </a:lnTo>
                  <a:cubicBezTo>
                    <a:pt x="325198" y="18100"/>
                    <a:pt x="329106" y="14032"/>
                    <a:pt x="329006" y="9111"/>
                  </a:cubicBezTo>
                  <a:cubicBezTo>
                    <a:pt x="328992" y="8440"/>
                    <a:pt x="328902" y="7769"/>
                    <a:pt x="328738" y="7117"/>
                  </a:cubicBezTo>
                  <a:lnTo>
                    <a:pt x="328499" y="6375"/>
                  </a:lnTo>
                  <a:cubicBezTo>
                    <a:pt x="327160" y="1833"/>
                    <a:pt x="322496" y="-861"/>
                    <a:pt x="317893" y="250"/>
                  </a:cubicBezTo>
                  <a:cubicBezTo>
                    <a:pt x="217299" y="26686"/>
                    <a:pt x="111623" y="27004"/>
                    <a:pt x="10872" y="1178"/>
                  </a:cubicBezTo>
                  <a:cubicBezTo>
                    <a:pt x="-52" y="-1474"/>
                    <a:pt x="-4692" y="15284"/>
                    <a:pt x="6232" y="18042"/>
                  </a:cubicBezTo>
                  <a:close/>
                </a:path>
              </a:pathLst>
            </a:custGeom>
            <a:solidFill>
              <a:srgbClr val="2A2E2D"/>
            </a:solidFill>
            <a:ln w="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D34CADC5-FC8F-44AB-5660-D300F426663B}"/>
                </a:ext>
              </a:extLst>
            </p:cNvPr>
            <p:cNvSpPr/>
            <p:nvPr/>
          </p:nvSpPr>
          <p:spPr>
            <a:xfrm>
              <a:off x="5001328" y="1807374"/>
              <a:ext cx="82590" cy="83828"/>
            </a:xfrm>
            <a:custGeom>
              <a:avLst/>
              <a:gdLst>
                <a:gd name="connsiteX0" fmla="*/ 41857 w 82590"/>
                <a:gd name="connsiteY0" fmla="*/ 181 h 83828"/>
                <a:gd name="connsiteX1" fmla="*/ 68 w 82590"/>
                <a:gd name="connsiteY1" fmla="*/ 42605 h 83828"/>
                <a:gd name="connsiteX2" fmla="*/ 40822 w 82590"/>
                <a:gd name="connsiteY2" fmla="*/ 83810 h 83828"/>
                <a:gd name="connsiteX3" fmla="*/ 82584 w 82590"/>
                <a:gd name="connsiteY3" fmla="*/ 46291 h 83828"/>
                <a:gd name="connsiteX4" fmla="*/ 44084 w 82590"/>
                <a:gd name="connsiteY4" fmla="*/ 2249 h 83828"/>
                <a:gd name="connsiteX5" fmla="*/ 44084 w 82590"/>
                <a:gd name="connsiteY5" fmla="*/ 19749 h 83828"/>
                <a:gd name="connsiteX6" fmla="*/ 65110 w 82590"/>
                <a:gd name="connsiteY6" fmla="*/ 45018 h 83828"/>
                <a:gd name="connsiteX7" fmla="*/ 40822 w 82590"/>
                <a:gd name="connsiteY7" fmla="*/ 66230 h 83828"/>
                <a:gd name="connsiteX8" fmla="*/ 17516 w 82590"/>
                <a:gd name="connsiteY8" fmla="*/ 43878 h 83828"/>
                <a:gd name="connsiteX9" fmla="*/ 41857 w 82590"/>
                <a:gd name="connsiteY9" fmla="*/ 17495 h 83828"/>
                <a:gd name="connsiteX10" fmla="*/ 41857 w 82590"/>
                <a:gd name="connsiteY10" fmla="*/ 21 h 83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2590" h="83828">
                  <a:moveTo>
                    <a:pt x="41857" y="181"/>
                  </a:moveTo>
                  <a:cubicBezTo>
                    <a:pt x="19302" y="1933"/>
                    <a:pt x="1480" y="20027"/>
                    <a:pt x="68" y="42605"/>
                  </a:cubicBezTo>
                  <a:cubicBezTo>
                    <a:pt x="-1310" y="66018"/>
                    <a:pt x="18338" y="83173"/>
                    <a:pt x="40822" y="83810"/>
                  </a:cubicBezTo>
                  <a:cubicBezTo>
                    <a:pt x="62645" y="84446"/>
                    <a:pt x="82398" y="69014"/>
                    <a:pt x="82584" y="46291"/>
                  </a:cubicBezTo>
                  <a:cubicBezTo>
                    <a:pt x="82956" y="23904"/>
                    <a:pt x="66319" y="4874"/>
                    <a:pt x="44084" y="2249"/>
                  </a:cubicBezTo>
                  <a:cubicBezTo>
                    <a:pt x="32921" y="1082"/>
                    <a:pt x="33000" y="18582"/>
                    <a:pt x="44084" y="19749"/>
                  </a:cubicBezTo>
                  <a:cubicBezTo>
                    <a:pt x="56201" y="21022"/>
                    <a:pt x="64739" y="33431"/>
                    <a:pt x="65110" y="45018"/>
                  </a:cubicBezTo>
                  <a:cubicBezTo>
                    <a:pt x="65561" y="58806"/>
                    <a:pt x="53709" y="66920"/>
                    <a:pt x="40822" y="66230"/>
                  </a:cubicBezTo>
                  <a:cubicBezTo>
                    <a:pt x="27936" y="65541"/>
                    <a:pt x="16959" y="57268"/>
                    <a:pt x="17516" y="43878"/>
                  </a:cubicBezTo>
                  <a:cubicBezTo>
                    <a:pt x="18072" y="30487"/>
                    <a:pt x="28625" y="18343"/>
                    <a:pt x="41857" y="17495"/>
                  </a:cubicBezTo>
                  <a:cubicBezTo>
                    <a:pt x="53020" y="16779"/>
                    <a:pt x="53099" y="-694"/>
                    <a:pt x="41857" y="21"/>
                  </a:cubicBezTo>
                  <a:close/>
                </a:path>
              </a:pathLst>
            </a:custGeom>
            <a:solidFill>
              <a:srgbClr val="2A2E2D"/>
            </a:solidFill>
            <a:ln w="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9F258816-28FB-3D09-408E-0038D23235DB}"/>
                </a:ext>
              </a:extLst>
            </p:cNvPr>
            <p:cNvSpPr/>
            <p:nvPr/>
          </p:nvSpPr>
          <p:spPr>
            <a:xfrm>
              <a:off x="5137659" y="1509777"/>
              <a:ext cx="17500" cy="436594"/>
            </a:xfrm>
            <a:custGeom>
              <a:avLst/>
              <a:gdLst>
                <a:gd name="connsiteX0" fmla="*/ 0 w 17500"/>
                <a:gd name="connsiteY0" fmla="*/ 8442 h 436594"/>
                <a:gd name="connsiteX1" fmla="*/ 0 w 17500"/>
                <a:gd name="connsiteY1" fmla="*/ 428152 h 436594"/>
                <a:gd name="connsiteX2" fmla="*/ 17500 w 17500"/>
                <a:gd name="connsiteY2" fmla="*/ 428152 h 436594"/>
                <a:gd name="connsiteX3" fmla="*/ 17500 w 17500"/>
                <a:gd name="connsiteY3" fmla="*/ 8442 h 436594"/>
                <a:gd name="connsiteX4" fmla="*/ 27 w 17500"/>
                <a:gd name="connsiteY4" fmla="*/ 8442 h 436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00" h="436594">
                  <a:moveTo>
                    <a:pt x="0" y="8442"/>
                  </a:moveTo>
                  <a:lnTo>
                    <a:pt x="0" y="428152"/>
                  </a:lnTo>
                  <a:cubicBezTo>
                    <a:pt x="0" y="439395"/>
                    <a:pt x="17474" y="439421"/>
                    <a:pt x="17500" y="428152"/>
                  </a:cubicBezTo>
                  <a:cubicBezTo>
                    <a:pt x="17500" y="288258"/>
                    <a:pt x="17500" y="148355"/>
                    <a:pt x="17500" y="8442"/>
                  </a:cubicBezTo>
                  <a:cubicBezTo>
                    <a:pt x="17500" y="-2801"/>
                    <a:pt x="27" y="-2827"/>
                    <a:pt x="27" y="8442"/>
                  </a:cubicBezTo>
                  <a:close/>
                </a:path>
              </a:pathLst>
            </a:custGeom>
            <a:solidFill>
              <a:srgbClr val="2A2E2D"/>
            </a:solidFill>
            <a:ln w="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16FDF7E4-349C-1012-E0A0-B3231D0D9300}"/>
                </a:ext>
              </a:extLst>
            </p:cNvPr>
            <p:cNvSpPr/>
            <p:nvPr/>
          </p:nvSpPr>
          <p:spPr>
            <a:xfrm>
              <a:off x="5248250" y="1644937"/>
              <a:ext cx="137569" cy="83901"/>
            </a:xfrm>
            <a:custGeom>
              <a:avLst/>
              <a:gdLst>
                <a:gd name="connsiteX0" fmla="*/ 4220 w 137569"/>
                <a:gd name="connsiteY0" fmla="*/ 77132 h 83901"/>
                <a:gd name="connsiteX1" fmla="*/ 134994 w 137569"/>
                <a:gd name="connsiteY1" fmla="*/ 14901 h 83901"/>
                <a:gd name="connsiteX2" fmla="*/ 122637 w 137569"/>
                <a:gd name="connsiteY2" fmla="*/ 2545 h 83901"/>
                <a:gd name="connsiteX3" fmla="*/ 13050 w 137569"/>
                <a:gd name="connsiteY3" fmla="*/ 62019 h 83901"/>
                <a:gd name="connsiteX4" fmla="*/ 4220 w 137569"/>
                <a:gd name="connsiteY4" fmla="*/ 77132 h 83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569" h="83901">
                  <a:moveTo>
                    <a:pt x="4220" y="77132"/>
                  </a:moveTo>
                  <a:cubicBezTo>
                    <a:pt x="49694" y="104151"/>
                    <a:pt x="105933" y="43458"/>
                    <a:pt x="134994" y="14901"/>
                  </a:cubicBezTo>
                  <a:cubicBezTo>
                    <a:pt x="142948" y="6946"/>
                    <a:pt x="130672" y="-5357"/>
                    <a:pt x="122637" y="2545"/>
                  </a:cubicBezTo>
                  <a:cubicBezTo>
                    <a:pt x="100471" y="24287"/>
                    <a:pt x="47732" y="82648"/>
                    <a:pt x="13050" y="62019"/>
                  </a:cubicBezTo>
                  <a:cubicBezTo>
                    <a:pt x="3345" y="56265"/>
                    <a:pt x="-5511" y="71379"/>
                    <a:pt x="4220" y="77132"/>
                  </a:cubicBezTo>
                  <a:close/>
                </a:path>
              </a:pathLst>
            </a:custGeom>
            <a:solidFill>
              <a:srgbClr val="2A2E2D"/>
            </a:solidFill>
            <a:ln w="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242" name="Graphic 48">
            <a:extLst>
              <a:ext uri="{FF2B5EF4-FFF2-40B4-BE49-F238E27FC236}">
                <a16:creationId xmlns:a16="http://schemas.microsoft.com/office/drawing/2014/main" id="{F9EA6D77-B1A1-A38C-EDC5-40B2B499DDE1}"/>
              </a:ext>
            </a:extLst>
          </p:cNvPr>
          <p:cNvGrpSpPr/>
          <p:nvPr/>
        </p:nvGrpSpPr>
        <p:grpSpPr>
          <a:xfrm>
            <a:off x="8859566" y="1165244"/>
            <a:ext cx="821110" cy="864617"/>
            <a:chOff x="8859566" y="1165244"/>
            <a:chExt cx="821110" cy="864617"/>
          </a:xfrm>
          <a:solidFill>
            <a:srgbClr val="2A2E2D"/>
          </a:solidFill>
        </p:grpSpPr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7EA062E7-8A01-3127-0719-7FB3DB9F3E04}"/>
                </a:ext>
              </a:extLst>
            </p:cNvPr>
            <p:cNvSpPr/>
            <p:nvPr/>
          </p:nvSpPr>
          <p:spPr>
            <a:xfrm>
              <a:off x="8859566" y="1343721"/>
              <a:ext cx="762926" cy="686140"/>
            </a:xfrm>
            <a:custGeom>
              <a:avLst/>
              <a:gdLst>
                <a:gd name="connsiteX0" fmla="*/ 134459 w 762926"/>
                <a:gd name="connsiteY0" fmla="*/ 95005 h 686140"/>
                <a:gd name="connsiteX1" fmla="*/ 17447 w 762926"/>
                <a:gd name="connsiteY1" fmla="*/ 158642 h 686140"/>
                <a:gd name="connsiteX2" fmla="*/ 3633 w 762926"/>
                <a:gd name="connsiteY2" fmla="*/ 224400 h 686140"/>
                <a:gd name="connsiteX3" fmla="*/ 0 w 762926"/>
                <a:gd name="connsiteY3" fmla="*/ 357958 h 686140"/>
                <a:gd name="connsiteX4" fmla="*/ 10818 w 762926"/>
                <a:gd name="connsiteY4" fmla="*/ 600042 h 686140"/>
                <a:gd name="connsiteX5" fmla="*/ 88535 w 762926"/>
                <a:gd name="connsiteY5" fmla="*/ 684069 h 686140"/>
                <a:gd name="connsiteX6" fmla="*/ 306623 w 762926"/>
                <a:gd name="connsiteY6" fmla="*/ 680357 h 686140"/>
                <a:gd name="connsiteX7" fmla="*/ 574003 w 762926"/>
                <a:gd name="connsiteY7" fmla="*/ 672031 h 686140"/>
                <a:gd name="connsiteX8" fmla="*/ 723019 w 762926"/>
                <a:gd name="connsiteY8" fmla="*/ 602296 h 686140"/>
                <a:gd name="connsiteX9" fmla="*/ 742269 w 762926"/>
                <a:gd name="connsiteY9" fmla="*/ 492125 h 686140"/>
                <a:gd name="connsiteX10" fmla="*/ 752186 w 762926"/>
                <a:gd name="connsiteY10" fmla="*/ 352283 h 686140"/>
                <a:gd name="connsiteX11" fmla="*/ 761811 w 762926"/>
                <a:gd name="connsiteY11" fmla="*/ 101846 h 686140"/>
                <a:gd name="connsiteX12" fmla="*/ 743515 w 762926"/>
                <a:gd name="connsiteY12" fmla="*/ 34047 h 686140"/>
                <a:gd name="connsiteX13" fmla="*/ 620219 w 762926"/>
                <a:gd name="connsiteY13" fmla="*/ 346 h 686140"/>
                <a:gd name="connsiteX14" fmla="*/ 529590 w 762926"/>
                <a:gd name="connsiteY14" fmla="*/ 1380 h 686140"/>
                <a:gd name="connsiteX15" fmla="*/ 473457 w 762926"/>
                <a:gd name="connsiteY15" fmla="*/ 8088 h 686140"/>
                <a:gd name="connsiteX16" fmla="*/ 450839 w 762926"/>
                <a:gd name="connsiteY16" fmla="*/ 41842 h 686140"/>
                <a:gd name="connsiteX17" fmla="*/ 445828 w 762926"/>
                <a:gd name="connsiteY17" fmla="*/ 74244 h 686140"/>
                <a:gd name="connsiteX18" fmla="*/ 435222 w 762926"/>
                <a:gd name="connsiteY18" fmla="*/ 91452 h 686140"/>
                <a:gd name="connsiteX19" fmla="*/ 371294 w 762926"/>
                <a:gd name="connsiteY19" fmla="*/ 92433 h 686140"/>
                <a:gd name="connsiteX20" fmla="*/ 284748 w 762926"/>
                <a:gd name="connsiteY20" fmla="*/ 93653 h 686140"/>
                <a:gd name="connsiteX21" fmla="*/ 134353 w 762926"/>
                <a:gd name="connsiteY21" fmla="*/ 95005 h 686140"/>
                <a:gd name="connsiteX22" fmla="*/ 134353 w 762926"/>
                <a:gd name="connsiteY22" fmla="*/ 112505 h 686140"/>
                <a:gd name="connsiteX23" fmla="*/ 450972 w 762926"/>
                <a:gd name="connsiteY23" fmla="*/ 108714 h 686140"/>
                <a:gd name="connsiteX24" fmla="*/ 459404 w 762926"/>
                <a:gd name="connsiteY24" fmla="*/ 102270 h 686140"/>
                <a:gd name="connsiteX25" fmla="*/ 511427 w 762926"/>
                <a:gd name="connsiteY25" fmla="*/ 19755 h 686140"/>
                <a:gd name="connsiteX26" fmla="*/ 631806 w 762926"/>
                <a:gd name="connsiteY26" fmla="*/ 18164 h 686140"/>
                <a:gd name="connsiteX27" fmla="*/ 739352 w 762926"/>
                <a:gd name="connsiteY27" fmla="*/ 67270 h 686140"/>
                <a:gd name="connsiteX28" fmla="*/ 744470 w 762926"/>
                <a:gd name="connsiteY28" fmla="*/ 116774 h 686140"/>
                <a:gd name="connsiteX29" fmla="*/ 725008 w 762926"/>
                <a:gd name="connsiteY29" fmla="*/ 488227 h 686140"/>
                <a:gd name="connsiteX30" fmla="*/ 633875 w 762926"/>
                <a:gd name="connsiteY30" fmla="*/ 649281 h 686140"/>
                <a:gd name="connsiteX31" fmla="*/ 514556 w 762926"/>
                <a:gd name="connsiteY31" fmla="*/ 656918 h 686140"/>
                <a:gd name="connsiteX32" fmla="*/ 154292 w 762926"/>
                <a:gd name="connsiteY32" fmla="*/ 666225 h 686140"/>
                <a:gd name="connsiteX33" fmla="*/ 71697 w 762926"/>
                <a:gd name="connsiteY33" fmla="*/ 664209 h 686140"/>
                <a:gd name="connsiteX34" fmla="*/ 23440 w 762926"/>
                <a:gd name="connsiteY34" fmla="*/ 541709 h 686140"/>
                <a:gd name="connsiteX35" fmla="*/ 18481 w 762926"/>
                <a:gd name="connsiteY35" fmla="*/ 441534 h 686140"/>
                <a:gd name="connsiteX36" fmla="*/ 19356 w 762926"/>
                <a:gd name="connsiteY36" fmla="*/ 257677 h 686140"/>
                <a:gd name="connsiteX37" fmla="*/ 44440 w 762926"/>
                <a:gd name="connsiteY37" fmla="*/ 150131 h 686140"/>
                <a:gd name="connsiteX38" fmla="*/ 134247 w 762926"/>
                <a:gd name="connsiteY38" fmla="*/ 112505 h 686140"/>
                <a:gd name="connsiteX39" fmla="*/ 134459 w 762926"/>
                <a:gd name="connsiteY39" fmla="*/ 95005 h 68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762926" h="686140">
                  <a:moveTo>
                    <a:pt x="134459" y="95005"/>
                  </a:moveTo>
                  <a:cubicBezTo>
                    <a:pt x="88641" y="96941"/>
                    <a:pt x="40171" y="115952"/>
                    <a:pt x="17447" y="158642"/>
                  </a:cubicBezTo>
                  <a:cubicBezTo>
                    <a:pt x="6655" y="178873"/>
                    <a:pt x="5064" y="201994"/>
                    <a:pt x="3633" y="224400"/>
                  </a:cubicBezTo>
                  <a:cubicBezTo>
                    <a:pt x="795" y="268707"/>
                    <a:pt x="0" y="313412"/>
                    <a:pt x="0" y="357958"/>
                  </a:cubicBezTo>
                  <a:cubicBezTo>
                    <a:pt x="0" y="438697"/>
                    <a:pt x="3102" y="519701"/>
                    <a:pt x="10818" y="600042"/>
                  </a:cubicBezTo>
                  <a:cubicBezTo>
                    <a:pt x="15591" y="649652"/>
                    <a:pt x="35796" y="679853"/>
                    <a:pt x="88535" y="684069"/>
                  </a:cubicBezTo>
                  <a:cubicBezTo>
                    <a:pt x="160126" y="689770"/>
                    <a:pt x="235005" y="682081"/>
                    <a:pt x="306623" y="680357"/>
                  </a:cubicBezTo>
                  <a:cubicBezTo>
                    <a:pt x="395741" y="678183"/>
                    <a:pt x="484938" y="676274"/>
                    <a:pt x="574003" y="672031"/>
                  </a:cubicBezTo>
                  <a:cubicBezTo>
                    <a:pt x="632814" y="669247"/>
                    <a:pt x="695019" y="663016"/>
                    <a:pt x="723019" y="602296"/>
                  </a:cubicBezTo>
                  <a:cubicBezTo>
                    <a:pt x="738530" y="568648"/>
                    <a:pt x="739220" y="528557"/>
                    <a:pt x="742269" y="492125"/>
                  </a:cubicBezTo>
                  <a:cubicBezTo>
                    <a:pt x="746167" y="445564"/>
                    <a:pt x="749322" y="398924"/>
                    <a:pt x="752186" y="352283"/>
                  </a:cubicBezTo>
                  <a:cubicBezTo>
                    <a:pt x="757303" y="269662"/>
                    <a:pt x="766027" y="184680"/>
                    <a:pt x="761811" y="101846"/>
                  </a:cubicBezTo>
                  <a:cubicBezTo>
                    <a:pt x="760644" y="78857"/>
                    <a:pt x="757701" y="52899"/>
                    <a:pt x="743515" y="34047"/>
                  </a:cubicBezTo>
                  <a:cubicBezTo>
                    <a:pt x="716761" y="-1511"/>
                    <a:pt x="659886" y="1274"/>
                    <a:pt x="620219" y="346"/>
                  </a:cubicBezTo>
                  <a:cubicBezTo>
                    <a:pt x="590018" y="-397"/>
                    <a:pt x="559791" y="107"/>
                    <a:pt x="529590" y="1380"/>
                  </a:cubicBezTo>
                  <a:cubicBezTo>
                    <a:pt x="512541" y="2122"/>
                    <a:pt x="489207" y="27"/>
                    <a:pt x="473457" y="8088"/>
                  </a:cubicBezTo>
                  <a:cubicBezTo>
                    <a:pt x="459908" y="15035"/>
                    <a:pt x="454446" y="27709"/>
                    <a:pt x="450839" y="41842"/>
                  </a:cubicBezTo>
                  <a:cubicBezTo>
                    <a:pt x="448400" y="52510"/>
                    <a:pt x="446724" y="63338"/>
                    <a:pt x="445828" y="74244"/>
                  </a:cubicBezTo>
                  <a:cubicBezTo>
                    <a:pt x="443866" y="93388"/>
                    <a:pt x="451264" y="87660"/>
                    <a:pt x="435222" y="91452"/>
                  </a:cubicBezTo>
                  <a:cubicBezTo>
                    <a:pt x="416104" y="96013"/>
                    <a:pt x="390862" y="92142"/>
                    <a:pt x="371294" y="92433"/>
                  </a:cubicBezTo>
                  <a:cubicBezTo>
                    <a:pt x="342445" y="92857"/>
                    <a:pt x="313596" y="93263"/>
                    <a:pt x="284748" y="93653"/>
                  </a:cubicBezTo>
                  <a:cubicBezTo>
                    <a:pt x="234607" y="94316"/>
                    <a:pt x="184467" y="95085"/>
                    <a:pt x="134353" y="95005"/>
                  </a:cubicBezTo>
                  <a:cubicBezTo>
                    <a:pt x="123084" y="95005"/>
                    <a:pt x="123057" y="112479"/>
                    <a:pt x="134353" y="112505"/>
                  </a:cubicBezTo>
                  <a:cubicBezTo>
                    <a:pt x="239884" y="112664"/>
                    <a:pt x="345441" y="110358"/>
                    <a:pt x="450972" y="108714"/>
                  </a:cubicBezTo>
                  <a:cubicBezTo>
                    <a:pt x="454393" y="108714"/>
                    <a:pt x="458927" y="106062"/>
                    <a:pt x="459404" y="102270"/>
                  </a:cubicBezTo>
                  <a:cubicBezTo>
                    <a:pt x="465105" y="62153"/>
                    <a:pt x="462480" y="22963"/>
                    <a:pt x="511427" y="19755"/>
                  </a:cubicBezTo>
                  <a:cubicBezTo>
                    <a:pt x="551499" y="17183"/>
                    <a:pt x="591678" y="16652"/>
                    <a:pt x="631806" y="18164"/>
                  </a:cubicBezTo>
                  <a:cubicBezTo>
                    <a:pt x="674231" y="19755"/>
                    <a:pt x="724610" y="18800"/>
                    <a:pt x="739352" y="67270"/>
                  </a:cubicBezTo>
                  <a:cubicBezTo>
                    <a:pt x="744178" y="83179"/>
                    <a:pt x="744337" y="100361"/>
                    <a:pt x="744470" y="116774"/>
                  </a:cubicBezTo>
                  <a:cubicBezTo>
                    <a:pt x="745424" y="240362"/>
                    <a:pt x="735163" y="365143"/>
                    <a:pt x="725008" y="488227"/>
                  </a:cubicBezTo>
                  <a:cubicBezTo>
                    <a:pt x="719386" y="556266"/>
                    <a:pt x="714401" y="632630"/>
                    <a:pt x="633875" y="649281"/>
                  </a:cubicBezTo>
                  <a:cubicBezTo>
                    <a:pt x="595374" y="657236"/>
                    <a:pt x="553745" y="655539"/>
                    <a:pt x="514556" y="656918"/>
                  </a:cubicBezTo>
                  <a:cubicBezTo>
                    <a:pt x="394521" y="661187"/>
                    <a:pt x="274407" y="663838"/>
                    <a:pt x="154292" y="666225"/>
                  </a:cubicBezTo>
                  <a:cubicBezTo>
                    <a:pt x="128387" y="666728"/>
                    <a:pt x="96304" y="671846"/>
                    <a:pt x="71697" y="664209"/>
                  </a:cubicBezTo>
                  <a:cubicBezTo>
                    <a:pt x="19197" y="647929"/>
                    <a:pt x="26356" y="584319"/>
                    <a:pt x="23440" y="541709"/>
                  </a:cubicBezTo>
                  <a:cubicBezTo>
                    <a:pt x="21159" y="508352"/>
                    <a:pt x="19506" y="474962"/>
                    <a:pt x="18481" y="441534"/>
                  </a:cubicBezTo>
                  <a:cubicBezTo>
                    <a:pt x="16713" y="380249"/>
                    <a:pt x="17005" y="318961"/>
                    <a:pt x="19356" y="257677"/>
                  </a:cubicBezTo>
                  <a:cubicBezTo>
                    <a:pt x="20788" y="221404"/>
                    <a:pt x="18375" y="178873"/>
                    <a:pt x="44440" y="150131"/>
                  </a:cubicBezTo>
                  <a:cubicBezTo>
                    <a:pt x="67402" y="124808"/>
                    <a:pt x="100891" y="113911"/>
                    <a:pt x="134247" y="112505"/>
                  </a:cubicBezTo>
                  <a:cubicBezTo>
                    <a:pt x="145648" y="112028"/>
                    <a:pt x="145834" y="94634"/>
                    <a:pt x="134459" y="95005"/>
                  </a:cubicBezTo>
                  <a:close/>
                </a:path>
              </a:pathLst>
            </a:custGeom>
            <a:solidFill>
              <a:srgbClr val="2A2E2D"/>
            </a:solidFill>
            <a:ln w="26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DE150E99-BE92-BA15-C5F3-6F7AD57817FC}"/>
                </a:ext>
              </a:extLst>
            </p:cNvPr>
            <p:cNvSpPr/>
            <p:nvPr/>
          </p:nvSpPr>
          <p:spPr>
            <a:xfrm>
              <a:off x="9383777" y="1396723"/>
              <a:ext cx="149276" cy="79964"/>
            </a:xfrm>
            <a:custGeom>
              <a:avLst/>
              <a:gdLst>
                <a:gd name="connsiteX0" fmla="*/ 4689 w 149276"/>
                <a:gd name="connsiteY0" fmla="*/ 15648 h 79964"/>
                <a:gd name="connsiteX1" fmla="*/ 287 w 149276"/>
                <a:gd name="connsiteY1" fmla="*/ 71091 h 79964"/>
                <a:gd name="connsiteX2" fmla="*/ 9011 w 149276"/>
                <a:gd name="connsiteY2" fmla="*/ 79841 h 79964"/>
                <a:gd name="connsiteX3" fmla="*/ 138511 w 149276"/>
                <a:gd name="connsiteY3" fmla="*/ 77826 h 79964"/>
                <a:gd name="connsiteX4" fmla="*/ 147261 w 149276"/>
                <a:gd name="connsiteY4" fmla="*/ 69076 h 79964"/>
                <a:gd name="connsiteX5" fmla="*/ 147261 w 149276"/>
                <a:gd name="connsiteY5" fmla="*/ 14269 h 79964"/>
                <a:gd name="connsiteX6" fmla="*/ 136655 w 149276"/>
                <a:gd name="connsiteY6" fmla="*/ 2682 h 79964"/>
                <a:gd name="connsiteX7" fmla="*/ 84579 w 149276"/>
                <a:gd name="connsiteY7" fmla="*/ 1144 h 79964"/>
                <a:gd name="connsiteX8" fmla="*/ 14977 w 149276"/>
                <a:gd name="connsiteY8" fmla="*/ 4246 h 79964"/>
                <a:gd name="connsiteX9" fmla="*/ 14977 w 149276"/>
                <a:gd name="connsiteY9" fmla="*/ 21746 h 79964"/>
                <a:gd name="connsiteX10" fmla="*/ 99507 w 149276"/>
                <a:gd name="connsiteY10" fmla="*/ 18723 h 79964"/>
                <a:gd name="connsiteX11" fmla="*/ 129920 w 149276"/>
                <a:gd name="connsiteY11" fmla="*/ 28852 h 79964"/>
                <a:gd name="connsiteX12" fmla="*/ 129788 w 149276"/>
                <a:gd name="connsiteY12" fmla="*/ 69076 h 79964"/>
                <a:gd name="connsiteX13" fmla="*/ 138538 w 149276"/>
                <a:gd name="connsiteY13" fmla="*/ 60326 h 79964"/>
                <a:gd name="connsiteX14" fmla="*/ 9037 w 149276"/>
                <a:gd name="connsiteY14" fmla="*/ 62341 h 79964"/>
                <a:gd name="connsiteX15" fmla="*/ 17787 w 149276"/>
                <a:gd name="connsiteY15" fmla="*/ 71091 h 79964"/>
                <a:gd name="connsiteX16" fmla="*/ 21552 w 149276"/>
                <a:gd name="connsiteY16" fmla="*/ 20420 h 79964"/>
                <a:gd name="connsiteX17" fmla="*/ 4689 w 149276"/>
                <a:gd name="connsiteY17" fmla="*/ 15780 h 79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9276" h="79964">
                  <a:moveTo>
                    <a:pt x="4689" y="15648"/>
                  </a:moveTo>
                  <a:cubicBezTo>
                    <a:pt x="801" y="33856"/>
                    <a:pt x="-681" y="52496"/>
                    <a:pt x="287" y="71091"/>
                  </a:cubicBezTo>
                  <a:cubicBezTo>
                    <a:pt x="372" y="75877"/>
                    <a:pt x="4225" y="79743"/>
                    <a:pt x="9011" y="79841"/>
                  </a:cubicBezTo>
                  <a:cubicBezTo>
                    <a:pt x="52196" y="80265"/>
                    <a:pt x="95363" y="79595"/>
                    <a:pt x="138511" y="77826"/>
                  </a:cubicBezTo>
                  <a:cubicBezTo>
                    <a:pt x="143308" y="77741"/>
                    <a:pt x="147176" y="73873"/>
                    <a:pt x="147261" y="69076"/>
                  </a:cubicBezTo>
                  <a:cubicBezTo>
                    <a:pt x="147261" y="53962"/>
                    <a:pt x="151795" y="28799"/>
                    <a:pt x="147261" y="14269"/>
                  </a:cubicBezTo>
                  <a:cubicBezTo>
                    <a:pt x="144981" y="6977"/>
                    <a:pt x="144133" y="5148"/>
                    <a:pt x="136655" y="2682"/>
                  </a:cubicBezTo>
                  <a:cubicBezTo>
                    <a:pt x="121568" y="-2224"/>
                    <a:pt x="100356" y="1091"/>
                    <a:pt x="84579" y="1144"/>
                  </a:cubicBezTo>
                  <a:cubicBezTo>
                    <a:pt x="61325" y="1144"/>
                    <a:pt x="38151" y="2416"/>
                    <a:pt x="14977" y="4246"/>
                  </a:cubicBezTo>
                  <a:cubicBezTo>
                    <a:pt x="3840" y="5148"/>
                    <a:pt x="3734" y="22648"/>
                    <a:pt x="14977" y="21746"/>
                  </a:cubicBezTo>
                  <a:cubicBezTo>
                    <a:pt x="43109" y="19519"/>
                    <a:pt x="71295" y="18352"/>
                    <a:pt x="99507" y="18723"/>
                  </a:cubicBezTo>
                  <a:cubicBezTo>
                    <a:pt x="112182" y="18882"/>
                    <a:pt x="126208" y="15382"/>
                    <a:pt x="129920" y="28852"/>
                  </a:cubicBezTo>
                  <a:cubicBezTo>
                    <a:pt x="133023" y="40068"/>
                    <a:pt x="129920" y="57462"/>
                    <a:pt x="129788" y="69076"/>
                  </a:cubicBezTo>
                  <a:lnTo>
                    <a:pt x="138538" y="60326"/>
                  </a:lnTo>
                  <a:cubicBezTo>
                    <a:pt x="95389" y="62094"/>
                    <a:pt x="52223" y="62765"/>
                    <a:pt x="9037" y="62341"/>
                  </a:cubicBezTo>
                  <a:lnTo>
                    <a:pt x="17787" y="71091"/>
                  </a:lnTo>
                  <a:cubicBezTo>
                    <a:pt x="16835" y="54108"/>
                    <a:pt x="18103" y="37075"/>
                    <a:pt x="21552" y="20420"/>
                  </a:cubicBezTo>
                  <a:cubicBezTo>
                    <a:pt x="23859" y="9443"/>
                    <a:pt x="6995" y="4750"/>
                    <a:pt x="4689" y="15780"/>
                  </a:cubicBezTo>
                  <a:close/>
                </a:path>
              </a:pathLst>
            </a:custGeom>
            <a:solidFill>
              <a:srgbClr val="2A2E2D"/>
            </a:solidFill>
            <a:ln w="26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E9427EAD-0E2D-2BBD-1647-6A3366789D11}"/>
                </a:ext>
              </a:extLst>
            </p:cNvPr>
            <p:cNvSpPr/>
            <p:nvPr/>
          </p:nvSpPr>
          <p:spPr>
            <a:xfrm>
              <a:off x="8974813" y="1392602"/>
              <a:ext cx="187469" cy="60336"/>
            </a:xfrm>
            <a:custGeom>
              <a:avLst/>
              <a:gdLst>
                <a:gd name="connsiteX0" fmla="*/ 18045 w 187469"/>
                <a:gd name="connsiteY0" fmla="*/ 51878 h 60336"/>
                <a:gd name="connsiteX1" fmla="*/ 48855 w 187469"/>
                <a:gd name="connsiteY1" fmla="*/ 19662 h 60336"/>
                <a:gd name="connsiteX2" fmla="*/ 95814 w 187469"/>
                <a:gd name="connsiteY2" fmla="*/ 18071 h 60336"/>
                <a:gd name="connsiteX3" fmla="*/ 142799 w 187469"/>
                <a:gd name="connsiteY3" fmla="*/ 17673 h 60336"/>
                <a:gd name="connsiteX4" fmla="*/ 169659 w 187469"/>
                <a:gd name="connsiteY4" fmla="*/ 18018 h 60336"/>
                <a:gd name="connsiteX5" fmla="*/ 167803 w 187469"/>
                <a:gd name="connsiteY5" fmla="*/ 44082 h 60336"/>
                <a:gd name="connsiteX6" fmla="*/ 185303 w 187469"/>
                <a:gd name="connsiteY6" fmla="*/ 44082 h 60336"/>
                <a:gd name="connsiteX7" fmla="*/ 178250 w 187469"/>
                <a:gd name="connsiteY7" fmla="*/ 2162 h 60336"/>
                <a:gd name="connsiteX8" fmla="*/ 156216 w 187469"/>
                <a:gd name="connsiteY8" fmla="*/ 306 h 60336"/>
                <a:gd name="connsiteX9" fmla="*/ 95814 w 187469"/>
                <a:gd name="connsiteY9" fmla="*/ 571 h 60336"/>
                <a:gd name="connsiteX10" fmla="*/ 42147 w 187469"/>
                <a:gd name="connsiteY10" fmla="*/ 2533 h 60336"/>
                <a:gd name="connsiteX11" fmla="*/ 10329 w 187469"/>
                <a:gd name="connsiteY11" fmla="*/ 6828 h 60336"/>
                <a:gd name="connsiteX12" fmla="*/ 492 w 187469"/>
                <a:gd name="connsiteY12" fmla="*/ 51904 h 60336"/>
                <a:gd name="connsiteX13" fmla="*/ 17965 w 187469"/>
                <a:gd name="connsiteY13" fmla="*/ 51904 h 603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7469" h="60336">
                  <a:moveTo>
                    <a:pt x="18045" y="51878"/>
                  </a:moveTo>
                  <a:cubicBezTo>
                    <a:pt x="17064" y="27484"/>
                    <a:pt x="25283" y="24010"/>
                    <a:pt x="48855" y="19662"/>
                  </a:cubicBezTo>
                  <a:cubicBezTo>
                    <a:pt x="63731" y="17010"/>
                    <a:pt x="80674" y="18389"/>
                    <a:pt x="95814" y="18071"/>
                  </a:cubicBezTo>
                  <a:cubicBezTo>
                    <a:pt x="111485" y="17753"/>
                    <a:pt x="127129" y="17594"/>
                    <a:pt x="142799" y="17673"/>
                  </a:cubicBezTo>
                  <a:cubicBezTo>
                    <a:pt x="151761" y="17673"/>
                    <a:pt x="160697" y="17832"/>
                    <a:pt x="169659" y="18018"/>
                  </a:cubicBezTo>
                  <a:cubicBezTo>
                    <a:pt x="169049" y="26715"/>
                    <a:pt x="168439" y="35385"/>
                    <a:pt x="167803" y="44082"/>
                  </a:cubicBezTo>
                  <a:cubicBezTo>
                    <a:pt x="167008" y="55298"/>
                    <a:pt x="184508" y="55245"/>
                    <a:pt x="185303" y="44082"/>
                  </a:cubicBezTo>
                  <a:cubicBezTo>
                    <a:pt x="186284" y="30401"/>
                    <a:pt x="192436" y="10461"/>
                    <a:pt x="178250" y="2162"/>
                  </a:cubicBezTo>
                  <a:cubicBezTo>
                    <a:pt x="172390" y="-1259"/>
                    <a:pt x="162341" y="438"/>
                    <a:pt x="156216" y="306"/>
                  </a:cubicBezTo>
                  <a:cubicBezTo>
                    <a:pt x="136091" y="-66"/>
                    <a:pt x="115939" y="147"/>
                    <a:pt x="95814" y="571"/>
                  </a:cubicBezTo>
                  <a:cubicBezTo>
                    <a:pt x="77925" y="977"/>
                    <a:pt x="60036" y="1631"/>
                    <a:pt x="42147" y="2533"/>
                  </a:cubicBezTo>
                  <a:cubicBezTo>
                    <a:pt x="33927" y="2957"/>
                    <a:pt x="17912" y="1207"/>
                    <a:pt x="10329" y="6828"/>
                  </a:cubicBezTo>
                  <a:cubicBezTo>
                    <a:pt x="-2213" y="16188"/>
                    <a:pt x="-65" y="38302"/>
                    <a:pt x="492" y="51904"/>
                  </a:cubicBezTo>
                  <a:cubicBezTo>
                    <a:pt x="942" y="63120"/>
                    <a:pt x="18442" y="63173"/>
                    <a:pt x="17965" y="51904"/>
                  </a:cubicBezTo>
                  <a:close/>
                </a:path>
              </a:pathLst>
            </a:custGeom>
            <a:solidFill>
              <a:srgbClr val="2A2E2D"/>
            </a:solidFill>
            <a:ln w="26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274CF2F9-88FD-D38E-03B7-0870632573EC}"/>
                </a:ext>
              </a:extLst>
            </p:cNvPr>
            <p:cNvSpPr/>
            <p:nvPr/>
          </p:nvSpPr>
          <p:spPr>
            <a:xfrm>
              <a:off x="9017088" y="1396854"/>
              <a:ext cx="20776" cy="60940"/>
            </a:xfrm>
            <a:custGeom>
              <a:avLst/>
              <a:gdLst>
                <a:gd name="connsiteX0" fmla="*/ 2577 w 20776"/>
                <a:gd name="connsiteY0" fmla="*/ 6236 h 60940"/>
                <a:gd name="connsiteX1" fmla="*/ 3558 w 20776"/>
                <a:gd name="connsiteY1" fmla="*/ 54759 h 60940"/>
                <a:gd name="connsiteX2" fmla="*/ 20422 w 20776"/>
                <a:gd name="connsiteY2" fmla="*/ 50093 h 60940"/>
                <a:gd name="connsiteX3" fmla="*/ 19441 w 20776"/>
                <a:gd name="connsiteY3" fmla="*/ 10903 h 60940"/>
                <a:gd name="connsiteX4" fmla="*/ 2577 w 20776"/>
                <a:gd name="connsiteY4" fmla="*/ 6263 h 60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76" h="60940">
                  <a:moveTo>
                    <a:pt x="2577" y="6236"/>
                  </a:moveTo>
                  <a:cubicBezTo>
                    <a:pt x="-1165" y="22237"/>
                    <a:pt x="-827" y="38922"/>
                    <a:pt x="3558" y="54759"/>
                  </a:cubicBezTo>
                  <a:cubicBezTo>
                    <a:pt x="6528" y="65604"/>
                    <a:pt x="23418" y="60990"/>
                    <a:pt x="20422" y="50093"/>
                  </a:cubicBezTo>
                  <a:cubicBezTo>
                    <a:pt x="16812" y="37318"/>
                    <a:pt x="16474" y="23842"/>
                    <a:pt x="19441" y="10903"/>
                  </a:cubicBezTo>
                  <a:cubicBezTo>
                    <a:pt x="21933" y="-48"/>
                    <a:pt x="5070" y="-4715"/>
                    <a:pt x="2577" y="6263"/>
                  </a:cubicBezTo>
                  <a:close/>
                </a:path>
              </a:pathLst>
            </a:custGeom>
            <a:solidFill>
              <a:srgbClr val="2A2E2D"/>
            </a:solidFill>
            <a:ln w="26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6C5C7075-0F0D-278A-4E54-FCC9A6C3C432}"/>
                </a:ext>
              </a:extLst>
            </p:cNvPr>
            <p:cNvSpPr/>
            <p:nvPr/>
          </p:nvSpPr>
          <p:spPr>
            <a:xfrm>
              <a:off x="9057945" y="1395483"/>
              <a:ext cx="20561" cy="59307"/>
            </a:xfrm>
            <a:custGeom>
              <a:avLst/>
              <a:gdLst>
                <a:gd name="connsiteX0" fmla="*/ 485 w 20561"/>
                <a:gd name="connsiteY0" fmla="*/ 8402 h 59307"/>
                <a:gd name="connsiteX1" fmla="*/ 3481 w 20561"/>
                <a:gd name="connsiteY1" fmla="*/ 53027 h 59307"/>
                <a:gd name="connsiteX2" fmla="*/ 20345 w 20561"/>
                <a:gd name="connsiteY2" fmla="*/ 48361 h 59307"/>
                <a:gd name="connsiteX3" fmla="*/ 17906 w 20561"/>
                <a:gd name="connsiteY3" fmla="*/ 8402 h 59307"/>
                <a:gd name="connsiteX4" fmla="*/ 432 w 20561"/>
                <a:gd name="connsiteY4" fmla="*/ 8402 h 59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61" h="59307">
                  <a:moveTo>
                    <a:pt x="485" y="8402"/>
                  </a:moveTo>
                  <a:cubicBezTo>
                    <a:pt x="-708" y="23344"/>
                    <a:pt x="302" y="38380"/>
                    <a:pt x="3481" y="53027"/>
                  </a:cubicBezTo>
                  <a:cubicBezTo>
                    <a:pt x="5788" y="64031"/>
                    <a:pt x="22652" y="59364"/>
                    <a:pt x="20345" y="48361"/>
                  </a:cubicBezTo>
                  <a:cubicBezTo>
                    <a:pt x="17588" y="35230"/>
                    <a:pt x="16766" y="21769"/>
                    <a:pt x="17906" y="8402"/>
                  </a:cubicBezTo>
                  <a:cubicBezTo>
                    <a:pt x="18834" y="-2840"/>
                    <a:pt x="1334" y="-2761"/>
                    <a:pt x="432" y="8402"/>
                  </a:cubicBezTo>
                  <a:close/>
                </a:path>
              </a:pathLst>
            </a:custGeom>
            <a:solidFill>
              <a:srgbClr val="2A2E2D"/>
            </a:solidFill>
            <a:ln w="26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9347E710-FE54-B03D-2B61-DAC6F4820095}"/>
                </a:ext>
              </a:extLst>
            </p:cNvPr>
            <p:cNvSpPr/>
            <p:nvPr/>
          </p:nvSpPr>
          <p:spPr>
            <a:xfrm>
              <a:off x="9097097" y="1395164"/>
              <a:ext cx="19244" cy="60837"/>
            </a:xfrm>
            <a:custGeom>
              <a:avLst/>
              <a:gdLst>
                <a:gd name="connsiteX0" fmla="*/ 2352 w 19244"/>
                <a:gd name="connsiteY0" fmla="*/ 6335 h 60837"/>
                <a:gd name="connsiteX1" fmla="*/ 1106 w 19244"/>
                <a:gd name="connsiteY1" fmla="*/ 52525 h 60837"/>
                <a:gd name="connsiteX2" fmla="*/ 18606 w 19244"/>
                <a:gd name="connsiteY2" fmla="*/ 52525 h 60837"/>
                <a:gd name="connsiteX3" fmla="*/ 19110 w 19244"/>
                <a:gd name="connsiteY3" fmla="*/ 10976 h 60837"/>
                <a:gd name="connsiteX4" fmla="*/ 2246 w 19244"/>
                <a:gd name="connsiteY4" fmla="*/ 6335 h 60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44" h="60837">
                  <a:moveTo>
                    <a:pt x="2352" y="6335"/>
                  </a:moveTo>
                  <a:cubicBezTo>
                    <a:pt x="-289" y="21591"/>
                    <a:pt x="-708" y="37149"/>
                    <a:pt x="1106" y="52525"/>
                  </a:cubicBezTo>
                  <a:cubicBezTo>
                    <a:pt x="2485" y="63529"/>
                    <a:pt x="19985" y="63688"/>
                    <a:pt x="18606" y="52525"/>
                  </a:cubicBezTo>
                  <a:cubicBezTo>
                    <a:pt x="16784" y="38721"/>
                    <a:pt x="16954" y="24730"/>
                    <a:pt x="19110" y="10976"/>
                  </a:cubicBezTo>
                  <a:cubicBezTo>
                    <a:pt x="20913" y="-28"/>
                    <a:pt x="4049" y="-4775"/>
                    <a:pt x="2246" y="6335"/>
                  </a:cubicBezTo>
                  <a:close/>
                </a:path>
              </a:pathLst>
            </a:custGeom>
            <a:solidFill>
              <a:srgbClr val="2A2E2D"/>
            </a:solidFill>
            <a:ln w="26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ECEA7A16-0A3E-0140-E731-BB43ECD51B82}"/>
                </a:ext>
              </a:extLst>
            </p:cNvPr>
            <p:cNvSpPr/>
            <p:nvPr/>
          </p:nvSpPr>
          <p:spPr>
            <a:xfrm>
              <a:off x="8866048" y="1680775"/>
              <a:ext cx="182756" cy="27806"/>
            </a:xfrm>
            <a:custGeom>
              <a:avLst/>
              <a:gdLst>
                <a:gd name="connsiteX0" fmla="*/ 8392 w 182756"/>
                <a:gd name="connsiteY0" fmla="*/ 27771 h 27806"/>
                <a:gd name="connsiteX1" fmla="*/ 174325 w 182756"/>
                <a:gd name="connsiteY1" fmla="*/ 17510 h 27806"/>
                <a:gd name="connsiteX2" fmla="*/ 174325 w 182756"/>
                <a:gd name="connsiteY2" fmla="*/ 10 h 27806"/>
                <a:gd name="connsiteX3" fmla="*/ 8392 w 182756"/>
                <a:gd name="connsiteY3" fmla="*/ 10271 h 27806"/>
                <a:gd name="connsiteX4" fmla="*/ 8392 w 182756"/>
                <a:gd name="connsiteY4" fmla="*/ 27771 h 27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756" h="27806">
                  <a:moveTo>
                    <a:pt x="8392" y="27771"/>
                  </a:moveTo>
                  <a:cubicBezTo>
                    <a:pt x="63632" y="23264"/>
                    <a:pt x="118943" y="19843"/>
                    <a:pt x="174325" y="17510"/>
                  </a:cubicBezTo>
                  <a:cubicBezTo>
                    <a:pt x="185541" y="17032"/>
                    <a:pt x="185594" y="-468"/>
                    <a:pt x="174325" y="10"/>
                  </a:cubicBezTo>
                  <a:cubicBezTo>
                    <a:pt x="118943" y="2343"/>
                    <a:pt x="63632" y="5763"/>
                    <a:pt x="8392" y="10271"/>
                  </a:cubicBezTo>
                  <a:cubicBezTo>
                    <a:pt x="-2744" y="11199"/>
                    <a:pt x="-2850" y="28699"/>
                    <a:pt x="8392" y="27771"/>
                  </a:cubicBezTo>
                  <a:close/>
                </a:path>
              </a:pathLst>
            </a:custGeom>
            <a:solidFill>
              <a:srgbClr val="2A2E2D"/>
            </a:solidFill>
            <a:ln w="26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E026F945-BD9A-1B58-7EFD-74BF6117214A}"/>
                </a:ext>
              </a:extLst>
            </p:cNvPr>
            <p:cNvSpPr/>
            <p:nvPr/>
          </p:nvSpPr>
          <p:spPr>
            <a:xfrm>
              <a:off x="9403142" y="1674386"/>
              <a:ext cx="206063" cy="21995"/>
            </a:xfrm>
            <a:custGeom>
              <a:avLst/>
              <a:gdLst>
                <a:gd name="connsiteX0" fmla="*/ 8313 w 206063"/>
                <a:gd name="connsiteY0" fmla="*/ 21168 h 21995"/>
                <a:gd name="connsiteX1" fmla="*/ 197632 w 206063"/>
                <a:gd name="connsiteY1" fmla="*/ 21990 h 21995"/>
                <a:gd name="connsiteX2" fmla="*/ 197632 w 206063"/>
                <a:gd name="connsiteY2" fmla="*/ 4490 h 21995"/>
                <a:gd name="connsiteX3" fmla="*/ 8313 w 206063"/>
                <a:gd name="connsiteY3" fmla="*/ 3668 h 21995"/>
                <a:gd name="connsiteX4" fmla="*/ 8313 w 206063"/>
                <a:gd name="connsiteY4" fmla="*/ 21168 h 21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063" h="21995">
                  <a:moveTo>
                    <a:pt x="8313" y="21168"/>
                  </a:moveTo>
                  <a:cubicBezTo>
                    <a:pt x="70677" y="13478"/>
                    <a:pt x="135003" y="19948"/>
                    <a:pt x="197632" y="21990"/>
                  </a:cubicBezTo>
                  <a:cubicBezTo>
                    <a:pt x="208874" y="22361"/>
                    <a:pt x="208874" y="4861"/>
                    <a:pt x="197632" y="4490"/>
                  </a:cubicBezTo>
                  <a:cubicBezTo>
                    <a:pt x="135003" y="2448"/>
                    <a:pt x="70703" y="-4022"/>
                    <a:pt x="8313" y="3668"/>
                  </a:cubicBezTo>
                  <a:cubicBezTo>
                    <a:pt x="-2691" y="5020"/>
                    <a:pt x="-2850" y="22547"/>
                    <a:pt x="8313" y="21168"/>
                  </a:cubicBezTo>
                  <a:close/>
                </a:path>
              </a:pathLst>
            </a:custGeom>
            <a:solidFill>
              <a:srgbClr val="2A2E2D"/>
            </a:solidFill>
            <a:ln w="26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64C49BDC-7245-6694-0DDD-12923B30E8DC}"/>
                </a:ext>
              </a:extLst>
            </p:cNvPr>
            <p:cNvSpPr/>
            <p:nvPr/>
          </p:nvSpPr>
          <p:spPr>
            <a:xfrm>
              <a:off x="9027152" y="1535941"/>
              <a:ext cx="385047" cy="365518"/>
            </a:xfrm>
            <a:custGeom>
              <a:avLst/>
              <a:gdLst>
                <a:gd name="connsiteX0" fmla="*/ 273204 w 385047"/>
                <a:gd name="connsiteY0" fmla="*/ 333182 h 365518"/>
                <a:gd name="connsiteX1" fmla="*/ 66252 w 385047"/>
                <a:gd name="connsiteY1" fmla="*/ 299694 h 365518"/>
                <a:gd name="connsiteX2" fmla="*/ 74631 w 385047"/>
                <a:gd name="connsiteY2" fmla="*/ 54957 h 365518"/>
                <a:gd name="connsiteX3" fmla="*/ 300011 w 385047"/>
                <a:gd name="connsiteY3" fmla="*/ 51192 h 365518"/>
                <a:gd name="connsiteX4" fmla="*/ 273204 w 385047"/>
                <a:gd name="connsiteY4" fmla="*/ 333182 h 365518"/>
                <a:gd name="connsiteX5" fmla="*/ 282033 w 385047"/>
                <a:gd name="connsiteY5" fmla="*/ 348296 h 365518"/>
                <a:gd name="connsiteX6" fmla="*/ 370674 w 385047"/>
                <a:gd name="connsiteY6" fmla="*/ 108173 h 365518"/>
                <a:gd name="connsiteX7" fmla="*/ 190184 w 385047"/>
                <a:gd name="connsiteY7" fmla="*/ 44 h 365518"/>
                <a:gd name="connsiteX8" fmla="*/ 15369 w 385047"/>
                <a:gd name="connsiteY8" fmla="*/ 108757 h 365518"/>
                <a:gd name="connsiteX9" fmla="*/ 61956 w 385047"/>
                <a:gd name="connsiteY9" fmla="*/ 318705 h 365518"/>
                <a:gd name="connsiteX10" fmla="*/ 282033 w 385047"/>
                <a:gd name="connsiteY10" fmla="*/ 348296 h 365518"/>
                <a:gd name="connsiteX11" fmla="*/ 273204 w 385047"/>
                <a:gd name="connsiteY11" fmla="*/ 333182 h 365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047" h="365518">
                  <a:moveTo>
                    <a:pt x="273204" y="333182"/>
                  </a:moveTo>
                  <a:cubicBezTo>
                    <a:pt x="208931" y="363781"/>
                    <a:pt x="118779" y="345592"/>
                    <a:pt x="66252" y="299694"/>
                  </a:cubicBezTo>
                  <a:cubicBezTo>
                    <a:pt x="-4597" y="237807"/>
                    <a:pt x="3914" y="114086"/>
                    <a:pt x="74631" y="54957"/>
                  </a:cubicBezTo>
                  <a:cubicBezTo>
                    <a:pt x="136517" y="3093"/>
                    <a:pt x="235128" y="7230"/>
                    <a:pt x="300011" y="51192"/>
                  </a:cubicBezTo>
                  <a:cubicBezTo>
                    <a:pt x="405541" y="122492"/>
                    <a:pt x="375977" y="275909"/>
                    <a:pt x="273204" y="333182"/>
                  </a:cubicBezTo>
                  <a:cubicBezTo>
                    <a:pt x="263366" y="338671"/>
                    <a:pt x="272196" y="353785"/>
                    <a:pt x="282033" y="348296"/>
                  </a:cubicBezTo>
                  <a:cubicBezTo>
                    <a:pt x="363409" y="302796"/>
                    <a:pt x="410447" y="196416"/>
                    <a:pt x="370674" y="108173"/>
                  </a:cubicBezTo>
                  <a:cubicBezTo>
                    <a:pt x="339465" y="38703"/>
                    <a:pt x="263844" y="1555"/>
                    <a:pt x="190184" y="44"/>
                  </a:cubicBezTo>
                  <a:cubicBezTo>
                    <a:pt x="114510" y="-1494"/>
                    <a:pt x="44483" y="37298"/>
                    <a:pt x="15369" y="108757"/>
                  </a:cubicBezTo>
                  <a:cubicBezTo>
                    <a:pt x="-14355" y="181913"/>
                    <a:pt x="-2078" y="268512"/>
                    <a:pt x="61956" y="318705"/>
                  </a:cubicBezTo>
                  <a:cubicBezTo>
                    <a:pt x="120820" y="364842"/>
                    <a:pt x="213359" y="381043"/>
                    <a:pt x="282033" y="348296"/>
                  </a:cubicBezTo>
                  <a:cubicBezTo>
                    <a:pt x="292189" y="343470"/>
                    <a:pt x="283332" y="328383"/>
                    <a:pt x="273204" y="333182"/>
                  </a:cubicBezTo>
                  <a:close/>
                </a:path>
              </a:pathLst>
            </a:custGeom>
            <a:solidFill>
              <a:srgbClr val="2A2E2D"/>
            </a:solidFill>
            <a:ln w="26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96585768-BD2A-9E42-E455-5E4AEA32F56C}"/>
                </a:ext>
              </a:extLst>
            </p:cNvPr>
            <p:cNvSpPr/>
            <p:nvPr/>
          </p:nvSpPr>
          <p:spPr>
            <a:xfrm>
              <a:off x="9096126" y="1601196"/>
              <a:ext cx="246063" cy="234409"/>
            </a:xfrm>
            <a:custGeom>
              <a:avLst/>
              <a:gdLst>
                <a:gd name="connsiteX0" fmla="*/ 171032 w 246063"/>
                <a:gd name="connsiteY0" fmla="*/ 206358 h 234409"/>
                <a:gd name="connsiteX1" fmla="*/ 48717 w 246063"/>
                <a:gd name="connsiteY1" fmla="*/ 186392 h 234409"/>
                <a:gd name="connsiteX2" fmla="*/ 58316 w 246063"/>
                <a:gd name="connsiteY2" fmla="*/ 38225 h 234409"/>
                <a:gd name="connsiteX3" fmla="*/ 184237 w 246063"/>
                <a:gd name="connsiteY3" fmla="*/ 37827 h 234409"/>
                <a:gd name="connsiteX4" fmla="*/ 170979 w 246063"/>
                <a:gd name="connsiteY4" fmla="*/ 206358 h 234409"/>
                <a:gd name="connsiteX5" fmla="*/ 180923 w 246063"/>
                <a:gd name="connsiteY5" fmla="*/ 223355 h 234409"/>
                <a:gd name="connsiteX6" fmla="*/ 213112 w 246063"/>
                <a:gd name="connsiteY6" fmla="*/ 35335 h 234409"/>
                <a:gd name="connsiteX7" fmla="*/ 48346 w 246063"/>
                <a:gd name="connsiteY7" fmla="*/ 21228 h 234409"/>
                <a:gd name="connsiteX8" fmla="*/ 24164 w 246063"/>
                <a:gd name="connsiteY8" fmla="*/ 189442 h 234409"/>
                <a:gd name="connsiteX9" fmla="*/ 180976 w 246063"/>
                <a:gd name="connsiteY9" fmla="*/ 223355 h 234409"/>
                <a:gd name="connsiteX10" fmla="*/ 171032 w 246063"/>
                <a:gd name="connsiteY10" fmla="*/ 206358 h 234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6063" h="234409">
                  <a:moveTo>
                    <a:pt x="171032" y="206358"/>
                  </a:moveTo>
                  <a:cubicBezTo>
                    <a:pt x="132983" y="223858"/>
                    <a:pt x="79926" y="213677"/>
                    <a:pt x="48717" y="186392"/>
                  </a:cubicBezTo>
                  <a:cubicBezTo>
                    <a:pt x="5338" y="148475"/>
                    <a:pt x="12604" y="71608"/>
                    <a:pt x="58316" y="38225"/>
                  </a:cubicBezTo>
                  <a:cubicBezTo>
                    <a:pt x="94032" y="12107"/>
                    <a:pt x="147778" y="14891"/>
                    <a:pt x="184237" y="37827"/>
                  </a:cubicBezTo>
                  <a:cubicBezTo>
                    <a:pt x="249862" y="79164"/>
                    <a:pt x="232574" y="170722"/>
                    <a:pt x="170979" y="206358"/>
                  </a:cubicBezTo>
                  <a:cubicBezTo>
                    <a:pt x="160029" y="212722"/>
                    <a:pt x="169919" y="229718"/>
                    <a:pt x="180923" y="223355"/>
                  </a:cubicBezTo>
                  <a:cubicBezTo>
                    <a:pt x="246283" y="185491"/>
                    <a:pt x="271976" y="91255"/>
                    <a:pt x="213112" y="35335"/>
                  </a:cubicBezTo>
                  <a:cubicBezTo>
                    <a:pt x="170688" y="-4889"/>
                    <a:pt x="96445" y="-12393"/>
                    <a:pt x="48346" y="21228"/>
                  </a:cubicBezTo>
                  <a:cubicBezTo>
                    <a:pt x="-3226" y="57236"/>
                    <a:pt x="-17094" y="140759"/>
                    <a:pt x="24164" y="189442"/>
                  </a:cubicBezTo>
                  <a:cubicBezTo>
                    <a:pt x="60411" y="232237"/>
                    <a:pt x="130437" y="246582"/>
                    <a:pt x="180976" y="223355"/>
                  </a:cubicBezTo>
                  <a:cubicBezTo>
                    <a:pt x="192457" y="218078"/>
                    <a:pt x="182381" y="201108"/>
                    <a:pt x="171032" y="206358"/>
                  </a:cubicBezTo>
                  <a:close/>
                </a:path>
              </a:pathLst>
            </a:custGeom>
            <a:solidFill>
              <a:srgbClr val="2A2E2D"/>
            </a:solidFill>
            <a:ln w="26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1214354E-03C7-9241-5AB1-7E6EE7CD29BD}"/>
                </a:ext>
              </a:extLst>
            </p:cNvPr>
            <p:cNvSpPr/>
            <p:nvPr/>
          </p:nvSpPr>
          <p:spPr>
            <a:xfrm>
              <a:off x="9145016" y="1660249"/>
              <a:ext cx="40095" cy="106167"/>
            </a:xfrm>
            <a:custGeom>
              <a:avLst/>
              <a:gdLst>
                <a:gd name="connsiteX0" fmla="*/ 17115 w 40095"/>
                <a:gd name="connsiteY0" fmla="*/ 3115 h 106167"/>
                <a:gd name="connsiteX1" fmla="*/ 24884 w 40095"/>
                <a:gd name="connsiteY1" fmla="*/ 103873 h 106167"/>
                <a:gd name="connsiteX2" fmla="*/ 37267 w 40095"/>
                <a:gd name="connsiteY2" fmla="*/ 91490 h 106167"/>
                <a:gd name="connsiteX3" fmla="*/ 29471 w 40095"/>
                <a:gd name="connsiteY3" fmla="*/ 15391 h 106167"/>
                <a:gd name="connsiteX4" fmla="*/ 17115 w 40095"/>
                <a:gd name="connsiteY4" fmla="*/ 3035 h 10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95" h="106167">
                  <a:moveTo>
                    <a:pt x="17115" y="3115"/>
                  </a:moveTo>
                  <a:cubicBezTo>
                    <a:pt x="-7889" y="34509"/>
                    <a:pt x="-5661" y="76960"/>
                    <a:pt x="24884" y="103873"/>
                  </a:cubicBezTo>
                  <a:cubicBezTo>
                    <a:pt x="33316" y="111297"/>
                    <a:pt x="45725" y="98968"/>
                    <a:pt x="37267" y="91490"/>
                  </a:cubicBezTo>
                  <a:cubicBezTo>
                    <a:pt x="14517" y="71418"/>
                    <a:pt x="10142" y="39679"/>
                    <a:pt x="29471" y="15391"/>
                  </a:cubicBezTo>
                  <a:cubicBezTo>
                    <a:pt x="36418" y="6668"/>
                    <a:pt x="24168" y="-5821"/>
                    <a:pt x="17115" y="3035"/>
                  </a:cubicBezTo>
                  <a:close/>
                </a:path>
              </a:pathLst>
            </a:custGeom>
            <a:solidFill>
              <a:srgbClr val="2A2E2D"/>
            </a:solidFill>
            <a:ln w="26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B3CA0B21-3620-AD77-AFF6-A52A6AA65D97}"/>
                </a:ext>
              </a:extLst>
            </p:cNvPr>
            <p:cNvSpPr/>
            <p:nvPr/>
          </p:nvSpPr>
          <p:spPr>
            <a:xfrm>
              <a:off x="9193171" y="1764414"/>
              <a:ext cx="23161" cy="17500"/>
            </a:xfrm>
            <a:custGeom>
              <a:avLst/>
              <a:gdLst>
                <a:gd name="connsiteX0" fmla="*/ 8442 w 23161"/>
                <a:gd name="connsiteY0" fmla="*/ 17500 h 17500"/>
                <a:gd name="connsiteX1" fmla="*/ 14699 w 23161"/>
                <a:gd name="connsiteY1" fmla="*/ 17500 h 17500"/>
                <a:gd name="connsiteX2" fmla="*/ 14699 w 23161"/>
                <a:gd name="connsiteY2" fmla="*/ 0 h 17500"/>
                <a:gd name="connsiteX3" fmla="*/ 8442 w 23161"/>
                <a:gd name="connsiteY3" fmla="*/ 0 h 17500"/>
                <a:gd name="connsiteX4" fmla="*/ 8442 w 23161"/>
                <a:gd name="connsiteY4" fmla="*/ 17500 h 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61" h="17500">
                  <a:moveTo>
                    <a:pt x="8442" y="17500"/>
                  </a:moveTo>
                  <a:lnTo>
                    <a:pt x="14699" y="17500"/>
                  </a:lnTo>
                  <a:cubicBezTo>
                    <a:pt x="25968" y="17500"/>
                    <a:pt x="25995" y="0"/>
                    <a:pt x="14699" y="0"/>
                  </a:cubicBezTo>
                  <a:lnTo>
                    <a:pt x="8442" y="0"/>
                  </a:lnTo>
                  <a:cubicBezTo>
                    <a:pt x="-2801" y="0"/>
                    <a:pt x="-2827" y="17500"/>
                    <a:pt x="8442" y="17500"/>
                  </a:cubicBezTo>
                  <a:close/>
                </a:path>
              </a:pathLst>
            </a:custGeom>
            <a:solidFill>
              <a:srgbClr val="2A2E2D"/>
            </a:solidFill>
            <a:ln w="26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A51DDFDD-F053-A468-1E0D-6B6FD26A3FA8}"/>
                </a:ext>
              </a:extLst>
            </p:cNvPr>
            <p:cNvSpPr/>
            <p:nvPr/>
          </p:nvSpPr>
          <p:spPr>
            <a:xfrm>
              <a:off x="9269038" y="1217263"/>
              <a:ext cx="66306" cy="74870"/>
            </a:xfrm>
            <a:custGeom>
              <a:avLst/>
              <a:gdLst>
                <a:gd name="connsiteX0" fmla="*/ 1992 w 66306"/>
                <a:gd name="connsiteY0" fmla="*/ 15413 h 74870"/>
                <a:gd name="connsiteX1" fmla="*/ 51417 w 66306"/>
                <a:gd name="connsiteY1" fmla="*/ 72288 h 74870"/>
                <a:gd name="connsiteX2" fmla="*/ 63773 w 66306"/>
                <a:gd name="connsiteY2" fmla="*/ 59932 h 74870"/>
                <a:gd name="connsiteX3" fmla="*/ 14348 w 66306"/>
                <a:gd name="connsiteY3" fmla="*/ 3057 h 74870"/>
                <a:gd name="connsiteX4" fmla="*/ 1992 w 66306"/>
                <a:gd name="connsiteY4" fmla="*/ 15413 h 7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306" h="74870">
                  <a:moveTo>
                    <a:pt x="1992" y="15413"/>
                  </a:moveTo>
                  <a:cubicBezTo>
                    <a:pt x="17382" y="35287"/>
                    <a:pt x="33885" y="54276"/>
                    <a:pt x="51417" y="72288"/>
                  </a:cubicBezTo>
                  <a:cubicBezTo>
                    <a:pt x="59371" y="80243"/>
                    <a:pt x="71648" y="68019"/>
                    <a:pt x="63773" y="59932"/>
                  </a:cubicBezTo>
                  <a:cubicBezTo>
                    <a:pt x="46246" y="41913"/>
                    <a:pt x="29746" y="22925"/>
                    <a:pt x="14348" y="3057"/>
                  </a:cubicBezTo>
                  <a:cubicBezTo>
                    <a:pt x="7481" y="-5826"/>
                    <a:pt x="-4822" y="6610"/>
                    <a:pt x="1992" y="15413"/>
                  </a:cubicBezTo>
                  <a:close/>
                </a:path>
              </a:pathLst>
            </a:custGeom>
            <a:solidFill>
              <a:srgbClr val="2A2E2D"/>
            </a:solidFill>
            <a:ln w="26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947300E2-FCF0-BC76-E2DD-6F64B61E5052}"/>
                </a:ext>
              </a:extLst>
            </p:cNvPr>
            <p:cNvSpPr/>
            <p:nvPr/>
          </p:nvSpPr>
          <p:spPr>
            <a:xfrm>
              <a:off x="9413734" y="1165244"/>
              <a:ext cx="24279" cy="86060"/>
            </a:xfrm>
            <a:custGeom>
              <a:avLst/>
              <a:gdLst>
                <a:gd name="connsiteX0" fmla="*/ 1 w 24279"/>
                <a:gd name="connsiteY0" fmla="*/ 8462 h 86060"/>
                <a:gd name="connsiteX1" fmla="*/ 7240 w 24279"/>
                <a:gd name="connsiteY1" fmla="*/ 79761 h 86060"/>
                <a:gd name="connsiteX2" fmla="*/ 24104 w 24279"/>
                <a:gd name="connsiteY2" fmla="*/ 75095 h 86060"/>
                <a:gd name="connsiteX3" fmla="*/ 17475 w 24279"/>
                <a:gd name="connsiteY3" fmla="*/ 8462 h 86060"/>
                <a:gd name="connsiteX4" fmla="*/ 1 w 24279"/>
                <a:gd name="connsiteY4" fmla="*/ 8462 h 86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79" h="86060">
                  <a:moveTo>
                    <a:pt x="1" y="8462"/>
                  </a:moveTo>
                  <a:cubicBezTo>
                    <a:pt x="383" y="32391"/>
                    <a:pt x="2804" y="56244"/>
                    <a:pt x="7240" y="79761"/>
                  </a:cubicBezTo>
                  <a:cubicBezTo>
                    <a:pt x="9308" y="90792"/>
                    <a:pt x="26172" y="86125"/>
                    <a:pt x="24104" y="75095"/>
                  </a:cubicBezTo>
                  <a:cubicBezTo>
                    <a:pt x="20002" y="53113"/>
                    <a:pt x="17785" y="30821"/>
                    <a:pt x="17475" y="8462"/>
                  </a:cubicBezTo>
                  <a:cubicBezTo>
                    <a:pt x="17316" y="-2807"/>
                    <a:pt x="-184" y="-2834"/>
                    <a:pt x="1" y="8462"/>
                  </a:cubicBezTo>
                  <a:close/>
                </a:path>
              </a:pathLst>
            </a:custGeom>
            <a:solidFill>
              <a:srgbClr val="2A2E2D"/>
            </a:solidFill>
            <a:ln w="26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F6136003-07DC-6F2B-3F52-39B5207725E2}"/>
                </a:ext>
              </a:extLst>
            </p:cNvPr>
            <p:cNvSpPr/>
            <p:nvPr/>
          </p:nvSpPr>
          <p:spPr>
            <a:xfrm>
              <a:off x="9531302" y="1192830"/>
              <a:ext cx="49217" cy="72771"/>
            </a:xfrm>
            <a:custGeom>
              <a:avLst/>
              <a:gdLst>
                <a:gd name="connsiteX0" fmla="*/ 32908 w 49217"/>
                <a:gd name="connsiteY0" fmla="*/ 4236 h 72771"/>
                <a:gd name="connsiteX1" fmla="*/ 1222 w 49217"/>
                <a:gd name="connsiteY1" fmla="*/ 59706 h 72771"/>
                <a:gd name="connsiteX2" fmla="*/ 16336 w 49217"/>
                <a:gd name="connsiteY2" fmla="*/ 68535 h 72771"/>
                <a:gd name="connsiteX3" fmla="*/ 47995 w 49217"/>
                <a:gd name="connsiteY3" fmla="*/ 13065 h 72771"/>
                <a:gd name="connsiteX4" fmla="*/ 32908 w 49217"/>
                <a:gd name="connsiteY4" fmla="*/ 4236 h 72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217" h="72771">
                  <a:moveTo>
                    <a:pt x="32908" y="4236"/>
                  </a:moveTo>
                  <a:cubicBezTo>
                    <a:pt x="22302" y="22726"/>
                    <a:pt x="11741" y="41216"/>
                    <a:pt x="1222" y="59706"/>
                  </a:cubicBezTo>
                  <a:cubicBezTo>
                    <a:pt x="-4373" y="69490"/>
                    <a:pt x="10741" y="78266"/>
                    <a:pt x="16336" y="68535"/>
                  </a:cubicBezTo>
                  <a:lnTo>
                    <a:pt x="47995" y="13065"/>
                  </a:lnTo>
                  <a:cubicBezTo>
                    <a:pt x="53590" y="3281"/>
                    <a:pt x="38476" y="-5495"/>
                    <a:pt x="32908" y="4236"/>
                  </a:cubicBezTo>
                  <a:close/>
                </a:path>
              </a:pathLst>
            </a:custGeom>
            <a:solidFill>
              <a:srgbClr val="2A2E2D"/>
            </a:solidFill>
            <a:ln w="26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426EB757-6D45-0058-7A63-C51E2399E9B6}"/>
                </a:ext>
              </a:extLst>
            </p:cNvPr>
            <p:cNvSpPr/>
            <p:nvPr/>
          </p:nvSpPr>
          <p:spPr>
            <a:xfrm>
              <a:off x="9606494" y="1254972"/>
              <a:ext cx="74182" cy="73536"/>
            </a:xfrm>
            <a:custGeom>
              <a:avLst/>
              <a:gdLst>
                <a:gd name="connsiteX0" fmla="*/ 59137 w 74182"/>
                <a:gd name="connsiteY0" fmla="*/ 2469 h 73536"/>
                <a:gd name="connsiteX1" fmla="*/ 2500 w 74182"/>
                <a:gd name="connsiteY1" fmla="*/ 58549 h 73536"/>
                <a:gd name="connsiteX2" fmla="*/ 14856 w 74182"/>
                <a:gd name="connsiteY2" fmla="*/ 70905 h 73536"/>
                <a:gd name="connsiteX3" fmla="*/ 71493 w 74182"/>
                <a:gd name="connsiteY3" fmla="*/ 14825 h 73536"/>
                <a:gd name="connsiteX4" fmla="*/ 59137 w 74182"/>
                <a:gd name="connsiteY4" fmla="*/ 2469 h 73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182" h="73536">
                  <a:moveTo>
                    <a:pt x="59137" y="2469"/>
                  </a:moveTo>
                  <a:cubicBezTo>
                    <a:pt x="39868" y="20765"/>
                    <a:pt x="20989" y="39458"/>
                    <a:pt x="2500" y="58549"/>
                  </a:cubicBezTo>
                  <a:cubicBezTo>
                    <a:pt x="-5322" y="66504"/>
                    <a:pt x="7007" y="79019"/>
                    <a:pt x="14856" y="70905"/>
                  </a:cubicBezTo>
                  <a:cubicBezTo>
                    <a:pt x="33364" y="51814"/>
                    <a:pt x="52243" y="33121"/>
                    <a:pt x="71493" y="14825"/>
                  </a:cubicBezTo>
                  <a:cubicBezTo>
                    <a:pt x="79686" y="7056"/>
                    <a:pt x="67303" y="-5300"/>
                    <a:pt x="59137" y="2469"/>
                  </a:cubicBezTo>
                  <a:close/>
                </a:path>
              </a:pathLst>
            </a:custGeom>
            <a:solidFill>
              <a:srgbClr val="2A2E2D"/>
            </a:solidFill>
            <a:ln w="26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2763677A-B508-7BF0-457C-65BE93CDE8C7}"/>
                </a:ext>
              </a:extLst>
            </p:cNvPr>
            <p:cNvSpPr/>
            <p:nvPr/>
          </p:nvSpPr>
          <p:spPr>
            <a:xfrm>
              <a:off x="9511270" y="1836714"/>
              <a:ext cx="47396" cy="92993"/>
            </a:xfrm>
            <a:custGeom>
              <a:avLst/>
              <a:gdLst>
                <a:gd name="connsiteX0" fmla="*/ 29871 w 47396"/>
                <a:gd name="connsiteY0" fmla="*/ 8412 h 92993"/>
                <a:gd name="connsiteX1" fmla="*/ 2163 w 47396"/>
                <a:gd name="connsiteY1" fmla="*/ 77697 h 92993"/>
                <a:gd name="connsiteX2" fmla="*/ 14519 w 47396"/>
                <a:gd name="connsiteY2" fmla="*/ 90053 h 92993"/>
                <a:gd name="connsiteX3" fmla="*/ 47372 w 47396"/>
                <a:gd name="connsiteY3" fmla="*/ 8412 h 92993"/>
                <a:gd name="connsiteX4" fmla="*/ 29871 w 47396"/>
                <a:gd name="connsiteY4" fmla="*/ 8412 h 92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396" h="92993">
                  <a:moveTo>
                    <a:pt x="29871" y="8412"/>
                  </a:moveTo>
                  <a:cubicBezTo>
                    <a:pt x="28212" y="33859"/>
                    <a:pt x="18507" y="58120"/>
                    <a:pt x="2163" y="77697"/>
                  </a:cubicBezTo>
                  <a:cubicBezTo>
                    <a:pt x="-4996" y="86287"/>
                    <a:pt x="7307" y="98723"/>
                    <a:pt x="14519" y="90053"/>
                  </a:cubicBezTo>
                  <a:cubicBezTo>
                    <a:pt x="33928" y="67059"/>
                    <a:pt x="45444" y="38441"/>
                    <a:pt x="47372" y="8412"/>
                  </a:cubicBezTo>
                  <a:cubicBezTo>
                    <a:pt x="48141" y="-2831"/>
                    <a:pt x="30640" y="-2777"/>
                    <a:pt x="29871" y="8412"/>
                  </a:cubicBezTo>
                  <a:close/>
                </a:path>
              </a:pathLst>
            </a:custGeom>
            <a:solidFill>
              <a:srgbClr val="2A2E2D"/>
            </a:solidFill>
            <a:ln w="26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60" name="Freeform: Shape 259">
              <a:extLst>
                <a:ext uri="{FF2B5EF4-FFF2-40B4-BE49-F238E27FC236}">
                  <a16:creationId xmlns:a16="http://schemas.microsoft.com/office/drawing/2014/main" id="{376B6701-9CF6-01ED-97F5-8CD36F51238A}"/>
                </a:ext>
              </a:extLst>
            </p:cNvPr>
            <p:cNvSpPr/>
            <p:nvPr/>
          </p:nvSpPr>
          <p:spPr>
            <a:xfrm>
              <a:off x="9473259" y="1936578"/>
              <a:ext cx="18467" cy="17500"/>
            </a:xfrm>
            <a:custGeom>
              <a:avLst/>
              <a:gdLst>
                <a:gd name="connsiteX0" fmla="*/ 10026 w 18467"/>
                <a:gd name="connsiteY0" fmla="*/ 0 h 17500"/>
                <a:gd name="connsiteX1" fmla="*/ 8462 w 18467"/>
                <a:gd name="connsiteY1" fmla="*/ 0 h 17500"/>
                <a:gd name="connsiteX2" fmla="*/ 8462 w 18467"/>
                <a:gd name="connsiteY2" fmla="*/ 17500 h 17500"/>
                <a:gd name="connsiteX3" fmla="*/ 10026 w 18467"/>
                <a:gd name="connsiteY3" fmla="*/ 17500 h 17500"/>
                <a:gd name="connsiteX4" fmla="*/ 10026 w 18467"/>
                <a:gd name="connsiteY4" fmla="*/ 0 h 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67" h="17500">
                  <a:moveTo>
                    <a:pt x="10026" y="0"/>
                  </a:moveTo>
                  <a:lnTo>
                    <a:pt x="8462" y="0"/>
                  </a:lnTo>
                  <a:cubicBezTo>
                    <a:pt x="-2807" y="0"/>
                    <a:pt x="-2834" y="17500"/>
                    <a:pt x="8462" y="17500"/>
                  </a:cubicBezTo>
                  <a:lnTo>
                    <a:pt x="10026" y="17500"/>
                  </a:lnTo>
                  <a:cubicBezTo>
                    <a:pt x="21269" y="17500"/>
                    <a:pt x="21295" y="0"/>
                    <a:pt x="10026" y="0"/>
                  </a:cubicBezTo>
                  <a:close/>
                </a:path>
              </a:pathLst>
            </a:custGeom>
            <a:solidFill>
              <a:srgbClr val="2A2E2D"/>
            </a:solidFill>
            <a:ln w="264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261" name="Graphic 50">
            <a:extLst>
              <a:ext uri="{FF2B5EF4-FFF2-40B4-BE49-F238E27FC236}">
                <a16:creationId xmlns:a16="http://schemas.microsoft.com/office/drawing/2014/main" id="{30AE976A-1924-DA39-D78F-E374344BE8E8}"/>
              </a:ext>
            </a:extLst>
          </p:cNvPr>
          <p:cNvGrpSpPr/>
          <p:nvPr/>
        </p:nvGrpSpPr>
        <p:grpSpPr>
          <a:xfrm>
            <a:off x="3004842" y="1159947"/>
            <a:ext cx="737245" cy="874540"/>
            <a:chOff x="3004842" y="1159947"/>
            <a:chExt cx="737245" cy="874540"/>
          </a:xfrm>
          <a:solidFill>
            <a:srgbClr val="2A2E2D"/>
          </a:solidFill>
        </p:grpSpPr>
        <p:sp>
          <p:nvSpPr>
            <p:cNvPr id="262" name="Freeform: Shape 261">
              <a:extLst>
                <a:ext uri="{FF2B5EF4-FFF2-40B4-BE49-F238E27FC236}">
                  <a16:creationId xmlns:a16="http://schemas.microsoft.com/office/drawing/2014/main" id="{1C7A5A5D-7B9D-2900-50F0-99672FAB522F}"/>
                </a:ext>
              </a:extLst>
            </p:cNvPr>
            <p:cNvSpPr/>
            <p:nvPr/>
          </p:nvSpPr>
          <p:spPr>
            <a:xfrm>
              <a:off x="3153535" y="1589368"/>
              <a:ext cx="123713" cy="207854"/>
            </a:xfrm>
            <a:custGeom>
              <a:avLst/>
              <a:gdLst>
                <a:gd name="connsiteX0" fmla="*/ 13217 w 123713"/>
                <a:gd name="connsiteY0" fmla="*/ 33162 h 207854"/>
                <a:gd name="connsiteX1" fmla="*/ 46839 w 123713"/>
                <a:gd name="connsiteY1" fmla="*/ 16298 h 207854"/>
                <a:gd name="connsiteX2" fmla="*/ 34005 w 123713"/>
                <a:gd name="connsiteY2" fmla="*/ 10995 h 207854"/>
                <a:gd name="connsiteX3" fmla="*/ 106392 w 123713"/>
                <a:gd name="connsiteY3" fmla="*/ 188383 h 207854"/>
                <a:gd name="connsiteX4" fmla="*/ 112490 w 123713"/>
                <a:gd name="connsiteY4" fmla="*/ 177618 h 207854"/>
                <a:gd name="connsiteX5" fmla="*/ 77225 w 123713"/>
                <a:gd name="connsiteY5" fmla="*/ 191671 h 207854"/>
                <a:gd name="connsiteX6" fmla="*/ 89183 w 123713"/>
                <a:gd name="connsiteY6" fmla="*/ 194826 h 207854"/>
                <a:gd name="connsiteX7" fmla="*/ 16346 w 123713"/>
                <a:gd name="connsiteY7" fmla="*/ 21336 h 207854"/>
                <a:gd name="connsiteX8" fmla="*/ 1232 w 123713"/>
                <a:gd name="connsiteY8" fmla="*/ 30166 h 207854"/>
                <a:gd name="connsiteX9" fmla="*/ 74043 w 123713"/>
                <a:gd name="connsiteY9" fmla="*/ 203576 h 207854"/>
                <a:gd name="connsiteX10" fmla="*/ 86028 w 123713"/>
                <a:gd name="connsiteY10" fmla="*/ 206705 h 207854"/>
                <a:gd name="connsiteX11" fmla="*/ 117131 w 123713"/>
                <a:gd name="connsiteY11" fmla="*/ 194402 h 207854"/>
                <a:gd name="connsiteX12" fmla="*/ 123229 w 123713"/>
                <a:gd name="connsiteY12" fmla="*/ 183663 h 207854"/>
                <a:gd name="connsiteX13" fmla="*/ 50842 w 123713"/>
                <a:gd name="connsiteY13" fmla="*/ 6435 h 207854"/>
                <a:gd name="connsiteX14" fmla="*/ 37982 w 123713"/>
                <a:gd name="connsiteY14" fmla="*/ 1132 h 207854"/>
                <a:gd name="connsiteX15" fmla="*/ 4361 w 123713"/>
                <a:gd name="connsiteY15" fmla="*/ 17969 h 207854"/>
                <a:gd name="connsiteX16" fmla="*/ 13191 w 123713"/>
                <a:gd name="connsiteY16" fmla="*/ 33083 h 20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3713" h="207854">
                  <a:moveTo>
                    <a:pt x="13217" y="33162"/>
                  </a:moveTo>
                  <a:cubicBezTo>
                    <a:pt x="24248" y="27223"/>
                    <a:pt x="35782" y="22238"/>
                    <a:pt x="46839" y="16298"/>
                  </a:cubicBezTo>
                  <a:lnTo>
                    <a:pt x="34005" y="10995"/>
                  </a:lnTo>
                  <a:lnTo>
                    <a:pt x="106392" y="188383"/>
                  </a:lnTo>
                  <a:lnTo>
                    <a:pt x="112490" y="177618"/>
                  </a:lnTo>
                  <a:cubicBezTo>
                    <a:pt x="100160" y="180707"/>
                    <a:pt x="88299" y="185432"/>
                    <a:pt x="77225" y="191671"/>
                  </a:cubicBezTo>
                  <a:lnTo>
                    <a:pt x="89183" y="194826"/>
                  </a:lnTo>
                  <a:cubicBezTo>
                    <a:pt x="61634" y="138428"/>
                    <a:pt x="43895" y="77522"/>
                    <a:pt x="16346" y="21336"/>
                  </a:cubicBezTo>
                  <a:cubicBezTo>
                    <a:pt x="11388" y="11234"/>
                    <a:pt x="-3700" y="20064"/>
                    <a:pt x="1232" y="30166"/>
                  </a:cubicBezTo>
                  <a:cubicBezTo>
                    <a:pt x="28782" y="86352"/>
                    <a:pt x="46520" y="147258"/>
                    <a:pt x="74043" y="203576"/>
                  </a:cubicBezTo>
                  <a:cubicBezTo>
                    <a:pt x="76541" y="207681"/>
                    <a:pt x="81843" y="209065"/>
                    <a:pt x="86028" y="206705"/>
                  </a:cubicBezTo>
                  <a:cubicBezTo>
                    <a:pt x="95489" y="200604"/>
                    <a:pt x="106057" y="196422"/>
                    <a:pt x="117131" y="194402"/>
                  </a:cubicBezTo>
                  <a:cubicBezTo>
                    <a:pt x="121294" y="193341"/>
                    <a:pt x="125085" y="187985"/>
                    <a:pt x="123229" y="183663"/>
                  </a:cubicBezTo>
                  <a:lnTo>
                    <a:pt x="50842" y="6435"/>
                  </a:lnTo>
                  <a:cubicBezTo>
                    <a:pt x="48668" y="1132"/>
                    <a:pt x="43418" y="-1732"/>
                    <a:pt x="37982" y="1132"/>
                  </a:cubicBezTo>
                  <a:cubicBezTo>
                    <a:pt x="26926" y="7071"/>
                    <a:pt x="15391" y="12030"/>
                    <a:pt x="4361" y="17969"/>
                  </a:cubicBezTo>
                  <a:cubicBezTo>
                    <a:pt x="-5582" y="23272"/>
                    <a:pt x="3247" y="38412"/>
                    <a:pt x="13191" y="33083"/>
                  </a:cubicBezTo>
                  <a:close/>
                </a:path>
              </a:pathLst>
            </a:custGeom>
            <a:solidFill>
              <a:srgbClr val="2A2E2D"/>
            </a:solidFill>
            <a:ln w="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63" name="Freeform: Shape 262">
              <a:extLst>
                <a:ext uri="{FF2B5EF4-FFF2-40B4-BE49-F238E27FC236}">
                  <a16:creationId xmlns:a16="http://schemas.microsoft.com/office/drawing/2014/main" id="{616AA055-4FF9-5AA8-254A-99E160C2EF7B}"/>
                </a:ext>
              </a:extLst>
            </p:cNvPr>
            <p:cNvSpPr/>
            <p:nvPr/>
          </p:nvSpPr>
          <p:spPr>
            <a:xfrm>
              <a:off x="3078807" y="1606541"/>
              <a:ext cx="158310" cy="200520"/>
            </a:xfrm>
            <a:custGeom>
              <a:avLst/>
              <a:gdLst>
                <a:gd name="connsiteX0" fmla="*/ 79115 w 158310"/>
                <a:gd name="connsiteY0" fmla="*/ 876 h 200520"/>
                <a:gd name="connsiteX1" fmla="*/ 7232 w 158310"/>
                <a:gd name="connsiteY1" fmla="*/ 143104 h 200520"/>
                <a:gd name="connsiteX2" fmla="*/ 152403 w 158310"/>
                <a:gd name="connsiteY2" fmla="*/ 188790 h 200520"/>
                <a:gd name="connsiteX3" fmla="*/ 147737 w 158310"/>
                <a:gd name="connsiteY3" fmla="*/ 171926 h 200520"/>
                <a:gd name="connsiteX4" fmla="*/ 20463 w 158310"/>
                <a:gd name="connsiteY4" fmla="*/ 129130 h 200520"/>
                <a:gd name="connsiteX5" fmla="*/ 87839 w 158310"/>
                <a:gd name="connsiteY5" fmla="*/ 15990 h 200520"/>
                <a:gd name="connsiteX6" fmla="*/ 79009 w 158310"/>
                <a:gd name="connsiteY6" fmla="*/ 876 h 200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310" h="200520">
                  <a:moveTo>
                    <a:pt x="79115" y="876"/>
                  </a:moveTo>
                  <a:cubicBezTo>
                    <a:pt x="26244" y="25005"/>
                    <a:pt x="-17851" y="83975"/>
                    <a:pt x="7232" y="143104"/>
                  </a:cubicBezTo>
                  <a:cubicBezTo>
                    <a:pt x="34039" y="206290"/>
                    <a:pt x="95740" y="210214"/>
                    <a:pt x="152403" y="188790"/>
                  </a:cubicBezTo>
                  <a:cubicBezTo>
                    <a:pt x="162824" y="184865"/>
                    <a:pt x="158316" y="167949"/>
                    <a:pt x="147737" y="171926"/>
                  </a:cubicBezTo>
                  <a:cubicBezTo>
                    <a:pt x="97968" y="190752"/>
                    <a:pt x="39581" y="189347"/>
                    <a:pt x="20463" y="129130"/>
                  </a:cubicBezTo>
                  <a:cubicBezTo>
                    <a:pt x="4872" y="79732"/>
                    <a:pt x="46077" y="35027"/>
                    <a:pt x="87839" y="15990"/>
                  </a:cubicBezTo>
                  <a:cubicBezTo>
                    <a:pt x="98047" y="11323"/>
                    <a:pt x="89165" y="-3764"/>
                    <a:pt x="79009" y="876"/>
                  </a:cubicBezTo>
                  <a:close/>
                </a:path>
              </a:pathLst>
            </a:custGeom>
            <a:solidFill>
              <a:srgbClr val="2A2E2D"/>
            </a:solidFill>
            <a:ln w="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64" name="Freeform: Shape 263">
              <a:extLst>
                <a:ext uri="{FF2B5EF4-FFF2-40B4-BE49-F238E27FC236}">
                  <a16:creationId xmlns:a16="http://schemas.microsoft.com/office/drawing/2014/main" id="{66079C1F-E202-5FB6-E60A-F00670F1FBD3}"/>
                </a:ext>
              </a:extLst>
            </p:cNvPr>
            <p:cNvSpPr/>
            <p:nvPr/>
          </p:nvSpPr>
          <p:spPr>
            <a:xfrm>
              <a:off x="3549510" y="1456582"/>
              <a:ext cx="109050" cy="209454"/>
            </a:xfrm>
            <a:custGeom>
              <a:avLst/>
              <a:gdLst>
                <a:gd name="connsiteX0" fmla="*/ 95604 w 109050"/>
                <a:gd name="connsiteY0" fmla="*/ 179524 h 209454"/>
                <a:gd name="connsiteX1" fmla="*/ 60604 w 109050"/>
                <a:gd name="connsiteY1" fmla="*/ 193285 h 209454"/>
                <a:gd name="connsiteX2" fmla="*/ 73437 w 109050"/>
                <a:gd name="connsiteY2" fmla="*/ 198589 h 209454"/>
                <a:gd name="connsiteX3" fmla="*/ 17251 w 109050"/>
                <a:gd name="connsiteY3" fmla="*/ 15633 h 209454"/>
                <a:gd name="connsiteX4" fmla="*/ 8819 w 109050"/>
                <a:gd name="connsiteY4" fmla="*/ 26716 h 209454"/>
                <a:gd name="connsiteX5" fmla="*/ 51588 w 109050"/>
                <a:gd name="connsiteY5" fmla="*/ 17330 h 209454"/>
                <a:gd name="connsiteX6" fmla="*/ 40850 w 109050"/>
                <a:gd name="connsiteY6" fmla="*/ 11231 h 209454"/>
                <a:gd name="connsiteX7" fmla="*/ 91600 w 109050"/>
                <a:gd name="connsiteY7" fmla="*/ 189520 h 209454"/>
                <a:gd name="connsiteX8" fmla="*/ 108464 w 109050"/>
                <a:gd name="connsiteY8" fmla="*/ 184880 h 209454"/>
                <a:gd name="connsiteX9" fmla="*/ 57713 w 109050"/>
                <a:gd name="connsiteY9" fmla="*/ 6591 h 209454"/>
                <a:gd name="connsiteX10" fmla="*/ 46948 w 109050"/>
                <a:gd name="connsiteY10" fmla="*/ 466 h 209454"/>
                <a:gd name="connsiteX11" fmla="*/ 8819 w 109050"/>
                <a:gd name="connsiteY11" fmla="*/ 9216 h 209454"/>
                <a:gd name="connsiteX12" fmla="*/ 387 w 109050"/>
                <a:gd name="connsiteY12" fmla="*/ 20273 h 209454"/>
                <a:gd name="connsiteX13" fmla="*/ 56573 w 109050"/>
                <a:gd name="connsiteY13" fmla="*/ 203229 h 209454"/>
                <a:gd name="connsiteX14" fmla="*/ 69433 w 109050"/>
                <a:gd name="connsiteY14" fmla="*/ 208532 h 209454"/>
                <a:gd name="connsiteX15" fmla="*/ 104433 w 109050"/>
                <a:gd name="connsiteY15" fmla="*/ 194744 h 209454"/>
                <a:gd name="connsiteX16" fmla="*/ 95604 w 109050"/>
                <a:gd name="connsiteY16" fmla="*/ 179657 h 209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9050" h="209454">
                  <a:moveTo>
                    <a:pt x="95604" y="179524"/>
                  </a:moveTo>
                  <a:cubicBezTo>
                    <a:pt x="84070" y="184429"/>
                    <a:pt x="72138" y="188354"/>
                    <a:pt x="60604" y="193285"/>
                  </a:cubicBezTo>
                  <a:lnTo>
                    <a:pt x="73437" y="198589"/>
                  </a:lnTo>
                  <a:lnTo>
                    <a:pt x="17251" y="15633"/>
                  </a:lnTo>
                  <a:lnTo>
                    <a:pt x="8819" y="26716"/>
                  </a:lnTo>
                  <a:cubicBezTo>
                    <a:pt x="23641" y="25019"/>
                    <a:pt x="37641" y="22845"/>
                    <a:pt x="51588" y="17330"/>
                  </a:cubicBezTo>
                  <a:lnTo>
                    <a:pt x="40850" y="11231"/>
                  </a:lnTo>
                  <a:cubicBezTo>
                    <a:pt x="62354" y="69088"/>
                    <a:pt x="70017" y="131664"/>
                    <a:pt x="91600" y="189520"/>
                  </a:cubicBezTo>
                  <a:cubicBezTo>
                    <a:pt x="95498" y="199967"/>
                    <a:pt x="112388" y="195460"/>
                    <a:pt x="108464" y="184880"/>
                  </a:cubicBezTo>
                  <a:cubicBezTo>
                    <a:pt x="86960" y="127024"/>
                    <a:pt x="79297" y="64421"/>
                    <a:pt x="57713" y="6591"/>
                  </a:cubicBezTo>
                  <a:cubicBezTo>
                    <a:pt x="56202" y="2508"/>
                    <a:pt x="51668" y="-1363"/>
                    <a:pt x="46948" y="466"/>
                  </a:cubicBezTo>
                  <a:cubicBezTo>
                    <a:pt x="34709" y="5149"/>
                    <a:pt x="21875" y="8095"/>
                    <a:pt x="8819" y="9216"/>
                  </a:cubicBezTo>
                  <a:cubicBezTo>
                    <a:pt x="3516" y="9826"/>
                    <a:pt x="-1442" y="14334"/>
                    <a:pt x="387" y="20273"/>
                  </a:cubicBezTo>
                  <a:cubicBezTo>
                    <a:pt x="19126" y="81277"/>
                    <a:pt x="37853" y="142262"/>
                    <a:pt x="56573" y="203229"/>
                  </a:cubicBezTo>
                  <a:cubicBezTo>
                    <a:pt x="58403" y="209142"/>
                    <a:pt x="64210" y="210680"/>
                    <a:pt x="69433" y="208532"/>
                  </a:cubicBezTo>
                  <a:cubicBezTo>
                    <a:pt x="80967" y="203600"/>
                    <a:pt x="92899" y="199676"/>
                    <a:pt x="104433" y="194744"/>
                  </a:cubicBezTo>
                  <a:cubicBezTo>
                    <a:pt x="114774" y="190342"/>
                    <a:pt x="105865" y="175282"/>
                    <a:pt x="95604" y="179657"/>
                  </a:cubicBezTo>
                  <a:close/>
                </a:path>
              </a:pathLst>
            </a:custGeom>
            <a:solidFill>
              <a:srgbClr val="2A2E2D"/>
            </a:solidFill>
            <a:ln w="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65" name="Freeform: Shape 264">
              <a:extLst>
                <a:ext uri="{FF2B5EF4-FFF2-40B4-BE49-F238E27FC236}">
                  <a16:creationId xmlns:a16="http://schemas.microsoft.com/office/drawing/2014/main" id="{B0CC320F-3C12-725F-08E6-2D68A72A6513}"/>
                </a:ext>
              </a:extLst>
            </p:cNvPr>
            <p:cNvSpPr/>
            <p:nvPr/>
          </p:nvSpPr>
          <p:spPr>
            <a:xfrm>
              <a:off x="3590234" y="1449797"/>
              <a:ext cx="151853" cy="202609"/>
            </a:xfrm>
            <a:custGeom>
              <a:avLst/>
              <a:gdLst>
                <a:gd name="connsiteX0" fmla="*/ 61588 w 151853"/>
                <a:gd name="connsiteY0" fmla="*/ 202271 h 202609"/>
                <a:gd name="connsiteX1" fmla="*/ 148558 w 151853"/>
                <a:gd name="connsiteY1" fmla="*/ 69695 h 202609"/>
                <a:gd name="connsiteX2" fmla="*/ 6171 w 151853"/>
                <a:gd name="connsiteY2" fmla="*/ 7012 h 202609"/>
                <a:gd name="connsiteX3" fmla="*/ 10811 w 151853"/>
                <a:gd name="connsiteY3" fmla="*/ 23876 h 202609"/>
                <a:gd name="connsiteX4" fmla="*/ 131695 w 151853"/>
                <a:gd name="connsiteY4" fmla="*/ 74255 h 202609"/>
                <a:gd name="connsiteX5" fmla="*/ 56921 w 151853"/>
                <a:gd name="connsiteY5" fmla="*/ 185195 h 202609"/>
                <a:gd name="connsiteX6" fmla="*/ 61588 w 151853"/>
                <a:gd name="connsiteY6" fmla="*/ 202059 h 202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853" h="202609">
                  <a:moveTo>
                    <a:pt x="61588" y="202271"/>
                  </a:moveTo>
                  <a:cubicBezTo>
                    <a:pt x="115547" y="183180"/>
                    <a:pt x="165289" y="130892"/>
                    <a:pt x="148558" y="69695"/>
                  </a:cubicBezTo>
                  <a:cubicBezTo>
                    <a:pt x="129706" y="967"/>
                    <a:pt x="66361" y="-9851"/>
                    <a:pt x="6171" y="7012"/>
                  </a:cubicBezTo>
                  <a:cubicBezTo>
                    <a:pt x="-4647" y="10062"/>
                    <a:pt x="-60" y="26952"/>
                    <a:pt x="10811" y="23876"/>
                  </a:cubicBezTo>
                  <a:cubicBezTo>
                    <a:pt x="61190" y="9770"/>
                    <a:pt x="115732" y="15418"/>
                    <a:pt x="131695" y="74255"/>
                  </a:cubicBezTo>
                  <a:cubicBezTo>
                    <a:pt x="145562" y="125615"/>
                    <a:pt x="101706" y="169339"/>
                    <a:pt x="56921" y="185195"/>
                  </a:cubicBezTo>
                  <a:cubicBezTo>
                    <a:pt x="46315" y="188934"/>
                    <a:pt x="50929" y="205851"/>
                    <a:pt x="61588" y="202059"/>
                  </a:cubicBezTo>
                  <a:close/>
                </a:path>
              </a:pathLst>
            </a:custGeom>
            <a:solidFill>
              <a:srgbClr val="2A2E2D"/>
            </a:solidFill>
            <a:ln w="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66" name="Freeform: Shape 265">
              <a:extLst>
                <a:ext uri="{FF2B5EF4-FFF2-40B4-BE49-F238E27FC236}">
                  <a16:creationId xmlns:a16="http://schemas.microsoft.com/office/drawing/2014/main" id="{BD3AE1F8-BD58-2626-2F15-7990B8475FBD}"/>
                </a:ext>
              </a:extLst>
            </p:cNvPr>
            <p:cNvSpPr/>
            <p:nvPr/>
          </p:nvSpPr>
          <p:spPr>
            <a:xfrm>
              <a:off x="3159233" y="1191311"/>
              <a:ext cx="407947" cy="415246"/>
            </a:xfrm>
            <a:custGeom>
              <a:avLst/>
              <a:gdLst>
                <a:gd name="connsiteX0" fmla="*/ 45170 w 407947"/>
                <a:gd name="connsiteY0" fmla="*/ 404492 h 415246"/>
                <a:gd name="connsiteX1" fmla="*/ 120262 w 407947"/>
                <a:gd name="connsiteY1" fmla="*/ 25588 h 415246"/>
                <a:gd name="connsiteX2" fmla="*/ 390718 w 407947"/>
                <a:gd name="connsiteY2" fmla="*/ 280135 h 415246"/>
                <a:gd name="connsiteX3" fmla="*/ 407581 w 407947"/>
                <a:gd name="connsiteY3" fmla="*/ 275495 h 415246"/>
                <a:gd name="connsiteX4" fmla="*/ 226508 w 407947"/>
                <a:gd name="connsiteY4" fmla="*/ 11880 h 415246"/>
                <a:gd name="connsiteX5" fmla="*/ 46814 w 407947"/>
                <a:gd name="connsiteY5" fmla="*/ 56611 h 415246"/>
                <a:gd name="connsiteX6" fmla="*/ 1075 w 407947"/>
                <a:gd name="connsiteY6" fmla="*/ 254230 h 415246"/>
                <a:gd name="connsiteX7" fmla="*/ 28307 w 407947"/>
                <a:gd name="connsiteY7" fmla="*/ 409132 h 415246"/>
                <a:gd name="connsiteX8" fmla="*/ 45170 w 407947"/>
                <a:gd name="connsiteY8" fmla="*/ 404492 h 41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7947" h="415246">
                  <a:moveTo>
                    <a:pt x="45170" y="404492"/>
                  </a:moveTo>
                  <a:cubicBezTo>
                    <a:pt x="10647" y="292120"/>
                    <a:pt x="-22152" y="76551"/>
                    <a:pt x="120262" y="25588"/>
                  </a:cubicBezTo>
                  <a:cubicBezTo>
                    <a:pt x="266759" y="-26832"/>
                    <a:pt x="359270" y="167631"/>
                    <a:pt x="390718" y="280135"/>
                  </a:cubicBezTo>
                  <a:cubicBezTo>
                    <a:pt x="393740" y="290953"/>
                    <a:pt x="410630" y="286366"/>
                    <a:pt x="407581" y="275495"/>
                  </a:cubicBezTo>
                  <a:cubicBezTo>
                    <a:pt x="380509" y="178635"/>
                    <a:pt x="324350" y="53960"/>
                    <a:pt x="226508" y="11880"/>
                  </a:cubicBezTo>
                  <a:cubicBezTo>
                    <a:pt x="164728" y="-14635"/>
                    <a:pt x="89212" y="4509"/>
                    <a:pt x="46814" y="56611"/>
                  </a:cubicBezTo>
                  <a:cubicBezTo>
                    <a:pt x="2693" y="110623"/>
                    <a:pt x="-2955" y="187305"/>
                    <a:pt x="1075" y="254230"/>
                  </a:cubicBezTo>
                  <a:cubicBezTo>
                    <a:pt x="4037" y="306754"/>
                    <a:pt x="13177" y="358748"/>
                    <a:pt x="28307" y="409132"/>
                  </a:cubicBezTo>
                  <a:cubicBezTo>
                    <a:pt x="31594" y="419871"/>
                    <a:pt x="48485" y="415284"/>
                    <a:pt x="45170" y="404492"/>
                  </a:cubicBezTo>
                  <a:close/>
                </a:path>
              </a:pathLst>
            </a:custGeom>
            <a:solidFill>
              <a:srgbClr val="2A2E2D"/>
            </a:solidFill>
            <a:ln w="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67" name="Freeform: Shape 266">
              <a:extLst>
                <a:ext uri="{FF2B5EF4-FFF2-40B4-BE49-F238E27FC236}">
                  <a16:creationId xmlns:a16="http://schemas.microsoft.com/office/drawing/2014/main" id="{5D2CDF5E-6D2C-ED78-9D29-6B8161771DEB}"/>
                </a:ext>
              </a:extLst>
            </p:cNvPr>
            <p:cNvSpPr/>
            <p:nvPr/>
          </p:nvSpPr>
          <p:spPr>
            <a:xfrm>
              <a:off x="3004842" y="1720663"/>
              <a:ext cx="373633" cy="313823"/>
            </a:xfrm>
            <a:custGeom>
              <a:avLst/>
              <a:gdLst>
                <a:gd name="connsiteX0" fmla="*/ 79554 w 373633"/>
                <a:gd name="connsiteY0" fmla="*/ 822 h 313823"/>
                <a:gd name="connsiteX1" fmla="*/ 962 w 373633"/>
                <a:gd name="connsiteY1" fmla="*/ 139444 h 313823"/>
                <a:gd name="connsiteX2" fmla="*/ 153584 w 373633"/>
                <a:gd name="connsiteY2" fmla="*/ 244339 h 313823"/>
                <a:gd name="connsiteX3" fmla="*/ 251399 w 373633"/>
                <a:gd name="connsiteY3" fmla="*/ 172747 h 313823"/>
                <a:gd name="connsiteX4" fmla="*/ 141122 w 373633"/>
                <a:gd name="connsiteY4" fmla="*/ 249085 h 313823"/>
                <a:gd name="connsiteX5" fmla="*/ 369976 w 373633"/>
                <a:gd name="connsiteY5" fmla="*/ 270960 h 313823"/>
                <a:gd name="connsiteX6" fmla="*/ 361146 w 373633"/>
                <a:gd name="connsiteY6" fmla="*/ 255846 h 313823"/>
                <a:gd name="connsiteX7" fmla="*/ 161115 w 373633"/>
                <a:gd name="connsiteY7" fmla="*/ 225592 h 313823"/>
                <a:gd name="connsiteX8" fmla="*/ 198873 w 373633"/>
                <a:gd name="connsiteY8" fmla="*/ 179350 h 313823"/>
                <a:gd name="connsiteX9" fmla="*/ 231486 w 373633"/>
                <a:gd name="connsiteY9" fmla="*/ 195259 h 313823"/>
                <a:gd name="connsiteX10" fmla="*/ 166471 w 373633"/>
                <a:gd name="connsiteY10" fmla="*/ 224214 h 313823"/>
                <a:gd name="connsiteX11" fmla="*/ 18569 w 373633"/>
                <a:gd name="connsiteY11" fmla="*/ 137376 h 313823"/>
                <a:gd name="connsiteX12" fmla="*/ 88304 w 373633"/>
                <a:gd name="connsiteY12" fmla="*/ 15909 h 313823"/>
                <a:gd name="connsiteX13" fmla="*/ 79501 w 373633"/>
                <a:gd name="connsiteY13" fmla="*/ 822 h 313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3633" h="313823">
                  <a:moveTo>
                    <a:pt x="79554" y="822"/>
                  </a:moveTo>
                  <a:cubicBezTo>
                    <a:pt x="25913" y="24235"/>
                    <a:pt x="-6064" y="81906"/>
                    <a:pt x="962" y="139444"/>
                  </a:cubicBezTo>
                  <a:cubicBezTo>
                    <a:pt x="11012" y="221642"/>
                    <a:pt x="76080" y="255263"/>
                    <a:pt x="153584" y="244339"/>
                  </a:cubicBezTo>
                  <a:cubicBezTo>
                    <a:pt x="177925" y="240918"/>
                    <a:pt x="277596" y="216816"/>
                    <a:pt x="251399" y="172747"/>
                  </a:cubicBezTo>
                  <a:cubicBezTo>
                    <a:pt x="215100" y="111762"/>
                    <a:pt x="136986" y="206130"/>
                    <a:pt x="141122" y="249085"/>
                  </a:cubicBezTo>
                  <a:cubicBezTo>
                    <a:pt x="151065" y="352707"/>
                    <a:pt x="318775" y="310070"/>
                    <a:pt x="369976" y="270960"/>
                  </a:cubicBezTo>
                  <a:cubicBezTo>
                    <a:pt x="378805" y="264199"/>
                    <a:pt x="369976" y="249006"/>
                    <a:pt x="361146" y="255846"/>
                  </a:cubicBezTo>
                  <a:cubicBezTo>
                    <a:pt x="318722" y="288301"/>
                    <a:pt x="130012" y="334623"/>
                    <a:pt x="161115" y="225592"/>
                  </a:cubicBezTo>
                  <a:cubicBezTo>
                    <a:pt x="166153" y="207907"/>
                    <a:pt x="181717" y="187013"/>
                    <a:pt x="198873" y="179350"/>
                  </a:cubicBezTo>
                  <a:cubicBezTo>
                    <a:pt x="216452" y="171554"/>
                    <a:pt x="244691" y="174550"/>
                    <a:pt x="231486" y="195259"/>
                  </a:cubicBezTo>
                  <a:cubicBezTo>
                    <a:pt x="220429" y="212627"/>
                    <a:pt x="184793" y="220183"/>
                    <a:pt x="166471" y="224214"/>
                  </a:cubicBezTo>
                  <a:cubicBezTo>
                    <a:pt x="95781" y="240043"/>
                    <a:pt x="28114" y="216789"/>
                    <a:pt x="18569" y="137376"/>
                  </a:cubicBezTo>
                  <a:cubicBezTo>
                    <a:pt x="12412" y="85923"/>
                    <a:pt x="40767" y="36536"/>
                    <a:pt x="88304" y="15909"/>
                  </a:cubicBezTo>
                  <a:cubicBezTo>
                    <a:pt x="98618" y="11428"/>
                    <a:pt x="89709" y="-3659"/>
                    <a:pt x="79501" y="822"/>
                  </a:cubicBezTo>
                  <a:close/>
                </a:path>
              </a:pathLst>
            </a:custGeom>
            <a:solidFill>
              <a:srgbClr val="2A2E2D"/>
            </a:solidFill>
            <a:ln w="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68" name="Freeform: Shape 267">
              <a:extLst>
                <a:ext uri="{FF2B5EF4-FFF2-40B4-BE49-F238E27FC236}">
                  <a16:creationId xmlns:a16="http://schemas.microsoft.com/office/drawing/2014/main" id="{40B4E7CD-8F22-CEFE-6163-B20B2B0B8144}"/>
                </a:ext>
              </a:extLst>
            </p:cNvPr>
            <p:cNvSpPr/>
            <p:nvPr/>
          </p:nvSpPr>
          <p:spPr>
            <a:xfrm>
              <a:off x="3353446" y="1906668"/>
              <a:ext cx="107254" cy="96621"/>
            </a:xfrm>
            <a:custGeom>
              <a:avLst/>
              <a:gdLst>
                <a:gd name="connsiteX0" fmla="*/ 0 w 107254"/>
                <a:gd name="connsiteY0" fmla="*/ 55682 h 96621"/>
                <a:gd name="connsiteX1" fmla="*/ 19250 w 107254"/>
                <a:gd name="connsiteY1" fmla="*/ 96622 h 96621"/>
                <a:gd name="connsiteX2" fmla="*/ 107254 w 107254"/>
                <a:gd name="connsiteY2" fmla="*/ 38500 h 96621"/>
                <a:gd name="connsiteX3" fmla="*/ 85353 w 107254"/>
                <a:gd name="connsiteY3" fmla="*/ 0 h 96621"/>
                <a:gd name="connsiteX4" fmla="*/ 0 w 107254"/>
                <a:gd name="connsiteY4" fmla="*/ 55682 h 96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254" h="96621">
                  <a:moveTo>
                    <a:pt x="0" y="55682"/>
                  </a:moveTo>
                  <a:lnTo>
                    <a:pt x="19250" y="96622"/>
                  </a:lnTo>
                  <a:lnTo>
                    <a:pt x="107254" y="38500"/>
                  </a:lnTo>
                  <a:lnTo>
                    <a:pt x="85353" y="0"/>
                  </a:lnTo>
                  <a:lnTo>
                    <a:pt x="0" y="55682"/>
                  </a:lnTo>
                  <a:close/>
                </a:path>
              </a:pathLst>
            </a:custGeom>
            <a:solidFill>
              <a:srgbClr val="2A2E2D"/>
            </a:solidFill>
            <a:ln w="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69" name="Freeform: Shape 268">
              <a:extLst>
                <a:ext uri="{FF2B5EF4-FFF2-40B4-BE49-F238E27FC236}">
                  <a16:creationId xmlns:a16="http://schemas.microsoft.com/office/drawing/2014/main" id="{BB76FE64-6FC9-F515-3B7A-C3DD67A90006}"/>
                </a:ext>
              </a:extLst>
            </p:cNvPr>
            <p:cNvSpPr/>
            <p:nvPr/>
          </p:nvSpPr>
          <p:spPr>
            <a:xfrm>
              <a:off x="3435757" y="1894554"/>
              <a:ext cx="53901" cy="43196"/>
            </a:xfrm>
            <a:custGeom>
              <a:avLst/>
              <a:gdLst>
                <a:gd name="connsiteX0" fmla="*/ 12825 w 53901"/>
                <a:gd name="connsiteY0" fmla="*/ 41679 h 43196"/>
                <a:gd name="connsiteX1" fmla="*/ 49947 w 53901"/>
                <a:gd name="connsiteY1" fmla="*/ 16622 h 43196"/>
                <a:gd name="connsiteX2" fmla="*/ 41117 w 53901"/>
                <a:gd name="connsiteY2" fmla="*/ 1508 h 43196"/>
                <a:gd name="connsiteX3" fmla="*/ 3943 w 53901"/>
                <a:gd name="connsiteY3" fmla="*/ 26565 h 43196"/>
                <a:gd name="connsiteX4" fmla="*/ 12772 w 53901"/>
                <a:gd name="connsiteY4" fmla="*/ 41679 h 43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01" h="43196">
                  <a:moveTo>
                    <a:pt x="12825" y="41679"/>
                  </a:moveTo>
                  <a:lnTo>
                    <a:pt x="49947" y="16622"/>
                  </a:lnTo>
                  <a:cubicBezTo>
                    <a:pt x="59227" y="10338"/>
                    <a:pt x="50477" y="-4803"/>
                    <a:pt x="41117" y="1508"/>
                  </a:cubicBezTo>
                  <a:lnTo>
                    <a:pt x="3943" y="26565"/>
                  </a:lnTo>
                  <a:cubicBezTo>
                    <a:pt x="-5311" y="32849"/>
                    <a:pt x="3413" y="48016"/>
                    <a:pt x="12772" y="41679"/>
                  </a:cubicBezTo>
                  <a:close/>
                </a:path>
              </a:pathLst>
            </a:custGeom>
            <a:solidFill>
              <a:srgbClr val="2A2E2D"/>
            </a:solidFill>
            <a:ln w="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270" name="Freeform: Shape 269">
              <a:extLst>
                <a:ext uri="{FF2B5EF4-FFF2-40B4-BE49-F238E27FC236}">
                  <a16:creationId xmlns:a16="http://schemas.microsoft.com/office/drawing/2014/main" id="{A1C2C6B4-05C1-276F-8D30-3CAA7B3F0268}"/>
                </a:ext>
              </a:extLst>
            </p:cNvPr>
            <p:cNvSpPr/>
            <p:nvPr/>
          </p:nvSpPr>
          <p:spPr>
            <a:xfrm>
              <a:off x="3128003" y="1159947"/>
              <a:ext cx="469925" cy="454199"/>
            </a:xfrm>
            <a:custGeom>
              <a:avLst/>
              <a:gdLst>
                <a:gd name="connsiteX0" fmla="*/ 47367 w 469925"/>
                <a:gd name="connsiteY0" fmla="*/ 443228 h 454199"/>
                <a:gd name="connsiteX1" fmla="*/ 19154 w 469925"/>
                <a:gd name="connsiteY1" fmla="*/ 202469 h 454199"/>
                <a:gd name="connsiteX2" fmla="*/ 193042 w 469925"/>
                <a:gd name="connsiteY2" fmla="*/ 21502 h 454199"/>
                <a:gd name="connsiteX3" fmla="*/ 452547 w 469925"/>
                <a:gd name="connsiteY3" fmla="*/ 319004 h 454199"/>
                <a:gd name="connsiteX4" fmla="*/ 469410 w 469925"/>
                <a:gd name="connsiteY4" fmla="*/ 314363 h 454199"/>
                <a:gd name="connsiteX5" fmla="*/ 188348 w 469925"/>
                <a:gd name="connsiteY5" fmla="*/ 4638 h 454199"/>
                <a:gd name="connsiteX6" fmla="*/ 10696 w 469925"/>
                <a:gd name="connsiteY6" fmla="*/ 151665 h 454199"/>
                <a:gd name="connsiteX7" fmla="*/ 30635 w 469925"/>
                <a:gd name="connsiteY7" fmla="*/ 447868 h 454199"/>
                <a:gd name="connsiteX8" fmla="*/ 47499 w 469925"/>
                <a:gd name="connsiteY8" fmla="*/ 443228 h 454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9925" h="454199">
                  <a:moveTo>
                    <a:pt x="47367" y="443228"/>
                  </a:moveTo>
                  <a:cubicBezTo>
                    <a:pt x="34507" y="364875"/>
                    <a:pt x="12366" y="282280"/>
                    <a:pt x="19154" y="202469"/>
                  </a:cubicBezTo>
                  <a:cubicBezTo>
                    <a:pt x="27719" y="101419"/>
                    <a:pt x="98515" y="43377"/>
                    <a:pt x="193042" y="21502"/>
                  </a:cubicBezTo>
                  <a:cubicBezTo>
                    <a:pt x="348289" y="-14320"/>
                    <a:pt x="414709" y="207931"/>
                    <a:pt x="452547" y="319004"/>
                  </a:cubicBezTo>
                  <a:cubicBezTo>
                    <a:pt x="456153" y="329610"/>
                    <a:pt x="473070" y="325049"/>
                    <a:pt x="469410" y="314363"/>
                  </a:cubicBezTo>
                  <a:cubicBezTo>
                    <a:pt x="427941" y="192658"/>
                    <a:pt x="357118" y="-35320"/>
                    <a:pt x="188348" y="4638"/>
                  </a:cubicBezTo>
                  <a:cubicBezTo>
                    <a:pt x="107662" y="23729"/>
                    <a:pt x="34560" y="68646"/>
                    <a:pt x="10696" y="151665"/>
                  </a:cubicBezTo>
                  <a:cubicBezTo>
                    <a:pt x="-16562" y="246193"/>
                    <a:pt x="15044" y="353633"/>
                    <a:pt x="30635" y="447868"/>
                  </a:cubicBezTo>
                  <a:cubicBezTo>
                    <a:pt x="32465" y="458951"/>
                    <a:pt x="49196" y="454258"/>
                    <a:pt x="47499" y="443228"/>
                  </a:cubicBezTo>
                  <a:close/>
                </a:path>
              </a:pathLst>
            </a:custGeom>
            <a:solidFill>
              <a:srgbClr val="2A2E2D"/>
            </a:solidFill>
            <a:ln w="263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</p:spTree>
    <p:extLst>
      <p:ext uri="{BB962C8B-B14F-4D97-AF65-F5344CB8AC3E}">
        <p14:creationId xmlns:p14="http://schemas.microsoft.com/office/powerpoint/2010/main" val="24843900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Line">
            <a:extLst>
              <a:ext uri="{FF2B5EF4-FFF2-40B4-BE49-F238E27FC236}">
                <a16:creationId xmlns:a16="http://schemas.microsoft.com/office/drawing/2014/main" id="{E7264234-7186-A297-9C85-1FD144626603}"/>
              </a:ext>
            </a:extLst>
          </p:cNvPr>
          <p:cNvSpPr/>
          <p:nvPr/>
        </p:nvSpPr>
        <p:spPr>
          <a:xfrm rot="5400000">
            <a:off x="1909954" y="1714887"/>
            <a:ext cx="1886561" cy="5409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12" name="Line">
            <a:extLst>
              <a:ext uri="{FF2B5EF4-FFF2-40B4-BE49-F238E27FC236}">
                <a16:creationId xmlns:a16="http://schemas.microsoft.com/office/drawing/2014/main" id="{A306E47D-534F-918C-6849-9941461BE430}"/>
              </a:ext>
            </a:extLst>
          </p:cNvPr>
          <p:cNvSpPr/>
          <p:nvPr/>
        </p:nvSpPr>
        <p:spPr>
          <a:xfrm rot="5400000">
            <a:off x="1094884" y="1734625"/>
            <a:ext cx="1886563" cy="501427"/>
          </a:xfrm>
          <a:custGeom>
            <a:avLst/>
            <a:gdLst>
              <a:gd name="connsiteX0" fmla="*/ 21600 w 21600"/>
              <a:gd name="connsiteY0" fmla="*/ 21600 h 21600"/>
              <a:gd name="connsiteX1" fmla="*/ 0 w 21600"/>
              <a:gd name="connsiteY1" fmla="*/ 21600 h 21600"/>
              <a:gd name="connsiteX2" fmla="*/ 0 w 21600"/>
              <a:gd name="connsiteY2" fmla="*/ 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0" h="21600" extrusionOk="0">
                <a:moveTo>
                  <a:pt x="21600" y="21600"/>
                </a:moveTo>
                <a:lnTo>
                  <a:pt x="0" y="2160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13" name="Line">
            <a:extLst>
              <a:ext uri="{FF2B5EF4-FFF2-40B4-BE49-F238E27FC236}">
                <a16:creationId xmlns:a16="http://schemas.microsoft.com/office/drawing/2014/main" id="{CBA12698-AAA1-78DF-BEB7-A9151A705DAA}"/>
              </a:ext>
            </a:extLst>
          </p:cNvPr>
          <p:cNvSpPr/>
          <p:nvPr/>
        </p:nvSpPr>
        <p:spPr>
          <a:xfrm flipH="1">
            <a:off x="3417589" y="1042057"/>
            <a:ext cx="1091151" cy="1867778"/>
          </a:xfrm>
          <a:custGeom>
            <a:avLst/>
            <a:gdLst>
              <a:gd name="connsiteX0" fmla="*/ 15514 w 15514"/>
              <a:gd name="connsiteY0" fmla="*/ 21600 h 21600"/>
              <a:gd name="connsiteX1" fmla="*/ 10800 w 15514"/>
              <a:gd name="connsiteY1" fmla="*/ 21600 h 21600"/>
              <a:gd name="connsiteX2" fmla="*/ 10800 w 15514"/>
              <a:gd name="connsiteY2" fmla="*/ 0 h 21600"/>
              <a:gd name="connsiteX3" fmla="*/ 0 w 15514"/>
              <a:gd name="connsiteY3" fmla="*/ 0 h 21600"/>
              <a:gd name="connsiteX0" fmla="*/ 13888 w 13888"/>
              <a:gd name="connsiteY0" fmla="*/ 21600 h 21600"/>
              <a:gd name="connsiteX1" fmla="*/ 10800 w 13888"/>
              <a:gd name="connsiteY1" fmla="*/ 21600 h 21600"/>
              <a:gd name="connsiteX2" fmla="*/ 10800 w 13888"/>
              <a:gd name="connsiteY2" fmla="*/ 0 h 21600"/>
              <a:gd name="connsiteX3" fmla="*/ 0 w 13888"/>
              <a:gd name="connsiteY3" fmla="*/ 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888" h="21600" extrusionOk="0">
                <a:moveTo>
                  <a:pt x="13888" y="21600"/>
                </a:moveTo>
                <a:lnTo>
                  <a:pt x="10800" y="21600"/>
                </a:lnTo>
                <a:lnTo>
                  <a:pt x="10800" y="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  <a:miter lim="400000"/>
          </a:ln>
        </p:spPr>
        <p:txBody>
          <a:bodyPr lIns="38100" tIns="38100" rIns="38100" bIns="38100" anchor="ctr"/>
          <a:lstStyle/>
          <a:p>
            <a:endParaRPr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  <p:sp>
        <p:nvSpPr>
          <p:cNvPr id="14" name="Line">
            <a:extLst>
              <a:ext uri="{FF2B5EF4-FFF2-40B4-BE49-F238E27FC236}">
                <a16:creationId xmlns:a16="http://schemas.microsoft.com/office/drawing/2014/main" id="{6F2D12E4-9309-069C-37EF-F696A174C53A}"/>
              </a:ext>
            </a:extLst>
          </p:cNvPr>
          <p:cNvSpPr/>
          <p:nvPr/>
        </p:nvSpPr>
        <p:spPr>
          <a:xfrm rot="10800000" flipH="1">
            <a:off x="670510" y="1042055"/>
            <a:ext cx="855778" cy="18677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10800" y="21600"/>
                </a:lnTo>
                <a:lnTo>
                  <a:pt x="10800" y="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  <a:miter lim="400000"/>
          </a:ln>
        </p:spPr>
        <p:txBody>
          <a:bodyPr lIns="38100" tIns="38100" rIns="38100" bIns="38100" anchor="ctr"/>
          <a:lstStyle/>
          <a:p>
            <a:endParaRPr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  <p:sp>
        <p:nvSpPr>
          <p:cNvPr id="16" name="Line">
            <a:extLst>
              <a:ext uri="{FF2B5EF4-FFF2-40B4-BE49-F238E27FC236}">
                <a16:creationId xmlns:a16="http://schemas.microsoft.com/office/drawing/2014/main" id="{13BD3712-9ACB-DF7F-1423-19BF20068EDF}"/>
              </a:ext>
            </a:extLst>
          </p:cNvPr>
          <p:cNvSpPr/>
          <p:nvPr/>
        </p:nvSpPr>
        <p:spPr>
          <a:xfrm rot="5400000">
            <a:off x="-31573" y="4495265"/>
            <a:ext cx="2708477" cy="3056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17" name="Line">
            <a:extLst>
              <a:ext uri="{FF2B5EF4-FFF2-40B4-BE49-F238E27FC236}">
                <a16:creationId xmlns:a16="http://schemas.microsoft.com/office/drawing/2014/main" id="{9DDBE541-1F36-9DE8-B288-DB5EA6F9E849}"/>
              </a:ext>
            </a:extLst>
          </p:cNvPr>
          <p:cNvSpPr/>
          <p:nvPr/>
        </p:nvSpPr>
        <p:spPr>
          <a:xfrm rot="5400000">
            <a:off x="-530898" y="4495265"/>
            <a:ext cx="2708477" cy="305664"/>
          </a:xfrm>
          <a:custGeom>
            <a:avLst/>
            <a:gdLst>
              <a:gd name="connsiteX0" fmla="*/ 21600 w 21600"/>
              <a:gd name="connsiteY0" fmla="*/ 21600 h 21600"/>
              <a:gd name="connsiteX1" fmla="*/ 0 w 21600"/>
              <a:gd name="connsiteY1" fmla="*/ 21600 h 21600"/>
              <a:gd name="connsiteX2" fmla="*/ 0 w 21600"/>
              <a:gd name="connsiteY2" fmla="*/ 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600" h="21600" extrusionOk="0">
                <a:moveTo>
                  <a:pt x="21600" y="21600"/>
                </a:moveTo>
                <a:lnTo>
                  <a:pt x="0" y="2160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18" name="Line">
            <a:extLst>
              <a:ext uri="{FF2B5EF4-FFF2-40B4-BE49-F238E27FC236}">
                <a16:creationId xmlns:a16="http://schemas.microsoft.com/office/drawing/2014/main" id="{DF786F7F-91BF-66B5-6A8F-804ECBE9EC1E}"/>
              </a:ext>
            </a:extLst>
          </p:cNvPr>
          <p:cNvSpPr/>
          <p:nvPr/>
        </p:nvSpPr>
        <p:spPr>
          <a:xfrm rot="16200000">
            <a:off x="502418" y="4469289"/>
            <a:ext cx="2728596" cy="3375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10800" y="21600"/>
                </a:lnTo>
                <a:lnTo>
                  <a:pt x="10800" y="0"/>
                </a:lnTo>
                <a:lnTo>
                  <a:pt x="0" y="0"/>
                </a:lnTo>
              </a:path>
            </a:pathLst>
          </a:custGeom>
          <a:ln w="12700">
            <a:solidFill>
              <a:srgbClr val="000000"/>
            </a:solidFill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19" name="Graphic 9">
            <a:extLst>
              <a:ext uri="{FF2B5EF4-FFF2-40B4-BE49-F238E27FC236}">
                <a16:creationId xmlns:a16="http://schemas.microsoft.com/office/drawing/2014/main" id="{FF2C4D0C-CC2C-59B5-FE3A-17D5D98ACB9F}"/>
              </a:ext>
            </a:extLst>
          </p:cNvPr>
          <p:cNvSpPr/>
          <p:nvPr/>
        </p:nvSpPr>
        <p:spPr>
          <a:xfrm>
            <a:off x="2582784" y="3500120"/>
            <a:ext cx="1863709" cy="495300"/>
          </a:xfrm>
          <a:custGeom>
            <a:avLst/>
            <a:gdLst>
              <a:gd name="connsiteX0" fmla="*/ 7095 w 1863708"/>
              <a:gd name="connsiteY0" fmla="*/ 492025 h 495300"/>
              <a:gd name="connsiteX1" fmla="*/ 491279 w 1863708"/>
              <a:gd name="connsiteY1" fmla="*/ 7107 h 495300"/>
              <a:gd name="connsiteX2" fmla="*/ 1860439 w 1863708"/>
              <a:gd name="connsiteY2" fmla="*/ 7107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63708" h="495300">
                <a:moveTo>
                  <a:pt x="7095" y="492025"/>
                </a:moveTo>
                <a:lnTo>
                  <a:pt x="491279" y="7107"/>
                </a:lnTo>
                <a:lnTo>
                  <a:pt x="1860439" y="7107"/>
                </a:lnTo>
              </a:path>
            </a:pathLst>
          </a:custGeom>
          <a:noFill/>
          <a:ln w="9476" cap="flat">
            <a:solidFill>
              <a:srgbClr val="231F20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5A786F7-496D-4E4B-D580-0C77C6C53E74}"/>
              </a:ext>
            </a:extLst>
          </p:cNvPr>
          <p:cNvSpPr txBox="1"/>
          <p:nvPr/>
        </p:nvSpPr>
        <p:spPr>
          <a:xfrm>
            <a:off x="2476021" y="4928264"/>
            <a:ext cx="2202180" cy="88767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dirty="0"/>
              <a:t>True angles and brackets </a:t>
            </a:r>
            <a:br>
              <a:rPr lang="en-US" sz="1600" dirty="0"/>
            </a:br>
            <a:r>
              <a:rPr lang="en-US" sz="1600" dirty="0"/>
              <a:t>(no more awkward corners with gaps!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3E81292-750A-4B40-8B3A-0E2EFE957E3F}"/>
              </a:ext>
            </a:extLst>
          </p:cNvPr>
          <p:cNvSpPr/>
          <p:nvPr/>
        </p:nvSpPr>
        <p:spPr>
          <a:xfrm>
            <a:off x="0" y="0"/>
            <a:ext cx="4991100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Assorted Shapes &amp; Elements (PPT Native)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23" name="AutoShape 10">
            <a:extLst>
              <a:ext uri="{FF2B5EF4-FFF2-40B4-BE49-F238E27FC236}">
                <a16:creationId xmlns:a16="http://schemas.microsoft.com/office/drawing/2014/main" id="{7743B939-7244-20CB-B74C-85341C49B61F}"/>
              </a:ext>
            </a:extLst>
          </p:cNvPr>
          <p:cNvSpPr>
            <a:spLocks/>
          </p:cNvSpPr>
          <p:nvPr/>
        </p:nvSpPr>
        <p:spPr bwMode="auto">
          <a:xfrm>
            <a:off x="7423501" y="5146007"/>
            <a:ext cx="481347" cy="40546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3213" y="7677"/>
                </a:moveTo>
                <a:lnTo>
                  <a:pt x="8689" y="0"/>
                </a:lnTo>
                <a:lnTo>
                  <a:pt x="15219" y="0"/>
                </a:lnTo>
                <a:lnTo>
                  <a:pt x="21600" y="10800"/>
                </a:lnTo>
                <a:lnTo>
                  <a:pt x="15219" y="21600"/>
                </a:lnTo>
                <a:lnTo>
                  <a:pt x="8689" y="21600"/>
                </a:lnTo>
                <a:lnTo>
                  <a:pt x="13213" y="13923"/>
                </a:lnTo>
                <a:lnTo>
                  <a:pt x="0" y="13923"/>
                </a:lnTo>
                <a:lnTo>
                  <a:pt x="0" y="7677"/>
                </a:lnTo>
                <a:cubicBezTo>
                  <a:pt x="0" y="7677"/>
                  <a:pt x="13213" y="7677"/>
                  <a:pt x="13213" y="7677"/>
                </a:cubicBezTo>
                <a:close/>
                <a:moveTo>
                  <a:pt x="13213" y="7677"/>
                </a:move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4" name="AutoShape 11">
            <a:extLst>
              <a:ext uri="{FF2B5EF4-FFF2-40B4-BE49-F238E27FC236}">
                <a16:creationId xmlns:a16="http://schemas.microsoft.com/office/drawing/2014/main" id="{2073CC1B-6CD5-DAD9-BE94-F50030276E91}"/>
              </a:ext>
            </a:extLst>
          </p:cNvPr>
          <p:cNvSpPr>
            <a:spLocks/>
          </p:cNvSpPr>
          <p:nvPr/>
        </p:nvSpPr>
        <p:spPr bwMode="auto">
          <a:xfrm>
            <a:off x="8090791" y="5145840"/>
            <a:ext cx="481347" cy="40580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346" y="8461"/>
                </a:moveTo>
                <a:lnTo>
                  <a:pt x="10350" y="0"/>
                </a:lnTo>
                <a:lnTo>
                  <a:pt x="15216" y="0"/>
                </a:lnTo>
                <a:lnTo>
                  <a:pt x="21600" y="10800"/>
                </a:lnTo>
                <a:lnTo>
                  <a:pt x="15216" y="21600"/>
                </a:lnTo>
                <a:lnTo>
                  <a:pt x="10350" y="21600"/>
                </a:lnTo>
                <a:lnTo>
                  <a:pt x="15346" y="13139"/>
                </a:lnTo>
                <a:lnTo>
                  <a:pt x="0" y="13139"/>
                </a:lnTo>
                <a:lnTo>
                  <a:pt x="0" y="8461"/>
                </a:lnTo>
                <a:cubicBezTo>
                  <a:pt x="0" y="8461"/>
                  <a:pt x="15346" y="8461"/>
                  <a:pt x="15346" y="8461"/>
                </a:cubicBezTo>
                <a:close/>
                <a:moveTo>
                  <a:pt x="15346" y="8461"/>
                </a:move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5" name="AutoShape 12">
            <a:extLst>
              <a:ext uri="{FF2B5EF4-FFF2-40B4-BE49-F238E27FC236}">
                <a16:creationId xmlns:a16="http://schemas.microsoft.com/office/drawing/2014/main" id="{227AF814-6395-FF39-D240-9B9FC61927C4}"/>
              </a:ext>
            </a:extLst>
          </p:cNvPr>
          <p:cNvSpPr>
            <a:spLocks/>
          </p:cNvSpPr>
          <p:nvPr/>
        </p:nvSpPr>
        <p:spPr bwMode="auto">
          <a:xfrm>
            <a:off x="9427041" y="5145673"/>
            <a:ext cx="481347" cy="40613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479" y="9245"/>
                </a:moveTo>
                <a:lnTo>
                  <a:pt x="12011" y="0"/>
                </a:lnTo>
                <a:lnTo>
                  <a:pt x="15213" y="0"/>
                </a:lnTo>
                <a:lnTo>
                  <a:pt x="21600" y="10800"/>
                </a:lnTo>
                <a:lnTo>
                  <a:pt x="15213" y="21600"/>
                </a:lnTo>
                <a:lnTo>
                  <a:pt x="12011" y="21600"/>
                </a:lnTo>
                <a:lnTo>
                  <a:pt x="17479" y="12355"/>
                </a:lnTo>
                <a:lnTo>
                  <a:pt x="0" y="12355"/>
                </a:lnTo>
                <a:lnTo>
                  <a:pt x="0" y="9245"/>
                </a:lnTo>
                <a:cubicBezTo>
                  <a:pt x="0" y="9245"/>
                  <a:pt x="17479" y="9245"/>
                  <a:pt x="17479" y="9245"/>
                </a:cubicBezTo>
                <a:close/>
                <a:moveTo>
                  <a:pt x="17479" y="9245"/>
                </a:move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6" name="AutoShape 13">
            <a:extLst>
              <a:ext uri="{FF2B5EF4-FFF2-40B4-BE49-F238E27FC236}">
                <a16:creationId xmlns:a16="http://schemas.microsoft.com/office/drawing/2014/main" id="{25555C5A-A10C-897A-546D-180195203A66}"/>
              </a:ext>
            </a:extLst>
          </p:cNvPr>
          <p:cNvSpPr>
            <a:spLocks/>
          </p:cNvSpPr>
          <p:nvPr/>
        </p:nvSpPr>
        <p:spPr bwMode="auto">
          <a:xfrm>
            <a:off x="10763291" y="5145673"/>
            <a:ext cx="481347" cy="40613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10029"/>
                </a:moveTo>
                <a:lnTo>
                  <a:pt x="0" y="11572"/>
                </a:lnTo>
                <a:lnTo>
                  <a:pt x="19612" y="11572"/>
                </a:lnTo>
                <a:lnTo>
                  <a:pt x="13672" y="21600"/>
                </a:lnTo>
                <a:lnTo>
                  <a:pt x="15210" y="21600"/>
                </a:lnTo>
                <a:lnTo>
                  <a:pt x="21600" y="10800"/>
                </a:lnTo>
                <a:lnTo>
                  <a:pt x="15210" y="0"/>
                </a:lnTo>
                <a:lnTo>
                  <a:pt x="13672" y="0"/>
                </a:lnTo>
                <a:lnTo>
                  <a:pt x="19612" y="10029"/>
                </a:lnTo>
                <a:cubicBezTo>
                  <a:pt x="19612" y="10029"/>
                  <a:pt x="0" y="10029"/>
                  <a:pt x="0" y="10029"/>
                </a:cubicBezTo>
                <a:close/>
                <a:moveTo>
                  <a:pt x="0" y="10029"/>
                </a:move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7" name="AutoShape 14">
            <a:extLst>
              <a:ext uri="{FF2B5EF4-FFF2-40B4-BE49-F238E27FC236}">
                <a16:creationId xmlns:a16="http://schemas.microsoft.com/office/drawing/2014/main" id="{C3A04ED4-5564-6138-6C7C-A53E824C1A0C}"/>
              </a:ext>
            </a:extLst>
          </p:cNvPr>
          <p:cNvSpPr>
            <a:spLocks/>
          </p:cNvSpPr>
          <p:nvPr/>
        </p:nvSpPr>
        <p:spPr bwMode="auto">
          <a:xfrm>
            <a:off x="8758080" y="5143500"/>
            <a:ext cx="483018" cy="4104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5070" y="0"/>
                </a:moveTo>
                <a:lnTo>
                  <a:pt x="9838" y="0"/>
                </a:lnTo>
                <a:lnTo>
                  <a:pt x="14854" y="8296"/>
                </a:lnTo>
                <a:lnTo>
                  <a:pt x="0" y="8296"/>
                </a:lnTo>
                <a:lnTo>
                  <a:pt x="0" y="13312"/>
                </a:lnTo>
                <a:lnTo>
                  <a:pt x="14849" y="13312"/>
                </a:lnTo>
                <a:lnTo>
                  <a:pt x="9838" y="21600"/>
                </a:lnTo>
                <a:lnTo>
                  <a:pt x="15070" y="21600"/>
                </a:lnTo>
                <a:lnTo>
                  <a:pt x="21600" y="10800"/>
                </a:lnTo>
                <a:cubicBezTo>
                  <a:pt x="21600" y="10800"/>
                  <a:pt x="15070" y="0"/>
                  <a:pt x="15070" y="0"/>
                </a:cubicBezTo>
                <a:close/>
                <a:moveTo>
                  <a:pt x="15070" y="0"/>
                </a:move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8" name="AutoShape 15">
            <a:extLst>
              <a:ext uri="{FF2B5EF4-FFF2-40B4-BE49-F238E27FC236}">
                <a16:creationId xmlns:a16="http://schemas.microsoft.com/office/drawing/2014/main" id="{5C7BC1FD-B2D5-C730-8C1E-374C49DBCE71}"/>
              </a:ext>
            </a:extLst>
          </p:cNvPr>
          <p:cNvSpPr>
            <a:spLocks/>
          </p:cNvSpPr>
          <p:nvPr/>
        </p:nvSpPr>
        <p:spPr bwMode="auto">
          <a:xfrm>
            <a:off x="10094331" y="5161383"/>
            <a:ext cx="483018" cy="374714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0801"/>
                </a:moveTo>
                <a:lnTo>
                  <a:pt x="13217" y="21600"/>
                </a:lnTo>
                <a:lnTo>
                  <a:pt x="13217" y="16684"/>
                </a:lnTo>
                <a:lnTo>
                  <a:pt x="16482" y="12478"/>
                </a:lnTo>
                <a:lnTo>
                  <a:pt x="2" y="12478"/>
                </a:lnTo>
                <a:lnTo>
                  <a:pt x="2" y="10800"/>
                </a:lnTo>
                <a:lnTo>
                  <a:pt x="0" y="10800"/>
                </a:lnTo>
                <a:lnTo>
                  <a:pt x="0" y="9122"/>
                </a:lnTo>
                <a:lnTo>
                  <a:pt x="16480" y="9122"/>
                </a:lnTo>
                <a:lnTo>
                  <a:pt x="13215" y="4916"/>
                </a:lnTo>
                <a:lnTo>
                  <a:pt x="13215" y="0"/>
                </a:lnTo>
                <a:lnTo>
                  <a:pt x="21600" y="10801"/>
                </a:lnTo>
                <a:cubicBezTo>
                  <a:pt x="21600" y="10801"/>
                  <a:pt x="21600" y="10801"/>
                  <a:pt x="21600" y="10801"/>
                </a:cubicBezTo>
                <a:close/>
                <a:moveTo>
                  <a:pt x="21600" y="10801"/>
                </a:move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9" name="AutoShape 2">
            <a:extLst>
              <a:ext uri="{FF2B5EF4-FFF2-40B4-BE49-F238E27FC236}">
                <a16:creationId xmlns:a16="http://schemas.microsoft.com/office/drawing/2014/main" id="{5DE3E7D2-95A0-1D92-2724-67A34BCF00DA}"/>
              </a:ext>
            </a:extLst>
          </p:cNvPr>
          <p:cNvSpPr>
            <a:spLocks/>
          </p:cNvSpPr>
          <p:nvPr/>
        </p:nvSpPr>
        <p:spPr bwMode="auto">
          <a:xfrm>
            <a:off x="6096000" y="5161383"/>
            <a:ext cx="502635" cy="411818"/>
          </a:xfrm>
          <a:custGeom>
            <a:avLst/>
            <a:gdLst/>
            <a:ahLst/>
            <a:cxnLst/>
            <a:rect l="0" t="0" r="r" b="b"/>
            <a:pathLst>
              <a:path w="21413" h="21148">
                <a:moveTo>
                  <a:pt x="14866" y="12918"/>
                </a:moveTo>
                <a:cubicBezTo>
                  <a:pt x="14866" y="12918"/>
                  <a:pt x="5962" y="12922"/>
                  <a:pt x="1918" y="12922"/>
                </a:cubicBezTo>
                <a:cubicBezTo>
                  <a:pt x="859" y="12922"/>
                  <a:pt x="0" y="11887"/>
                  <a:pt x="0" y="10610"/>
                </a:cubicBezTo>
                <a:cubicBezTo>
                  <a:pt x="0" y="9333"/>
                  <a:pt x="859" y="8298"/>
                  <a:pt x="1918" y="8298"/>
                </a:cubicBezTo>
                <a:cubicBezTo>
                  <a:pt x="5308" y="8298"/>
                  <a:pt x="14855" y="8293"/>
                  <a:pt x="14855" y="8293"/>
                </a:cubicBezTo>
                <a:cubicBezTo>
                  <a:pt x="14855" y="8293"/>
                  <a:pt x="14215" y="7511"/>
                  <a:pt x="11258" y="3947"/>
                </a:cubicBezTo>
                <a:cubicBezTo>
                  <a:pt x="10509" y="3044"/>
                  <a:pt x="10509" y="1580"/>
                  <a:pt x="11258" y="677"/>
                </a:cubicBezTo>
                <a:cubicBezTo>
                  <a:pt x="12007" y="-226"/>
                  <a:pt x="13221" y="-226"/>
                  <a:pt x="13970" y="677"/>
                </a:cubicBezTo>
                <a:cubicBezTo>
                  <a:pt x="16367" y="3567"/>
                  <a:pt x="20851" y="8972"/>
                  <a:pt x="20851" y="8972"/>
                </a:cubicBezTo>
                <a:cubicBezTo>
                  <a:pt x="21600" y="9875"/>
                  <a:pt x="21600" y="11339"/>
                  <a:pt x="20851" y="12242"/>
                </a:cubicBezTo>
                <a:cubicBezTo>
                  <a:pt x="20851" y="12242"/>
                  <a:pt x="16982" y="16907"/>
                  <a:pt x="14025" y="20471"/>
                </a:cubicBezTo>
                <a:cubicBezTo>
                  <a:pt x="13277" y="21374"/>
                  <a:pt x="12062" y="21374"/>
                  <a:pt x="11313" y="20471"/>
                </a:cubicBezTo>
                <a:cubicBezTo>
                  <a:pt x="10564" y="19568"/>
                  <a:pt x="10564" y="18104"/>
                  <a:pt x="11313" y="17201"/>
                </a:cubicBezTo>
                <a:cubicBezTo>
                  <a:pt x="13711" y="14311"/>
                  <a:pt x="14866" y="12918"/>
                  <a:pt x="14866" y="12918"/>
                </a:cubicBezTo>
                <a:close/>
                <a:moveTo>
                  <a:pt x="14866" y="12918"/>
                </a:move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dirty="0"/>
          </a:p>
        </p:txBody>
      </p:sp>
      <p:sp>
        <p:nvSpPr>
          <p:cNvPr id="30" name="AutoShape 7">
            <a:extLst>
              <a:ext uri="{FF2B5EF4-FFF2-40B4-BE49-F238E27FC236}">
                <a16:creationId xmlns:a16="http://schemas.microsoft.com/office/drawing/2014/main" id="{B6C6B686-BBAB-963A-0B9E-2A40207D071D}"/>
              </a:ext>
            </a:extLst>
          </p:cNvPr>
          <p:cNvSpPr>
            <a:spLocks/>
          </p:cNvSpPr>
          <p:nvPr/>
        </p:nvSpPr>
        <p:spPr bwMode="auto">
          <a:xfrm>
            <a:off x="6728068" y="5146008"/>
            <a:ext cx="499491" cy="434521"/>
          </a:xfrm>
          <a:custGeom>
            <a:avLst/>
            <a:gdLst/>
            <a:ahLst/>
            <a:cxnLst/>
            <a:rect l="0" t="0" r="r" b="b"/>
            <a:pathLst>
              <a:path w="21600" h="20996">
                <a:moveTo>
                  <a:pt x="0" y="10498"/>
                </a:moveTo>
                <a:cubicBezTo>
                  <a:pt x="0" y="8792"/>
                  <a:pt x="1238" y="7410"/>
                  <a:pt x="2765" y="7410"/>
                </a:cubicBezTo>
                <a:cubicBezTo>
                  <a:pt x="5613" y="7410"/>
                  <a:pt x="12107" y="7411"/>
                  <a:pt x="12107" y="7411"/>
                </a:cubicBezTo>
                <a:cubicBezTo>
                  <a:pt x="11317" y="6525"/>
                  <a:pt x="10534" y="5649"/>
                  <a:pt x="10196" y="5271"/>
                </a:cubicBezTo>
                <a:cubicBezTo>
                  <a:pt x="9117" y="4065"/>
                  <a:pt x="9118" y="2109"/>
                  <a:pt x="10198" y="904"/>
                </a:cubicBezTo>
                <a:cubicBezTo>
                  <a:pt x="11278" y="-302"/>
                  <a:pt x="13028" y="-301"/>
                  <a:pt x="14108" y="905"/>
                </a:cubicBezTo>
                <a:cubicBezTo>
                  <a:pt x="15997" y="3016"/>
                  <a:pt x="19810" y="7277"/>
                  <a:pt x="20823" y="8412"/>
                </a:cubicBezTo>
                <a:cubicBezTo>
                  <a:pt x="21301" y="8947"/>
                  <a:pt x="21600" y="9683"/>
                  <a:pt x="21600" y="10498"/>
                </a:cubicBezTo>
                <a:cubicBezTo>
                  <a:pt x="21600" y="11314"/>
                  <a:pt x="21301" y="12049"/>
                  <a:pt x="20823" y="12584"/>
                </a:cubicBezTo>
                <a:cubicBezTo>
                  <a:pt x="19810" y="13719"/>
                  <a:pt x="15997" y="17980"/>
                  <a:pt x="14108" y="20091"/>
                </a:cubicBezTo>
                <a:cubicBezTo>
                  <a:pt x="13028" y="21297"/>
                  <a:pt x="11278" y="21298"/>
                  <a:pt x="10198" y="20092"/>
                </a:cubicBezTo>
                <a:cubicBezTo>
                  <a:pt x="9118" y="18887"/>
                  <a:pt x="9117" y="16931"/>
                  <a:pt x="10196" y="15725"/>
                </a:cubicBezTo>
                <a:cubicBezTo>
                  <a:pt x="10534" y="15347"/>
                  <a:pt x="11317" y="14471"/>
                  <a:pt x="12107" y="13585"/>
                </a:cubicBezTo>
                <a:cubicBezTo>
                  <a:pt x="12107" y="13585"/>
                  <a:pt x="5613" y="13586"/>
                  <a:pt x="2765" y="13586"/>
                </a:cubicBezTo>
                <a:cubicBezTo>
                  <a:pt x="1238" y="13586"/>
                  <a:pt x="0" y="12204"/>
                  <a:pt x="0" y="10498"/>
                </a:cubicBezTo>
                <a:close/>
                <a:moveTo>
                  <a:pt x="0" y="10498"/>
                </a:move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D2BFA07-344D-D30F-EE74-0891E3C9AA7B}"/>
              </a:ext>
            </a:extLst>
          </p:cNvPr>
          <p:cNvGrpSpPr>
            <a:grpSpLocks noChangeAspect="1"/>
          </p:cNvGrpSpPr>
          <p:nvPr/>
        </p:nvGrpSpPr>
        <p:grpSpPr>
          <a:xfrm>
            <a:off x="7061652" y="5783902"/>
            <a:ext cx="324296" cy="327497"/>
            <a:chOff x="1335266" y="1590856"/>
            <a:chExt cx="881890" cy="890597"/>
          </a:xfrm>
          <a:solidFill>
            <a:schemeClr val="accent2"/>
          </a:solidFill>
        </p:grpSpPr>
        <p:sp>
          <p:nvSpPr>
            <p:cNvPr id="32" name="AutoShape 28">
              <a:extLst>
                <a:ext uri="{FF2B5EF4-FFF2-40B4-BE49-F238E27FC236}">
                  <a16:creationId xmlns:a16="http://schemas.microsoft.com/office/drawing/2014/main" id="{BF4C7ECE-B0F3-3343-9B5A-5F051007E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298" y="1590856"/>
              <a:ext cx="483858" cy="89059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689" y="0"/>
                  </a:moveTo>
                  <a:cubicBezTo>
                    <a:pt x="1120" y="0"/>
                    <a:pt x="557" y="14"/>
                    <a:pt x="0" y="39"/>
                  </a:cubicBezTo>
                  <a:lnTo>
                    <a:pt x="14276" y="10804"/>
                  </a:lnTo>
                  <a:lnTo>
                    <a:pt x="12" y="21561"/>
                  </a:lnTo>
                  <a:cubicBezTo>
                    <a:pt x="566" y="21587"/>
                    <a:pt x="1125" y="21600"/>
                    <a:pt x="1689" y="21600"/>
                  </a:cubicBezTo>
                  <a:cubicBezTo>
                    <a:pt x="12686" y="21600"/>
                    <a:pt x="21600" y="16765"/>
                    <a:pt x="21600" y="10800"/>
                  </a:cubicBezTo>
                  <a:cubicBezTo>
                    <a:pt x="21600" y="4835"/>
                    <a:pt x="12686" y="0"/>
                    <a:pt x="1689" y="0"/>
                  </a:cubicBezTo>
                  <a:close/>
                  <a:moveTo>
                    <a:pt x="1689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" name="AutoShape 29">
              <a:extLst>
                <a:ext uri="{FF2B5EF4-FFF2-40B4-BE49-F238E27FC236}">
                  <a16:creationId xmlns:a16="http://schemas.microsoft.com/office/drawing/2014/main" id="{8879E8DA-D5B3-7404-09B1-2231B9CAF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5266" y="2133175"/>
              <a:ext cx="396788" cy="276757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0"/>
                  </a:moveTo>
                  <a:lnTo>
                    <a:pt x="0" y="0"/>
                  </a:lnTo>
                  <a:cubicBezTo>
                    <a:pt x="1464" y="9080"/>
                    <a:pt x="5422" y="16796"/>
                    <a:pt x="10785" y="21600"/>
                  </a:cubicBezTo>
                  <a:cubicBezTo>
                    <a:pt x="10785" y="21600"/>
                    <a:pt x="21600" y="0"/>
                    <a:pt x="21600" y="0"/>
                  </a:cubicBezTo>
                  <a:close/>
                  <a:moveTo>
                    <a:pt x="21600" y="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" name="AutoShape 30">
              <a:extLst>
                <a:ext uri="{FF2B5EF4-FFF2-40B4-BE49-F238E27FC236}">
                  <a16:creationId xmlns:a16="http://schemas.microsoft.com/office/drawing/2014/main" id="{FE084417-1FDC-11C4-5FAB-AB4BF373B7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5266" y="1655537"/>
              <a:ext cx="396788" cy="27800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21600"/>
                  </a:moveTo>
                  <a:lnTo>
                    <a:pt x="10754" y="0"/>
                  </a:lnTo>
                  <a:cubicBezTo>
                    <a:pt x="5393" y="4809"/>
                    <a:pt x="1444" y="12526"/>
                    <a:pt x="0" y="21600"/>
                  </a:cubicBezTo>
                  <a:cubicBezTo>
                    <a:pt x="0" y="21600"/>
                    <a:pt x="21600" y="21600"/>
                    <a:pt x="21600" y="21600"/>
                  </a:cubicBezTo>
                  <a:close/>
                  <a:moveTo>
                    <a:pt x="21600" y="2160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35" name="AutoShape 16">
            <a:extLst>
              <a:ext uri="{FF2B5EF4-FFF2-40B4-BE49-F238E27FC236}">
                <a16:creationId xmlns:a16="http://schemas.microsoft.com/office/drawing/2014/main" id="{E690E973-C757-9514-F873-8E03EEEEEBEC}"/>
              </a:ext>
            </a:extLst>
          </p:cNvPr>
          <p:cNvSpPr>
            <a:spLocks noChangeAspect="1"/>
          </p:cNvSpPr>
          <p:nvPr/>
        </p:nvSpPr>
        <p:spPr bwMode="auto">
          <a:xfrm>
            <a:off x="7969854" y="5783902"/>
            <a:ext cx="324759" cy="32749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818" y="10800"/>
                </a:moveTo>
                <a:lnTo>
                  <a:pt x="10631" y="20901"/>
                </a:lnTo>
                <a:lnTo>
                  <a:pt x="7791" y="18084"/>
                </a:lnTo>
                <a:lnTo>
                  <a:pt x="13140" y="12781"/>
                </a:lnTo>
                <a:lnTo>
                  <a:pt x="0" y="12781"/>
                </a:lnTo>
                <a:cubicBezTo>
                  <a:pt x="938" y="17799"/>
                  <a:pt x="5376" y="21600"/>
                  <a:pt x="10709" y="21600"/>
                </a:cubicBezTo>
                <a:cubicBezTo>
                  <a:pt x="16724" y="21600"/>
                  <a:pt x="21600" y="16765"/>
                  <a:pt x="21600" y="10800"/>
                </a:cubicBezTo>
                <a:cubicBezTo>
                  <a:pt x="21600" y="4836"/>
                  <a:pt x="16724" y="0"/>
                  <a:pt x="10709" y="0"/>
                </a:cubicBezTo>
                <a:cubicBezTo>
                  <a:pt x="5376" y="0"/>
                  <a:pt x="938" y="3801"/>
                  <a:pt x="0" y="8819"/>
                </a:cubicBezTo>
                <a:lnTo>
                  <a:pt x="13140" y="8819"/>
                </a:lnTo>
                <a:lnTo>
                  <a:pt x="7791" y="3515"/>
                </a:lnTo>
                <a:lnTo>
                  <a:pt x="10631" y="699"/>
                </a:lnTo>
                <a:cubicBezTo>
                  <a:pt x="10631" y="699"/>
                  <a:pt x="20818" y="10800"/>
                  <a:pt x="20818" y="10800"/>
                </a:cubicBezTo>
                <a:close/>
                <a:moveTo>
                  <a:pt x="20818" y="10800"/>
                </a:move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" name="AutoShape 17">
            <a:extLst>
              <a:ext uri="{FF2B5EF4-FFF2-40B4-BE49-F238E27FC236}">
                <a16:creationId xmlns:a16="http://schemas.microsoft.com/office/drawing/2014/main" id="{4FA4AC11-817A-1603-DA1C-0232F0356F5E}"/>
              </a:ext>
            </a:extLst>
          </p:cNvPr>
          <p:cNvSpPr>
            <a:spLocks noChangeAspect="1"/>
          </p:cNvSpPr>
          <p:nvPr/>
        </p:nvSpPr>
        <p:spPr bwMode="auto">
          <a:xfrm>
            <a:off x="8422704" y="5783902"/>
            <a:ext cx="327497" cy="32749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6458" y="19542"/>
                </a:moveTo>
                <a:lnTo>
                  <a:pt x="6458" y="2058"/>
                </a:lnTo>
                <a:lnTo>
                  <a:pt x="21600" y="10800"/>
                </a:lnTo>
                <a:cubicBezTo>
                  <a:pt x="21600" y="4836"/>
                  <a:pt x="16765" y="0"/>
                  <a:pt x="10800" y="0"/>
                </a:cubicBez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10800"/>
                  <a:pt x="6458" y="19542"/>
                  <a:pt x="6458" y="19542"/>
                </a:cubicBezTo>
                <a:close/>
                <a:moveTo>
                  <a:pt x="6458" y="19542"/>
                </a:move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7" name="AutoShape 18">
            <a:extLst>
              <a:ext uri="{FF2B5EF4-FFF2-40B4-BE49-F238E27FC236}">
                <a16:creationId xmlns:a16="http://schemas.microsoft.com/office/drawing/2014/main" id="{9C00DE4F-CFB3-348B-2680-36F4AE686558}"/>
              </a:ext>
            </a:extLst>
          </p:cNvPr>
          <p:cNvSpPr>
            <a:spLocks noChangeAspect="1"/>
          </p:cNvSpPr>
          <p:nvPr/>
        </p:nvSpPr>
        <p:spPr bwMode="auto">
          <a:xfrm>
            <a:off x="8878292" y="5783902"/>
            <a:ext cx="327497" cy="32749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8559" y="20812"/>
                </a:moveTo>
                <a:cubicBezTo>
                  <a:pt x="7916" y="20668"/>
                  <a:pt x="7295" y="20465"/>
                  <a:pt x="6703" y="20207"/>
                </a:cubicBezTo>
                <a:lnTo>
                  <a:pt x="14966" y="10800"/>
                </a:lnTo>
                <a:lnTo>
                  <a:pt x="6703" y="1393"/>
                </a:lnTo>
                <a:cubicBezTo>
                  <a:pt x="7295" y="1135"/>
                  <a:pt x="7916" y="932"/>
                  <a:pt x="8559" y="788"/>
                </a:cubicBezTo>
                <a:lnTo>
                  <a:pt x="17370" y="10800"/>
                </a:lnTo>
                <a:cubicBezTo>
                  <a:pt x="17370" y="10800"/>
                  <a:pt x="8559" y="20812"/>
                  <a:pt x="8559" y="20812"/>
                </a:cubicBezTo>
                <a:close/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DFDB0E9-9040-C177-82CA-5ADAE378EFC8}"/>
              </a:ext>
            </a:extLst>
          </p:cNvPr>
          <p:cNvGrpSpPr>
            <a:grpSpLocks noChangeAspect="1"/>
          </p:cNvGrpSpPr>
          <p:nvPr/>
        </p:nvGrpSpPr>
        <p:grpSpPr>
          <a:xfrm>
            <a:off x="7514038" y="5783902"/>
            <a:ext cx="327725" cy="327497"/>
            <a:chOff x="-3793536" y="4101221"/>
            <a:chExt cx="486411" cy="486073"/>
          </a:xfrm>
          <a:solidFill>
            <a:schemeClr val="accent2"/>
          </a:solidFill>
        </p:grpSpPr>
        <p:sp>
          <p:nvSpPr>
            <p:cNvPr id="39" name="AutoShape 19">
              <a:extLst>
                <a:ext uri="{FF2B5EF4-FFF2-40B4-BE49-F238E27FC236}">
                  <a16:creationId xmlns:a16="http://schemas.microsoft.com/office/drawing/2014/main" id="{7B3F0D09-63C7-5966-9B98-C20388312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98956" y="4203908"/>
              <a:ext cx="294211" cy="28171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0800"/>
                  </a:moveTo>
                  <a:lnTo>
                    <a:pt x="11248" y="21600"/>
                  </a:lnTo>
                  <a:lnTo>
                    <a:pt x="8750" y="18993"/>
                  </a:lnTo>
                  <a:lnTo>
                    <a:pt x="14837" y="12643"/>
                  </a:lnTo>
                  <a:lnTo>
                    <a:pt x="0" y="12643"/>
                  </a:lnTo>
                  <a:lnTo>
                    <a:pt x="0" y="8957"/>
                  </a:lnTo>
                  <a:lnTo>
                    <a:pt x="14837" y="8957"/>
                  </a:lnTo>
                  <a:lnTo>
                    <a:pt x="8750" y="2606"/>
                  </a:lnTo>
                  <a:lnTo>
                    <a:pt x="11248" y="0"/>
                  </a:lnTo>
                  <a:cubicBezTo>
                    <a:pt x="11248" y="0"/>
                    <a:pt x="21600" y="10800"/>
                    <a:pt x="21600" y="10800"/>
                  </a:cubicBezTo>
                  <a:close/>
                  <a:moveTo>
                    <a:pt x="21600" y="1080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40" name="AutoShape 20">
              <a:extLst>
                <a:ext uri="{FF2B5EF4-FFF2-40B4-BE49-F238E27FC236}">
                  <a16:creationId xmlns:a16="http://schemas.microsoft.com/office/drawing/2014/main" id="{E88B5076-417B-CCD2-FE4E-67AFF99AB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93536" y="4101221"/>
              <a:ext cx="486411" cy="486073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0" y="21600"/>
                  </a:moveTo>
                  <a:cubicBezTo>
                    <a:pt x="16765" y="21600"/>
                    <a:pt x="21600" y="16765"/>
                    <a:pt x="21600" y="10800"/>
                  </a:cubicBezTo>
                  <a:cubicBezTo>
                    <a:pt x="21600" y="4836"/>
                    <a:pt x="16765" y="0"/>
                    <a:pt x="10800" y="0"/>
                  </a:cubicBezTo>
                  <a:cubicBezTo>
                    <a:pt x="4835" y="0"/>
                    <a:pt x="0" y="4836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lose/>
                  <a:moveTo>
                    <a:pt x="2695" y="10800"/>
                  </a:moveTo>
                  <a:cubicBezTo>
                    <a:pt x="2695" y="6324"/>
                    <a:pt x="6324" y="2695"/>
                    <a:pt x="10800" y="2695"/>
                  </a:cubicBezTo>
                  <a:cubicBezTo>
                    <a:pt x="15276" y="2695"/>
                    <a:pt x="18905" y="6324"/>
                    <a:pt x="18905" y="10800"/>
                  </a:cubicBezTo>
                  <a:cubicBezTo>
                    <a:pt x="18905" y="15277"/>
                    <a:pt x="15276" y="18905"/>
                    <a:pt x="10800" y="18905"/>
                  </a:cubicBezTo>
                  <a:cubicBezTo>
                    <a:pt x="6324" y="18905"/>
                    <a:pt x="2695" y="15277"/>
                    <a:pt x="2695" y="10800"/>
                  </a:cubicBezTo>
                  <a:close/>
                  <a:moveTo>
                    <a:pt x="2695" y="10800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41" name="AutoShape 21">
            <a:extLst>
              <a:ext uri="{FF2B5EF4-FFF2-40B4-BE49-F238E27FC236}">
                <a16:creationId xmlns:a16="http://schemas.microsoft.com/office/drawing/2014/main" id="{8D7C7877-3CA5-A0F6-E3E2-1B54CC33738B}"/>
              </a:ext>
            </a:extLst>
          </p:cNvPr>
          <p:cNvSpPr>
            <a:spLocks noChangeAspect="1"/>
          </p:cNvSpPr>
          <p:nvPr/>
        </p:nvSpPr>
        <p:spPr bwMode="auto">
          <a:xfrm>
            <a:off x="6155917" y="5783902"/>
            <a:ext cx="327723" cy="32749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0945" y="10800"/>
                </a:moveTo>
                <a:lnTo>
                  <a:pt x="14415" y="17166"/>
                </a:lnTo>
                <a:lnTo>
                  <a:pt x="8875" y="17166"/>
                </a:lnTo>
                <a:lnTo>
                  <a:pt x="13447" y="12759"/>
                </a:lnTo>
                <a:lnTo>
                  <a:pt x="764" y="12759"/>
                </a:lnTo>
                <a:cubicBezTo>
                  <a:pt x="641" y="12120"/>
                  <a:pt x="576" y="11465"/>
                  <a:pt x="576" y="10800"/>
                </a:cubicBezTo>
                <a:cubicBezTo>
                  <a:pt x="576" y="10135"/>
                  <a:pt x="641" y="9480"/>
                  <a:pt x="764" y="8841"/>
                </a:cubicBezTo>
                <a:lnTo>
                  <a:pt x="13447" y="8841"/>
                </a:lnTo>
                <a:lnTo>
                  <a:pt x="8875" y="4434"/>
                </a:lnTo>
                <a:lnTo>
                  <a:pt x="14415" y="4434"/>
                </a:lnTo>
                <a:cubicBezTo>
                  <a:pt x="14415" y="4434"/>
                  <a:pt x="20945" y="10800"/>
                  <a:pt x="20945" y="10800"/>
                </a:cubicBezTo>
                <a:close/>
                <a:moveTo>
                  <a:pt x="18437" y="3163"/>
                </a:moveTo>
                <a:cubicBezTo>
                  <a:pt x="16397" y="1123"/>
                  <a:pt x="13685" y="0"/>
                  <a:pt x="10800" y="0"/>
                </a:cubicBezTo>
                <a:cubicBezTo>
                  <a:pt x="4845" y="0"/>
                  <a:pt x="0" y="4845"/>
                  <a:pt x="0" y="10800"/>
                </a:cubicBezTo>
                <a:cubicBezTo>
                  <a:pt x="0" y="13685"/>
                  <a:pt x="1123" y="16397"/>
                  <a:pt x="3163" y="18437"/>
                </a:cubicBezTo>
                <a:cubicBezTo>
                  <a:pt x="5203" y="20477"/>
                  <a:pt x="7915" y="21600"/>
                  <a:pt x="10800" y="21600"/>
                </a:cubicBezTo>
                <a:cubicBezTo>
                  <a:pt x="13685" y="21600"/>
                  <a:pt x="16397" y="20477"/>
                  <a:pt x="18437" y="18437"/>
                </a:cubicBezTo>
                <a:cubicBezTo>
                  <a:pt x="20477" y="16397"/>
                  <a:pt x="21600" y="13685"/>
                  <a:pt x="21600" y="10800"/>
                </a:cubicBezTo>
                <a:cubicBezTo>
                  <a:pt x="21600" y="7915"/>
                  <a:pt x="20477" y="5203"/>
                  <a:pt x="18437" y="3163"/>
                </a:cubicBezTo>
                <a:close/>
                <a:moveTo>
                  <a:pt x="18437" y="3163"/>
                </a:move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2" name="AutoShape 22">
            <a:extLst>
              <a:ext uri="{FF2B5EF4-FFF2-40B4-BE49-F238E27FC236}">
                <a16:creationId xmlns:a16="http://schemas.microsoft.com/office/drawing/2014/main" id="{75C58802-5115-7207-B4E2-1045F28A4BE7}"/>
              </a:ext>
            </a:extLst>
          </p:cNvPr>
          <p:cNvSpPr>
            <a:spLocks noChangeAspect="1"/>
          </p:cNvSpPr>
          <p:nvPr/>
        </p:nvSpPr>
        <p:spPr bwMode="auto">
          <a:xfrm>
            <a:off x="6611730" y="5783902"/>
            <a:ext cx="321831" cy="32749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604" y="0"/>
                </a:moveTo>
                <a:cubicBezTo>
                  <a:pt x="5560" y="0"/>
                  <a:pt x="1310" y="3336"/>
                  <a:pt x="14" y="7884"/>
                </a:cubicBezTo>
                <a:lnTo>
                  <a:pt x="10113" y="7884"/>
                </a:lnTo>
                <a:lnTo>
                  <a:pt x="10113" y="2891"/>
                </a:lnTo>
                <a:lnTo>
                  <a:pt x="18139" y="10774"/>
                </a:lnTo>
                <a:lnTo>
                  <a:pt x="10113" y="18658"/>
                </a:lnTo>
                <a:lnTo>
                  <a:pt x="10113" y="13665"/>
                </a:lnTo>
                <a:lnTo>
                  <a:pt x="0" y="13665"/>
                </a:lnTo>
                <a:cubicBezTo>
                  <a:pt x="1278" y="18239"/>
                  <a:pt x="5541" y="21600"/>
                  <a:pt x="10604" y="21600"/>
                </a:cubicBezTo>
                <a:cubicBezTo>
                  <a:pt x="16677" y="21600"/>
                  <a:pt x="21600" y="16765"/>
                  <a:pt x="21600" y="10800"/>
                </a:cubicBezTo>
                <a:cubicBezTo>
                  <a:pt x="21600" y="4835"/>
                  <a:pt x="16677" y="0"/>
                  <a:pt x="10604" y="0"/>
                </a:cubicBezTo>
                <a:close/>
                <a:moveTo>
                  <a:pt x="10604" y="0"/>
                </a:move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3" name="AutoShape 23">
            <a:extLst>
              <a:ext uri="{FF2B5EF4-FFF2-40B4-BE49-F238E27FC236}">
                <a16:creationId xmlns:a16="http://schemas.microsoft.com/office/drawing/2014/main" id="{36B449B8-9E47-9667-DC91-3E481AF8A997}"/>
              </a:ext>
            </a:extLst>
          </p:cNvPr>
          <p:cNvSpPr>
            <a:spLocks noChangeAspect="1"/>
          </p:cNvSpPr>
          <p:nvPr/>
        </p:nvSpPr>
        <p:spPr bwMode="auto">
          <a:xfrm>
            <a:off x="9333879" y="5783902"/>
            <a:ext cx="327269" cy="32749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lnTo>
                  <a:pt x="0" y="7821"/>
                </a:lnTo>
                <a:lnTo>
                  <a:pt x="10800" y="7821"/>
                </a:lnTo>
                <a:lnTo>
                  <a:pt x="10800" y="2731"/>
                </a:lnTo>
                <a:lnTo>
                  <a:pt x="18869" y="10800"/>
                </a:lnTo>
                <a:lnTo>
                  <a:pt x="10800" y="18869"/>
                </a:lnTo>
                <a:lnTo>
                  <a:pt x="10800" y="13779"/>
                </a:lnTo>
                <a:lnTo>
                  <a:pt x="0" y="13779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4" name="AutoShape 24">
            <a:extLst>
              <a:ext uri="{FF2B5EF4-FFF2-40B4-BE49-F238E27FC236}">
                <a16:creationId xmlns:a16="http://schemas.microsoft.com/office/drawing/2014/main" id="{2FFF83E1-2969-7777-9A2D-BBB36436022D}"/>
              </a:ext>
            </a:extLst>
          </p:cNvPr>
          <p:cNvSpPr>
            <a:spLocks noChangeAspect="1"/>
          </p:cNvSpPr>
          <p:nvPr/>
        </p:nvSpPr>
        <p:spPr bwMode="auto">
          <a:xfrm>
            <a:off x="9789240" y="5783902"/>
            <a:ext cx="327270" cy="32749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8846" y="17302"/>
                </a:moveTo>
                <a:cubicBezTo>
                  <a:pt x="18788" y="17762"/>
                  <a:pt x="18630" y="18124"/>
                  <a:pt x="18377" y="18377"/>
                </a:cubicBezTo>
                <a:cubicBezTo>
                  <a:pt x="18124" y="18630"/>
                  <a:pt x="17762" y="18788"/>
                  <a:pt x="17302" y="18846"/>
                </a:cubicBezTo>
                <a:cubicBezTo>
                  <a:pt x="15821" y="19033"/>
                  <a:pt x="13391" y="19145"/>
                  <a:pt x="10800" y="19145"/>
                </a:cubicBezTo>
                <a:cubicBezTo>
                  <a:pt x="10799" y="19145"/>
                  <a:pt x="10798" y="19145"/>
                  <a:pt x="10796" y="19145"/>
                </a:cubicBezTo>
                <a:cubicBezTo>
                  <a:pt x="8207" y="19145"/>
                  <a:pt x="5778" y="19033"/>
                  <a:pt x="4298" y="18846"/>
                </a:cubicBezTo>
                <a:cubicBezTo>
                  <a:pt x="3838" y="18788"/>
                  <a:pt x="3476" y="18630"/>
                  <a:pt x="3223" y="18377"/>
                </a:cubicBezTo>
                <a:cubicBezTo>
                  <a:pt x="2970" y="18124"/>
                  <a:pt x="2812" y="17762"/>
                  <a:pt x="2754" y="17302"/>
                </a:cubicBezTo>
                <a:cubicBezTo>
                  <a:pt x="2597" y="16059"/>
                  <a:pt x="2494" y="14152"/>
                  <a:pt x="2465" y="12037"/>
                </a:cubicBezTo>
                <a:lnTo>
                  <a:pt x="14434" y="12051"/>
                </a:lnTo>
                <a:lnTo>
                  <a:pt x="9069" y="17418"/>
                </a:lnTo>
                <a:lnTo>
                  <a:pt x="10796" y="19145"/>
                </a:lnTo>
                <a:cubicBezTo>
                  <a:pt x="10796" y="19145"/>
                  <a:pt x="10796" y="19145"/>
                  <a:pt x="10796" y="19145"/>
                </a:cubicBezTo>
                <a:lnTo>
                  <a:pt x="19142" y="10802"/>
                </a:lnTo>
                <a:lnTo>
                  <a:pt x="10796" y="2458"/>
                </a:lnTo>
                <a:lnTo>
                  <a:pt x="9069" y="4185"/>
                </a:lnTo>
                <a:lnTo>
                  <a:pt x="14434" y="9553"/>
                </a:lnTo>
                <a:lnTo>
                  <a:pt x="2465" y="9548"/>
                </a:lnTo>
                <a:cubicBezTo>
                  <a:pt x="2495" y="7446"/>
                  <a:pt x="2597" y="5535"/>
                  <a:pt x="2754" y="4298"/>
                </a:cubicBezTo>
                <a:cubicBezTo>
                  <a:pt x="2812" y="3838"/>
                  <a:pt x="2970" y="3476"/>
                  <a:pt x="3223" y="3223"/>
                </a:cubicBezTo>
                <a:cubicBezTo>
                  <a:pt x="3476" y="2970"/>
                  <a:pt x="3838" y="2812"/>
                  <a:pt x="4298" y="2754"/>
                </a:cubicBezTo>
                <a:cubicBezTo>
                  <a:pt x="5779" y="2567"/>
                  <a:pt x="8209" y="2455"/>
                  <a:pt x="10800" y="2455"/>
                </a:cubicBezTo>
                <a:cubicBezTo>
                  <a:pt x="13391" y="2455"/>
                  <a:pt x="15821" y="2567"/>
                  <a:pt x="17302" y="2754"/>
                </a:cubicBezTo>
                <a:cubicBezTo>
                  <a:pt x="17762" y="2812"/>
                  <a:pt x="18124" y="2970"/>
                  <a:pt x="18377" y="3223"/>
                </a:cubicBezTo>
                <a:cubicBezTo>
                  <a:pt x="18630" y="3476"/>
                  <a:pt x="18788" y="3838"/>
                  <a:pt x="18846" y="4298"/>
                </a:cubicBezTo>
                <a:cubicBezTo>
                  <a:pt x="19033" y="5779"/>
                  <a:pt x="19145" y="8209"/>
                  <a:pt x="19145" y="10800"/>
                </a:cubicBezTo>
                <a:cubicBezTo>
                  <a:pt x="19145" y="13391"/>
                  <a:pt x="19033" y="15821"/>
                  <a:pt x="18846" y="17302"/>
                </a:cubicBezTo>
                <a:close/>
                <a:moveTo>
                  <a:pt x="21282" y="3991"/>
                </a:moveTo>
                <a:cubicBezTo>
                  <a:pt x="21156" y="2991"/>
                  <a:pt x="20752" y="2125"/>
                  <a:pt x="20113" y="1487"/>
                </a:cubicBezTo>
                <a:cubicBezTo>
                  <a:pt x="19475" y="848"/>
                  <a:pt x="18609" y="444"/>
                  <a:pt x="17609" y="318"/>
                </a:cubicBezTo>
                <a:cubicBezTo>
                  <a:pt x="16009" y="116"/>
                  <a:pt x="13528" y="0"/>
                  <a:pt x="10800" y="0"/>
                </a:cubicBezTo>
                <a:cubicBezTo>
                  <a:pt x="8073" y="0"/>
                  <a:pt x="5591" y="116"/>
                  <a:pt x="3991" y="318"/>
                </a:cubicBezTo>
                <a:cubicBezTo>
                  <a:pt x="2991" y="444"/>
                  <a:pt x="2125" y="848"/>
                  <a:pt x="1487" y="1487"/>
                </a:cubicBezTo>
                <a:cubicBezTo>
                  <a:pt x="848" y="2125"/>
                  <a:pt x="444" y="2991"/>
                  <a:pt x="318" y="3991"/>
                </a:cubicBezTo>
                <a:cubicBezTo>
                  <a:pt x="116" y="5591"/>
                  <a:pt x="0" y="8072"/>
                  <a:pt x="0" y="10800"/>
                </a:cubicBezTo>
                <a:cubicBezTo>
                  <a:pt x="0" y="13528"/>
                  <a:pt x="116" y="16009"/>
                  <a:pt x="318" y="17609"/>
                </a:cubicBezTo>
                <a:cubicBezTo>
                  <a:pt x="444" y="18609"/>
                  <a:pt x="848" y="19475"/>
                  <a:pt x="1487" y="20113"/>
                </a:cubicBezTo>
                <a:cubicBezTo>
                  <a:pt x="2125" y="20752"/>
                  <a:pt x="2991" y="21156"/>
                  <a:pt x="3991" y="21282"/>
                </a:cubicBezTo>
                <a:cubicBezTo>
                  <a:pt x="5590" y="21484"/>
                  <a:pt x="8072" y="21600"/>
                  <a:pt x="10800" y="21600"/>
                </a:cubicBezTo>
                <a:cubicBezTo>
                  <a:pt x="13528" y="21600"/>
                  <a:pt x="16010" y="21484"/>
                  <a:pt x="17609" y="21282"/>
                </a:cubicBezTo>
                <a:cubicBezTo>
                  <a:pt x="18609" y="21156"/>
                  <a:pt x="19475" y="20752"/>
                  <a:pt x="20113" y="20113"/>
                </a:cubicBezTo>
                <a:cubicBezTo>
                  <a:pt x="20752" y="19475"/>
                  <a:pt x="21156" y="18609"/>
                  <a:pt x="21282" y="17609"/>
                </a:cubicBezTo>
                <a:cubicBezTo>
                  <a:pt x="21484" y="16010"/>
                  <a:pt x="21600" y="13528"/>
                  <a:pt x="21600" y="10800"/>
                </a:cubicBezTo>
                <a:cubicBezTo>
                  <a:pt x="21600" y="8072"/>
                  <a:pt x="21484" y="5590"/>
                  <a:pt x="21282" y="3991"/>
                </a:cubicBezTo>
                <a:close/>
                <a:moveTo>
                  <a:pt x="21282" y="3991"/>
                </a:moveTo>
              </a:path>
            </a:pathLst>
          </a:custGeom>
          <a:solidFill>
            <a:schemeClr val="accent2"/>
          </a:solidFill>
          <a:ln w="2957" cap="flat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5" name="AutoShape 26">
            <a:extLst>
              <a:ext uri="{FF2B5EF4-FFF2-40B4-BE49-F238E27FC236}">
                <a16:creationId xmlns:a16="http://schemas.microsoft.com/office/drawing/2014/main" id="{063924C4-C5F2-B7AA-E573-12BFBF8A6416}"/>
              </a:ext>
            </a:extLst>
          </p:cNvPr>
          <p:cNvSpPr>
            <a:spLocks noChangeAspect="1"/>
          </p:cNvSpPr>
          <p:nvPr/>
        </p:nvSpPr>
        <p:spPr bwMode="auto">
          <a:xfrm>
            <a:off x="10244599" y="5783902"/>
            <a:ext cx="313653" cy="32749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0800"/>
                </a:moveTo>
                <a:lnTo>
                  <a:pt x="10324" y="0"/>
                </a:lnTo>
                <a:lnTo>
                  <a:pt x="0" y="9889"/>
                </a:lnTo>
                <a:lnTo>
                  <a:pt x="10338" y="9889"/>
                </a:lnTo>
                <a:lnTo>
                  <a:pt x="10338" y="7585"/>
                </a:lnTo>
                <a:lnTo>
                  <a:pt x="14892" y="10800"/>
                </a:lnTo>
                <a:lnTo>
                  <a:pt x="10338" y="14015"/>
                </a:lnTo>
                <a:lnTo>
                  <a:pt x="10338" y="11711"/>
                </a:lnTo>
                <a:lnTo>
                  <a:pt x="0" y="11711"/>
                </a:lnTo>
                <a:lnTo>
                  <a:pt x="10324" y="21600"/>
                </a:lnTo>
                <a:cubicBezTo>
                  <a:pt x="10324" y="21600"/>
                  <a:pt x="21600" y="10800"/>
                  <a:pt x="21600" y="10800"/>
                </a:cubicBezTo>
                <a:close/>
                <a:moveTo>
                  <a:pt x="21600" y="10800"/>
                </a:move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6" name="AutoShape 27">
            <a:extLst>
              <a:ext uri="{FF2B5EF4-FFF2-40B4-BE49-F238E27FC236}">
                <a16:creationId xmlns:a16="http://schemas.microsoft.com/office/drawing/2014/main" id="{420E7490-DBC1-7855-3413-E11BCED746D8}"/>
              </a:ext>
            </a:extLst>
          </p:cNvPr>
          <p:cNvSpPr>
            <a:spLocks noChangeAspect="1"/>
          </p:cNvSpPr>
          <p:nvPr/>
        </p:nvSpPr>
        <p:spPr bwMode="auto">
          <a:xfrm>
            <a:off x="10686341" y="5783902"/>
            <a:ext cx="283464" cy="327497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lnTo>
                  <a:pt x="0" y="12155"/>
                </a:lnTo>
                <a:lnTo>
                  <a:pt x="9460" y="12155"/>
                </a:lnTo>
                <a:lnTo>
                  <a:pt x="9460" y="13430"/>
                </a:lnTo>
                <a:lnTo>
                  <a:pt x="12496" y="10800"/>
                </a:lnTo>
                <a:lnTo>
                  <a:pt x="9460" y="8170"/>
                </a:lnTo>
                <a:lnTo>
                  <a:pt x="9460" y="9445"/>
                </a:lnTo>
                <a:lnTo>
                  <a:pt x="0" y="9445"/>
                </a:lnTo>
                <a:lnTo>
                  <a:pt x="0" y="0"/>
                </a:lnTo>
                <a:lnTo>
                  <a:pt x="21600" y="10800"/>
                </a:lnTo>
                <a:cubicBezTo>
                  <a:pt x="21600" y="1080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7" name="AutoShape 30">
            <a:extLst>
              <a:ext uri="{FF2B5EF4-FFF2-40B4-BE49-F238E27FC236}">
                <a16:creationId xmlns:a16="http://schemas.microsoft.com/office/drawing/2014/main" id="{105F48E6-33DF-579D-1AFB-A4F456EB2EC3}"/>
              </a:ext>
            </a:extLst>
          </p:cNvPr>
          <p:cNvSpPr>
            <a:spLocks noChangeAspect="1"/>
          </p:cNvSpPr>
          <p:nvPr/>
        </p:nvSpPr>
        <p:spPr bwMode="auto">
          <a:xfrm>
            <a:off x="11085079" y="5786079"/>
            <a:ext cx="217817" cy="32314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7206" y="20898"/>
                </a:moveTo>
                <a:lnTo>
                  <a:pt x="3286" y="20898"/>
                </a:lnTo>
                <a:lnTo>
                  <a:pt x="15748" y="10800"/>
                </a:lnTo>
                <a:lnTo>
                  <a:pt x="3286" y="702"/>
                </a:lnTo>
                <a:lnTo>
                  <a:pt x="7206" y="702"/>
                </a:lnTo>
                <a:lnTo>
                  <a:pt x="19669" y="10800"/>
                </a:lnTo>
                <a:cubicBezTo>
                  <a:pt x="19669" y="10800"/>
                  <a:pt x="7206" y="20898"/>
                  <a:pt x="7206" y="20898"/>
                </a:cubicBezTo>
                <a:close/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cubicBezTo>
                  <a:pt x="21600" y="0"/>
                  <a:pt x="0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8" name="AutoShape 2">
            <a:extLst>
              <a:ext uri="{FF2B5EF4-FFF2-40B4-BE49-F238E27FC236}">
                <a16:creationId xmlns:a16="http://schemas.microsoft.com/office/drawing/2014/main" id="{D11D5FFC-03AA-0322-2108-4E7CD782D837}"/>
              </a:ext>
            </a:extLst>
          </p:cNvPr>
          <p:cNvSpPr>
            <a:spLocks/>
          </p:cNvSpPr>
          <p:nvPr/>
        </p:nvSpPr>
        <p:spPr bwMode="auto">
          <a:xfrm>
            <a:off x="6140763" y="3679059"/>
            <a:ext cx="311683" cy="283349"/>
          </a:xfrm>
          <a:custGeom>
            <a:avLst/>
            <a:gdLst/>
            <a:ahLst/>
            <a:cxnLst/>
            <a:rect l="0" t="0" r="r" b="b"/>
            <a:pathLst>
              <a:path w="19837" h="19072">
                <a:moveTo>
                  <a:pt x="16824" y="1727"/>
                </a:moveTo>
                <a:cubicBezTo>
                  <a:pt x="13199" y="-1264"/>
                  <a:pt x="8645" y="-216"/>
                  <a:pt x="5479" y="3679"/>
                </a:cubicBezTo>
                <a:lnTo>
                  <a:pt x="4021" y="2476"/>
                </a:lnTo>
                <a:lnTo>
                  <a:pt x="4108" y="8088"/>
                </a:lnTo>
                <a:lnTo>
                  <a:pt x="9280" y="6816"/>
                </a:lnTo>
                <a:lnTo>
                  <a:pt x="7858" y="5643"/>
                </a:lnTo>
                <a:cubicBezTo>
                  <a:pt x="10275" y="2785"/>
                  <a:pt x="13657" y="2350"/>
                  <a:pt x="15815" y="4130"/>
                </a:cubicBezTo>
                <a:cubicBezTo>
                  <a:pt x="19382" y="7074"/>
                  <a:pt x="19366" y="12363"/>
                  <a:pt x="17724" y="14587"/>
                </a:cubicBezTo>
                <a:lnTo>
                  <a:pt x="17911" y="14740"/>
                </a:lnTo>
                <a:cubicBezTo>
                  <a:pt x="20567" y="11143"/>
                  <a:pt x="20718" y="4941"/>
                  <a:pt x="16824" y="1727"/>
                </a:cubicBezTo>
                <a:close/>
                <a:moveTo>
                  <a:pt x="10556" y="12256"/>
                </a:moveTo>
                <a:lnTo>
                  <a:pt x="11978" y="13429"/>
                </a:lnTo>
                <a:cubicBezTo>
                  <a:pt x="9561" y="16286"/>
                  <a:pt x="6179" y="16722"/>
                  <a:pt x="4022" y="14941"/>
                </a:cubicBezTo>
                <a:cubicBezTo>
                  <a:pt x="454" y="11998"/>
                  <a:pt x="470" y="6708"/>
                  <a:pt x="2112" y="4485"/>
                </a:cubicBezTo>
                <a:lnTo>
                  <a:pt x="1925" y="4331"/>
                </a:lnTo>
                <a:cubicBezTo>
                  <a:pt x="-731" y="7928"/>
                  <a:pt x="-882" y="14131"/>
                  <a:pt x="3012" y="17345"/>
                </a:cubicBezTo>
                <a:cubicBezTo>
                  <a:pt x="6637" y="20336"/>
                  <a:pt x="11191" y="19288"/>
                  <a:pt x="14357" y="15392"/>
                </a:cubicBezTo>
                <a:lnTo>
                  <a:pt x="15815" y="16596"/>
                </a:lnTo>
                <a:lnTo>
                  <a:pt x="15728" y="10983"/>
                </a:lnTo>
                <a:cubicBezTo>
                  <a:pt x="15728" y="10983"/>
                  <a:pt x="10556" y="12256"/>
                  <a:pt x="10556" y="12256"/>
                </a:cubicBezTo>
                <a:close/>
                <a:moveTo>
                  <a:pt x="10556" y="12256"/>
                </a:move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9" name="AutoShape 3">
            <a:extLst>
              <a:ext uri="{FF2B5EF4-FFF2-40B4-BE49-F238E27FC236}">
                <a16:creationId xmlns:a16="http://schemas.microsoft.com/office/drawing/2014/main" id="{7630970D-296B-3D32-7601-0D516786800D}"/>
              </a:ext>
            </a:extLst>
          </p:cNvPr>
          <p:cNvSpPr>
            <a:spLocks/>
          </p:cNvSpPr>
          <p:nvPr/>
        </p:nvSpPr>
        <p:spPr bwMode="auto">
          <a:xfrm>
            <a:off x="7284462" y="3679060"/>
            <a:ext cx="301380" cy="289789"/>
          </a:xfrm>
          <a:custGeom>
            <a:avLst/>
            <a:gdLst/>
            <a:ahLst/>
            <a:cxnLst/>
            <a:rect l="0" t="0" r="r" b="b"/>
            <a:pathLst>
              <a:path w="21600" h="21349">
                <a:moveTo>
                  <a:pt x="7238" y="3428"/>
                </a:moveTo>
                <a:cubicBezTo>
                  <a:pt x="10139" y="3317"/>
                  <a:pt x="12731" y="4634"/>
                  <a:pt x="14432" y="6786"/>
                </a:cubicBezTo>
                <a:lnTo>
                  <a:pt x="11740" y="8533"/>
                </a:lnTo>
                <a:lnTo>
                  <a:pt x="21208" y="12539"/>
                </a:lnTo>
                <a:lnTo>
                  <a:pt x="21460" y="2224"/>
                </a:lnTo>
                <a:lnTo>
                  <a:pt x="18991" y="3827"/>
                </a:lnTo>
                <a:cubicBezTo>
                  <a:pt x="16773" y="1408"/>
                  <a:pt x="13550" y="-126"/>
                  <a:pt x="10065" y="8"/>
                </a:cubicBezTo>
                <a:cubicBezTo>
                  <a:pt x="5582" y="180"/>
                  <a:pt x="1795" y="2948"/>
                  <a:pt x="0" y="6849"/>
                </a:cubicBezTo>
                <a:lnTo>
                  <a:pt x="417" y="7154"/>
                </a:lnTo>
                <a:cubicBezTo>
                  <a:pt x="1967" y="4987"/>
                  <a:pt x="4420" y="3537"/>
                  <a:pt x="7238" y="3428"/>
                </a:cubicBezTo>
                <a:close/>
                <a:moveTo>
                  <a:pt x="21182" y="14194"/>
                </a:moveTo>
                <a:cubicBezTo>
                  <a:pt x="19633" y="16361"/>
                  <a:pt x="17179" y="17811"/>
                  <a:pt x="14361" y="17919"/>
                </a:cubicBezTo>
                <a:cubicBezTo>
                  <a:pt x="11460" y="18031"/>
                  <a:pt x="8868" y="16714"/>
                  <a:pt x="7167" y="14562"/>
                </a:cubicBezTo>
                <a:lnTo>
                  <a:pt x="9859" y="12815"/>
                </a:lnTo>
                <a:lnTo>
                  <a:pt x="392" y="8809"/>
                </a:lnTo>
                <a:lnTo>
                  <a:pt x="139" y="19124"/>
                </a:lnTo>
                <a:lnTo>
                  <a:pt x="2608" y="17521"/>
                </a:lnTo>
                <a:cubicBezTo>
                  <a:pt x="4826" y="19940"/>
                  <a:pt x="8049" y="21474"/>
                  <a:pt x="11534" y="21340"/>
                </a:cubicBezTo>
                <a:cubicBezTo>
                  <a:pt x="16017" y="21168"/>
                  <a:pt x="19804" y="18400"/>
                  <a:pt x="21600" y="14499"/>
                </a:cubicBezTo>
                <a:cubicBezTo>
                  <a:pt x="21600" y="14499"/>
                  <a:pt x="21182" y="14194"/>
                  <a:pt x="21182" y="14194"/>
                </a:cubicBezTo>
                <a:close/>
                <a:moveTo>
                  <a:pt x="21182" y="14194"/>
                </a:move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0" name="AutoShape 4">
            <a:extLst>
              <a:ext uri="{FF2B5EF4-FFF2-40B4-BE49-F238E27FC236}">
                <a16:creationId xmlns:a16="http://schemas.microsoft.com/office/drawing/2014/main" id="{C3E2C8D2-C6AA-6493-BFD1-58DE3D64A4DC}"/>
              </a:ext>
            </a:extLst>
          </p:cNvPr>
          <p:cNvSpPr>
            <a:spLocks/>
          </p:cNvSpPr>
          <p:nvPr/>
        </p:nvSpPr>
        <p:spPr bwMode="auto">
          <a:xfrm>
            <a:off x="6728068" y="3689363"/>
            <a:ext cx="310396" cy="278197"/>
          </a:xfrm>
          <a:custGeom>
            <a:avLst/>
            <a:gdLst/>
            <a:ahLst/>
            <a:cxnLst/>
            <a:rect l="0" t="0" r="r" b="b"/>
            <a:pathLst>
              <a:path w="21600" h="20863">
                <a:moveTo>
                  <a:pt x="18688" y="11155"/>
                </a:moveTo>
                <a:cubicBezTo>
                  <a:pt x="18099" y="7471"/>
                  <a:pt x="16104" y="4070"/>
                  <a:pt x="12918" y="1968"/>
                </a:cubicBezTo>
                <a:cubicBezTo>
                  <a:pt x="8818" y="-737"/>
                  <a:pt x="3847" y="-566"/>
                  <a:pt x="0" y="1942"/>
                </a:cubicBezTo>
                <a:lnTo>
                  <a:pt x="197" y="2493"/>
                </a:lnTo>
                <a:cubicBezTo>
                  <a:pt x="2827" y="1454"/>
                  <a:pt x="5851" y="1665"/>
                  <a:pt x="8427" y="3364"/>
                </a:cubicBezTo>
                <a:cubicBezTo>
                  <a:pt x="11080" y="5115"/>
                  <a:pt x="12634" y="8052"/>
                  <a:pt x="12914" y="11155"/>
                </a:cubicBezTo>
                <a:lnTo>
                  <a:pt x="9483" y="11155"/>
                </a:lnTo>
                <a:lnTo>
                  <a:pt x="15616" y="20863"/>
                </a:lnTo>
                <a:lnTo>
                  <a:pt x="21600" y="11155"/>
                </a:lnTo>
                <a:cubicBezTo>
                  <a:pt x="21600" y="11155"/>
                  <a:pt x="18688" y="11155"/>
                  <a:pt x="18688" y="11155"/>
                </a:cubicBezTo>
                <a:close/>
                <a:moveTo>
                  <a:pt x="18688" y="11155"/>
                </a:move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1" name="AutoShape 5">
            <a:extLst>
              <a:ext uri="{FF2B5EF4-FFF2-40B4-BE49-F238E27FC236}">
                <a16:creationId xmlns:a16="http://schemas.microsoft.com/office/drawing/2014/main" id="{32ADB251-B0A4-CB6A-E62C-41ED8DFEE7AE}"/>
              </a:ext>
            </a:extLst>
          </p:cNvPr>
          <p:cNvSpPr>
            <a:spLocks/>
          </p:cNvSpPr>
          <p:nvPr/>
        </p:nvSpPr>
        <p:spPr bwMode="auto">
          <a:xfrm>
            <a:off x="7840856" y="3658452"/>
            <a:ext cx="309108" cy="323275"/>
          </a:xfrm>
          <a:custGeom>
            <a:avLst/>
            <a:gdLst/>
            <a:ahLst/>
            <a:cxnLst/>
            <a:rect l="0" t="0" r="r" b="b"/>
            <a:pathLst>
              <a:path w="21600" h="21407">
                <a:moveTo>
                  <a:pt x="16654" y="15818"/>
                </a:moveTo>
                <a:cubicBezTo>
                  <a:pt x="15807" y="16770"/>
                  <a:pt x="14671" y="17476"/>
                  <a:pt x="13378" y="17822"/>
                </a:cubicBezTo>
                <a:cubicBezTo>
                  <a:pt x="12022" y="18185"/>
                  <a:pt x="10596" y="18125"/>
                  <a:pt x="9299" y="17677"/>
                </a:cubicBezTo>
                <a:lnTo>
                  <a:pt x="8094" y="20824"/>
                </a:lnTo>
                <a:cubicBezTo>
                  <a:pt x="10077" y="21509"/>
                  <a:pt x="12258" y="21600"/>
                  <a:pt x="14332" y="21045"/>
                </a:cubicBezTo>
                <a:cubicBezTo>
                  <a:pt x="16305" y="20518"/>
                  <a:pt x="18038" y="19444"/>
                  <a:pt x="19334" y="17993"/>
                </a:cubicBezTo>
                <a:lnTo>
                  <a:pt x="21211" y="19517"/>
                </a:lnTo>
                <a:lnTo>
                  <a:pt x="21600" y="12905"/>
                </a:lnTo>
                <a:lnTo>
                  <a:pt x="14790" y="14304"/>
                </a:lnTo>
                <a:cubicBezTo>
                  <a:pt x="14790" y="14304"/>
                  <a:pt x="16654" y="15818"/>
                  <a:pt x="16654" y="15818"/>
                </a:cubicBezTo>
                <a:close/>
                <a:moveTo>
                  <a:pt x="12801" y="5687"/>
                </a:moveTo>
                <a:cubicBezTo>
                  <a:pt x="14765" y="6036"/>
                  <a:pt x="16463" y="7204"/>
                  <a:pt x="17420" y="8875"/>
                </a:cubicBezTo>
                <a:cubicBezTo>
                  <a:pt x="17769" y="9483"/>
                  <a:pt x="18006" y="10134"/>
                  <a:pt x="18130" y="10801"/>
                </a:cubicBezTo>
                <a:lnTo>
                  <a:pt x="21600" y="10219"/>
                </a:lnTo>
                <a:cubicBezTo>
                  <a:pt x="21411" y="9200"/>
                  <a:pt x="21049" y="8204"/>
                  <a:pt x="20515" y="7273"/>
                </a:cubicBezTo>
                <a:cubicBezTo>
                  <a:pt x="19048" y="4712"/>
                  <a:pt x="16442" y="2923"/>
                  <a:pt x="13428" y="2392"/>
                </a:cubicBezTo>
                <a:lnTo>
                  <a:pt x="13884" y="0"/>
                </a:lnTo>
                <a:lnTo>
                  <a:pt x="7678" y="3010"/>
                </a:lnTo>
                <a:lnTo>
                  <a:pt x="12379" y="7897"/>
                </a:lnTo>
                <a:cubicBezTo>
                  <a:pt x="12379" y="7897"/>
                  <a:pt x="12801" y="5687"/>
                  <a:pt x="12801" y="5687"/>
                </a:cubicBezTo>
                <a:close/>
                <a:moveTo>
                  <a:pt x="7297" y="7053"/>
                </a:moveTo>
                <a:lnTo>
                  <a:pt x="5031" y="4487"/>
                </a:lnTo>
                <a:cubicBezTo>
                  <a:pt x="1988" y="6929"/>
                  <a:pt x="477" y="11014"/>
                  <a:pt x="1965" y="15072"/>
                </a:cubicBezTo>
                <a:lnTo>
                  <a:pt x="0" y="15738"/>
                </a:lnTo>
                <a:lnTo>
                  <a:pt x="5580" y="19189"/>
                </a:lnTo>
                <a:lnTo>
                  <a:pt x="7599" y="13162"/>
                </a:lnTo>
                <a:lnTo>
                  <a:pt x="5288" y="13946"/>
                </a:lnTo>
                <a:cubicBezTo>
                  <a:pt x="4333" y="11302"/>
                  <a:pt x="5314" y="8644"/>
                  <a:pt x="7297" y="7053"/>
                </a:cubicBezTo>
                <a:close/>
                <a:moveTo>
                  <a:pt x="7297" y="7053"/>
                </a:move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2" name="AutoShape 6">
            <a:extLst>
              <a:ext uri="{FF2B5EF4-FFF2-40B4-BE49-F238E27FC236}">
                <a16:creationId xmlns:a16="http://schemas.microsoft.com/office/drawing/2014/main" id="{CE0C858A-449D-5C7C-DF6C-EB09A2CBCBEF}"/>
              </a:ext>
            </a:extLst>
          </p:cNvPr>
          <p:cNvSpPr>
            <a:spLocks/>
          </p:cNvSpPr>
          <p:nvPr/>
        </p:nvSpPr>
        <p:spPr bwMode="auto">
          <a:xfrm>
            <a:off x="6717764" y="4256061"/>
            <a:ext cx="306532" cy="30266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2388" y="1728"/>
                </a:moveTo>
                <a:cubicBezTo>
                  <a:pt x="12267" y="1728"/>
                  <a:pt x="17551" y="3367"/>
                  <a:pt x="17551" y="8676"/>
                </a:cubicBezTo>
                <a:cubicBezTo>
                  <a:pt x="17551" y="11784"/>
                  <a:pt x="15587" y="13944"/>
                  <a:pt x="12963" y="14594"/>
                </a:cubicBezTo>
                <a:lnTo>
                  <a:pt x="12963" y="12366"/>
                </a:lnTo>
                <a:lnTo>
                  <a:pt x="8062" y="16891"/>
                </a:lnTo>
                <a:lnTo>
                  <a:pt x="12963" y="21600"/>
                </a:lnTo>
                <a:lnTo>
                  <a:pt x="12963" y="19282"/>
                </a:lnTo>
                <a:cubicBezTo>
                  <a:pt x="17074" y="18955"/>
                  <a:pt x="21600" y="15594"/>
                  <a:pt x="21600" y="10952"/>
                </a:cubicBezTo>
                <a:cubicBezTo>
                  <a:pt x="21600" y="6097"/>
                  <a:pt x="17939" y="1728"/>
                  <a:pt x="12388" y="1728"/>
                </a:cubicBezTo>
                <a:close/>
                <a:moveTo>
                  <a:pt x="4049" y="12924"/>
                </a:moveTo>
                <a:cubicBezTo>
                  <a:pt x="4049" y="9816"/>
                  <a:pt x="6013" y="7656"/>
                  <a:pt x="8637" y="7006"/>
                </a:cubicBezTo>
                <a:lnTo>
                  <a:pt x="8637" y="9234"/>
                </a:lnTo>
                <a:lnTo>
                  <a:pt x="13538" y="4709"/>
                </a:lnTo>
                <a:lnTo>
                  <a:pt x="8637" y="0"/>
                </a:lnTo>
                <a:lnTo>
                  <a:pt x="8637" y="2318"/>
                </a:lnTo>
                <a:cubicBezTo>
                  <a:pt x="4526" y="2645"/>
                  <a:pt x="0" y="6006"/>
                  <a:pt x="0" y="10647"/>
                </a:cubicBezTo>
                <a:cubicBezTo>
                  <a:pt x="0" y="15503"/>
                  <a:pt x="3660" y="19872"/>
                  <a:pt x="9212" y="19872"/>
                </a:cubicBezTo>
                <a:cubicBezTo>
                  <a:pt x="9333" y="19872"/>
                  <a:pt x="4049" y="18233"/>
                  <a:pt x="4049" y="12924"/>
                </a:cubicBezTo>
                <a:close/>
                <a:moveTo>
                  <a:pt x="4049" y="12924"/>
                </a:move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3" name="AutoShape 7">
            <a:extLst>
              <a:ext uri="{FF2B5EF4-FFF2-40B4-BE49-F238E27FC236}">
                <a16:creationId xmlns:a16="http://schemas.microsoft.com/office/drawing/2014/main" id="{8D075B93-BB88-9828-2A26-91A792511D75}"/>
              </a:ext>
            </a:extLst>
          </p:cNvPr>
          <p:cNvSpPr>
            <a:spLocks/>
          </p:cNvSpPr>
          <p:nvPr/>
        </p:nvSpPr>
        <p:spPr bwMode="auto">
          <a:xfrm>
            <a:off x="6140763" y="4266365"/>
            <a:ext cx="324563" cy="315548"/>
          </a:xfrm>
          <a:custGeom>
            <a:avLst/>
            <a:gdLst/>
            <a:ahLst/>
            <a:cxnLst/>
            <a:rect l="0" t="0" r="r" b="b"/>
            <a:pathLst>
              <a:path w="21386" h="21600">
                <a:moveTo>
                  <a:pt x="15967" y="6959"/>
                </a:moveTo>
                <a:lnTo>
                  <a:pt x="18401" y="2483"/>
                </a:lnTo>
                <a:lnTo>
                  <a:pt x="17165" y="3200"/>
                </a:lnTo>
                <a:cubicBezTo>
                  <a:pt x="16839" y="2548"/>
                  <a:pt x="15993" y="1121"/>
                  <a:pt x="15600" y="700"/>
                </a:cubicBezTo>
                <a:cubicBezTo>
                  <a:pt x="15177" y="246"/>
                  <a:pt x="14441" y="0"/>
                  <a:pt x="13988" y="0"/>
                </a:cubicBezTo>
                <a:lnTo>
                  <a:pt x="8212" y="0"/>
                </a:lnTo>
                <a:cubicBezTo>
                  <a:pt x="10564" y="1822"/>
                  <a:pt x="11903" y="4650"/>
                  <a:pt x="12306" y="6020"/>
                </a:cubicBezTo>
                <a:lnTo>
                  <a:pt x="10688" y="6959"/>
                </a:lnTo>
                <a:cubicBezTo>
                  <a:pt x="10688" y="6959"/>
                  <a:pt x="15967" y="6959"/>
                  <a:pt x="15967" y="6959"/>
                </a:cubicBezTo>
                <a:close/>
                <a:moveTo>
                  <a:pt x="21210" y="10649"/>
                </a:moveTo>
                <a:cubicBezTo>
                  <a:pt x="20936" y="10078"/>
                  <a:pt x="19677" y="7300"/>
                  <a:pt x="19677" y="7300"/>
                </a:cubicBezTo>
                <a:lnTo>
                  <a:pt x="14888" y="9937"/>
                </a:lnTo>
                <a:lnTo>
                  <a:pt x="17393" y="13945"/>
                </a:lnTo>
                <a:cubicBezTo>
                  <a:pt x="18122" y="13824"/>
                  <a:pt x="20152" y="13483"/>
                  <a:pt x="20826" y="12720"/>
                </a:cubicBezTo>
                <a:cubicBezTo>
                  <a:pt x="21501" y="11955"/>
                  <a:pt x="21481" y="11219"/>
                  <a:pt x="21210" y="10649"/>
                </a:cubicBezTo>
                <a:close/>
                <a:moveTo>
                  <a:pt x="13478" y="14349"/>
                </a:moveTo>
                <a:lnTo>
                  <a:pt x="13505" y="12423"/>
                </a:lnTo>
                <a:lnTo>
                  <a:pt x="10866" y="17173"/>
                </a:lnTo>
                <a:lnTo>
                  <a:pt x="13382" y="21600"/>
                </a:lnTo>
                <a:lnTo>
                  <a:pt x="13402" y="20128"/>
                </a:lnTo>
                <a:cubicBezTo>
                  <a:pt x="14108" y="20162"/>
                  <a:pt x="15719" y="20115"/>
                  <a:pt x="16267" y="19969"/>
                </a:cubicBezTo>
                <a:cubicBezTo>
                  <a:pt x="16858" y="19818"/>
                  <a:pt x="17430" y="19278"/>
                  <a:pt x="17658" y="18870"/>
                </a:cubicBezTo>
                <a:lnTo>
                  <a:pt x="20544" y="13675"/>
                </a:lnTo>
                <a:cubicBezTo>
                  <a:pt x="17851" y="14879"/>
                  <a:pt x="14824" y="14672"/>
                  <a:pt x="13478" y="14349"/>
                </a:cubicBezTo>
                <a:close/>
                <a:moveTo>
                  <a:pt x="7742" y="12048"/>
                </a:moveTo>
                <a:lnTo>
                  <a:pt x="5102" y="7300"/>
                </a:lnTo>
                <a:lnTo>
                  <a:pt x="153" y="7349"/>
                </a:lnTo>
                <a:lnTo>
                  <a:pt x="1369" y="8101"/>
                </a:lnTo>
                <a:cubicBezTo>
                  <a:pt x="989" y="8721"/>
                  <a:pt x="221" y="10193"/>
                  <a:pt x="69" y="10759"/>
                </a:cubicBezTo>
                <a:cubicBezTo>
                  <a:pt x="-99" y="11367"/>
                  <a:pt x="64" y="12151"/>
                  <a:pt x="291" y="12560"/>
                </a:cubicBezTo>
                <a:lnTo>
                  <a:pt x="3178" y="17754"/>
                </a:lnTo>
                <a:cubicBezTo>
                  <a:pt x="3519" y="14729"/>
                  <a:pt x="5209" y="12110"/>
                  <a:pt x="6150" y="11062"/>
                </a:cubicBezTo>
                <a:cubicBezTo>
                  <a:pt x="6150" y="11062"/>
                  <a:pt x="7742" y="12048"/>
                  <a:pt x="7742" y="12048"/>
                </a:cubicBezTo>
                <a:close/>
                <a:moveTo>
                  <a:pt x="3834" y="18486"/>
                </a:moveTo>
                <a:cubicBezTo>
                  <a:pt x="4134" y="19476"/>
                  <a:pt x="4757" y="19824"/>
                  <a:pt x="5368" y="19866"/>
                </a:cubicBezTo>
                <a:cubicBezTo>
                  <a:pt x="5982" y="19906"/>
                  <a:pt x="8928" y="20162"/>
                  <a:pt x="8928" y="20162"/>
                </a:cubicBezTo>
                <a:lnTo>
                  <a:pt x="9124" y="14535"/>
                </a:lnTo>
                <a:lnTo>
                  <a:pt x="4527" y="14786"/>
                </a:lnTo>
                <a:cubicBezTo>
                  <a:pt x="4264" y="15501"/>
                  <a:pt x="3535" y="17498"/>
                  <a:pt x="3834" y="18486"/>
                </a:cubicBezTo>
                <a:close/>
                <a:moveTo>
                  <a:pt x="7275" y="226"/>
                </a:moveTo>
                <a:cubicBezTo>
                  <a:pt x="6300" y="0"/>
                  <a:pt x="5697" y="385"/>
                  <a:pt x="5357" y="916"/>
                </a:cubicBezTo>
                <a:cubicBezTo>
                  <a:pt x="5016" y="1446"/>
                  <a:pt x="3331" y="3969"/>
                  <a:pt x="3331" y="3969"/>
                </a:cubicBezTo>
                <a:lnTo>
                  <a:pt x="7924" y="6959"/>
                </a:lnTo>
                <a:lnTo>
                  <a:pt x="10013" y="2700"/>
                </a:lnTo>
                <a:cubicBezTo>
                  <a:pt x="9548" y="2105"/>
                  <a:pt x="8249" y="451"/>
                  <a:pt x="7275" y="226"/>
                </a:cubicBezTo>
                <a:close/>
                <a:moveTo>
                  <a:pt x="7275" y="226"/>
                </a:move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4" name="AutoShape 8">
            <a:extLst>
              <a:ext uri="{FF2B5EF4-FFF2-40B4-BE49-F238E27FC236}">
                <a16:creationId xmlns:a16="http://schemas.microsoft.com/office/drawing/2014/main" id="{766730B2-4081-A978-3D3A-D7E84CECE72B}"/>
              </a:ext>
            </a:extLst>
          </p:cNvPr>
          <p:cNvSpPr>
            <a:spLocks/>
          </p:cNvSpPr>
          <p:nvPr/>
        </p:nvSpPr>
        <p:spPr bwMode="auto">
          <a:xfrm>
            <a:off x="7851159" y="4276668"/>
            <a:ext cx="302669" cy="265317"/>
          </a:xfrm>
          <a:custGeom>
            <a:avLst/>
            <a:gdLst/>
            <a:ahLst/>
            <a:cxnLst/>
            <a:rect l="0" t="0" r="r" b="b"/>
            <a:pathLst>
              <a:path w="19549" h="19980">
                <a:moveTo>
                  <a:pt x="15355" y="964"/>
                </a:moveTo>
                <a:cubicBezTo>
                  <a:pt x="10452" y="-1620"/>
                  <a:pt x="6436" y="1477"/>
                  <a:pt x="3712" y="4524"/>
                </a:cubicBezTo>
                <a:lnTo>
                  <a:pt x="2334" y="2530"/>
                </a:lnTo>
                <a:cubicBezTo>
                  <a:pt x="1972" y="1962"/>
                  <a:pt x="1582" y="2065"/>
                  <a:pt x="1464" y="2760"/>
                </a:cubicBezTo>
                <a:lnTo>
                  <a:pt x="22" y="12633"/>
                </a:lnTo>
                <a:cubicBezTo>
                  <a:pt x="-97" y="13329"/>
                  <a:pt x="279" y="13731"/>
                  <a:pt x="863" y="13530"/>
                </a:cubicBezTo>
                <a:lnTo>
                  <a:pt x="9224" y="10496"/>
                </a:lnTo>
                <a:cubicBezTo>
                  <a:pt x="9807" y="10296"/>
                  <a:pt x="9836" y="9883"/>
                  <a:pt x="9288" y="9574"/>
                </a:cubicBezTo>
                <a:lnTo>
                  <a:pt x="6945" y="7891"/>
                </a:lnTo>
                <a:cubicBezTo>
                  <a:pt x="6945" y="7891"/>
                  <a:pt x="9407" y="4730"/>
                  <a:pt x="12670" y="5155"/>
                </a:cubicBezTo>
                <a:cubicBezTo>
                  <a:pt x="16417" y="5644"/>
                  <a:pt x="19762" y="12571"/>
                  <a:pt x="14430" y="19980"/>
                </a:cubicBezTo>
                <a:cubicBezTo>
                  <a:pt x="21503" y="14165"/>
                  <a:pt x="20698" y="3780"/>
                  <a:pt x="15355" y="964"/>
                </a:cubicBezTo>
                <a:close/>
                <a:moveTo>
                  <a:pt x="15355" y="964"/>
                </a:move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5" name="AutoShape 9">
            <a:extLst>
              <a:ext uri="{FF2B5EF4-FFF2-40B4-BE49-F238E27FC236}">
                <a16:creationId xmlns:a16="http://schemas.microsoft.com/office/drawing/2014/main" id="{EE32573A-E349-9CAE-945C-840BAF3908E1}"/>
              </a:ext>
            </a:extLst>
          </p:cNvPr>
          <p:cNvSpPr>
            <a:spLocks/>
          </p:cNvSpPr>
          <p:nvPr/>
        </p:nvSpPr>
        <p:spPr bwMode="auto">
          <a:xfrm>
            <a:off x="8493189" y="3679059"/>
            <a:ext cx="195768" cy="300093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lnTo>
                  <a:pt x="0" y="7343"/>
                </a:lnTo>
                <a:lnTo>
                  <a:pt x="4229" y="7343"/>
                </a:lnTo>
                <a:lnTo>
                  <a:pt x="4229" y="9755"/>
                </a:lnTo>
                <a:lnTo>
                  <a:pt x="17371" y="9755"/>
                </a:lnTo>
                <a:lnTo>
                  <a:pt x="17371" y="7343"/>
                </a:lnTo>
                <a:lnTo>
                  <a:pt x="21600" y="7343"/>
                </a:lnTo>
                <a:cubicBezTo>
                  <a:pt x="21600" y="7343"/>
                  <a:pt x="10800" y="0"/>
                  <a:pt x="10800" y="0"/>
                </a:cubicBezTo>
                <a:close/>
                <a:moveTo>
                  <a:pt x="4229" y="14941"/>
                </a:moveTo>
                <a:lnTo>
                  <a:pt x="17371" y="14941"/>
                </a:lnTo>
                <a:lnTo>
                  <a:pt x="17371" y="11699"/>
                </a:lnTo>
                <a:lnTo>
                  <a:pt x="4229" y="11699"/>
                </a:lnTo>
                <a:cubicBezTo>
                  <a:pt x="4229" y="11699"/>
                  <a:pt x="4229" y="14941"/>
                  <a:pt x="4229" y="14941"/>
                </a:cubicBezTo>
                <a:close/>
                <a:moveTo>
                  <a:pt x="4229" y="21600"/>
                </a:moveTo>
                <a:lnTo>
                  <a:pt x="17371" y="21600"/>
                </a:lnTo>
                <a:lnTo>
                  <a:pt x="17371" y="20080"/>
                </a:lnTo>
                <a:lnTo>
                  <a:pt x="4229" y="20080"/>
                </a:lnTo>
                <a:cubicBezTo>
                  <a:pt x="4229" y="20080"/>
                  <a:pt x="4229" y="21600"/>
                  <a:pt x="4229" y="21600"/>
                </a:cubicBezTo>
                <a:close/>
                <a:moveTo>
                  <a:pt x="4229" y="18457"/>
                </a:moveTo>
                <a:lnTo>
                  <a:pt x="17371" y="18457"/>
                </a:lnTo>
                <a:lnTo>
                  <a:pt x="17371" y="16604"/>
                </a:lnTo>
                <a:lnTo>
                  <a:pt x="4229" y="16604"/>
                </a:lnTo>
                <a:cubicBezTo>
                  <a:pt x="4229" y="16604"/>
                  <a:pt x="4229" y="18457"/>
                  <a:pt x="4229" y="18457"/>
                </a:cubicBezTo>
                <a:close/>
                <a:moveTo>
                  <a:pt x="4229" y="18457"/>
                </a:move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6" name="AutoShape 10">
            <a:extLst>
              <a:ext uri="{FF2B5EF4-FFF2-40B4-BE49-F238E27FC236}">
                <a16:creationId xmlns:a16="http://schemas.microsoft.com/office/drawing/2014/main" id="{154C182E-C2A0-80F5-07BA-7B1162D29518}"/>
              </a:ext>
            </a:extLst>
          </p:cNvPr>
          <p:cNvSpPr>
            <a:spLocks/>
          </p:cNvSpPr>
          <p:nvPr/>
        </p:nvSpPr>
        <p:spPr bwMode="auto">
          <a:xfrm>
            <a:off x="7284462" y="4276668"/>
            <a:ext cx="314259" cy="275621"/>
          </a:xfrm>
          <a:custGeom>
            <a:avLst/>
            <a:gdLst/>
            <a:ahLst/>
            <a:cxnLst/>
            <a:rect l="0" t="0" r="r" b="b"/>
            <a:pathLst>
              <a:path w="21281" h="20168">
                <a:moveTo>
                  <a:pt x="21281" y="6684"/>
                </a:moveTo>
                <a:lnTo>
                  <a:pt x="15707" y="1958"/>
                </a:lnTo>
                <a:lnTo>
                  <a:pt x="12679" y="8882"/>
                </a:lnTo>
                <a:lnTo>
                  <a:pt x="15616" y="8132"/>
                </a:lnTo>
                <a:cubicBezTo>
                  <a:pt x="16093" y="9924"/>
                  <a:pt x="15911" y="11804"/>
                  <a:pt x="15085" y="13451"/>
                </a:cubicBezTo>
                <a:cubicBezTo>
                  <a:pt x="14252" y="15113"/>
                  <a:pt x="12871" y="16324"/>
                  <a:pt x="11195" y="16862"/>
                </a:cubicBezTo>
                <a:cubicBezTo>
                  <a:pt x="9521" y="17400"/>
                  <a:pt x="7751" y="17201"/>
                  <a:pt x="6214" y="16300"/>
                </a:cubicBezTo>
                <a:cubicBezTo>
                  <a:pt x="4677" y="15399"/>
                  <a:pt x="3556" y="13906"/>
                  <a:pt x="3059" y="12095"/>
                </a:cubicBezTo>
                <a:cubicBezTo>
                  <a:pt x="2561" y="10283"/>
                  <a:pt x="2746" y="8371"/>
                  <a:pt x="3579" y="6710"/>
                </a:cubicBezTo>
                <a:cubicBezTo>
                  <a:pt x="5297" y="3280"/>
                  <a:pt x="9278" y="2001"/>
                  <a:pt x="12450" y="3861"/>
                </a:cubicBezTo>
                <a:lnTo>
                  <a:pt x="13777" y="1216"/>
                </a:lnTo>
                <a:cubicBezTo>
                  <a:pt x="9256" y="-1432"/>
                  <a:pt x="3582" y="388"/>
                  <a:pt x="1131" y="5276"/>
                </a:cubicBezTo>
                <a:cubicBezTo>
                  <a:pt x="-56" y="7644"/>
                  <a:pt x="-319" y="10370"/>
                  <a:pt x="390" y="12951"/>
                </a:cubicBezTo>
                <a:cubicBezTo>
                  <a:pt x="1100" y="15533"/>
                  <a:pt x="2697" y="17662"/>
                  <a:pt x="4888" y="18945"/>
                </a:cubicBezTo>
                <a:cubicBezTo>
                  <a:pt x="6272" y="19756"/>
                  <a:pt x="7788" y="20168"/>
                  <a:pt x="9320" y="20168"/>
                </a:cubicBezTo>
                <a:cubicBezTo>
                  <a:pt x="10211" y="20168"/>
                  <a:pt x="11109" y="20028"/>
                  <a:pt x="11988" y="19746"/>
                </a:cubicBezTo>
                <a:cubicBezTo>
                  <a:pt x="14376" y="18979"/>
                  <a:pt x="16345" y="17253"/>
                  <a:pt x="17533" y="14885"/>
                </a:cubicBezTo>
                <a:cubicBezTo>
                  <a:pt x="18688" y="12579"/>
                  <a:pt x="18956" y="9953"/>
                  <a:pt x="18322" y="7440"/>
                </a:cubicBezTo>
                <a:cubicBezTo>
                  <a:pt x="18322" y="7440"/>
                  <a:pt x="21281" y="6684"/>
                  <a:pt x="21281" y="6684"/>
                </a:cubicBezTo>
                <a:close/>
                <a:moveTo>
                  <a:pt x="21281" y="6684"/>
                </a:move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7" name="AutoShape 11">
            <a:extLst>
              <a:ext uri="{FF2B5EF4-FFF2-40B4-BE49-F238E27FC236}">
                <a16:creationId xmlns:a16="http://schemas.microsoft.com/office/drawing/2014/main" id="{CD782D1F-2FCB-B0BE-E696-6656A47BE5ED}"/>
              </a:ext>
            </a:extLst>
          </p:cNvPr>
          <p:cNvSpPr>
            <a:spLocks/>
          </p:cNvSpPr>
          <p:nvPr/>
        </p:nvSpPr>
        <p:spPr bwMode="auto">
          <a:xfrm>
            <a:off x="8998065" y="3709971"/>
            <a:ext cx="328427" cy="244711"/>
          </a:xfrm>
          <a:custGeom>
            <a:avLst/>
            <a:gdLst/>
            <a:ahLst/>
            <a:cxnLst/>
            <a:rect l="0" t="0" r="r" b="b"/>
            <a:pathLst>
              <a:path w="21600" h="18695">
                <a:moveTo>
                  <a:pt x="19156" y="9925"/>
                </a:moveTo>
                <a:cubicBezTo>
                  <a:pt x="19156" y="2801"/>
                  <a:pt x="11735" y="-2905"/>
                  <a:pt x="5003" y="1603"/>
                </a:cubicBezTo>
                <a:cubicBezTo>
                  <a:pt x="10159" y="584"/>
                  <a:pt x="14311" y="4805"/>
                  <a:pt x="14311" y="9925"/>
                </a:cubicBezTo>
                <a:lnTo>
                  <a:pt x="11432" y="9925"/>
                </a:lnTo>
                <a:lnTo>
                  <a:pt x="16578" y="18695"/>
                </a:lnTo>
                <a:lnTo>
                  <a:pt x="21600" y="9925"/>
                </a:lnTo>
                <a:cubicBezTo>
                  <a:pt x="21600" y="9925"/>
                  <a:pt x="19156" y="9925"/>
                  <a:pt x="19156" y="9925"/>
                </a:cubicBezTo>
                <a:close/>
                <a:moveTo>
                  <a:pt x="3789" y="3217"/>
                </a:moveTo>
                <a:cubicBezTo>
                  <a:pt x="3789" y="3217"/>
                  <a:pt x="0" y="5657"/>
                  <a:pt x="0" y="13027"/>
                </a:cubicBezTo>
                <a:cubicBezTo>
                  <a:pt x="0" y="13027"/>
                  <a:pt x="3397" y="13027"/>
                  <a:pt x="5580" y="13027"/>
                </a:cubicBezTo>
                <a:cubicBezTo>
                  <a:pt x="6458" y="5715"/>
                  <a:pt x="10178" y="3997"/>
                  <a:pt x="10178" y="3997"/>
                </a:cubicBezTo>
                <a:cubicBezTo>
                  <a:pt x="6945" y="1920"/>
                  <a:pt x="3789" y="3217"/>
                  <a:pt x="3789" y="3217"/>
                </a:cubicBezTo>
                <a:close/>
                <a:moveTo>
                  <a:pt x="3789" y="3217"/>
                </a:move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" name="AutoShape 12">
            <a:extLst>
              <a:ext uri="{FF2B5EF4-FFF2-40B4-BE49-F238E27FC236}">
                <a16:creationId xmlns:a16="http://schemas.microsoft.com/office/drawing/2014/main" id="{E235E1B0-51E7-7AD4-E0A8-8723CE46D833}"/>
              </a:ext>
            </a:extLst>
          </p:cNvPr>
          <p:cNvSpPr>
            <a:spLocks/>
          </p:cNvSpPr>
          <p:nvPr/>
        </p:nvSpPr>
        <p:spPr bwMode="auto">
          <a:xfrm>
            <a:off x="9595674" y="3668757"/>
            <a:ext cx="273045" cy="31554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530" y="12268"/>
                </a:moveTo>
                <a:cubicBezTo>
                  <a:pt x="17530" y="15475"/>
                  <a:pt x="14512" y="18083"/>
                  <a:pt x="10800" y="18083"/>
                </a:cubicBezTo>
                <a:cubicBezTo>
                  <a:pt x="7089" y="18083"/>
                  <a:pt x="4070" y="15475"/>
                  <a:pt x="4070" y="12268"/>
                </a:cubicBezTo>
                <a:cubicBezTo>
                  <a:pt x="4070" y="9128"/>
                  <a:pt x="6965" y="6568"/>
                  <a:pt x="10569" y="6462"/>
                </a:cubicBezTo>
                <a:lnTo>
                  <a:pt x="10569" y="9553"/>
                </a:lnTo>
                <a:lnTo>
                  <a:pt x="18068" y="4776"/>
                </a:lnTo>
                <a:lnTo>
                  <a:pt x="10569" y="0"/>
                </a:lnTo>
                <a:lnTo>
                  <a:pt x="10569" y="2945"/>
                </a:lnTo>
                <a:cubicBezTo>
                  <a:pt x="4721" y="3053"/>
                  <a:pt x="0" y="7189"/>
                  <a:pt x="0" y="12268"/>
                </a:cubicBezTo>
                <a:cubicBezTo>
                  <a:pt x="0" y="17414"/>
                  <a:pt x="4845" y="21600"/>
                  <a:pt x="10800" y="21600"/>
                </a:cubicBezTo>
                <a:cubicBezTo>
                  <a:pt x="16755" y="21600"/>
                  <a:pt x="21600" y="17414"/>
                  <a:pt x="21600" y="12268"/>
                </a:cubicBezTo>
                <a:cubicBezTo>
                  <a:pt x="21600" y="12268"/>
                  <a:pt x="17530" y="12268"/>
                  <a:pt x="17530" y="12268"/>
                </a:cubicBezTo>
                <a:close/>
                <a:moveTo>
                  <a:pt x="17530" y="12268"/>
                </a:move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9" name="AutoShape 13">
            <a:extLst>
              <a:ext uri="{FF2B5EF4-FFF2-40B4-BE49-F238E27FC236}">
                <a16:creationId xmlns:a16="http://schemas.microsoft.com/office/drawing/2014/main" id="{CFF69746-6142-93C5-F8DC-3EC16EFF3DB1}"/>
              </a:ext>
            </a:extLst>
          </p:cNvPr>
          <p:cNvSpPr>
            <a:spLocks/>
          </p:cNvSpPr>
          <p:nvPr/>
        </p:nvSpPr>
        <p:spPr bwMode="auto">
          <a:xfrm>
            <a:off x="10121158" y="3720274"/>
            <a:ext cx="338731" cy="23183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4091" y="1931"/>
                </a:moveTo>
                <a:lnTo>
                  <a:pt x="16000" y="4712"/>
                </a:lnTo>
                <a:lnTo>
                  <a:pt x="11299" y="11560"/>
                </a:lnTo>
                <a:lnTo>
                  <a:pt x="7936" y="6659"/>
                </a:lnTo>
                <a:lnTo>
                  <a:pt x="0" y="18220"/>
                </a:lnTo>
                <a:lnTo>
                  <a:pt x="2320" y="21600"/>
                </a:lnTo>
                <a:lnTo>
                  <a:pt x="7936" y="13420"/>
                </a:lnTo>
                <a:lnTo>
                  <a:pt x="11299" y="18321"/>
                </a:lnTo>
                <a:lnTo>
                  <a:pt x="18320" y="8092"/>
                </a:lnTo>
                <a:lnTo>
                  <a:pt x="20274" y="10937"/>
                </a:lnTo>
                <a:lnTo>
                  <a:pt x="21600" y="0"/>
                </a:lnTo>
                <a:cubicBezTo>
                  <a:pt x="21600" y="0"/>
                  <a:pt x="14091" y="1931"/>
                  <a:pt x="14091" y="1931"/>
                </a:cubicBezTo>
                <a:close/>
                <a:moveTo>
                  <a:pt x="14091" y="1931"/>
                </a:move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0" name="AutoShape 14">
            <a:extLst>
              <a:ext uri="{FF2B5EF4-FFF2-40B4-BE49-F238E27FC236}">
                <a16:creationId xmlns:a16="http://schemas.microsoft.com/office/drawing/2014/main" id="{E41FE13F-07F0-352F-B823-EE9F5EE74CF9}"/>
              </a:ext>
            </a:extLst>
          </p:cNvPr>
          <p:cNvSpPr>
            <a:spLocks/>
          </p:cNvSpPr>
          <p:nvPr/>
        </p:nvSpPr>
        <p:spPr bwMode="auto">
          <a:xfrm>
            <a:off x="8419777" y="4307579"/>
            <a:ext cx="340019" cy="23183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21600"/>
                </a:moveTo>
                <a:lnTo>
                  <a:pt x="20274" y="10663"/>
                </a:lnTo>
                <a:lnTo>
                  <a:pt x="18321" y="13508"/>
                </a:lnTo>
                <a:lnTo>
                  <a:pt x="11299" y="3280"/>
                </a:lnTo>
                <a:lnTo>
                  <a:pt x="7935" y="8180"/>
                </a:lnTo>
                <a:lnTo>
                  <a:pt x="2320" y="0"/>
                </a:lnTo>
                <a:lnTo>
                  <a:pt x="0" y="3380"/>
                </a:lnTo>
                <a:lnTo>
                  <a:pt x="7935" y="14939"/>
                </a:lnTo>
                <a:lnTo>
                  <a:pt x="11299" y="10040"/>
                </a:lnTo>
                <a:lnTo>
                  <a:pt x="16001" y="16888"/>
                </a:lnTo>
                <a:lnTo>
                  <a:pt x="14091" y="19669"/>
                </a:lnTo>
                <a:cubicBezTo>
                  <a:pt x="14091" y="19669"/>
                  <a:pt x="21600" y="21600"/>
                  <a:pt x="21600" y="21600"/>
                </a:cubicBezTo>
                <a:close/>
                <a:moveTo>
                  <a:pt x="21600" y="21600"/>
                </a:move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1" name="AutoShape 15">
            <a:extLst>
              <a:ext uri="{FF2B5EF4-FFF2-40B4-BE49-F238E27FC236}">
                <a16:creationId xmlns:a16="http://schemas.microsoft.com/office/drawing/2014/main" id="{A695FFFC-D12D-24FE-058E-B693F5374BA1}"/>
              </a:ext>
            </a:extLst>
          </p:cNvPr>
          <p:cNvSpPr>
            <a:spLocks/>
          </p:cNvSpPr>
          <p:nvPr/>
        </p:nvSpPr>
        <p:spPr bwMode="auto">
          <a:xfrm>
            <a:off x="8998065" y="4256061"/>
            <a:ext cx="325851" cy="32585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6547" y="7264"/>
                </a:moveTo>
                <a:lnTo>
                  <a:pt x="16547" y="9438"/>
                </a:lnTo>
                <a:lnTo>
                  <a:pt x="12162" y="9438"/>
                </a:lnTo>
                <a:lnTo>
                  <a:pt x="12162" y="5052"/>
                </a:lnTo>
                <a:lnTo>
                  <a:pt x="14336" y="5052"/>
                </a:lnTo>
                <a:lnTo>
                  <a:pt x="10800" y="0"/>
                </a:lnTo>
                <a:lnTo>
                  <a:pt x="7264" y="5052"/>
                </a:lnTo>
                <a:lnTo>
                  <a:pt x="9438" y="5052"/>
                </a:lnTo>
                <a:lnTo>
                  <a:pt x="9438" y="9438"/>
                </a:lnTo>
                <a:lnTo>
                  <a:pt x="5053" y="9438"/>
                </a:lnTo>
                <a:lnTo>
                  <a:pt x="5052" y="7264"/>
                </a:lnTo>
                <a:lnTo>
                  <a:pt x="0" y="10800"/>
                </a:lnTo>
                <a:lnTo>
                  <a:pt x="5053" y="14335"/>
                </a:lnTo>
                <a:lnTo>
                  <a:pt x="5053" y="12162"/>
                </a:lnTo>
                <a:lnTo>
                  <a:pt x="9438" y="12162"/>
                </a:lnTo>
                <a:lnTo>
                  <a:pt x="9438" y="16547"/>
                </a:lnTo>
                <a:lnTo>
                  <a:pt x="7264" y="16547"/>
                </a:lnTo>
                <a:lnTo>
                  <a:pt x="10800" y="21600"/>
                </a:lnTo>
                <a:lnTo>
                  <a:pt x="14336" y="16547"/>
                </a:lnTo>
                <a:lnTo>
                  <a:pt x="12162" y="16547"/>
                </a:lnTo>
                <a:lnTo>
                  <a:pt x="12162" y="12162"/>
                </a:lnTo>
                <a:lnTo>
                  <a:pt x="16548" y="12162"/>
                </a:lnTo>
                <a:lnTo>
                  <a:pt x="16548" y="14335"/>
                </a:lnTo>
                <a:lnTo>
                  <a:pt x="21600" y="10800"/>
                </a:lnTo>
                <a:cubicBezTo>
                  <a:pt x="21600" y="10800"/>
                  <a:pt x="16547" y="7264"/>
                  <a:pt x="16547" y="7264"/>
                </a:cubicBezTo>
                <a:close/>
                <a:moveTo>
                  <a:pt x="16547" y="7264"/>
                </a:move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2" name="AutoShape 16">
            <a:extLst>
              <a:ext uri="{FF2B5EF4-FFF2-40B4-BE49-F238E27FC236}">
                <a16:creationId xmlns:a16="http://schemas.microsoft.com/office/drawing/2014/main" id="{E7299053-00AD-90E4-661F-8E18F54B2CDF}"/>
              </a:ext>
            </a:extLst>
          </p:cNvPr>
          <p:cNvSpPr>
            <a:spLocks/>
          </p:cNvSpPr>
          <p:nvPr/>
        </p:nvSpPr>
        <p:spPr bwMode="auto">
          <a:xfrm>
            <a:off x="9626585" y="4256061"/>
            <a:ext cx="206072" cy="327139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2157"/>
                </a:moveTo>
                <a:lnTo>
                  <a:pt x="21600" y="9443"/>
                </a:lnTo>
                <a:lnTo>
                  <a:pt x="13329" y="9443"/>
                </a:lnTo>
                <a:lnTo>
                  <a:pt x="13329" y="5608"/>
                </a:lnTo>
                <a:lnTo>
                  <a:pt x="17395" y="5608"/>
                </a:lnTo>
                <a:lnTo>
                  <a:pt x="11180" y="0"/>
                </a:lnTo>
                <a:lnTo>
                  <a:pt x="4963" y="5608"/>
                </a:lnTo>
                <a:lnTo>
                  <a:pt x="9029" y="5608"/>
                </a:lnTo>
                <a:lnTo>
                  <a:pt x="9029" y="9443"/>
                </a:lnTo>
                <a:lnTo>
                  <a:pt x="0" y="9443"/>
                </a:lnTo>
                <a:lnTo>
                  <a:pt x="0" y="12157"/>
                </a:lnTo>
                <a:lnTo>
                  <a:pt x="9029" y="12157"/>
                </a:lnTo>
                <a:lnTo>
                  <a:pt x="9029" y="15993"/>
                </a:lnTo>
                <a:lnTo>
                  <a:pt x="4963" y="15993"/>
                </a:lnTo>
                <a:lnTo>
                  <a:pt x="11178" y="21600"/>
                </a:lnTo>
                <a:lnTo>
                  <a:pt x="17395" y="15992"/>
                </a:lnTo>
                <a:lnTo>
                  <a:pt x="13329" y="15992"/>
                </a:lnTo>
                <a:lnTo>
                  <a:pt x="13329" y="12157"/>
                </a:lnTo>
                <a:cubicBezTo>
                  <a:pt x="13329" y="12157"/>
                  <a:pt x="21600" y="12157"/>
                  <a:pt x="21600" y="12157"/>
                </a:cubicBezTo>
                <a:close/>
                <a:moveTo>
                  <a:pt x="21600" y="12157"/>
                </a:move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3" name="AutoShape 17">
            <a:extLst>
              <a:ext uri="{FF2B5EF4-FFF2-40B4-BE49-F238E27FC236}">
                <a16:creationId xmlns:a16="http://schemas.microsoft.com/office/drawing/2014/main" id="{EC88E818-B8B1-A690-7247-C83008D95AAC}"/>
              </a:ext>
            </a:extLst>
          </p:cNvPr>
          <p:cNvSpPr>
            <a:spLocks/>
          </p:cNvSpPr>
          <p:nvPr/>
        </p:nvSpPr>
        <p:spPr bwMode="auto">
          <a:xfrm>
            <a:off x="10121157" y="4256061"/>
            <a:ext cx="351610" cy="31554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9071" y="16813"/>
                </a:moveTo>
                <a:lnTo>
                  <a:pt x="19071" y="18785"/>
                </a:lnTo>
                <a:lnTo>
                  <a:pt x="2529" y="18785"/>
                </a:lnTo>
                <a:lnTo>
                  <a:pt x="2529" y="16813"/>
                </a:lnTo>
                <a:lnTo>
                  <a:pt x="0" y="16813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16813"/>
                </a:lnTo>
                <a:cubicBezTo>
                  <a:pt x="21600" y="16813"/>
                  <a:pt x="19071" y="16813"/>
                  <a:pt x="19071" y="16813"/>
                </a:cubicBezTo>
                <a:close/>
                <a:moveTo>
                  <a:pt x="16288" y="8083"/>
                </a:moveTo>
                <a:lnTo>
                  <a:pt x="12064" y="8083"/>
                </a:lnTo>
                <a:lnTo>
                  <a:pt x="12064" y="0"/>
                </a:lnTo>
                <a:lnTo>
                  <a:pt x="9535" y="0"/>
                </a:lnTo>
                <a:lnTo>
                  <a:pt x="9535" y="8083"/>
                </a:lnTo>
                <a:lnTo>
                  <a:pt x="5312" y="8083"/>
                </a:lnTo>
                <a:lnTo>
                  <a:pt x="10799" y="16813"/>
                </a:lnTo>
                <a:cubicBezTo>
                  <a:pt x="10799" y="16813"/>
                  <a:pt x="16288" y="8083"/>
                  <a:pt x="16288" y="8083"/>
                </a:cubicBezTo>
                <a:close/>
                <a:moveTo>
                  <a:pt x="16288" y="8083"/>
                </a:move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86D63FBB-83AB-481D-FFDE-8608A81C8BA5}"/>
              </a:ext>
            </a:extLst>
          </p:cNvPr>
          <p:cNvGrpSpPr/>
          <p:nvPr/>
        </p:nvGrpSpPr>
        <p:grpSpPr>
          <a:xfrm rot="2700000">
            <a:off x="10839870" y="3550093"/>
            <a:ext cx="551745" cy="551727"/>
            <a:chOff x="5931055" y="3264055"/>
            <a:chExt cx="551745" cy="551727"/>
          </a:xfrm>
          <a:solidFill>
            <a:schemeClr val="accent5"/>
          </a:solidFill>
        </p:grpSpPr>
        <p:sp>
          <p:nvSpPr>
            <p:cNvPr id="65" name="Freeform 5">
              <a:extLst>
                <a:ext uri="{FF2B5EF4-FFF2-40B4-BE49-F238E27FC236}">
                  <a16:creationId xmlns:a16="http://schemas.microsoft.com/office/drawing/2014/main" id="{DE45DCCC-7612-C2B8-848B-8196E127C6D2}"/>
                </a:ext>
              </a:extLst>
            </p:cNvPr>
            <p:cNvSpPr/>
            <p:nvPr/>
          </p:nvSpPr>
          <p:spPr>
            <a:xfrm>
              <a:off x="6232009" y="3264055"/>
              <a:ext cx="250791" cy="250791"/>
            </a:xfrm>
            <a:custGeom>
              <a:avLst/>
              <a:gdLst>
                <a:gd name="connsiteX0" fmla="*/ 29259 w 250791"/>
                <a:gd name="connsiteY0" fmla="*/ 246615 h 250791"/>
                <a:gd name="connsiteX1" fmla="*/ 22855 w 250791"/>
                <a:gd name="connsiteY1" fmla="*/ 245345 h 250791"/>
                <a:gd name="connsiteX2" fmla="*/ 12540 w 250791"/>
                <a:gd name="connsiteY2" fmla="*/ 229896 h 250791"/>
                <a:gd name="connsiteX3" fmla="*/ 12540 w 250791"/>
                <a:gd name="connsiteY3" fmla="*/ 79421 h 250791"/>
                <a:gd name="connsiteX4" fmla="*/ 29259 w 250791"/>
                <a:gd name="connsiteY4" fmla="*/ 62702 h 250791"/>
                <a:gd name="connsiteX5" fmla="*/ 45978 w 250791"/>
                <a:gd name="connsiteY5" fmla="*/ 79421 h 250791"/>
                <a:gd name="connsiteX6" fmla="*/ 45978 w 250791"/>
                <a:gd name="connsiteY6" fmla="*/ 189535 h 250791"/>
                <a:gd name="connsiteX7" fmla="*/ 218071 w 250791"/>
                <a:gd name="connsiteY7" fmla="*/ 17443 h 250791"/>
                <a:gd name="connsiteX8" fmla="*/ 241712 w 250791"/>
                <a:gd name="connsiteY8" fmla="*/ 17443 h 250791"/>
                <a:gd name="connsiteX9" fmla="*/ 241712 w 250791"/>
                <a:gd name="connsiteY9" fmla="*/ 41084 h 250791"/>
                <a:gd name="connsiteX10" fmla="*/ 41080 w 250791"/>
                <a:gd name="connsiteY10" fmla="*/ 241717 h 250791"/>
                <a:gd name="connsiteX11" fmla="*/ 29259 w 250791"/>
                <a:gd name="connsiteY11" fmla="*/ 246615 h 250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0791" h="250791">
                  <a:moveTo>
                    <a:pt x="29259" y="246615"/>
                  </a:moveTo>
                  <a:cubicBezTo>
                    <a:pt x="27102" y="246615"/>
                    <a:pt x="24929" y="246197"/>
                    <a:pt x="22855" y="245345"/>
                  </a:cubicBezTo>
                  <a:cubicBezTo>
                    <a:pt x="16602" y="242753"/>
                    <a:pt x="12540" y="236651"/>
                    <a:pt x="12540" y="229896"/>
                  </a:cubicBezTo>
                  <a:lnTo>
                    <a:pt x="12540" y="79421"/>
                  </a:lnTo>
                  <a:cubicBezTo>
                    <a:pt x="12540" y="70192"/>
                    <a:pt x="20013" y="62702"/>
                    <a:pt x="29259" y="62702"/>
                  </a:cubicBezTo>
                  <a:cubicBezTo>
                    <a:pt x="38505" y="62702"/>
                    <a:pt x="45978" y="70192"/>
                    <a:pt x="45978" y="79421"/>
                  </a:cubicBezTo>
                  <a:lnTo>
                    <a:pt x="45978" y="189535"/>
                  </a:lnTo>
                  <a:lnTo>
                    <a:pt x="218071" y="17443"/>
                  </a:lnTo>
                  <a:cubicBezTo>
                    <a:pt x="224609" y="10905"/>
                    <a:pt x="235175" y="10905"/>
                    <a:pt x="241712" y="17443"/>
                  </a:cubicBezTo>
                  <a:cubicBezTo>
                    <a:pt x="248250" y="23980"/>
                    <a:pt x="248250" y="34546"/>
                    <a:pt x="241712" y="41084"/>
                  </a:cubicBezTo>
                  <a:lnTo>
                    <a:pt x="41080" y="241717"/>
                  </a:lnTo>
                  <a:cubicBezTo>
                    <a:pt x="37886" y="244910"/>
                    <a:pt x="33606" y="246615"/>
                    <a:pt x="29259" y="2466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1D3A63FF-B546-6044-3741-B3422A07BAD8}"/>
                </a:ext>
              </a:extLst>
            </p:cNvPr>
            <p:cNvSpPr/>
            <p:nvPr/>
          </p:nvSpPr>
          <p:spPr>
            <a:xfrm>
              <a:off x="6232009" y="3464692"/>
              <a:ext cx="200633" cy="50158"/>
            </a:xfrm>
            <a:custGeom>
              <a:avLst/>
              <a:gdLst>
                <a:gd name="connsiteX0" fmla="*/ 179734 w 200632"/>
                <a:gd name="connsiteY0" fmla="*/ 45978 h 50158"/>
                <a:gd name="connsiteX1" fmla="*/ 29259 w 200632"/>
                <a:gd name="connsiteY1" fmla="*/ 45978 h 50158"/>
                <a:gd name="connsiteX2" fmla="*/ 12540 w 200632"/>
                <a:gd name="connsiteY2" fmla="*/ 29259 h 50158"/>
                <a:gd name="connsiteX3" fmla="*/ 29259 w 200632"/>
                <a:gd name="connsiteY3" fmla="*/ 12540 h 50158"/>
                <a:gd name="connsiteX4" fmla="*/ 179734 w 200632"/>
                <a:gd name="connsiteY4" fmla="*/ 12540 h 50158"/>
                <a:gd name="connsiteX5" fmla="*/ 196453 w 200632"/>
                <a:gd name="connsiteY5" fmla="*/ 29259 h 50158"/>
                <a:gd name="connsiteX6" fmla="*/ 179734 w 200632"/>
                <a:gd name="connsiteY6" fmla="*/ 45978 h 50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0632" h="50158">
                  <a:moveTo>
                    <a:pt x="179734" y="45978"/>
                  </a:moveTo>
                  <a:lnTo>
                    <a:pt x="29259" y="45978"/>
                  </a:lnTo>
                  <a:cubicBezTo>
                    <a:pt x="20013" y="45978"/>
                    <a:pt x="12540" y="38488"/>
                    <a:pt x="12540" y="29259"/>
                  </a:cubicBezTo>
                  <a:cubicBezTo>
                    <a:pt x="12540" y="20030"/>
                    <a:pt x="20013" y="12540"/>
                    <a:pt x="29259" y="12540"/>
                  </a:cubicBezTo>
                  <a:lnTo>
                    <a:pt x="179734" y="12540"/>
                  </a:lnTo>
                  <a:cubicBezTo>
                    <a:pt x="188979" y="12540"/>
                    <a:pt x="196453" y="20030"/>
                    <a:pt x="196453" y="29259"/>
                  </a:cubicBezTo>
                  <a:cubicBezTo>
                    <a:pt x="196453" y="38488"/>
                    <a:pt x="188979" y="45978"/>
                    <a:pt x="179734" y="4597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D2FC58E-CCF4-23ED-B0E4-50CD4C0136A1}"/>
                </a:ext>
              </a:extLst>
            </p:cNvPr>
            <p:cNvSpPr/>
            <p:nvPr/>
          </p:nvSpPr>
          <p:spPr>
            <a:xfrm>
              <a:off x="5931055" y="3564991"/>
              <a:ext cx="250791" cy="250791"/>
            </a:xfrm>
            <a:custGeom>
              <a:avLst/>
              <a:gdLst>
                <a:gd name="connsiteX0" fmla="*/ 29263 w 250791"/>
                <a:gd name="connsiteY0" fmla="*/ 246629 h 250791"/>
                <a:gd name="connsiteX1" fmla="*/ 17443 w 250791"/>
                <a:gd name="connsiteY1" fmla="*/ 241730 h 250791"/>
                <a:gd name="connsiteX2" fmla="*/ 17443 w 250791"/>
                <a:gd name="connsiteY2" fmla="*/ 218089 h 250791"/>
                <a:gd name="connsiteX3" fmla="*/ 218075 w 250791"/>
                <a:gd name="connsiteY3" fmla="*/ 17456 h 250791"/>
                <a:gd name="connsiteX4" fmla="*/ 236300 w 250791"/>
                <a:gd name="connsiteY4" fmla="*/ 13828 h 250791"/>
                <a:gd name="connsiteX5" fmla="*/ 246615 w 250791"/>
                <a:gd name="connsiteY5" fmla="*/ 29277 h 250791"/>
                <a:gd name="connsiteX6" fmla="*/ 246615 w 250791"/>
                <a:gd name="connsiteY6" fmla="*/ 179752 h 250791"/>
                <a:gd name="connsiteX7" fmla="*/ 229896 w 250791"/>
                <a:gd name="connsiteY7" fmla="*/ 196471 h 250791"/>
                <a:gd name="connsiteX8" fmla="*/ 213177 w 250791"/>
                <a:gd name="connsiteY8" fmla="*/ 179752 h 250791"/>
                <a:gd name="connsiteX9" fmla="*/ 213177 w 250791"/>
                <a:gd name="connsiteY9" fmla="*/ 69638 h 250791"/>
                <a:gd name="connsiteX10" fmla="*/ 41084 w 250791"/>
                <a:gd name="connsiteY10" fmla="*/ 241730 h 250791"/>
                <a:gd name="connsiteX11" fmla="*/ 29263 w 250791"/>
                <a:gd name="connsiteY11" fmla="*/ 246629 h 250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0791" h="250791">
                  <a:moveTo>
                    <a:pt x="29263" y="246629"/>
                  </a:moveTo>
                  <a:cubicBezTo>
                    <a:pt x="24983" y="246629"/>
                    <a:pt x="20703" y="244991"/>
                    <a:pt x="17443" y="241730"/>
                  </a:cubicBezTo>
                  <a:cubicBezTo>
                    <a:pt x="10905" y="235193"/>
                    <a:pt x="10905" y="224627"/>
                    <a:pt x="17443" y="218089"/>
                  </a:cubicBezTo>
                  <a:lnTo>
                    <a:pt x="218075" y="17456"/>
                  </a:lnTo>
                  <a:cubicBezTo>
                    <a:pt x="222857" y="12675"/>
                    <a:pt x="230013" y="11203"/>
                    <a:pt x="236300" y="13828"/>
                  </a:cubicBezTo>
                  <a:cubicBezTo>
                    <a:pt x="242536" y="16403"/>
                    <a:pt x="246615" y="22522"/>
                    <a:pt x="246615" y="29277"/>
                  </a:cubicBezTo>
                  <a:lnTo>
                    <a:pt x="246615" y="179752"/>
                  </a:lnTo>
                  <a:cubicBezTo>
                    <a:pt x="246615" y="188997"/>
                    <a:pt x="239125" y="196471"/>
                    <a:pt x="229896" y="196471"/>
                  </a:cubicBezTo>
                  <a:cubicBezTo>
                    <a:pt x="220667" y="196471"/>
                    <a:pt x="213177" y="188997"/>
                    <a:pt x="213177" y="179752"/>
                  </a:cubicBezTo>
                  <a:lnTo>
                    <a:pt x="213177" y="69638"/>
                  </a:lnTo>
                  <a:lnTo>
                    <a:pt x="41084" y="241730"/>
                  </a:lnTo>
                  <a:cubicBezTo>
                    <a:pt x="37823" y="244991"/>
                    <a:pt x="33543" y="246629"/>
                    <a:pt x="29263" y="24662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41E3B334-0B3F-60EA-7D69-19F55BE3813B}"/>
                </a:ext>
              </a:extLst>
            </p:cNvPr>
            <p:cNvSpPr/>
            <p:nvPr/>
          </p:nvSpPr>
          <p:spPr>
            <a:xfrm>
              <a:off x="5981218" y="3565009"/>
              <a:ext cx="200633" cy="50158"/>
            </a:xfrm>
            <a:custGeom>
              <a:avLst/>
              <a:gdLst>
                <a:gd name="connsiteX0" fmla="*/ 179734 w 200632"/>
                <a:gd name="connsiteY0" fmla="*/ 45978 h 50158"/>
                <a:gd name="connsiteX1" fmla="*/ 29259 w 200632"/>
                <a:gd name="connsiteY1" fmla="*/ 45978 h 50158"/>
                <a:gd name="connsiteX2" fmla="*/ 12540 w 200632"/>
                <a:gd name="connsiteY2" fmla="*/ 29259 h 50158"/>
                <a:gd name="connsiteX3" fmla="*/ 29259 w 200632"/>
                <a:gd name="connsiteY3" fmla="*/ 12540 h 50158"/>
                <a:gd name="connsiteX4" fmla="*/ 179734 w 200632"/>
                <a:gd name="connsiteY4" fmla="*/ 12540 h 50158"/>
                <a:gd name="connsiteX5" fmla="*/ 196453 w 200632"/>
                <a:gd name="connsiteY5" fmla="*/ 29259 h 50158"/>
                <a:gd name="connsiteX6" fmla="*/ 179734 w 200632"/>
                <a:gd name="connsiteY6" fmla="*/ 45978 h 50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0632" h="50158">
                  <a:moveTo>
                    <a:pt x="179734" y="45978"/>
                  </a:moveTo>
                  <a:lnTo>
                    <a:pt x="29259" y="45978"/>
                  </a:lnTo>
                  <a:cubicBezTo>
                    <a:pt x="20030" y="45978"/>
                    <a:pt x="12540" y="38505"/>
                    <a:pt x="12540" y="29259"/>
                  </a:cubicBezTo>
                  <a:cubicBezTo>
                    <a:pt x="12540" y="20013"/>
                    <a:pt x="20030" y="12540"/>
                    <a:pt x="29259" y="12540"/>
                  </a:cubicBezTo>
                  <a:lnTo>
                    <a:pt x="179734" y="12540"/>
                  </a:lnTo>
                  <a:cubicBezTo>
                    <a:pt x="188963" y="12540"/>
                    <a:pt x="196453" y="20013"/>
                    <a:pt x="196453" y="29259"/>
                  </a:cubicBezTo>
                  <a:cubicBezTo>
                    <a:pt x="196453" y="38505"/>
                    <a:pt x="188963" y="45978"/>
                    <a:pt x="179734" y="4597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1F41A5A3-1365-2617-4521-3E01E02E5ADF}"/>
              </a:ext>
            </a:extLst>
          </p:cNvPr>
          <p:cNvSpPr txBox="1"/>
          <p:nvPr/>
        </p:nvSpPr>
        <p:spPr>
          <a:xfrm>
            <a:off x="6135210" y="1045926"/>
            <a:ext cx="2202180" cy="22288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dirty="0"/>
              <a:t>Assorted Arrows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C06316A-30D1-89E1-5113-2D94DAC16021}"/>
              </a:ext>
            </a:extLst>
          </p:cNvPr>
          <p:cNvSpPr/>
          <p:nvPr/>
        </p:nvSpPr>
        <p:spPr>
          <a:xfrm>
            <a:off x="8808303" y="1694115"/>
            <a:ext cx="921578" cy="336515"/>
          </a:xfrm>
          <a:custGeom>
            <a:avLst/>
            <a:gdLst>
              <a:gd name="connsiteX0" fmla="*/ 194 w 921578"/>
              <a:gd name="connsiteY0" fmla="*/ 2297 h 336515"/>
              <a:gd name="connsiteX1" fmla="*/ 7528 w 921578"/>
              <a:gd name="connsiteY1" fmla="*/ 5326 h 336515"/>
              <a:gd name="connsiteX2" fmla="*/ 27934 w 921578"/>
              <a:gd name="connsiteY2" fmla="*/ 35033 h 336515"/>
              <a:gd name="connsiteX3" fmla="*/ 34843 w 921578"/>
              <a:gd name="connsiteY3" fmla="*/ 44705 h 336515"/>
              <a:gd name="connsiteX4" fmla="*/ 48554 w 921578"/>
              <a:gd name="connsiteY4" fmla="*/ 61710 h 336515"/>
              <a:gd name="connsiteX5" fmla="*/ 83522 w 921578"/>
              <a:gd name="connsiteY5" fmla="*/ 98219 h 336515"/>
              <a:gd name="connsiteX6" fmla="*/ 164404 w 921578"/>
              <a:gd name="connsiteY6" fmla="*/ 159280 h 336515"/>
              <a:gd name="connsiteX7" fmla="*/ 358587 w 921578"/>
              <a:gd name="connsiteY7" fmla="*/ 225496 h 336515"/>
              <a:gd name="connsiteX8" fmla="*/ 713632 w 921578"/>
              <a:gd name="connsiteY8" fmla="*/ 120805 h 336515"/>
              <a:gd name="connsiteX9" fmla="*/ 677442 w 921578"/>
              <a:gd name="connsiteY9" fmla="*/ 78663 h 336515"/>
              <a:gd name="connsiteX10" fmla="*/ 921579 w 921578"/>
              <a:gd name="connsiteY10" fmla="*/ 27061 h 336515"/>
              <a:gd name="connsiteX11" fmla="*/ 837135 w 921578"/>
              <a:gd name="connsiteY11" fmla="*/ 264768 h 336515"/>
              <a:gd name="connsiteX12" fmla="*/ 793877 w 921578"/>
              <a:gd name="connsiteY12" fmla="*/ 214389 h 336515"/>
              <a:gd name="connsiteX13" fmla="*/ 487351 w 921578"/>
              <a:gd name="connsiteY13" fmla="*/ 336245 h 336515"/>
              <a:gd name="connsiteX14" fmla="*/ 172216 w 921578"/>
              <a:gd name="connsiteY14" fmla="*/ 231129 h 336515"/>
              <a:gd name="connsiteX15" fmla="*/ 34843 w 921578"/>
              <a:gd name="connsiteY15" fmla="*/ 71063 h 336515"/>
              <a:gd name="connsiteX16" fmla="*/ 11301 w 921578"/>
              <a:gd name="connsiteY16" fmla="*/ 29028 h 336515"/>
              <a:gd name="connsiteX17" fmla="*/ 141 w 921578"/>
              <a:gd name="connsiteY17" fmla="*/ 2244 h 336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21578" h="336515">
                <a:moveTo>
                  <a:pt x="194" y="2297"/>
                </a:moveTo>
                <a:cubicBezTo>
                  <a:pt x="1948" y="-2645"/>
                  <a:pt x="3648" y="1340"/>
                  <a:pt x="7528" y="5326"/>
                </a:cubicBezTo>
                <a:cubicBezTo>
                  <a:pt x="15659" y="13776"/>
                  <a:pt x="21823" y="25095"/>
                  <a:pt x="27934" y="35033"/>
                </a:cubicBezTo>
                <a:cubicBezTo>
                  <a:pt x="25490" y="30994"/>
                  <a:pt x="35374" y="45449"/>
                  <a:pt x="34843" y="44705"/>
                </a:cubicBezTo>
                <a:cubicBezTo>
                  <a:pt x="39201" y="50550"/>
                  <a:pt x="43824" y="56183"/>
                  <a:pt x="48554" y="61710"/>
                </a:cubicBezTo>
                <a:cubicBezTo>
                  <a:pt x="59448" y="74571"/>
                  <a:pt x="71139" y="86740"/>
                  <a:pt x="83522" y="98219"/>
                </a:cubicBezTo>
                <a:cubicBezTo>
                  <a:pt x="108286" y="121283"/>
                  <a:pt x="135442" y="141743"/>
                  <a:pt x="164404" y="159280"/>
                </a:cubicBezTo>
                <a:cubicBezTo>
                  <a:pt x="223446" y="195045"/>
                  <a:pt x="289927" y="218109"/>
                  <a:pt x="358587" y="225496"/>
                </a:cubicBezTo>
                <a:cubicBezTo>
                  <a:pt x="485279" y="239206"/>
                  <a:pt x="614468" y="199721"/>
                  <a:pt x="713632" y="120805"/>
                </a:cubicBezTo>
                <a:lnTo>
                  <a:pt x="677442" y="78663"/>
                </a:lnTo>
                <a:lnTo>
                  <a:pt x="921579" y="27061"/>
                </a:lnTo>
                <a:lnTo>
                  <a:pt x="837135" y="264768"/>
                </a:lnTo>
                <a:lnTo>
                  <a:pt x="793877" y="214389"/>
                </a:lnTo>
                <a:cubicBezTo>
                  <a:pt x="709381" y="288576"/>
                  <a:pt x="599960" y="332365"/>
                  <a:pt x="487351" y="336245"/>
                </a:cubicBezTo>
                <a:cubicBezTo>
                  <a:pt x="373945" y="340177"/>
                  <a:pt x="261230" y="301064"/>
                  <a:pt x="172216" y="231129"/>
                </a:cubicBezTo>
                <a:cubicBezTo>
                  <a:pt x="115992" y="186967"/>
                  <a:pt x="72627" y="131327"/>
                  <a:pt x="34843" y="71063"/>
                </a:cubicBezTo>
                <a:cubicBezTo>
                  <a:pt x="26340" y="57512"/>
                  <a:pt x="18422" y="43323"/>
                  <a:pt x="11301" y="29028"/>
                </a:cubicBezTo>
                <a:cubicBezTo>
                  <a:pt x="10185" y="26796"/>
                  <a:pt x="-1400" y="6708"/>
                  <a:pt x="141" y="2244"/>
                </a:cubicBezTo>
                <a:close/>
              </a:path>
            </a:pathLst>
          </a:custGeom>
          <a:solidFill>
            <a:schemeClr val="accent6"/>
          </a:solidFill>
          <a:ln w="5298" cap="flat">
            <a:noFill/>
            <a:prstDash val="solid"/>
            <a:miter/>
          </a:ln>
        </p:spPr>
        <p:txBody>
          <a:bodyPr rtlCol="0" anchor="ctr"/>
          <a:lstStyle/>
          <a:p>
            <a:endParaRPr lang="en-CA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E4D54D11-4D6D-FF79-C508-D61309FB9C5F}"/>
              </a:ext>
            </a:extLst>
          </p:cNvPr>
          <p:cNvSpPr/>
          <p:nvPr/>
        </p:nvSpPr>
        <p:spPr>
          <a:xfrm>
            <a:off x="7676549" y="2194457"/>
            <a:ext cx="921578" cy="336515"/>
          </a:xfrm>
          <a:custGeom>
            <a:avLst/>
            <a:gdLst>
              <a:gd name="connsiteX0" fmla="*/ 194 w 921578"/>
              <a:gd name="connsiteY0" fmla="*/ 2297 h 336515"/>
              <a:gd name="connsiteX1" fmla="*/ 7528 w 921578"/>
              <a:gd name="connsiteY1" fmla="*/ 5326 h 336515"/>
              <a:gd name="connsiteX2" fmla="*/ 27934 w 921578"/>
              <a:gd name="connsiteY2" fmla="*/ 35033 h 336515"/>
              <a:gd name="connsiteX3" fmla="*/ 34843 w 921578"/>
              <a:gd name="connsiteY3" fmla="*/ 44705 h 336515"/>
              <a:gd name="connsiteX4" fmla="*/ 48554 w 921578"/>
              <a:gd name="connsiteY4" fmla="*/ 61710 h 336515"/>
              <a:gd name="connsiteX5" fmla="*/ 83521 w 921578"/>
              <a:gd name="connsiteY5" fmla="*/ 98219 h 336515"/>
              <a:gd name="connsiteX6" fmla="*/ 164404 w 921578"/>
              <a:gd name="connsiteY6" fmla="*/ 159280 h 336515"/>
              <a:gd name="connsiteX7" fmla="*/ 358587 w 921578"/>
              <a:gd name="connsiteY7" fmla="*/ 225495 h 336515"/>
              <a:gd name="connsiteX8" fmla="*/ 713632 w 921578"/>
              <a:gd name="connsiteY8" fmla="*/ 120805 h 336515"/>
              <a:gd name="connsiteX9" fmla="*/ 677442 w 921578"/>
              <a:gd name="connsiteY9" fmla="*/ 78663 h 336515"/>
              <a:gd name="connsiteX10" fmla="*/ 921579 w 921578"/>
              <a:gd name="connsiteY10" fmla="*/ 27061 h 336515"/>
              <a:gd name="connsiteX11" fmla="*/ 837135 w 921578"/>
              <a:gd name="connsiteY11" fmla="*/ 264768 h 336515"/>
              <a:gd name="connsiteX12" fmla="*/ 793877 w 921578"/>
              <a:gd name="connsiteY12" fmla="*/ 214389 h 336515"/>
              <a:gd name="connsiteX13" fmla="*/ 487352 w 921578"/>
              <a:gd name="connsiteY13" fmla="*/ 336244 h 336515"/>
              <a:gd name="connsiteX14" fmla="*/ 172216 w 921578"/>
              <a:gd name="connsiteY14" fmla="*/ 231129 h 336515"/>
              <a:gd name="connsiteX15" fmla="*/ 34843 w 921578"/>
              <a:gd name="connsiteY15" fmla="*/ 71063 h 336515"/>
              <a:gd name="connsiteX16" fmla="*/ 11301 w 921578"/>
              <a:gd name="connsiteY16" fmla="*/ 29028 h 336515"/>
              <a:gd name="connsiteX17" fmla="*/ 141 w 921578"/>
              <a:gd name="connsiteY17" fmla="*/ 2244 h 336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21578" h="336515">
                <a:moveTo>
                  <a:pt x="194" y="2297"/>
                </a:moveTo>
                <a:cubicBezTo>
                  <a:pt x="1948" y="-2645"/>
                  <a:pt x="3648" y="1340"/>
                  <a:pt x="7528" y="5326"/>
                </a:cubicBezTo>
                <a:cubicBezTo>
                  <a:pt x="15659" y="13776"/>
                  <a:pt x="21823" y="25095"/>
                  <a:pt x="27934" y="35033"/>
                </a:cubicBezTo>
                <a:cubicBezTo>
                  <a:pt x="25490" y="30994"/>
                  <a:pt x="35374" y="45449"/>
                  <a:pt x="34843" y="44705"/>
                </a:cubicBezTo>
                <a:cubicBezTo>
                  <a:pt x="39201" y="50550"/>
                  <a:pt x="43824" y="56184"/>
                  <a:pt x="48554" y="61710"/>
                </a:cubicBezTo>
                <a:cubicBezTo>
                  <a:pt x="59448" y="74571"/>
                  <a:pt x="71139" y="86740"/>
                  <a:pt x="83521" y="98219"/>
                </a:cubicBezTo>
                <a:cubicBezTo>
                  <a:pt x="108286" y="121283"/>
                  <a:pt x="135442" y="141743"/>
                  <a:pt x="164404" y="159280"/>
                </a:cubicBezTo>
                <a:cubicBezTo>
                  <a:pt x="223446" y="195045"/>
                  <a:pt x="289927" y="218109"/>
                  <a:pt x="358587" y="225495"/>
                </a:cubicBezTo>
                <a:cubicBezTo>
                  <a:pt x="485279" y="239206"/>
                  <a:pt x="614468" y="199721"/>
                  <a:pt x="713632" y="120805"/>
                </a:cubicBezTo>
                <a:lnTo>
                  <a:pt x="677442" y="78663"/>
                </a:lnTo>
                <a:lnTo>
                  <a:pt x="921579" y="27061"/>
                </a:lnTo>
                <a:lnTo>
                  <a:pt x="837135" y="264768"/>
                </a:lnTo>
                <a:lnTo>
                  <a:pt x="793877" y="214389"/>
                </a:lnTo>
                <a:cubicBezTo>
                  <a:pt x="709381" y="288576"/>
                  <a:pt x="599960" y="332365"/>
                  <a:pt x="487352" y="336244"/>
                </a:cubicBezTo>
                <a:cubicBezTo>
                  <a:pt x="373945" y="340177"/>
                  <a:pt x="261230" y="301064"/>
                  <a:pt x="172216" y="231129"/>
                </a:cubicBezTo>
                <a:cubicBezTo>
                  <a:pt x="115992" y="186967"/>
                  <a:pt x="72627" y="131327"/>
                  <a:pt x="34843" y="71063"/>
                </a:cubicBezTo>
                <a:cubicBezTo>
                  <a:pt x="26340" y="57512"/>
                  <a:pt x="18422" y="43323"/>
                  <a:pt x="11301" y="29028"/>
                </a:cubicBezTo>
                <a:cubicBezTo>
                  <a:pt x="10185" y="26796"/>
                  <a:pt x="-1400" y="6708"/>
                  <a:pt x="141" y="2244"/>
                </a:cubicBezTo>
                <a:close/>
              </a:path>
            </a:pathLst>
          </a:custGeom>
          <a:solidFill>
            <a:schemeClr val="accent6"/>
          </a:solidFill>
          <a:ln w="5298" cap="flat">
            <a:noFill/>
            <a:prstDash val="solid"/>
            <a:miter/>
          </a:ln>
        </p:spPr>
        <p:txBody>
          <a:bodyPr rtlCol="0" anchor="ctr"/>
          <a:lstStyle/>
          <a:p>
            <a:endParaRPr lang="en-CA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224396B1-18D1-8D68-6387-1EDBF3A7A851}"/>
              </a:ext>
            </a:extLst>
          </p:cNvPr>
          <p:cNvSpPr/>
          <p:nvPr/>
        </p:nvSpPr>
        <p:spPr>
          <a:xfrm>
            <a:off x="7409715" y="2761233"/>
            <a:ext cx="1104978" cy="456510"/>
          </a:xfrm>
          <a:custGeom>
            <a:avLst/>
            <a:gdLst>
              <a:gd name="connsiteX0" fmla="*/ 857441 w 1104978"/>
              <a:gd name="connsiteY0" fmla="*/ 456511 h 456510"/>
              <a:gd name="connsiteX1" fmla="*/ 859780 w 1104978"/>
              <a:gd name="connsiteY1" fmla="*/ 392102 h 456510"/>
              <a:gd name="connsiteX2" fmla="*/ 578124 w 1104978"/>
              <a:gd name="connsiteY2" fmla="*/ 399808 h 456510"/>
              <a:gd name="connsiteX3" fmla="*/ 301464 w 1104978"/>
              <a:gd name="connsiteY3" fmla="*/ 407354 h 456510"/>
              <a:gd name="connsiteX4" fmla="*/ 80604 w 1104978"/>
              <a:gd name="connsiteY4" fmla="*/ 377541 h 456510"/>
              <a:gd name="connsiteX5" fmla="*/ 12635 w 1104978"/>
              <a:gd name="connsiteY5" fmla="*/ 180063 h 456510"/>
              <a:gd name="connsiteX6" fmla="*/ 142303 w 1104978"/>
              <a:gd name="connsiteY6" fmla="*/ 2142 h 456510"/>
              <a:gd name="connsiteX7" fmla="*/ 154525 w 1104978"/>
              <a:gd name="connsiteY7" fmla="*/ 12824 h 456510"/>
              <a:gd name="connsiteX8" fmla="*/ 95750 w 1104978"/>
              <a:gd name="connsiteY8" fmla="*/ 151154 h 456510"/>
              <a:gd name="connsiteX9" fmla="*/ 143525 w 1104978"/>
              <a:gd name="connsiteY9" fmla="*/ 246013 h 456510"/>
              <a:gd name="connsiteX10" fmla="*/ 369965 w 1104978"/>
              <a:gd name="connsiteY10" fmla="*/ 270778 h 456510"/>
              <a:gd name="connsiteX11" fmla="*/ 864616 w 1104978"/>
              <a:gd name="connsiteY11" fmla="*/ 257333 h 456510"/>
              <a:gd name="connsiteX12" fmla="*/ 867273 w 1104978"/>
              <a:gd name="connsiteY12" fmla="*/ 184846 h 456510"/>
              <a:gd name="connsiteX13" fmla="*/ 1104979 w 1104978"/>
              <a:gd name="connsiteY13" fmla="*/ 326312 h 456510"/>
              <a:gd name="connsiteX14" fmla="*/ 857494 w 1104978"/>
              <a:gd name="connsiteY14" fmla="*/ 456458 h 456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104978" h="456510">
                <a:moveTo>
                  <a:pt x="857441" y="456511"/>
                </a:moveTo>
                <a:lnTo>
                  <a:pt x="859780" y="392102"/>
                </a:lnTo>
                <a:cubicBezTo>
                  <a:pt x="765877" y="394706"/>
                  <a:pt x="672027" y="397204"/>
                  <a:pt x="578124" y="399808"/>
                </a:cubicBezTo>
                <a:cubicBezTo>
                  <a:pt x="485922" y="402305"/>
                  <a:pt x="393667" y="404803"/>
                  <a:pt x="301464" y="407354"/>
                </a:cubicBezTo>
                <a:cubicBezTo>
                  <a:pt x="231954" y="409214"/>
                  <a:pt x="146341" y="406929"/>
                  <a:pt x="80604" y="377541"/>
                </a:cubicBezTo>
                <a:cubicBezTo>
                  <a:pt x="12050" y="346825"/>
                  <a:pt x="-19516" y="270034"/>
                  <a:pt x="12635" y="180063"/>
                </a:cubicBezTo>
                <a:cubicBezTo>
                  <a:pt x="41119" y="100296"/>
                  <a:pt x="100745" y="38970"/>
                  <a:pt x="142303" y="2142"/>
                </a:cubicBezTo>
                <a:cubicBezTo>
                  <a:pt x="149477" y="-4235"/>
                  <a:pt x="159839" y="4906"/>
                  <a:pt x="154525" y="12824"/>
                </a:cubicBezTo>
                <a:cubicBezTo>
                  <a:pt x="127795" y="52574"/>
                  <a:pt x="95750" y="108906"/>
                  <a:pt x="95750" y="151154"/>
                </a:cubicBezTo>
                <a:cubicBezTo>
                  <a:pt x="95750" y="189151"/>
                  <a:pt x="111533" y="224756"/>
                  <a:pt x="143525" y="246013"/>
                </a:cubicBezTo>
                <a:cubicBezTo>
                  <a:pt x="206392" y="287836"/>
                  <a:pt x="299286" y="272638"/>
                  <a:pt x="369965" y="270778"/>
                </a:cubicBezTo>
                <a:cubicBezTo>
                  <a:pt x="534866" y="266314"/>
                  <a:pt x="699767" y="261850"/>
                  <a:pt x="864616" y="257333"/>
                </a:cubicBezTo>
                <a:lnTo>
                  <a:pt x="867273" y="184846"/>
                </a:lnTo>
                <a:lnTo>
                  <a:pt x="1104979" y="326312"/>
                </a:lnTo>
                <a:lnTo>
                  <a:pt x="857494" y="456458"/>
                </a:lnTo>
                <a:close/>
              </a:path>
            </a:pathLst>
          </a:custGeom>
          <a:solidFill>
            <a:schemeClr val="accent6"/>
          </a:solidFill>
          <a:ln w="5298" cap="flat">
            <a:noFill/>
            <a:prstDash val="solid"/>
            <a:miter/>
          </a:ln>
        </p:spPr>
        <p:txBody>
          <a:bodyPr rtlCol="0" anchor="ctr"/>
          <a:lstStyle/>
          <a:p>
            <a:endParaRPr lang="en-CA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5A32C2CD-E573-259F-AFAA-2082F0EF6667}"/>
              </a:ext>
            </a:extLst>
          </p:cNvPr>
          <p:cNvSpPr/>
          <p:nvPr/>
        </p:nvSpPr>
        <p:spPr>
          <a:xfrm>
            <a:off x="7666115" y="1615316"/>
            <a:ext cx="921578" cy="336515"/>
          </a:xfrm>
          <a:custGeom>
            <a:avLst/>
            <a:gdLst>
              <a:gd name="connsiteX0" fmla="*/ 921385 w 921578"/>
              <a:gd name="connsiteY0" fmla="*/ 334218 h 336515"/>
              <a:gd name="connsiteX1" fmla="*/ 914051 w 921578"/>
              <a:gd name="connsiteY1" fmla="*/ 331189 h 336515"/>
              <a:gd name="connsiteX2" fmla="*/ 893644 w 921578"/>
              <a:gd name="connsiteY2" fmla="*/ 301482 h 336515"/>
              <a:gd name="connsiteX3" fmla="*/ 886736 w 921578"/>
              <a:gd name="connsiteY3" fmla="*/ 291811 h 336515"/>
              <a:gd name="connsiteX4" fmla="*/ 873025 w 921578"/>
              <a:gd name="connsiteY4" fmla="*/ 274805 h 336515"/>
              <a:gd name="connsiteX5" fmla="*/ 838057 w 921578"/>
              <a:gd name="connsiteY5" fmla="*/ 238296 h 336515"/>
              <a:gd name="connsiteX6" fmla="*/ 757174 w 921578"/>
              <a:gd name="connsiteY6" fmla="*/ 177235 h 336515"/>
              <a:gd name="connsiteX7" fmla="*/ 562992 w 921578"/>
              <a:gd name="connsiteY7" fmla="*/ 111020 h 336515"/>
              <a:gd name="connsiteX8" fmla="*/ 207947 w 921578"/>
              <a:gd name="connsiteY8" fmla="*/ 215710 h 336515"/>
              <a:gd name="connsiteX9" fmla="*/ 244137 w 921578"/>
              <a:gd name="connsiteY9" fmla="*/ 257852 h 336515"/>
              <a:gd name="connsiteX10" fmla="*/ 0 w 921578"/>
              <a:gd name="connsiteY10" fmla="*/ 309454 h 336515"/>
              <a:gd name="connsiteX11" fmla="*/ 84443 w 921578"/>
              <a:gd name="connsiteY11" fmla="*/ 71747 h 336515"/>
              <a:gd name="connsiteX12" fmla="*/ 127701 w 921578"/>
              <a:gd name="connsiteY12" fmla="*/ 122126 h 336515"/>
              <a:gd name="connsiteX13" fmla="*/ 434227 w 921578"/>
              <a:gd name="connsiteY13" fmla="*/ 271 h 336515"/>
              <a:gd name="connsiteX14" fmla="*/ 749363 w 921578"/>
              <a:gd name="connsiteY14" fmla="*/ 105387 h 336515"/>
              <a:gd name="connsiteX15" fmla="*/ 886736 w 921578"/>
              <a:gd name="connsiteY15" fmla="*/ 265452 h 336515"/>
              <a:gd name="connsiteX16" fmla="*/ 910278 w 921578"/>
              <a:gd name="connsiteY16" fmla="*/ 307487 h 336515"/>
              <a:gd name="connsiteX17" fmla="*/ 921438 w 921578"/>
              <a:gd name="connsiteY17" fmla="*/ 334271 h 336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21578" h="336515">
                <a:moveTo>
                  <a:pt x="921385" y="334218"/>
                </a:moveTo>
                <a:cubicBezTo>
                  <a:pt x="919631" y="339161"/>
                  <a:pt x="917931" y="335175"/>
                  <a:pt x="914051" y="331189"/>
                </a:cubicBezTo>
                <a:cubicBezTo>
                  <a:pt x="905920" y="322739"/>
                  <a:pt x="899756" y="311420"/>
                  <a:pt x="893644" y="301482"/>
                </a:cubicBezTo>
                <a:cubicBezTo>
                  <a:pt x="896089" y="305521"/>
                  <a:pt x="886204" y="291066"/>
                  <a:pt x="886736" y="291811"/>
                </a:cubicBezTo>
                <a:cubicBezTo>
                  <a:pt x="882378" y="285965"/>
                  <a:pt x="877755" y="280332"/>
                  <a:pt x="873025" y="274805"/>
                </a:cubicBezTo>
                <a:cubicBezTo>
                  <a:pt x="862131" y="261944"/>
                  <a:pt x="850440" y="249775"/>
                  <a:pt x="838057" y="238296"/>
                </a:cubicBezTo>
                <a:cubicBezTo>
                  <a:pt x="813293" y="215232"/>
                  <a:pt x="786137" y="194772"/>
                  <a:pt x="757174" y="177235"/>
                </a:cubicBezTo>
                <a:cubicBezTo>
                  <a:pt x="698133" y="141470"/>
                  <a:pt x="631652" y="118406"/>
                  <a:pt x="562992" y="111020"/>
                </a:cubicBezTo>
                <a:cubicBezTo>
                  <a:pt x="436300" y="97309"/>
                  <a:pt x="307111" y="136794"/>
                  <a:pt x="207947" y="215710"/>
                </a:cubicBezTo>
                <a:lnTo>
                  <a:pt x="244137" y="257852"/>
                </a:lnTo>
                <a:lnTo>
                  <a:pt x="0" y="309454"/>
                </a:lnTo>
                <a:lnTo>
                  <a:pt x="84443" y="71747"/>
                </a:lnTo>
                <a:lnTo>
                  <a:pt x="127701" y="122126"/>
                </a:lnTo>
                <a:cubicBezTo>
                  <a:pt x="212198" y="47939"/>
                  <a:pt x="321618" y="4150"/>
                  <a:pt x="434227" y="271"/>
                </a:cubicBezTo>
                <a:cubicBezTo>
                  <a:pt x="547633" y="-3662"/>
                  <a:pt x="660349" y="35451"/>
                  <a:pt x="749363" y="105387"/>
                </a:cubicBezTo>
                <a:cubicBezTo>
                  <a:pt x="805587" y="149548"/>
                  <a:pt x="848952" y="205188"/>
                  <a:pt x="886736" y="265452"/>
                </a:cubicBezTo>
                <a:cubicBezTo>
                  <a:pt x="895239" y="279003"/>
                  <a:pt x="903157" y="293192"/>
                  <a:pt x="910278" y="307487"/>
                </a:cubicBezTo>
                <a:cubicBezTo>
                  <a:pt x="911394" y="309720"/>
                  <a:pt x="922979" y="329807"/>
                  <a:pt x="921438" y="334271"/>
                </a:cubicBezTo>
                <a:close/>
              </a:path>
            </a:pathLst>
          </a:custGeom>
          <a:solidFill>
            <a:schemeClr val="accent6"/>
          </a:solidFill>
          <a:ln w="5298" cap="flat">
            <a:noFill/>
            <a:prstDash val="solid"/>
            <a:miter/>
          </a:ln>
        </p:spPr>
        <p:txBody>
          <a:bodyPr rtlCol="0" anchor="ctr"/>
          <a:lstStyle/>
          <a:p>
            <a:endParaRPr lang="en-CA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E839328-0C53-EA3C-0161-B26BC9C89641}"/>
              </a:ext>
            </a:extLst>
          </p:cNvPr>
          <p:cNvSpPr/>
          <p:nvPr/>
        </p:nvSpPr>
        <p:spPr>
          <a:xfrm>
            <a:off x="8797921" y="2512886"/>
            <a:ext cx="689789" cy="648053"/>
          </a:xfrm>
          <a:custGeom>
            <a:avLst/>
            <a:gdLst>
              <a:gd name="connsiteX0" fmla="*/ 689790 w 689789"/>
              <a:gd name="connsiteY0" fmla="*/ 253543 h 648053"/>
              <a:gd name="connsiteX1" fmla="*/ 620651 w 689789"/>
              <a:gd name="connsiteY1" fmla="*/ 239938 h 648053"/>
              <a:gd name="connsiteX2" fmla="*/ 445387 w 689789"/>
              <a:gd name="connsiteY2" fmla="*/ 542851 h 648053"/>
              <a:gd name="connsiteX3" fmla="*/ 360147 w 689789"/>
              <a:gd name="connsiteY3" fmla="*/ 600723 h 648053"/>
              <a:gd name="connsiteX4" fmla="*/ 0 w 689789"/>
              <a:gd name="connsiteY4" fmla="*/ 611723 h 648053"/>
              <a:gd name="connsiteX5" fmla="*/ 60051 w 689789"/>
              <a:gd name="connsiteY5" fmla="*/ 607685 h 648053"/>
              <a:gd name="connsiteX6" fmla="*/ 265341 w 689789"/>
              <a:gd name="connsiteY6" fmla="*/ 535251 h 648053"/>
              <a:gd name="connsiteX7" fmla="*/ 492259 w 689789"/>
              <a:gd name="connsiteY7" fmla="*/ 214749 h 648053"/>
              <a:gd name="connsiteX8" fmla="*/ 434440 w 689789"/>
              <a:gd name="connsiteY8" fmla="*/ 203376 h 648053"/>
              <a:gd name="connsiteX9" fmla="*/ 603911 w 689789"/>
              <a:gd name="connsiteY9" fmla="*/ 0 h 648053"/>
              <a:gd name="connsiteX10" fmla="*/ 689790 w 689789"/>
              <a:gd name="connsiteY10" fmla="*/ 253490 h 648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89789" h="648053">
                <a:moveTo>
                  <a:pt x="689790" y="253543"/>
                </a:moveTo>
                <a:lnTo>
                  <a:pt x="620651" y="239938"/>
                </a:lnTo>
                <a:cubicBezTo>
                  <a:pt x="599022" y="357277"/>
                  <a:pt x="536633" y="465635"/>
                  <a:pt x="445387" y="542851"/>
                </a:cubicBezTo>
                <a:cubicBezTo>
                  <a:pt x="419029" y="565171"/>
                  <a:pt x="390385" y="584461"/>
                  <a:pt x="360147" y="600723"/>
                </a:cubicBezTo>
                <a:cubicBezTo>
                  <a:pt x="248760" y="660402"/>
                  <a:pt x="115479" y="663165"/>
                  <a:pt x="0" y="611723"/>
                </a:cubicBezTo>
                <a:cubicBezTo>
                  <a:pt x="20088" y="611511"/>
                  <a:pt x="40123" y="610182"/>
                  <a:pt x="60051" y="607685"/>
                </a:cubicBezTo>
                <a:cubicBezTo>
                  <a:pt x="132750" y="598704"/>
                  <a:pt x="203270" y="574205"/>
                  <a:pt x="265341" y="535251"/>
                </a:cubicBezTo>
                <a:cubicBezTo>
                  <a:pt x="379809" y="463403"/>
                  <a:pt x="461596" y="345639"/>
                  <a:pt x="492259" y="214749"/>
                </a:cubicBezTo>
                <a:lnTo>
                  <a:pt x="434440" y="203376"/>
                </a:lnTo>
                <a:lnTo>
                  <a:pt x="603911" y="0"/>
                </a:lnTo>
                <a:lnTo>
                  <a:pt x="689790" y="253490"/>
                </a:lnTo>
                <a:close/>
              </a:path>
            </a:pathLst>
          </a:custGeom>
          <a:solidFill>
            <a:schemeClr val="accent6"/>
          </a:solidFill>
          <a:ln w="5298" cap="flat">
            <a:noFill/>
            <a:prstDash val="solid"/>
            <a:miter/>
          </a:ln>
        </p:spPr>
        <p:txBody>
          <a:bodyPr rtlCol="0" anchor="ctr"/>
          <a:lstStyle/>
          <a:p>
            <a:endParaRPr lang="en-CA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8B33994-F6DA-FC54-C87E-5E4B685C2F39}"/>
              </a:ext>
            </a:extLst>
          </p:cNvPr>
          <p:cNvSpPr/>
          <p:nvPr/>
        </p:nvSpPr>
        <p:spPr>
          <a:xfrm>
            <a:off x="6006949" y="1549105"/>
            <a:ext cx="622461" cy="787632"/>
          </a:xfrm>
          <a:custGeom>
            <a:avLst/>
            <a:gdLst>
              <a:gd name="connsiteX0" fmla="*/ 93800 w 622461"/>
              <a:gd name="connsiteY0" fmla="*/ 467973 h 787632"/>
              <a:gd name="connsiteX1" fmla="*/ 58885 w 622461"/>
              <a:gd name="connsiteY1" fmla="*/ 383317 h 787632"/>
              <a:gd name="connsiteX2" fmla="*/ 53571 w 622461"/>
              <a:gd name="connsiteY2" fmla="*/ 347127 h 787632"/>
              <a:gd name="connsiteX3" fmla="*/ 145720 w 622461"/>
              <a:gd name="connsiteY3" fmla="*/ 274428 h 787632"/>
              <a:gd name="connsiteX4" fmla="*/ 342932 w 622461"/>
              <a:gd name="connsiteY4" fmla="*/ 225165 h 787632"/>
              <a:gd name="connsiteX5" fmla="*/ 350053 w 622461"/>
              <a:gd name="connsiteY5" fmla="*/ 318483 h 787632"/>
              <a:gd name="connsiteX6" fmla="*/ 622462 w 622461"/>
              <a:gd name="connsiteY6" fmla="*/ 141146 h 787632"/>
              <a:gd name="connsiteX7" fmla="*/ 325820 w 622461"/>
              <a:gd name="connsiteY7" fmla="*/ 0 h 787632"/>
              <a:gd name="connsiteX8" fmla="*/ 332410 w 622461"/>
              <a:gd name="connsiteY8" fmla="*/ 86250 h 787632"/>
              <a:gd name="connsiteX9" fmla="*/ 64518 w 622461"/>
              <a:gd name="connsiteY9" fmla="*/ 261674 h 787632"/>
              <a:gd name="connsiteX10" fmla="*/ 5424 w 622461"/>
              <a:gd name="connsiteY10" fmla="*/ 430561 h 787632"/>
              <a:gd name="connsiteX11" fmla="*/ 5902 w 622461"/>
              <a:gd name="connsiteY11" fmla="*/ 531638 h 787632"/>
              <a:gd name="connsiteX12" fmla="*/ 114419 w 622461"/>
              <a:gd name="connsiteY12" fmla="*/ 702119 h 787632"/>
              <a:gd name="connsiteX13" fmla="*/ 314873 w 622461"/>
              <a:gd name="connsiteY13" fmla="*/ 787625 h 787632"/>
              <a:gd name="connsiteX14" fmla="*/ 345536 w 622461"/>
              <a:gd name="connsiteY14" fmla="*/ 714979 h 787632"/>
              <a:gd name="connsiteX15" fmla="*/ 367962 w 622461"/>
              <a:gd name="connsiteY15" fmla="*/ 639358 h 787632"/>
              <a:gd name="connsiteX16" fmla="*/ 93906 w 622461"/>
              <a:gd name="connsiteY16" fmla="*/ 468079 h 787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22461" h="787632">
                <a:moveTo>
                  <a:pt x="93800" y="467973"/>
                </a:moveTo>
                <a:cubicBezTo>
                  <a:pt x="77963" y="441774"/>
                  <a:pt x="65741" y="413183"/>
                  <a:pt x="58885" y="383317"/>
                </a:cubicBezTo>
                <a:cubicBezTo>
                  <a:pt x="56175" y="371413"/>
                  <a:pt x="54315" y="359296"/>
                  <a:pt x="53571" y="347127"/>
                </a:cubicBezTo>
                <a:cubicBezTo>
                  <a:pt x="78761" y="317101"/>
                  <a:pt x="108308" y="292815"/>
                  <a:pt x="145720" y="274428"/>
                </a:cubicBezTo>
                <a:cubicBezTo>
                  <a:pt x="207153" y="244190"/>
                  <a:pt x="275335" y="232552"/>
                  <a:pt x="342932" y="225165"/>
                </a:cubicBezTo>
                <a:lnTo>
                  <a:pt x="350053" y="318483"/>
                </a:lnTo>
                <a:lnTo>
                  <a:pt x="622462" y="141146"/>
                </a:lnTo>
                <a:lnTo>
                  <a:pt x="325820" y="0"/>
                </a:lnTo>
                <a:lnTo>
                  <a:pt x="332410" y="86250"/>
                </a:lnTo>
                <a:cubicBezTo>
                  <a:pt x="221342" y="106710"/>
                  <a:pt x="115429" y="151616"/>
                  <a:pt x="64518" y="261674"/>
                </a:cubicBezTo>
                <a:cubicBezTo>
                  <a:pt x="39807" y="315082"/>
                  <a:pt x="18231" y="373007"/>
                  <a:pt x="5424" y="430561"/>
                </a:cubicBezTo>
                <a:cubicBezTo>
                  <a:pt x="-2016" y="464040"/>
                  <a:pt x="-1750" y="498158"/>
                  <a:pt x="5902" y="531638"/>
                </a:cubicBezTo>
                <a:cubicBezTo>
                  <a:pt x="21207" y="598491"/>
                  <a:pt x="62552" y="658117"/>
                  <a:pt x="114419" y="702119"/>
                </a:cubicBezTo>
                <a:cubicBezTo>
                  <a:pt x="171016" y="750107"/>
                  <a:pt x="241164" y="779919"/>
                  <a:pt x="314873" y="787625"/>
                </a:cubicBezTo>
                <a:cubicBezTo>
                  <a:pt x="322685" y="788422"/>
                  <a:pt x="342932" y="722260"/>
                  <a:pt x="345536" y="714979"/>
                </a:cubicBezTo>
                <a:cubicBezTo>
                  <a:pt x="347449" y="709559"/>
                  <a:pt x="369663" y="639570"/>
                  <a:pt x="367962" y="639358"/>
                </a:cubicBezTo>
                <a:cubicBezTo>
                  <a:pt x="256629" y="627719"/>
                  <a:pt x="152097" y="564373"/>
                  <a:pt x="93906" y="468079"/>
                </a:cubicBezTo>
                <a:close/>
              </a:path>
            </a:pathLst>
          </a:custGeom>
          <a:solidFill>
            <a:schemeClr val="accent6"/>
          </a:solidFill>
          <a:ln w="5298" cap="flat">
            <a:noFill/>
            <a:prstDash val="solid"/>
            <a:miter/>
          </a:ln>
        </p:spPr>
        <p:txBody>
          <a:bodyPr rtlCol="0" anchor="ctr"/>
          <a:lstStyle/>
          <a:p>
            <a:endParaRPr lang="en-CA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A42F68D6-742B-0C88-2C47-FDF523139001}"/>
              </a:ext>
            </a:extLst>
          </p:cNvPr>
          <p:cNvSpPr/>
          <p:nvPr/>
        </p:nvSpPr>
        <p:spPr>
          <a:xfrm>
            <a:off x="6833478" y="1549105"/>
            <a:ext cx="622461" cy="787632"/>
          </a:xfrm>
          <a:custGeom>
            <a:avLst/>
            <a:gdLst>
              <a:gd name="connsiteX0" fmla="*/ 528662 w 622461"/>
              <a:gd name="connsiteY0" fmla="*/ 467973 h 787632"/>
              <a:gd name="connsiteX1" fmla="*/ 563576 w 622461"/>
              <a:gd name="connsiteY1" fmla="*/ 383317 h 787632"/>
              <a:gd name="connsiteX2" fmla="*/ 568891 w 622461"/>
              <a:gd name="connsiteY2" fmla="*/ 347127 h 787632"/>
              <a:gd name="connsiteX3" fmla="*/ 476741 w 622461"/>
              <a:gd name="connsiteY3" fmla="*/ 274428 h 787632"/>
              <a:gd name="connsiteX4" fmla="*/ 279530 w 622461"/>
              <a:gd name="connsiteY4" fmla="*/ 225165 h 787632"/>
              <a:gd name="connsiteX5" fmla="*/ 272409 w 622461"/>
              <a:gd name="connsiteY5" fmla="*/ 318483 h 787632"/>
              <a:gd name="connsiteX6" fmla="*/ 0 w 622461"/>
              <a:gd name="connsiteY6" fmla="*/ 141146 h 787632"/>
              <a:gd name="connsiteX7" fmla="*/ 296642 w 622461"/>
              <a:gd name="connsiteY7" fmla="*/ 0 h 787632"/>
              <a:gd name="connsiteX8" fmla="*/ 290052 w 622461"/>
              <a:gd name="connsiteY8" fmla="*/ 86250 h 787632"/>
              <a:gd name="connsiteX9" fmla="*/ 557943 w 622461"/>
              <a:gd name="connsiteY9" fmla="*/ 261674 h 787632"/>
              <a:gd name="connsiteX10" fmla="*/ 617038 w 622461"/>
              <a:gd name="connsiteY10" fmla="*/ 430561 h 787632"/>
              <a:gd name="connsiteX11" fmla="*/ 616559 w 622461"/>
              <a:gd name="connsiteY11" fmla="*/ 531638 h 787632"/>
              <a:gd name="connsiteX12" fmla="*/ 508042 w 622461"/>
              <a:gd name="connsiteY12" fmla="*/ 702119 h 787632"/>
              <a:gd name="connsiteX13" fmla="*/ 307589 w 622461"/>
              <a:gd name="connsiteY13" fmla="*/ 787625 h 787632"/>
              <a:gd name="connsiteX14" fmla="*/ 276926 w 622461"/>
              <a:gd name="connsiteY14" fmla="*/ 714979 h 787632"/>
              <a:gd name="connsiteX15" fmla="*/ 254499 w 622461"/>
              <a:gd name="connsiteY15" fmla="*/ 639358 h 787632"/>
              <a:gd name="connsiteX16" fmla="*/ 528555 w 622461"/>
              <a:gd name="connsiteY16" fmla="*/ 468079 h 787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22461" h="787632">
                <a:moveTo>
                  <a:pt x="528662" y="467973"/>
                </a:moveTo>
                <a:cubicBezTo>
                  <a:pt x="544498" y="441774"/>
                  <a:pt x="556721" y="413183"/>
                  <a:pt x="563576" y="383317"/>
                </a:cubicBezTo>
                <a:cubicBezTo>
                  <a:pt x="566287" y="371413"/>
                  <a:pt x="568147" y="359296"/>
                  <a:pt x="568891" y="347127"/>
                </a:cubicBezTo>
                <a:cubicBezTo>
                  <a:pt x="543701" y="317101"/>
                  <a:pt x="514154" y="292815"/>
                  <a:pt x="476741" y="274428"/>
                </a:cubicBezTo>
                <a:cubicBezTo>
                  <a:pt x="415309" y="244190"/>
                  <a:pt x="347127" y="232552"/>
                  <a:pt x="279530" y="225165"/>
                </a:cubicBezTo>
                <a:lnTo>
                  <a:pt x="272409" y="318483"/>
                </a:lnTo>
                <a:lnTo>
                  <a:pt x="0" y="141146"/>
                </a:lnTo>
                <a:lnTo>
                  <a:pt x="296642" y="0"/>
                </a:lnTo>
                <a:lnTo>
                  <a:pt x="290052" y="86250"/>
                </a:lnTo>
                <a:cubicBezTo>
                  <a:pt x="401120" y="106710"/>
                  <a:pt x="507033" y="151616"/>
                  <a:pt x="557943" y="261674"/>
                </a:cubicBezTo>
                <a:cubicBezTo>
                  <a:pt x="582654" y="315082"/>
                  <a:pt x="604230" y="373007"/>
                  <a:pt x="617038" y="430561"/>
                </a:cubicBezTo>
                <a:cubicBezTo>
                  <a:pt x="624478" y="464040"/>
                  <a:pt x="624212" y="498158"/>
                  <a:pt x="616559" y="531638"/>
                </a:cubicBezTo>
                <a:cubicBezTo>
                  <a:pt x="601254" y="598491"/>
                  <a:pt x="559909" y="658117"/>
                  <a:pt x="508042" y="702119"/>
                </a:cubicBezTo>
                <a:cubicBezTo>
                  <a:pt x="451446" y="750107"/>
                  <a:pt x="381297" y="779919"/>
                  <a:pt x="307589" y="787625"/>
                </a:cubicBezTo>
                <a:cubicBezTo>
                  <a:pt x="299777" y="788422"/>
                  <a:pt x="279530" y="722260"/>
                  <a:pt x="276926" y="714979"/>
                </a:cubicBezTo>
                <a:cubicBezTo>
                  <a:pt x="275012" y="709559"/>
                  <a:pt x="252799" y="639570"/>
                  <a:pt x="254499" y="639358"/>
                </a:cubicBezTo>
                <a:cubicBezTo>
                  <a:pt x="365833" y="627719"/>
                  <a:pt x="470364" y="564373"/>
                  <a:pt x="528555" y="468079"/>
                </a:cubicBezTo>
                <a:close/>
              </a:path>
            </a:pathLst>
          </a:custGeom>
          <a:solidFill>
            <a:schemeClr val="accent6"/>
          </a:solidFill>
          <a:ln w="5298" cap="flat">
            <a:noFill/>
            <a:prstDash val="solid"/>
            <a:miter/>
          </a:ln>
        </p:spPr>
        <p:txBody>
          <a:bodyPr rtlCol="0" anchor="ctr"/>
          <a:lstStyle/>
          <a:p>
            <a:endParaRPr lang="en-CA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BAA90BB7-2859-77AD-5AA1-FFD135DD7EA6}"/>
              </a:ext>
            </a:extLst>
          </p:cNvPr>
          <p:cNvSpPr/>
          <p:nvPr/>
        </p:nvSpPr>
        <p:spPr>
          <a:xfrm>
            <a:off x="9814139" y="2602750"/>
            <a:ext cx="552123" cy="554170"/>
          </a:xfrm>
          <a:custGeom>
            <a:avLst/>
            <a:gdLst>
              <a:gd name="connsiteX0" fmla="*/ 552124 w 552123"/>
              <a:gd name="connsiteY0" fmla="*/ 248973 h 554170"/>
              <a:gd name="connsiteX1" fmla="*/ 459390 w 552123"/>
              <a:gd name="connsiteY1" fmla="*/ 218256 h 554170"/>
              <a:gd name="connsiteX2" fmla="*/ 2790 w 552123"/>
              <a:gd name="connsiteY2" fmla="*/ 554170 h 554170"/>
              <a:gd name="connsiteX3" fmla="*/ 4968 w 552123"/>
              <a:gd name="connsiteY3" fmla="*/ 474828 h 554170"/>
              <a:gd name="connsiteX4" fmla="*/ 22877 w 552123"/>
              <a:gd name="connsiteY4" fmla="*/ 397453 h 554170"/>
              <a:gd name="connsiteX5" fmla="*/ 409489 w 552123"/>
              <a:gd name="connsiteY5" fmla="*/ 194448 h 554170"/>
              <a:gd name="connsiteX6" fmla="*/ 322282 w 552123"/>
              <a:gd name="connsiteY6" fmla="*/ 163413 h 554170"/>
              <a:gd name="connsiteX7" fmla="*/ 510938 w 552123"/>
              <a:gd name="connsiteY7" fmla="*/ 0 h 554170"/>
              <a:gd name="connsiteX8" fmla="*/ 552124 w 552123"/>
              <a:gd name="connsiteY8" fmla="*/ 248920 h 554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2123" h="554170">
                <a:moveTo>
                  <a:pt x="552124" y="248973"/>
                </a:moveTo>
                <a:lnTo>
                  <a:pt x="459390" y="218256"/>
                </a:lnTo>
                <a:cubicBezTo>
                  <a:pt x="389986" y="409250"/>
                  <a:pt x="207973" y="548484"/>
                  <a:pt x="2790" y="554170"/>
                </a:cubicBezTo>
                <a:cubicBezTo>
                  <a:pt x="-4278" y="554383"/>
                  <a:pt x="4224" y="480780"/>
                  <a:pt x="4968" y="474828"/>
                </a:cubicBezTo>
                <a:cubicBezTo>
                  <a:pt x="6084" y="466432"/>
                  <a:pt x="12090" y="397772"/>
                  <a:pt x="22877" y="397453"/>
                </a:cubicBezTo>
                <a:cubicBezTo>
                  <a:pt x="171464" y="393308"/>
                  <a:pt x="320369" y="313063"/>
                  <a:pt x="409489" y="194448"/>
                </a:cubicBezTo>
                <a:lnTo>
                  <a:pt x="322282" y="163413"/>
                </a:lnTo>
                <a:lnTo>
                  <a:pt x="510938" y="0"/>
                </a:lnTo>
                <a:lnTo>
                  <a:pt x="552124" y="248920"/>
                </a:lnTo>
                <a:close/>
              </a:path>
            </a:pathLst>
          </a:custGeom>
          <a:solidFill>
            <a:schemeClr val="accent6"/>
          </a:solidFill>
          <a:ln w="5298" cap="flat">
            <a:noFill/>
            <a:prstDash val="solid"/>
            <a:miter/>
          </a:ln>
        </p:spPr>
        <p:txBody>
          <a:bodyPr rtlCol="0" anchor="ctr"/>
          <a:lstStyle/>
          <a:p>
            <a:endParaRPr lang="en-CA"/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3CED730B-88B7-E104-8290-3A4DC63DFE16}"/>
              </a:ext>
            </a:extLst>
          </p:cNvPr>
          <p:cNvSpPr/>
          <p:nvPr/>
        </p:nvSpPr>
        <p:spPr>
          <a:xfrm>
            <a:off x="9836469" y="1644280"/>
            <a:ext cx="741672" cy="664941"/>
          </a:xfrm>
          <a:custGeom>
            <a:avLst/>
            <a:gdLst>
              <a:gd name="connsiteX0" fmla="*/ 741673 w 741672"/>
              <a:gd name="connsiteY0" fmla="*/ 72061 h 664941"/>
              <a:gd name="connsiteX1" fmla="*/ 555940 w 741672"/>
              <a:gd name="connsiteY1" fmla="*/ 238716 h 664941"/>
              <a:gd name="connsiteX2" fmla="*/ 536065 w 741672"/>
              <a:gd name="connsiteY2" fmla="*/ 148374 h 664941"/>
              <a:gd name="connsiteX3" fmla="*/ 158009 w 741672"/>
              <a:gd name="connsiteY3" fmla="*/ 656682 h 664941"/>
              <a:gd name="connsiteX4" fmla="*/ 79092 w 741672"/>
              <a:gd name="connsiteY4" fmla="*/ 664707 h 664941"/>
              <a:gd name="connsiteX5" fmla="*/ 16 w 741672"/>
              <a:gd name="connsiteY5" fmla="*/ 656948 h 664941"/>
              <a:gd name="connsiteX6" fmla="*/ 518740 w 741672"/>
              <a:gd name="connsiteY6" fmla="*/ 95816 h 664941"/>
              <a:gd name="connsiteX7" fmla="*/ 499875 w 741672"/>
              <a:gd name="connsiteY7" fmla="*/ 0 h 664941"/>
              <a:gd name="connsiteX8" fmla="*/ 741620 w 741672"/>
              <a:gd name="connsiteY8" fmla="*/ 72061 h 664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41672" h="664941">
                <a:moveTo>
                  <a:pt x="741673" y="72061"/>
                </a:moveTo>
                <a:lnTo>
                  <a:pt x="555940" y="238716"/>
                </a:lnTo>
                <a:lnTo>
                  <a:pt x="536065" y="148374"/>
                </a:lnTo>
                <a:cubicBezTo>
                  <a:pt x="407247" y="221923"/>
                  <a:pt x="227094" y="362910"/>
                  <a:pt x="158009" y="656682"/>
                </a:cubicBezTo>
                <a:cubicBezTo>
                  <a:pt x="155511" y="667204"/>
                  <a:pt x="87542" y="664653"/>
                  <a:pt x="79092" y="664707"/>
                </a:cubicBezTo>
                <a:cubicBezTo>
                  <a:pt x="73087" y="664813"/>
                  <a:pt x="-1259" y="663909"/>
                  <a:pt x="16" y="656948"/>
                </a:cubicBezTo>
                <a:cubicBezTo>
                  <a:pt x="65222" y="299883"/>
                  <a:pt x="320519" y="140721"/>
                  <a:pt x="518740" y="95816"/>
                </a:cubicBezTo>
                <a:lnTo>
                  <a:pt x="499875" y="0"/>
                </a:lnTo>
                <a:lnTo>
                  <a:pt x="741620" y="72061"/>
                </a:lnTo>
                <a:close/>
              </a:path>
            </a:pathLst>
          </a:custGeom>
          <a:solidFill>
            <a:schemeClr val="accent6"/>
          </a:solidFill>
          <a:ln w="5298" cap="flat">
            <a:noFill/>
            <a:prstDash val="solid"/>
            <a:miter/>
          </a:ln>
        </p:spPr>
        <p:txBody>
          <a:bodyPr rtlCol="0" anchor="ctr"/>
          <a:lstStyle/>
          <a:p>
            <a:endParaRPr lang="en-CA"/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5A6BC0E3-AAA6-480D-265E-53F1B9F2825D}"/>
              </a:ext>
            </a:extLst>
          </p:cNvPr>
          <p:cNvSpPr/>
          <p:nvPr/>
        </p:nvSpPr>
        <p:spPr>
          <a:xfrm>
            <a:off x="10687669" y="1675340"/>
            <a:ext cx="864152" cy="550106"/>
          </a:xfrm>
          <a:custGeom>
            <a:avLst/>
            <a:gdLst>
              <a:gd name="connsiteX0" fmla="*/ 864097 w 864152"/>
              <a:gd name="connsiteY0" fmla="*/ 43818 h 550106"/>
              <a:gd name="connsiteX1" fmla="*/ 849483 w 864152"/>
              <a:gd name="connsiteY1" fmla="*/ 43446 h 550106"/>
              <a:gd name="connsiteX2" fmla="*/ 499593 w 864152"/>
              <a:gd name="connsiteY2" fmla="*/ 44243 h 550106"/>
              <a:gd name="connsiteX3" fmla="*/ 219797 w 864152"/>
              <a:gd name="connsiteY3" fmla="*/ 256388 h 550106"/>
              <a:gd name="connsiteX4" fmla="*/ 169525 w 864152"/>
              <a:gd name="connsiteY4" fmla="*/ 357146 h 550106"/>
              <a:gd name="connsiteX5" fmla="*/ 233880 w 864152"/>
              <a:gd name="connsiteY5" fmla="*/ 377393 h 550106"/>
              <a:gd name="connsiteX6" fmla="*/ 53780 w 864152"/>
              <a:gd name="connsiteY6" fmla="*/ 550106 h 550106"/>
              <a:gd name="connsiteX7" fmla="*/ 0 w 864152"/>
              <a:gd name="connsiteY7" fmla="*/ 303685 h 550106"/>
              <a:gd name="connsiteX8" fmla="*/ 77482 w 864152"/>
              <a:gd name="connsiteY8" fmla="*/ 328130 h 550106"/>
              <a:gd name="connsiteX9" fmla="*/ 239673 w 864152"/>
              <a:gd name="connsiteY9" fmla="*/ 100361 h 550106"/>
              <a:gd name="connsiteX10" fmla="*/ 571282 w 864152"/>
              <a:gd name="connsiteY10" fmla="*/ 135 h 550106"/>
              <a:gd name="connsiteX11" fmla="*/ 864150 w 864152"/>
              <a:gd name="connsiteY11" fmla="*/ 43765 h 550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64152" h="550106">
                <a:moveTo>
                  <a:pt x="864097" y="43818"/>
                </a:moveTo>
                <a:cubicBezTo>
                  <a:pt x="863406" y="46422"/>
                  <a:pt x="849536" y="43446"/>
                  <a:pt x="849483" y="43446"/>
                </a:cubicBezTo>
                <a:cubicBezTo>
                  <a:pt x="733579" y="27928"/>
                  <a:pt x="614540" y="15758"/>
                  <a:pt x="499593" y="44243"/>
                </a:cubicBezTo>
                <a:cubicBezTo>
                  <a:pt x="380022" y="73896"/>
                  <a:pt x="283887" y="152228"/>
                  <a:pt x="219797" y="256388"/>
                </a:cubicBezTo>
                <a:cubicBezTo>
                  <a:pt x="200028" y="288433"/>
                  <a:pt x="183501" y="322338"/>
                  <a:pt x="169525" y="357146"/>
                </a:cubicBezTo>
                <a:lnTo>
                  <a:pt x="233880" y="377393"/>
                </a:lnTo>
                <a:lnTo>
                  <a:pt x="53780" y="550106"/>
                </a:lnTo>
                <a:lnTo>
                  <a:pt x="0" y="303685"/>
                </a:lnTo>
                <a:lnTo>
                  <a:pt x="77482" y="328130"/>
                </a:lnTo>
                <a:cubicBezTo>
                  <a:pt x="113406" y="240817"/>
                  <a:pt x="165220" y="160253"/>
                  <a:pt x="239673" y="100361"/>
                </a:cubicBezTo>
                <a:cubicBezTo>
                  <a:pt x="333522" y="24846"/>
                  <a:pt x="453093" y="2579"/>
                  <a:pt x="571282" y="135"/>
                </a:cubicBezTo>
                <a:cubicBezTo>
                  <a:pt x="711472" y="-2735"/>
                  <a:pt x="864841" y="41214"/>
                  <a:pt x="864150" y="43765"/>
                </a:cubicBezTo>
                <a:close/>
              </a:path>
            </a:pathLst>
          </a:custGeom>
          <a:solidFill>
            <a:schemeClr val="accent6"/>
          </a:solidFill>
          <a:ln w="5298" cap="flat">
            <a:noFill/>
            <a:prstDash val="solid"/>
            <a:miter/>
          </a:ln>
        </p:spPr>
        <p:txBody>
          <a:bodyPr rtlCol="0" anchor="ctr"/>
          <a:lstStyle/>
          <a:p>
            <a:endParaRPr lang="en-CA"/>
          </a:p>
        </p:txBody>
      </p:sp>
      <p:sp>
        <p:nvSpPr>
          <p:cNvPr id="72" name="Freeform: Shape 71">
            <a:extLst>
              <a:ext uri="{FF2B5EF4-FFF2-40B4-BE49-F238E27FC236}">
                <a16:creationId xmlns:a16="http://schemas.microsoft.com/office/drawing/2014/main" id="{45F075D0-820E-550E-C1A8-A6784BBA9EF9}"/>
              </a:ext>
            </a:extLst>
          </p:cNvPr>
          <p:cNvSpPr/>
          <p:nvPr/>
        </p:nvSpPr>
        <p:spPr>
          <a:xfrm>
            <a:off x="10785451" y="2571192"/>
            <a:ext cx="847144" cy="669417"/>
          </a:xfrm>
          <a:custGeom>
            <a:avLst/>
            <a:gdLst>
              <a:gd name="connsiteX0" fmla="*/ 811380 w 847144"/>
              <a:gd name="connsiteY0" fmla="*/ 462065 h 669417"/>
              <a:gd name="connsiteX1" fmla="*/ 499061 w 847144"/>
              <a:gd name="connsiteY1" fmla="*/ 667620 h 669417"/>
              <a:gd name="connsiteX2" fmla="*/ 283569 w 847144"/>
              <a:gd name="connsiteY2" fmla="*/ 634778 h 669417"/>
              <a:gd name="connsiteX3" fmla="*/ 45118 w 847144"/>
              <a:gd name="connsiteY3" fmla="*/ 435015 h 669417"/>
              <a:gd name="connsiteX4" fmla="*/ 2870 w 847144"/>
              <a:gd name="connsiteY4" fmla="*/ 458717 h 669417"/>
              <a:gd name="connsiteX5" fmla="*/ 0 w 847144"/>
              <a:gd name="connsiteY5" fmla="*/ 171853 h 669417"/>
              <a:gd name="connsiteX6" fmla="*/ 248760 w 847144"/>
              <a:gd name="connsiteY6" fmla="*/ 320812 h 669417"/>
              <a:gd name="connsiteX7" fmla="*/ 189081 w 847144"/>
              <a:gd name="connsiteY7" fmla="*/ 354239 h 669417"/>
              <a:gd name="connsiteX8" fmla="*/ 396815 w 847144"/>
              <a:gd name="connsiteY8" fmla="*/ 524295 h 669417"/>
              <a:gd name="connsiteX9" fmla="*/ 653440 w 847144"/>
              <a:gd name="connsiteY9" fmla="*/ 474553 h 669417"/>
              <a:gd name="connsiteX10" fmla="*/ 740541 w 847144"/>
              <a:gd name="connsiteY10" fmla="*/ 210116 h 669417"/>
              <a:gd name="connsiteX11" fmla="*/ 469248 w 847144"/>
              <a:gd name="connsiteY11" fmla="*/ 46756 h 669417"/>
              <a:gd name="connsiteX12" fmla="*/ 128711 w 847144"/>
              <a:gd name="connsiteY12" fmla="*/ 62539 h 669417"/>
              <a:gd name="connsiteX13" fmla="*/ 109686 w 847144"/>
              <a:gd name="connsiteY13" fmla="*/ 63018 h 669417"/>
              <a:gd name="connsiteX14" fmla="*/ 126373 w 847144"/>
              <a:gd name="connsiteY14" fmla="*/ 53983 h 669417"/>
              <a:gd name="connsiteX15" fmla="*/ 212304 w 847144"/>
              <a:gd name="connsiteY15" fmla="*/ 30973 h 669417"/>
              <a:gd name="connsiteX16" fmla="*/ 639411 w 847144"/>
              <a:gd name="connsiteY16" fmla="*/ 27890 h 669417"/>
              <a:gd name="connsiteX17" fmla="*/ 847038 w 847144"/>
              <a:gd name="connsiteY17" fmla="*/ 282018 h 669417"/>
              <a:gd name="connsiteX18" fmla="*/ 811274 w 847144"/>
              <a:gd name="connsiteY18" fmla="*/ 462118 h 669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847144" h="669417">
                <a:moveTo>
                  <a:pt x="811380" y="462065"/>
                </a:moveTo>
                <a:cubicBezTo>
                  <a:pt x="719603" y="646469"/>
                  <a:pt x="572185" y="657417"/>
                  <a:pt x="499061" y="667620"/>
                </a:cubicBezTo>
                <a:cubicBezTo>
                  <a:pt x="441880" y="675644"/>
                  <a:pt x="337561" y="655397"/>
                  <a:pt x="283569" y="634778"/>
                </a:cubicBezTo>
                <a:cubicBezTo>
                  <a:pt x="176008" y="593699"/>
                  <a:pt x="109314" y="520893"/>
                  <a:pt x="45118" y="435015"/>
                </a:cubicBezTo>
                <a:lnTo>
                  <a:pt x="2870" y="458717"/>
                </a:lnTo>
                <a:lnTo>
                  <a:pt x="0" y="171853"/>
                </a:lnTo>
                <a:lnTo>
                  <a:pt x="248760" y="320812"/>
                </a:lnTo>
                <a:lnTo>
                  <a:pt x="189081" y="354239"/>
                </a:lnTo>
                <a:cubicBezTo>
                  <a:pt x="231276" y="428372"/>
                  <a:pt x="293825" y="493684"/>
                  <a:pt x="396815" y="524295"/>
                </a:cubicBezTo>
                <a:cubicBezTo>
                  <a:pt x="468132" y="545552"/>
                  <a:pt x="563842" y="543851"/>
                  <a:pt x="653440" y="474553"/>
                </a:cubicBezTo>
                <a:cubicBezTo>
                  <a:pt x="730284" y="415087"/>
                  <a:pt x="775137" y="309014"/>
                  <a:pt x="740541" y="210116"/>
                </a:cubicBezTo>
                <a:cubicBezTo>
                  <a:pt x="704298" y="106754"/>
                  <a:pt x="572557" y="69182"/>
                  <a:pt x="469248" y="46756"/>
                </a:cubicBezTo>
                <a:cubicBezTo>
                  <a:pt x="356214" y="22257"/>
                  <a:pt x="240735" y="42505"/>
                  <a:pt x="128711" y="62539"/>
                </a:cubicBezTo>
                <a:cubicBezTo>
                  <a:pt x="128711" y="62539"/>
                  <a:pt x="110643" y="66419"/>
                  <a:pt x="109686" y="63018"/>
                </a:cubicBezTo>
                <a:cubicBezTo>
                  <a:pt x="108836" y="59776"/>
                  <a:pt x="123928" y="54887"/>
                  <a:pt x="126373" y="53983"/>
                </a:cubicBezTo>
                <a:cubicBezTo>
                  <a:pt x="153954" y="43408"/>
                  <a:pt x="183235" y="36181"/>
                  <a:pt x="212304" y="30973"/>
                </a:cubicBezTo>
                <a:cubicBezTo>
                  <a:pt x="350794" y="6102"/>
                  <a:pt x="503100" y="-22595"/>
                  <a:pt x="639411" y="27890"/>
                </a:cubicBezTo>
                <a:cubicBezTo>
                  <a:pt x="749044" y="68491"/>
                  <a:pt x="844169" y="158834"/>
                  <a:pt x="847038" y="282018"/>
                </a:cubicBezTo>
                <a:cubicBezTo>
                  <a:pt x="848367" y="340687"/>
                  <a:pt x="837260" y="410038"/>
                  <a:pt x="811274" y="462118"/>
                </a:cubicBezTo>
                <a:close/>
              </a:path>
            </a:pathLst>
          </a:custGeom>
          <a:solidFill>
            <a:schemeClr val="accent6"/>
          </a:solidFill>
          <a:ln w="5298" cap="flat">
            <a:noFill/>
            <a:prstDash val="solid"/>
            <a:miter/>
          </a:ln>
        </p:spPr>
        <p:txBody>
          <a:bodyPr rtlCol="0" anchor="ctr"/>
          <a:lstStyle/>
          <a:p>
            <a:endParaRPr lang="en-CA"/>
          </a:p>
        </p:txBody>
      </p:sp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AC8A883C-07B2-7C89-96C3-C0E4213200B5}"/>
              </a:ext>
            </a:extLst>
          </p:cNvPr>
          <p:cNvSpPr/>
          <p:nvPr/>
        </p:nvSpPr>
        <p:spPr>
          <a:xfrm>
            <a:off x="5943121" y="2762659"/>
            <a:ext cx="1055895" cy="453543"/>
          </a:xfrm>
          <a:custGeom>
            <a:avLst/>
            <a:gdLst>
              <a:gd name="connsiteX0" fmla="*/ 765791 w 1055895"/>
              <a:gd name="connsiteY0" fmla="*/ 367399 h 453543"/>
              <a:gd name="connsiteX1" fmla="*/ 586647 w 1055895"/>
              <a:gd name="connsiteY1" fmla="*/ 271158 h 453543"/>
              <a:gd name="connsiteX2" fmla="*/ 401180 w 1055895"/>
              <a:gd name="connsiteY2" fmla="*/ 142978 h 453543"/>
              <a:gd name="connsiteX3" fmla="*/ 175749 w 1055895"/>
              <a:gd name="connsiteY3" fmla="*/ 180444 h 453543"/>
              <a:gd name="connsiteX4" fmla="*/ 5693 w 1055895"/>
              <a:gd name="connsiteY4" fmla="*/ 369738 h 453543"/>
              <a:gd name="connsiteX5" fmla="*/ 273 w 1055895"/>
              <a:gd name="connsiteY5" fmla="*/ 366974 h 453543"/>
              <a:gd name="connsiteX6" fmla="*/ 140888 w 1055895"/>
              <a:gd name="connsiteY6" fmla="*/ 137771 h 453543"/>
              <a:gd name="connsiteX7" fmla="*/ 512992 w 1055895"/>
              <a:gd name="connsiteY7" fmla="*/ 14586 h 453543"/>
              <a:gd name="connsiteX8" fmla="*/ 673110 w 1055895"/>
              <a:gd name="connsiteY8" fmla="*/ 144679 h 453543"/>
              <a:gd name="connsiteX9" fmla="*/ 776153 w 1055895"/>
              <a:gd name="connsiteY9" fmla="*/ 230929 h 453543"/>
              <a:gd name="connsiteX10" fmla="*/ 783487 w 1055895"/>
              <a:gd name="connsiteY10" fmla="*/ 135166 h 453543"/>
              <a:gd name="connsiteX11" fmla="*/ 1055896 w 1055895"/>
              <a:gd name="connsiteY11" fmla="*/ 312450 h 453543"/>
              <a:gd name="connsiteX12" fmla="*/ 759254 w 1055895"/>
              <a:gd name="connsiteY12" fmla="*/ 453543 h 453543"/>
              <a:gd name="connsiteX13" fmla="*/ 765844 w 1055895"/>
              <a:gd name="connsiteY13" fmla="*/ 367293 h 453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55895" h="453543">
                <a:moveTo>
                  <a:pt x="765791" y="367399"/>
                </a:moveTo>
                <a:cubicBezTo>
                  <a:pt x="765791" y="367399"/>
                  <a:pt x="649621" y="360384"/>
                  <a:pt x="586647" y="271158"/>
                </a:cubicBezTo>
                <a:cubicBezTo>
                  <a:pt x="540094" y="205155"/>
                  <a:pt x="481957" y="159081"/>
                  <a:pt x="401180" y="142978"/>
                </a:cubicBezTo>
                <a:cubicBezTo>
                  <a:pt x="324283" y="127674"/>
                  <a:pt x="244037" y="142128"/>
                  <a:pt x="175749" y="180444"/>
                </a:cubicBezTo>
                <a:cubicBezTo>
                  <a:pt x="100021" y="222905"/>
                  <a:pt x="37791" y="315001"/>
                  <a:pt x="5693" y="369738"/>
                </a:cubicBezTo>
                <a:cubicBezTo>
                  <a:pt x="3780" y="372979"/>
                  <a:pt x="-1215" y="370482"/>
                  <a:pt x="273" y="366974"/>
                </a:cubicBezTo>
                <a:cubicBezTo>
                  <a:pt x="35294" y="284656"/>
                  <a:pt x="83281" y="204358"/>
                  <a:pt x="140888" y="137771"/>
                </a:cubicBezTo>
                <a:cubicBezTo>
                  <a:pt x="232931" y="31220"/>
                  <a:pt x="373652" y="-29682"/>
                  <a:pt x="512992" y="14586"/>
                </a:cubicBezTo>
                <a:cubicBezTo>
                  <a:pt x="585000" y="37437"/>
                  <a:pt x="630065" y="85160"/>
                  <a:pt x="673110" y="144679"/>
                </a:cubicBezTo>
                <a:cubicBezTo>
                  <a:pt x="696386" y="176777"/>
                  <a:pt x="734490" y="218335"/>
                  <a:pt x="776153" y="230929"/>
                </a:cubicBezTo>
                <a:lnTo>
                  <a:pt x="783487" y="135166"/>
                </a:lnTo>
                <a:lnTo>
                  <a:pt x="1055896" y="312450"/>
                </a:lnTo>
                <a:lnTo>
                  <a:pt x="759254" y="453543"/>
                </a:lnTo>
                <a:lnTo>
                  <a:pt x="765844" y="367293"/>
                </a:lnTo>
                <a:close/>
              </a:path>
            </a:pathLst>
          </a:custGeom>
          <a:solidFill>
            <a:schemeClr val="accent6"/>
          </a:solidFill>
          <a:ln w="5298" cap="flat">
            <a:noFill/>
            <a:prstDash val="solid"/>
            <a:miter/>
          </a:ln>
        </p:spPr>
        <p:txBody>
          <a:bodyPr rtlCol="0" anchor="ctr"/>
          <a:lstStyle/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7463442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F7086444-CC53-302F-C2F4-1E57D5FC8DC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35784" y="3701702"/>
            <a:ext cx="879833" cy="389157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71B0FC2A-2757-549C-E428-C54EB707D1F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713258" y="3726262"/>
            <a:ext cx="1214416" cy="340037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DA9ED782-6249-3A41-0012-8C2E8269B23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25317" y="3701702"/>
            <a:ext cx="1202091" cy="389157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E0319CF2-1227-22C1-A564-14A3C983255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25050" y="3615088"/>
            <a:ext cx="489663" cy="562386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0641722B-7031-84C4-AAE0-2D6A97A25CB2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812356" y="3673905"/>
            <a:ext cx="444277" cy="44475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99100CA8-0C56-188A-41EF-86DA9ECD78D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654276" y="3701702"/>
            <a:ext cx="1423742" cy="389157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B2090D65-8043-7833-C933-27BB7B003FCC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475659" y="3701702"/>
            <a:ext cx="1280557" cy="389157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2ED94DB2-F9A9-4EA6-784D-B356C762DCCC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071664" y="2680527"/>
            <a:ext cx="1150550" cy="389157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22CB2A84-3B08-3213-BC47-5309BB374E1E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184389" y="2680527"/>
            <a:ext cx="1594877" cy="389157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DAD81AAE-EEB7-61AC-F61F-3C6EC076D72D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531614" y="2709654"/>
            <a:ext cx="1360377" cy="330902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DD33FFC4-40CC-2FA2-83AA-6D8D7C88D486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760745" y="2680527"/>
            <a:ext cx="478471" cy="389157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6CC6927B-0644-4CC3-38E8-E2910A4D49D3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435784" y="2680527"/>
            <a:ext cx="1032564" cy="389157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004A53AE-3E8F-E4E3-60CC-4D94967296FC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514611" y="2680527"/>
            <a:ext cx="389157" cy="389157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FD8D1F0B-4E02-EF81-EFAD-1E19FB494935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9196165" y="2702679"/>
            <a:ext cx="1560049" cy="344853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92277EE5-3FF7-72A3-7A5E-E09ECE0D66BF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ocial Icons - Vector</a:t>
            </a:r>
            <a:endParaRPr lang="en-C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243547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Рисунок 3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6267" y="553862"/>
            <a:ext cx="4547460" cy="9040132"/>
          </a:xfrm>
          <a:prstGeom prst="rect">
            <a:avLst/>
          </a:prstGeom>
        </p:spPr>
      </p:pic>
      <p:sp>
        <p:nvSpPr>
          <p:cNvPr id="3" name="Рисунок 2">
            <a:extLst>
              <a:ext uri="{FF2B5EF4-FFF2-40B4-BE49-F238E27FC236}">
                <a16:creationId xmlns:a16="http://schemas.microsoft.com/office/drawing/2014/main" id="{82FF05AC-7821-4B7A-AACA-E281D62A857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508517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Рисунок 7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2588" y="-4291272"/>
            <a:ext cx="3302958" cy="6566123"/>
          </a:xfrm>
          <a:prstGeom prst="rect">
            <a:avLst/>
          </a:prstGeom>
        </p:spPr>
      </p:pic>
      <p:pic>
        <p:nvPicPr>
          <p:cNvPr id="76" name="Рисунок 7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2588" y="2340591"/>
            <a:ext cx="3302958" cy="6566123"/>
          </a:xfrm>
          <a:prstGeom prst="rect">
            <a:avLst/>
          </a:prstGeom>
        </p:spPr>
      </p:pic>
      <p:pic>
        <p:nvPicPr>
          <p:cNvPr id="79" name="Рисунок 7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4458" y="-1978619"/>
            <a:ext cx="3302958" cy="6566123"/>
          </a:xfrm>
          <a:prstGeom prst="rect">
            <a:avLst/>
          </a:prstGeom>
        </p:spPr>
      </p:pic>
      <p:pic>
        <p:nvPicPr>
          <p:cNvPr id="82" name="Рисунок 8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4458" y="4653245"/>
            <a:ext cx="3302958" cy="6566123"/>
          </a:xfrm>
          <a:prstGeom prst="rect">
            <a:avLst/>
          </a:prstGeom>
        </p:spPr>
      </p:pic>
      <p:sp>
        <p:nvSpPr>
          <p:cNvPr id="3" name="Рисунок 2">
            <a:extLst>
              <a:ext uri="{FF2B5EF4-FFF2-40B4-BE49-F238E27FC236}">
                <a16:creationId xmlns:a16="http://schemas.microsoft.com/office/drawing/2014/main" id="{2B488E46-4504-4F60-BECA-F5AECBD8DA2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Рисунок 4">
            <a:extLst>
              <a:ext uri="{FF2B5EF4-FFF2-40B4-BE49-F238E27FC236}">
                <a16:creationId xmlns:a16="http://schemas.microsoft.com/office/drawing/2014/main" id="{6B570D82-741C-423B-AD3F-475471187DF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Рисунок 6">
            <a:extLst>
              <a:ext uri="{FF2B5EF4-FFF2-40B4-BE49-F238E27FC236}">
                <a16:creationId xmlns:a16="http://schemas.microsoft.com/office/drawing/2014/main" id="{1771EAFE-6489-4DCE-8555-7D004E00B7B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C08D3C06-AF2C-4B8B-8661-D64663B3F09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  <p:txBody>
          <a:bodyPr/>
          <a:lstStyle/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5261525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Рисунок 4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00000">
            <a:off x="10495628" y="-174694"/>
            <a:ext cx="3625535" cy="7207388"/>
          </a:xfrm>
          <a:prstGeom prst="rect">
            <a:avLst/>
          </a:prstGeom>
          <a:effectLst/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00000">
            <a:off x="6323484" y="-174694"/>
            <a:ext cx="3625535" cy="7207388"/>
          </a:xfrm>
          <a:prstGeom prst="rect">
            <a:avLst/>
          </a:prstGeom>
          <a:effectLst/>
        </p:spPr>
      </p:pic>
      <p:sp>
        <p:nvSpPr>
          <p:cNvPr id="3" name="Рисунок 2">
            <a:extLst>
              <a:ext uri="{FF2B5EF4-FFF2-40B4-BE49-F238E27FC236}">
                <a16:creationId xmlns:a16="http://schemas.microsoft.com/office/drawing/2014/main" id="{D76DC96D-7D7C-4875-9528-E03021FE6F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Рисунок 4">
            <a:extLst>
              <a:ext uri="{FF2B5EF4-FFF2-40B4-BE49-F238E27FC236}">
                <a16:creationId xmlns:a16="http://schemas.microsoft.com/office/drawing/2014/main" id="{158F2264-B939-43EF-B10D-C92519FDC27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3624997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00000">
            <a:off x="5233355" y="325488"/>
            <a:ext cx="2294395" cy="4561146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00000">
            <a:off x="8877548" y="-1096650"/>
            <a:ext cx="2294395" cy="4561146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00000">
            <a:off x="6558651" y="2991013"/>
            <a:ext cx="2294395" cy="4561146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00000">
            <a:off x="10056360" y="1834664"/>
            <a:ext cx="2294395" cy="4561146"/>
          </a:xfrm>
          <a:prstGeom prst="rect">
            <a:avLst/>
          </a:prstGeom>
        </p:spPr>
      </p:pic>
      <p:sp>
        <p:nvSpPr>
          <p:cNvPr id="3" name="Рисунок 2">
            <a:extLst>
              <a:ext uri="{FF2B5EF4-FFF2-40B4-BE49-F238E27FC236}">
                <a16:creationId xmlns:a16="http://schemas.microsoft.com/office/drawing/2014/main" id="{5F4ED65A-E9EC-435D-BDFC-C8AE086E5E6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Рисунок 4">
            <a:extLst>
              <a:ext uri="{FF2B5EF4-FFF2-40B4-BE49-F238E27FC236}">
                <a16:creationId xmlns:a16="http://schemas.microsoft.com/office/drawing/2014/main" id="{0BF5BBA4-F481-4F3E-923A-275D64FB392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Рисунок 6">
            <a:extLst>
              <a:ext uri="{FF2B5EF4-FFF2-40B4-BE49-F238E27FC236}">
                <a16:creationId xmlns:a16="http://schemas.microsoft.com/office/drawing/2014/main" id="{01635335-424F-4263-B9BE-1B711267859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3516EF32-15C4-405D-B285-8D7B230BBA8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  <p:txBody>
          <a:bodyPr/>
          <a:lstStyle/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57530058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3DE416FD-DE04-4D4B-B604-DD86D86BF2C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5763" y="901561"/>
            <a:ext cx="2542757" cy="5054879"/>
          </a:xfrm>
          <a:prstGeom prst="rect">
            <a:avLst/>
          </a:prstGeom>
        </p:spPr>
      </p:pic>
      <p:sp>
        <p:nvSpPr>
          <p:cNvPr id="4" name="Рисунок 3">
            <a:extLst>
              <a:ext uri="{FF2B5EF4-FFF2-40B4-BE49-F238E27FC236}">
                <a16:creationId xmlns:a16="http://schemas.microsoft.com/office/drawing/2014/main" id="{E330DBA4-0DF6-46D1-B559-4D90DE408F8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7264317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7C3583C1-5175-46CA-AD32-464649E411D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142268">
            <a:off x="-145567" y="369805"/>
            <a:ext cx="5064718" cy="7105893"/>
          </a:xfrm>
          <a:custGeom>
            <a:avLst/>
            <a:gdLst>
              <a:gd name="connsiteX0" fmla="*/ 0 w 7598250"/>
              <a:gd name="connsiteY0" fmla="*/ 0 h 10660485"/>
              <a:gd name="connsiteX1" fmla="*/ 7598249 w 7598250"/>
              <a:gd name="connsiteY1" fmla="*/ 0 h 10660485"/>
              <a:gd name="connsiteX2" fmla="*/ 7598250 w 7598250"/>
              <a:gd name="connsiteY2" fmla="*/ 8677642 h 10660485"/>
              <a:gd name="connsiteX3" fmla="*/ 1851976 w 7598250"/>
              <a:gd name="connsiteY3" fmla="*/ 10660485 h 10660485"/>
              <a:gd name="connsiteX4" fmla="*/ 0 w 7598250"/>
              <a:gd name="connsiteY4" fmla="*/ 5293463 h 10660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98250" h="10660485">
                <a:moveTo>
                  <a:pt x="0" y="0"/>
                </a:moveTo>
                <a:lnTo>
                  <a:pt x="7598249" y="0"/>
                </a:lnTo>
                <a:lnTo>
                  <a:pt x="7598250" y="8677642"/>
                </a:lnTo>
                <a:lnTo>
                  <a:pt x="1851976" y="10660485"/>
                </a:lnTo>
                <a:lnTo>
                  <a:pt x="0" y="5293463"/>
                </a:lnTo>
                <a:close/>
              </a:path>
            </a:pathLst>
          </a:custGeom>
        </p:spPr>
      </p:pic>
      <p:sp>
        <p:nvSpPr>
          <p:cNvPr id="3" name="Рисунок 2">
            <a:extLst>
              <a:ext uri="{FF2B5EF4-FFF2-40B4-BE49-F238E27FC236}">
                <a16:creationId xmlns:a16="http://schemas.microsoft.com/office/drawing/2014/main" id="{E4AD46F6-8617-4A57-96C7-E1622CF90FD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4046786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2CDBA11F-E610-D6F7-BD40-124E89611584}"/>
              </a:ext>
            </a:extLst>
          </p:cNvPr>
          <p:cNvSpPr txBox="1"/>
          <p:nvPr/>
        </p:nvSpPr>
        <p:spPr>
          <a:xfrm>
            <a:off x="899343" y="1148897"/>
            <a:ext cx="4080645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3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ea"/>
                <a:sym typeface="+mn-lt"/>
              </a:rPr>
              <a:t>Application</a:t>
            </a:r>
            <a:br>
              <a:rPr lang="en-US" sz="33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ea"/>
                <a:sym typeface="+mn-lt"/>
              </a:rPr>
            </a:br>
            <a:r>
              <a:rPr lang="en-US" sz="33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ea"/>
                <a:sym typeface="+mn-lt"/>
              </a:rPr>
              <a:t>Devices</a:t>
            </a:r>
          </a:p>
          <a:p>
            <a:r>
              <a:rPr lang="en-US" sz="33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ea"/>
                <a:sym typeface="+mn-lt"/>
              </a:rPr>
              <a:t>Laptop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A400BAB-504F-5DDF-D4CB-5777F75D630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2228" y="-106133"/>
            <a:ext cx="11087100" cy="6858000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51ED0B2-5619-3471-0750-597CA1E7CD7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42400988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882654B2-8B86-B89A-C6F1-11806FFE70AF}"/>
              </a:ext>
            </a:extLst>
          </p:cNvPr>
          <p:cNvGrpSpPr/>
          <p:nvPr/>
        </p:nvGrpSpPr>
        <p:grpSpPr>
          <a:xfrm>
            <a:off x="7032624" y="1160463"/>
            <a:ext cx="5159375" cy="5400675"/>
            <a:chOff x="6287198" y="1323534"/>
            <a:chExt cx="5904802" cy="1441190"/>
          </a:xfrm>
        </p:grpSpPr>
        <p:sp>
          <p:nvSpPr>
            <p:cNvPr id="13" name="Rectangle: Rounded Corners 3">
              <a:extLst>
                <a:ext uri="{FF2B5EF4-FFF2-40B4-BE49-F238E27FC236}">
                  <a16:creationId xmlns:a16="http://schemas.microsoft.com/office/drawing/2014/main" id="{D2E464AF-C74D-0883-18E1-433F08767336}"/>
                </a:ext>
              </a:extLst>
            </p:cNvPr>
            <p:cNvSpPr/>
            <p:nvPr/>
          </p:nvSpPr>
          <p:spPr>
            <a:xfrm>
              <a:off x="7883743" y="1323534"/>
              <a:ext cx="4308257" cy="1441190"/>
            </a:xfrm>
            <a:prstGeom prst="roundRect">
              <a:avLst>
                <a:gd name="adj" fmla="val 2180"/>
              </a:avLst>
            </a:prstGeom>
            <a:solidFill>
              <a:srgbClr val="F6F5E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500" b="1" dirty="0">
                <a:solidFill>
                  <a:schemeClr val="bg1">
                    <a:lumMod val="95000"/>
                    <a:alpha val="40000"/>
                  </a:schemeClr>
                </a:solidFill>
                <a:latin typeface="+mj-lt"/>
              </a:endParaRPr>
            </a:p>
          </p:txBody>
        </p:sp>
        <p:sp>
          <p:nvSpPr>
            <p:cNvPr id="15" name="Rectangle: Rounded Corners 3">
              <a:extLst>
                <a:ext uri="{FF2B5EF4-FFF2-40B4-BE49-F238E27FC236}">
                  <a16:creationId xmlns:a16="http://schemas.microsoft.com/office/drawing/2014/main" id="{FB4C0394-94E2-2453-6AC3-D8A2B548264F}"/>
                </a:ext>
              </a:extLst>
            </p:cNvPr>
            <p:cNvSpPr/>
            <p:nvPr/>
          </p:nvSpPr>
          <p:spPr>
            <a:xfrm>
              <a:off x="6287198" y="1323534"/>
              <a:ext cx="1622920" cy="1441190"/>
            </a:xfrm>
            <a:prstGeom prst="roundRect">
              <a:avLst>
                <a:gd name="adj" fmla="val 2180"/>
              </a:avLst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500" b="1" dirty="0">
                <a:solidFill>
                  <a:schemeClr val="bg1">
                    <a:lumMod val="95000"/>
                    <a:alpha val="40000"/>
                  </a:schemeClr>
                </a:solidFill>
                <a:latin typeface="+mj-lt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2CDBA11F-E610-D6F7-BD40-124E89611584}"/>
              </a:ext>
            </a:extLst>
          </p:cNvPr>
          <p:cNvSpPr txBox="1"/>
          <p:nvPr/>
        </p:nvSpPr>
        <p:spPr>
          <a:xfrm>
            <a:off x="899343" y="1148897"/>
            <a:ext cx="4080645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3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ea"/>
                <a:sym typeface="+mn-lt"/>
              </a:rPr>
              <a:t>Application</a:t>
            </a:r>
            <a:br>
              <a:rPr lang="en-US" sz="33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ea"/>
                <a:sym typeface="+mn-lt"/>
              </a:rPr>
            </a:br>
            <a:r>
              <a:rPr lang="en-US" sz="33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ea"/>
                <a:sym typeface="+mn-lt"/>
              </a:rPr>
              <a:t>Devices</a:t>
            </a:r>
          </a:p>
          <a:p>
            <a:r>
              <a:rPr lang="en-US" sz="33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ea"/>
                <a:sym typeface="+mn-lt"/>
              </a:rPr>
              <a:t>Laptop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A400BAB-504F-5DDF-D4CB-5777F75D630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5255" y="1971477"/>
            <a:ext cx="6088372" cy="3766003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4D1AEB6-88A2-33F3-F10B-0DC7C8C6922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2557030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2CDBA11F-E610-D6F7-BD40-124E89611584}"/>
              </a:ext>
            </a:extLst>
          </p:cNvPr>
          <p:cNvSpPr txBox="1"/>
          <p:nvPr/>
        </p:nvSpPr>
        <p:spPr>
          <a:xfrm>
            <a:off x="6096000" y="1148897"/>
            <a:ext cx="408064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3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ea"/>
                <a:sym typeface="+mn-lt"/>
              </a:rPr>
              <a:t>Application</a:t>
            </a:r>
            <a:br>
              <a:rPr lang="en-US" sz="33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ea"/>
                <a:sym typeface="+mn-lt"/>
              </a:rPr>
            </a:br>
            <a:r>
              <a:rPr lang="en-US" sz="33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ea"/>
                <a:sym typeface="+mn-lt"/>
              </a:rPr>
              <a:t>Devices Laptop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A400BAB-504F-5DDF-D4CB-5777F75D630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401466" y="-34663"/>
            <a:ext cx="10841282" cy="6705947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AA57CCD-CB11-0D4B-5D9D-5403126E339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195667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1">
            <a:extLst>
              <a:ext uri="{FF2B5EF4-FFF2-40B4-BE49-F238E27FC236}">
                <a16:creationId xmlns:a16="http://schemas.microsoft.com/office/drawing/2014/main" id="{52E2B986-0EE6-BAB8-C037-91FA8847806E}"/>
              </a:ext>
            </a:extLst>
          </p:cNvPr>
          <p:cNvGrpSpPr/>
          <p:nvPr/>
        </p:nvGrpSpPr>
        <p:grpSpPr>
          <a:xfrm>
            <a:off x="920384" y="1304591"/>
            <a:ext cx="1531578" cy="2005210"/>
            <a:chOff x="0" y="0"/>
            <a:chExt cx="2813072" cy="3683000"/>
          </a:xfrm>
        </p:grpSpPr>
        <p:grpSp>
          <p:nvGrpSpPr>
            <p:cNvPr id="3" name="Group 39">
              <a:extLst>
                <a:ext uri="{FF2B5EF4-FFF2-40B4-BE49-F238E27FC236}">
                  <a16:creationId xmlns:a16="http://schemas.microsoft.com/office/drawing/2014/main" id="{8B2784F3-144E-4A23-81EC-80F824BA6ED7}"/>
                </a:ext>
              </a:extLst>
            </p:cNvPr>
            <p:cNvGrpSpPr/>
            <p:nvPr/>
          </p:nvGrpSpPr>
          <p:grpSpPr>
            <a:xfrm>
              <a:off x="0" y="-1"/>
              <a:ext cx="2813073" cy="3683001"/>
              <a:chOff x="0" y="0"/>
              <a:chExt cx="2813072" cy="3683000"/>
            </a:xfrm>
          </p:grpSpPr>
          <p:sp>
            <p:nvSpPr>
              <p:cNvPr id="5" name="Shape 36">
                <a:extLst>
                  <a:ext uri="{FF2B5EF4-FFF2-40B4-BE49-F238E27FC236}">
                    <a16:creationId xmlns:a16="http://schemas.microsoft.com/office/drawing/2014/main" id="{312B22DB-CFCC-00A7-24CE-63907EC947A9}"/>
                  </a:ext>
                </a:extLst>
              </p:cNvPr>
              <p:cNvSpPr/>
              <p:nvPr/>
            </p:nvSpPr>
            <p:spPr>
              <a:xfrm>
                <a:off x="0" y="0"/>
                <a:ext cx="2813073" cy="36830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12" y="0"/>
                    </a:moveTo>
                    <a:lnTo>
                      <a:pt x="19988" y="0"/>
                    </a:lnTo>
                    <a:cubicBezTo>
                      <a:pt x="20879" y="0"/>
                      <a:pt x="21600" y="550"/>
                      <a:pt x="21600" y="1227"/>
                    </a:cubicBezTo>
                    <a:lnTo>
                      <a:pt x="21600" y="20373"/>
                    </a:lnTo>
                    <a:cubicBezTo>
                      <a:pt x="21600" y="21050"/>
                      <a:pt x="20879" y="21600"/>
                      <a:pt x="19988" y="21600"/>
                    </a:cubicBezTo>
                    <a:lnTo>
                      <a:pt x="1612" y="21600"/>
                    </a:lnTo>
                    <a:cubicBezTo>
                      <a:pt x="722" y="21600"/>
                      <a:pt x="0" y="21050"/>
                      <a:pt x="0" y="20373"/>
                    </a:cubicBezTo>
                    <a:lnTo>
                      <a:pt x="0" y="1227"/>
                    </a:lnTo>
                    <a:cubicBezTo>
                      <a:pt x="0" y="550"/>
                      <a:pt x="722" y="0"/>
                      <a:pt x="1612" y="0"/>
                    </a:cubicBezTo>
                    <a:cubicBezTo>
                      <a:pt x="1612" y="0"/>
                      <a:pt x="1612" y="0"/>
                      <a:pt x="1612" y="0"/>
                    </a:cubicBezTo>
                    <a:close/>
                  </a:path>
                </a:pathLst>
              </a:custGeom>
              <a:solidFill>
                <a:srgbClr val="EDEFF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lvl="0">
                  <a:spcBef>
                    <a:spcPts val="1000"/>
                  </a:spcBef>
                  <a:tabLst>
                    <a:tab pos="355600" algn="l"/>
                    <a:tab pos="711200" algn="l"/>
                    <a:tab pos="1066800" algn="l"/>
                    <a:tab pos="1422400" algn="l"/>
                    <a:tab pos="1778000" algn="l"/>
                    <a:tab pos="2133600" algn="l"/>
                    <a:tab pos="2489200" algn="l"/>
                    <a:tab pos="2844800" algn="l"/>
                    <a:tab pos="3200400" algn="l"/>
                    <a:tab pos="3556000" algn="l"/>
                    <a:tab pos="3911600" algn="l"/>
                    <a:tab pos="4267200" algn="l"/>
                  </a:tabLst>
                  <a:defRPr sz="3000" spc="59"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+mj-lt"/>
                    <a:ea typeface="+mj-ea"/>
                    <a:cs typeface="+mj-cs"/>
                    <a:sym typeface="Gill Sans"/>
                  </a:defRPr>
                </a:pPr>
                <a:endParaRPr/>
              </a:p>
            </p:txBody>
          </p:sp>
          <p:sp>
            <p:nvSpPr>
              <p:cNvPr id="6" name="Shape 37">
                <a:extLst>
                  <a:ext uri="{FF2B5EF4-FFF2-40B4-BE49-F238E27FC236}">
                    <a16:creationId xmlns:a16="http://schemas.microsoft.com/office/drawing/2014/main" id="{E11E2348-E8E9-A904-3F2B-CDE2951FF081}"/>
                  </a:ext>
                </a:extLst>
              </p:cNvPr>
              <p:cNvSpPr/>
              <p:nvPr/>
            </p:nvSpPr>
            <p:spPr>
              <a:xfrm>
                <a:off x="1322578" y="3410930"/>
                <a:ext cx="174016" cy="17345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00" y="0"/>
                    </a:moveTo>
                    <a:cubicBezTo>
                      <a:pt x="16765" y="0"/>
                      <a:pt x="21600" y="4835"/>
                      <a:pt x="21600" y="10800"/>
                    </a:cubicBezTo>
                    <a:cubicBezTo>
                      <a:pt x="21600" y="16770"/>
                      <a:pt x="16765" y="21600"/>
                      <a:pt x="10800" y="21600"/>
                    </a:cubicBezTo>
                    <a:cubicBezTo>
                      <a:pt x="4830" y="21600"/>
                      <a:pt x="0" y="16770"/>
                      <a:pt x="0" y="10800"/>
                    </a:cubicBezTo>
                    <a:cubicBezTo>
                      <a:pt x="0" y="4835"/>
                      <a:pt x="4830" y="0"/>
                      <a:pt x="10800" y="0"/>
                    </a:cubicBezTo>
                    <a:cubicBezTo>
                      <a:pt x="10800" y="0"/>
                      <a:pt x="10800" y="0"/>
                      <a:pt x="10800" y="0"/>
                    </a:cubicBezTo>
                    <a:close/>
                  </a:path>
                </a:pathLst>
              </a:custGeom>
              <a:solidFill>
                <a:srgbClr val="B4BBC9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lvl="0">
                  <a:spcBef>
                    <a:spcPts val="1000"/>
                  </a:spcBef>
                  <a:tabLst>
                    <a:tab pos="355600" algn="l"/>
                    <a:tab pos="711200" algn="l"/>
                    <a:tab pos="1066800" algn="l"/>
                    <a:tab pos="1422400" algn="l"/>
                    <a:tab pos="1778000" algn="l"/>
                    <a:tab pos="2133600" algn="l"/>
                    <a:tab pos="2489200" algn="l"/>
                    <a:tab pos="2844800" algn="l"/>
                    <a:tab pos="3200400" algn="l"/>
                    <a:tab pos="3556000" algn="l"/>
                    <a:tab pos="3911600" algn="l"/>
                    <a:tab pos="4267200" algn="l"/>
                  </a:tabLst>
                  <a:defRPr sz="3000" spc="59"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+mj-lt"/>
                    <a:ea typeface="+mj-ea"/>
                    <a:cs typeface="+mj-cs"/>
                    <a:sym typeface="Gill Sans"/>
                  </a:defRPr>
                </a:pPr>
                <a:endParaRPr/>
              </a:p>
            </p:txBody>
          </p:sp>
          <p:sp>
            <p:nvSpPr>
              <p:cNvPr id="7" name="Shape 38">
                <a:extLst>
                  <a:ext uri="{FF2B5EF4-FFF2-40B4-BE49-F238E27FC236}">
                    <a16:creationId xmlns:a16="http://schemas.microsoft.com/office/drawing/2014/main" id="{63DA586B-B1F4-6F11-2660-034AEC2285E6}"/>
                  </a:ext>
                </a:extLst>
              </p:cNvPr>
              <p:cNvSpPr/>
              <p:nvPr/>
            </p:nvSpPr>
            <p:spPr>
              <a:xfrm>
                <a:off x="1238602" y="188331"/>
                <a:ext cx="356844" cy="4185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32" y="21600"/>
                    </a:moveTo>
                    <a:lnTo>
                      <a:pt x="7624" y="21600"/>
                    </a:lnTo>
                    <a:cubicBezTo>
                      <a:pt x="6922" y="21600"/>
                      <a:pt x="6351" y="16770"/>
                      <a:pt x="6351" y="10800"/>
                    </a:cubicBezTo>
                    <a:cubicBezTo>
                      <a:pt x="6351" y="4830"/>
                      <a:pt x="6922" y="0"/>
                      <a:pt x="7624" y="0"/>
                    </a:cubicBezTo>
                    <a:lnTo>
                      <a:pt x="20332" y="0"/>
                    </a:lnTo>
                    <a:cubicBezTo>
                      <a:pt x="21032" y="0"/>
                      <a:pt x="21600" y="4830"/>
                      <a:pt x="21600" y="10800"/>
                    </a:cubicBezTo>
                    <a:cubicBezTo>
                      <a:pt x="21600" y="16770"/>
                      <a:pt x="21032" y="21600"/>
                      <a:pt x="20332" y="21600"/>
                    </a:cubicBezTo>
                    <a:cubicBezTo>
                      <a:pt x="20332" y="21600"/>
                      <a:pt x="20332" y="21600"/>
                      <a:pt x="20332" y="21600"/>
                    </a:cubicBezTo>
                    <a:close/>
                    <a:moveTo>
                      <a:pt x="1271" y="21600"/>
                    </a:moveTo>
                    <a:cubicBezTo>
                      <a:pt x="568" y="21600"/>
                      <a:pt x="0" y="16770"/>
                      <a:pt x="0" y="10800"/>
                    </a:cubicBezTo>
                    <a:cubicBezTo>
                      <a:pt x="0" y="4830"/>
                      <a:pt x="568" y="0"/>
                      <a:pt x="1271" y="0"/>
                    </a:cubicBezTo>
                    <a:cubicBezTo>
                      <a:pt x="1973" y="0"/>
                      <a:pt x="2541" y="4830"/>
                      <a:pt x="2541" y="10800"/>
                    </a:cubicBezTo>
                    <a:cubicBezTo>
                      <a:pt x="2541" y="16770"/>
                      <a:pt x="1973" y="21600"/>
                      <a:pt x="1271" y="21600"/>
                    </a:cubicBezTo>
                    <a:cubicBezTo>
                      <a:pt x="1271" y="21600"/>
                      <a:pt x="1271" y="21600"/>
                      <a:pt x="1271" y="21600"/>
                    </a:cubicBezTo>
                    <a:close/>
                  </a:path>
                </a:pathLst>
              </a:custGeom>
              <a:solidFill>
                <a:srgbClr val="B4BBC9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lvl="0">
                  <a:spcBef>
                    <a:spcPts val="1000"/>
                  </a:spcBef>
                  <a:tabLst>
                    <a:tab pos="355600" algn="l"/>
                    <a:tab pos="711200" algn="l"/>
                    <a:tab pos="1066800" algn="l"/>
                    <a:tab pos="1422400" algn="l"/>
                    <a:tab pos="1778000" algn="l"/>
                    <a:tab pos="2133600" algn="l"/>
                    <a:tab pos="2489200" algn="l"/>
                    <a:tab pos="2844800" algn="l"/>
                    <a:tab pos="3200400" algn="l"/>
                    <a:tab pos="3556000" algn="l"/>
                    <a:tab pos="3911600" algn="l"/>
                    <a:tab pos="4267200" algn="l"/>
                  </a:tabLst>
                  <a:defRPr sz="3000" spc="59"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+mj-lt"/>
                    <a:ea typeface="+mj-ea"/>
                    <a:cs typeface="+mj-cs"/>
                    <a:sym typeface="Gill Sans"/>
                  </a:defRPr>
                </a:pPr>
                <a:endParaRPr/>
              </a:p>
            </p:txBody>
          </p:sp>
        </p:grpSp>
        <p:pic>
          <p:nvPicPr>
            <p:cNvPr id="4" name="Photo_placeholder3.jpg">
              <a:extLst>
                <a:ext uri="{FF2B5EF4-FFF2-40B4-BE49-F238E27FC236}">
                  <a16:creationId xmlns:a16="http://schemas.microsoft.com/office/drawing/2014/main" id="{180F8FDF-58C4-53D3-8F8F-FD76F9AFE362}"/>
                </a:ext>
              </a:extLst>
            </p:cNvPr>
            <p:cNvPicPr/>
            <p:nvPr/>
          </p:nvPicPr>
          <p:blipFill>
            <a:blip r:embed="rId2"/>
            <a:stretch>
              <a:fillRect/>
            </a:stretch>
          </p:blipFill>
          <p:spPr>
            <a:xfrm>
              <a:off x="272913" y="376664"/>
              <a:ext cx="2267348" cy="292973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8" name="Group 11">
            <a:extLst>
              <a:ext uri="{FF2B5EF4-FFF2-40B4-BE49-F238E27FC236}">
                <a16:creationId xmlns:a16="http://schemas.microsoft.com/office/drawing/2014/main" id="{11CAE7C1-F116-BC18-43ED-192118EA6CDE}"/>
              </a:ext>
            </a:extLst>
          </p:cNvPr>
          <p:cNvGrpSpPr/>
          <p:nvPr/>
        </p:nvGrpSpPr>
        <p:grpSpPr>
          <a:xfrm>
            <a:off x="6970759" y="3527149"/>
            <a:ext cx="3864075" cy="2648142"/>
            <a:chOff x="0" y="0"/>
            <a:chExt cx="5715000" cy="3916624"/>
          </a:xfrm>
        </p:grpSpPr>
        <p:sp>
          <p:nvSpPr>
            <p:cNvPr id="9" name="Shape 8">
              <a:extLst>
                <a:ext uri="{FF2B5EF4-FFF2-40B4-BE49-F238E27FC236}">
                  <a16:creationId xmlns:a16="http://schemas.microsoft.com/office/drawing/2014/main" id="{75BA71AE-9849-D4C8-86D2-C81730048361}"/>
                </a:ext>
              </a:extLst>
            </p:cNvPr>
            <p:cNvSpPr/>
            <p:nvPr/>
          </p:nvSpPr>
          <p:spPr>
            <a:xfrm>
              <a:off x="0" y="0"/>
              <a:ext cx="5715000" cy="3916625"/>
            </a:xfrm>
            <a:prstGeom prst="roundRect">
              <a:avLst>
                <a:gd name="adj" fmla="val 5395"/>
              </a:avLst>
            </a:prstGeom>
            <a:solidFill>
              <a:srgbClr val="E7E8EA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lvl="0">
                <a:spcBef>
                  <a:spcPts val="1000"/>
                </a:spcBef>
                <a:tabLst>
                  <a:tab pos="355600" algn="l"/>
                  <a:tab pos="711200" algn="l"/>
                  <a:tab pos="1066800" algn="l"/>
                  <a:tab pos="1422400" algn="l"/>
                  <a:tab pos="1778000" algn="l"/>
                  <a:tab pos="2133600" algn="l"/>
                  <a:tab pos="2489200" algn="l"/>
                  <a:tab pos="2844800" algn="l"/>
                  <a:tab pos="3200400" algn="l"/>
                  <a:tab pos="3556000" algn="l"/>
                  <a:tab pos="3911600" algn="l"/>
                  <a:tab pos="4267200" algn="l"/>
                </a:tabLst>
              </a:pPr>
              <a:endParaRPr/>
            </a:p>
          </p:txBody>
        </p:sp>
        <p:sp>
          <p:nvSpPr>
            <p:cNvPr id="10" name="Shape 9">
              <a:extLst>
                <a:ext uri="{FF2B5EF4-FFF2-40B4-BE49-F238E27FC236}">
                  <a16:creationId xmlns:a16="http://schemas.microsoft.com/office/drawing/2014/main" id="{CB3501D5-CF28-A7B7-E814-159AE50875EE}"/>
                </a:ext>
              </a:extLst>
            </p:cNvPr>
            <p:cNvSpPr/>
            <p:nvPr/>
          </p:nvSpPr>
          <p:spPr>
            <a:xfrm>
              <a:off x="3611893" y="0"/>
              <a:ext cx="2103041" cy="38770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0687" y="21600"/>
                  </a:lnTo>
                  <a:cubicBezTo>
                    <a:pt x="21237" y="21386"/>
                    <a:pt x="21600" y="21038"/>
                    <a:pt x="21600" y="20643"/>
                  </a:cubicBezTo>
                  <a:lnTo>
                    <a:pt x="21600" y="1176"/>
                  </a:lnTo>
                  <a:cubicBezTo>
                    <a:pt x="21600" y="526"/>
                    <a:pt x="20630" y="0"/>
                    <a:pt x="1943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EDE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>
                <a:spcBef>
                  <a:spcPts val="1000"/>
                </a:spcBef>
                <a:tabLst>
                  <a:tab pos="355600" algn="l"/>
                  <a:tab pos="711200" algn="l"/>
                  <a:tab pos="1066800" algn="l"/>
                  <a:tab pos="1422400" algn="l"/>
                  <a:tab pos="1778000" algn="l"/>
                  <a:tab pos="2133600" algn="l"/>
                  <a:tab pos="2489200" algn="l"/>
                  <a:tab pos="2844800" algn="l"/>
                  <a:tab pos="3200400" algn="l"/>
                  <a:tab pos="3556000" algn="l"/>
                  <a:tab pos="3911600" algn="l"/>
                  <a:tab pos="4267200" algn="l"/>
                </a:tabLst>
              </a:pPr>
              <a:endParaRPr/>
            </a:p>
          </p:txBody>
        </p:sp>
        <p:sp>
          <p:nvSpPr>
            <p:cNvPr id="11" name="Shape 10">
              <a:extLst>
                <a:ext uri="{FF2B5EF4-FFF2-40B4-BE49-F238E27FC236}">
                  <a16:creationId xmlns:a16="http://schemas.microsoft.com/office/drawing/2014/main" id="{ABD5ACCF-85A5-33CD-7D4D-5EB597362899}"/>
                </a:ext>
              </a:extLst>
            </p:cNvPr>
            <p:cNvSpPr/>
            <p:nvPr/>
          </p:nvSpPr>
          <p:spPr>
            <a:xfrm rot="10800000">
              <a:off x="2491121" y="1570546"/>
              <a:ext cx="732758" cy="7754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39" h="20595" extrusionOk="0">
                  <a:moveTo>
                    <a:pt x="10867" y="0"/>
                  </a:moveTo>
                  <a:cubicBezTo>
                    <a:pt x="8085" y="0"/>
                    <a:pt x="5306" y="1008"/>
                    <a:pt x="3183" y="3019"/>
                  </a:cubicBezTo>
                  <a:cubicBezTo>
                    <a:pt x="-1061" y="7040"/>
                    <a:pt x="-1061" y="13557"/>
                    <a:pt x="3183" y="17579"/>
                  </a:cubicBezTo>
                  <a:cubicBezTo>
                    <a:pt x="7428" y="21600"/>
                    <a:pt x="14306" y="21600"/>
                    <a:pt x="18550" y="17579"/>
                  </a:cubicBezTo>
                  <a:cubicBezTo>
                    <a:pt x="19401" y="16772"/>
                    <a:pt x="20029" y="15848"/>
                    <a:pt x="20539" y="14881"/>
                  </a:cubicBezTo>
                  <a:lnTo>
                    <a:pt x="10867" y="10299"/>
                  </a:lnTo>
                  <a:lnTo>
                    <a:pt x="20539" y="5717"/>
                  </a:lnTo>
                  <a:cubicBezTo>
                    <a:pt x="20029" y="4750"/>
                    <a:pt x="19401" y="3825"/>
                    <a:pt x="18550" y="3019"/>
                  </a:cubicBezTo>
                  <a:cubicBezTo>
                    <a:pt x="16428" y="1008"/>
                    <a:pt x="13648" y="0"/>
                    <a:pt x="10867" y="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>
                <a:spcBef>
                  <a:spcPts val="1000"/>
                </a:spcBef>
                <a:tabLst>
                  <a:tab pos="355600" algn="l"/>
                  <a:tab pos="711200" algn="l"/>
                  <a:tab pos="1066800" algn="l"/>
                  <a:tab pos="1422400" algn="l"/>
                  <a:tab pos="1778000" algn="l"/>
                  <a:tab pos="2133600" algn="l"/>
                  <a:tab pos="2489200" algn="l"/>
                  <a:tab pos="2844800" algn="l"/>
                  <a:tab pos="3200400" algn="l"/>
                  <a:tab pos="3556000" algn="l"/>
                  <a:tab pos="3911600" algn="l"/>
                  <a:tab pos="4267200" algn="l"/>
                </a:tabLst>
              </a:pPr>
              <a:endParaRPr/>
            </a:p>
          </p:txBody>
        </p:sp>
      </p:grpSp>
      <p:grpSp>
        <p:nvGrpSpPr>
          <p:cNvPr id="12" name="Group 31">
            <a:extLst>
              <a:ext uri="{FF2B5EF4-FFF2-40B4-BE49-F238E27FC236}">
                <a16:creationId xmlns:a16="http://schemas.microsoft.com/office/drawing/2014/main" id="{6DA421B4-A430-3E02-2BBD-AEFBB0BCC9DF}"/>
              </a:ext>
            </a:extLst>
          </p:cNvPr>
          <p:cNvGrpSpPr/>
          <p:nvPr/>
        </p:nvGrpSpPr>
        <p:grpSpPr>
          <a:xfrm>
            <a:off x="1244176" y="4462717"/>
            <a:ext cx="800260" cy="1526646"/>
            <a:chOff x="0" y="0"/>
            <a:chExt cx="800259" cy="1526644"/>
          </a:xfrm>
        </p:grpSpPr>
        <p:sp>
          <p:nvSpPr>
            <p:cNvPr id="13" name="Shape 28">
              <a:extLst>
                <a:ext uri="{FF2B5EF4-FFF2-40B4-BE49-F238E27FC236}">
                  <a16:creationId xmlns:a16="http://schemas.microsoft.com/office/drawing/2014/main" id="{FD8CD85E-0FD5-411D-46AE-B4968E00699C}"/>
                </a:ext>
              </a:extLst>
            </p:cNvPr>
            <p:cNvSpPr/>
            <p:nvPr/>
          </p:nvSpPr>
          <p:spPr>
            <a:xfrm>
              <a:off x="0" y="164"/>
              <a:ext cx="800124" cy="15264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186" y="158"/>
                  </a:moveTo>
                  <a:cubicBezTo>
                    <a:pt x="14093" y="69"/>
                    <a:pt x="12462" y="9"/>
                    <a:pt x="10847" y="1"/>
                  </a:cubicBezTo>
                  <a:lnTo>
                    <a:pt x="10847" y="0"/>
                  </a:lnTo>
                  <a:cubicBezTo>
                    <a:pt x="10831" y="0"/>
                    <a:pt x="10816" y="0"/>
                    <a:pt x="10800" y="0"/>
                  </a:cubicBezTo>
                  <a:cubicBezTo>
                    <a:pt x="10784" y="0"/>
                    <a:pt x="10769" y="0"/>
                    <a:pt x="10753" y="0"/>
                  </a:cubicBezTo>
                  <a:lnTo>
                    <a:pt x="10753" y="1"/>
                  </a:lnTo>
                  <a:cubicBezTo>
                    <a:pt x="9138" y="9"/>
                    <a:pt x="7507" y="69"/>
                    <a:pt x="6414" y="158"/>
                  </a:cubicBezTo>
                  <a:cubicBezTo>
                    <a:pt x="75" y="670"/>
                    <a:pt x="0" y="4614"/>
                    <a:pt x="0" y="7460"/>
                  </a:cubicBezTo>
                  <a:lnTo>
                    <a:pt x="0" y="9796"/>
                  </a:lnTo>
                  <a:lnTo>
                    <a:pt x="0" y="9921"/>
                  </a:lnTo>
                  <a:lnTo>
                    <a:pt x="0" y="11679"/>
                  </a:lnTo>
                  <a:lnTo>
                    <a:pt x="0" y="12233"/>
                  </a:lnTo>
                  <a:lnTo>
                    <a:pt x="0" y="14140"/>
                  </a:lnTo>
                  <a:cubicBezTo>
                    <a:pt x="0" y="16987"/>
                    <a:pt x="75" y="20930"/>
                    <a:pt x="6414" y="21442"/>
                  </a:cubicBezTo>
                  <a:cubicBezTo>
                    <a:pt x="7507" y="21530"/>
                    <a:pt x="9138" y="21591"/>
                    <a:pt x="10753" y="21599"/>
                  </a:cubicBezTo>
                  <a:lnTo>
                    <a:pt x="10753" y="21600"/>
                  </a:lnTo>
                  <a:cubicBezTo>
                    <a:pt x="10769" y="21600"/>
                    <a:pt x="10784" y="21600"/>
                    <a:pt x="10800" y="21600"/>
                  </a:cubicBezTo>
                  <a:cubicBezTo>
                    <a:pt x="10816" y="21600"/>
                    <a:pt x="10831" y="21600"/>
                    <a:pt x="10847" y="21600"/>
                  </a:cubicBezTo>
                  <a:lnTo>
                    <a:pt x="10847" y="21599"/>
                  </a:lnTo>
                  <a:cubicBezTo>
                    <a:pt x="12462" y="21591"/>
                    <a:pt x="14093" y="21530"/>
                    <a:pt x="15186" y="21442"/>
                  </a:cubicBezTo>
                  <a:cubicBezTo>
                    <a:pt x="21525" y="20930"/>
                    <a:pt x="21600" y="17202"/>
                    <a:pt x="21600" y="14140"/>
                  </a:cubicBezTo>
                  <a:lnTo>
                    <a:pt x="21600" y="12233"/>
                  </a:lnTo>
                  <a:lnTo>
                    <a:pt x="21600" y="11679"/>
                  </a:lnTo>
                  <a:lnTo>
                    <a:pt x="21600" y="9921"/>
                  </a:lnTo>
                  <a:lnTo>
                    <a:pt x="21600" y="9796"/>
                  </a:lnTo>
                  <a:lnTo>
                    <a:pt x="21600" y="7460"/>
                  </a:lnTo>
                  <a:cubicBezTo>
                    <a:pt x="21600" y="4398"/>
                    <a:pt x="21525" y="670"/>
                    <a:pt x="15186" y="158"/>
                  </a:cubicBezTo>
                  <a:close/>
                </a:path>
              </a:pathLst>
            </a:custGeom>
            <a:solidFill>
              <a:srgbClr val="E7E8EA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>
                <a:spcBef>
                  <a:spcPts val="1000"/>
                </a:spcBef>
                <a:tabLst>
                  <a:tab pos="355600" algn="l"/>
                  <a:tab pos="711200" algn="l"/>
                  <a:tab pos="1066800" algn="l"/>
                  <a:tab pos="1422400" algn="l"/>
                  <a:tab pos="1778000" algn="l"/>
                  <a:tab pos="2133600" algn="l"/>
                  <a:tab pos="2489200" algn="l"/>
                  <a:tab pos="2844800" algn="l"/>
                  <a:tab pos="3200400" algn="l"/>
                  <a:tab pos="3556000" algn="l"/>
                  <a:tab pos="3911600" algn="l"/>
                  <a:tab pos="4267200" algn="l"/>
                </a:tabLst>
                <a:defRPr sz="3000" spc="59"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+mj-lt"/>
                  <a:ea typeface="+mj-ea"/>
                  <a:cs typeface="+mj-cs"/>
                  <a:sym typeface="Gill Sans"/>
                </a:defRPr>
              </a:pPr>
              <a:endParaRPr/>
            </a:p>
          </p:txBody>
        </p:sp>
        <p:sp>
          <p:nvSpPr>
            <p:cNvPr id="14" name="Shape 29">
              <a:extLst>
                <a:ext uri="{FF2B5EF4-FFF2-40B4-BE49-F238E27FC236}">
                  <a16:creationId xmlns:a16="http://schemas.microsoft.com/office/drawing/2014/main" id="{895F5048-1C20-541B-BB11-223AE90AD223}"/>
                </a:ext>
              </a:extLst>
            </p:cNvPr>
            <p:cNvSpPr/>
            <p:nvPr/>
          </p:nvSpPr>
          <p:spPr>
            <a:xfrm>
              <a:off x="327184" y="0"/>
              <a:ext cx="473076" cy="9151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244" y="0"/>
                  </a:moveTo>
                  <a:cubicBezTo>
                    <a:pt x="2036" y="7"/>
                    <a:pt x="1137" y="76"/>
                    <a:pt x="0" y="112"/>
                  </a:cubicBezTo>
                  <a:lnTo>
                    <a:pt x="21600" y="21600"/>
                  </a:lnTo>
                  <a:lnTo>
                    <a:pt x="21600" y="20410"/>
                  </a:lnTo>
                  <a:lnTo>
                    <a:pt x="21600" y="19483"/>
                  </a:lnTo>
                  <a:lnTo>
                    <a:pt x="21600" y="16551"/>
                  </a:lnTo>
                  <a:lnTo>
                    <a:pt x="21600" y="16345"/>
                  </a:lnTo>
                  <a:lnTo>
                    <a:pt x="21600" y="12449"/>
                  </a:lnTo>
                  <a:cubicBezTo>
                    <a:pt x="21600" y="7340"/>
                    <a:pt x="21468" y="1116"/>
                    <a:pt x="10746" y="262"/>
                  </a:cubicBezTo>
                  <a:cubicBezTo>
                    <a:pt x="8898" y="115"/>
                    <a:pt x="6138" y="23"/>
                    <a:pt x="3407" y="9"/>
                  </a:cubicBezTo>
                  <a:cubicBezTo>
                    <a:pt x="3380" y="9"/>
                    <a:pt x="3361" y="0"/>
                    <a:pt x="3334" y="0"/>
                  </a:cubicBezTo>
                  <a:cubicBezTo>
                    <a:pt x="3308" y="0"/>
                    <a:pt x="3270" y="0"/>
                    <a:pt x="3244" y="0"/>
                  </a:cubicBezTo>
                  <a:close/>
                </a:path>
              </a:pathLst>
            </a:custGeom>
            <a:solidFill>
              <a:srgbClr val="EDEDE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>
                <a:spcBef>
                  <a:spcPts val="1000"/>
                </a:spcBef>
                <a:tabLst>
                  <a:tab pos="355600" algn="l"/>
                  <a:tab pos="711200" algn="l"/>
                  <a:tab pos="1066800" algn="l"/>
                  <a:tab pos="1422400" algn="l"/>
                  <a:tab pos="1778000" algn="l"/>
                  <a:tab pos="2133600" algn="l"/>
                  <a:tab pos="2489200" algn="l"/>
                  <a:tab pos="2844800" algn="l"/>
                  <a:tab pos="3200400" algn="l"/>
                  <a:tab pos="3556000" algn="l"/>
                  <a:tab pos="3911600" algn="l"/>
                  <a:tab pos="4267200" algn="l"/>
                </a:tabLst>
                <a:defRPr sz="3000" spc="59"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+mj-lt"/>
                  <a:ea typeface="+mj-ea"/>
                  <a:cs typeface="+mj-cs"/>
                  <a:sym typeface="Gill Sans"/>
                </a:defRPr>
              </a:pPr>
              <a:endParaRPr/>
            </a:p>
          </p:txBody>
        </p:sp>
        <p:sp>
          <p:nvSpPr>
            <p:cNvPr id="15" name="Shape 30">
              <a:extLst>
                <a:ext uri="{FF2B5EF4-FFF2-40B4-BE49-F238E27FC236}">
                  <a16:creationId xmlns:a16="http://schemas.microsoft.com/office/drawing/2014/main" id="{9CD7D8D3-D040-F642-FAE6-D833551CD628}"/>
                </a:ext>
              </a:extLst>
            </p:cNvPr>
            <p:cNvSpPr/>
            <p:nvPr/>
          </p:nvSpPr>
          <p:spPr>
            <a:xfrm rot="10800000" flipH="1">
              <a:off x="346316" y="1128639"/>
              <a:ext cx="107976" cy="1142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39" h="20595" extrusionOk="0">
                  <a:moveTo>
                    <a:pt x="10867" y="0"/>
                  </a:moveTo>
                  <a:cubicBezTo>
                    <a:pt x="8085" y="0"/>
                    <a:pt x="5306" y="1008"/>
                    <a:pt x="3183" y="3019"/>
                  </a:cubicBezTo>
                  <a:cubicBezTo>
                    <a:pt x="-1061" y="7040"/>
                    <a:pt x="-1061" y="13557"/>
                    <a:pt x="3183" y="17579"/>
                  </a:cubicBezTo>
                  <a:cubicBezTo>
                    <a:pt x="7428" y="21600"/>
                    <a:pt x="14306" y="21600"/>
                    <a:pt x="18550" y="17579"/>
                  </a:cubicBezTo>
                  <a:cubicBezTo>
                    <a:pt x="19401" y="16772"/>
                    <a:pt x="20029" y="15848"/>
                    <a:pt x="20539" y="14881"/>
                  </a:cubicBezTo>
                  <a:lnTo>
                    <a:pt x="10867" y="10299"/>
                  </a:lnTo>
                  <a:lnTo>
                    <a:pt x="20539" y="5717"/>
                  </a:lnTo>
                  <a:cubicBezTo>
                    <a:pt x="20029" y="4750"/>
                    <a:pt x="19401" y="3825"/>
                    <a:pt x="18550" y="3019"/>
                  </a:cubicBezTo>
                  <a:cubicBezTo>
                    <a:pt x="16428" y="1008"/>
                    <a:pt x="13648" y="0"/>
                    <a:pt x="10867" y="0"/>
                  </a:cubicBezTo>
                  <a:close/>
                </a:path>
              </a:pathLst>
            </a:custGeom>
            <a:solidFill>
              <a:srgbClr val="A6AAA9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>
                <a:spcBef>
                  <a:spcPts val="1000"/>
                </a:spcBef>
                <a:tabLst>
                  <a:tab pos="355600" algn="l"/>
                  <a:tab pos="711200" algn="l"/>
                  <a:tab pos="1066800" algn="l"/>
                  <a:tab pos="1422400" algn="l"/>
                  <a:tab pos="1778000" algn="l"/>
                  <a:tab pos="2133600" algn="l"/>
                  <a:tab pos="2489200" algn="l"/>
                  <a:tab pos="2844800" algn="l"/>
                  <a:tab pos="3200400" algn="l"/>
                  <a:tab pos="3556000" algn="l"/>
                  <a:tab pos="3911600" algn="l"/>
                  <a:tab pos="4267200" algn="l"/>
                </a:tabLst>
              </a:pPr>
              <a:endParaRPr/>
            </a:p>
          </p:txBody>
        </p:sp>
      </p:grpSp>
      <p:grpSp>
        <p:nvGrpSpPr>
          <p:cNvPr id="16" name="Group 35">
            <a:extLst>
              <a:ext uri="{FF2B5EF4-FFF2-40B4-BE49-F238E27FC236}">
                <a16:creationId xmlns:a16="http://schemas.microsoft.com/office/drawing/2014/main" id="{A0C73DBA-5D75-E07D-05BC-D3E493D1353D}"/>
              </a:ext>
            </a:extLst>
          </p:cNvPr>
          <p:cNvGrpSpPr/>
          <p:nvPr/>
        </p:nvGrpSpPr>
        <p:grpSpPr>
          <a:xfrm rot="20469491">
            <a:off x="9222948" y="1594693"/>
            <a:ext cx="1666111" cy="617489"/>
            <a:chOff x="0" y="0"/>
            <a:chExt cx="1666109" cy="617487"/>
          </a:xfrm>
        </p:grpSpPr>
        <p:sp>
          <p:nvSpPr>
            <p:cNvPr id="17" name="Shape 32">
              <a:extLst>
                <a:ext uri="{FF2B5EF4-FFF2-40B4-BE49-F238E27FC236}">
                  <a16:creationId xmlns:a16="http://schemas.microsoft.com/office/drawing/2014/main" id="{FBE3FD4F-FCB5-CFEB-1EEB-F1AFA1D40F8D}"/>
                </a:ext>
              </a:extLst>
            </p:cNvPr>
            <p:cNvSpPr/>
            <p:nvPr/>
          </p:nvSpPr>
          <p:spPr>
            <a:xfrm>
              <a:off x="1584314" y="563666"/>
              <a:ext cx="81796" cy="538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79" h="20044" extrusionOk="0">
                  <a:moveTo>
                    <a:pt x="6900" y="10548"/>
                  </a:moveTo>
                  <a:cubicBezTo>
                    <a:pt x="7522" y="7730"/>
                    <a:pt x="6204" y="4093"/>
                    <a:pt x="3599" y="0"/>
                  </a:cubicBezTo>
                  <a:lnTo>
                    <a:pt x="8991" y="2581"/>
                  </a:lnTo>
                  <a:cubicBezTo>
                    <a:pt x="11187" y="3632"/>
                    <a:pt x="21600" y="12638"/>
                    <a:pt x="20613" y="17112"/>
                  </a:cubicBezTo>
                  <a:cubicBezTo>
                    <a:pt x="19623" y="21600"/>
                    <a:pt x="7604" y="19874"/>
                    <a:pt x="5408" y="18823"/>
                  </a:cubicBezTo>
                  <a:lnTo>
                    <a:pt x="0" y="16234"/>
                  </a:lnTo>
                  <a:cubicBezTo>
                    <a:pt x="3752" y="15179"/>
                    <a:pt x="6277" y="13376"/>
                    <a:pt x="6900" y="10548"/>
                  </a:cubicBezTo>
                  <a:close/>
                </a:path>
              </a:pathLst>
            </a:custGeom>
            <a:solidFill>
              <a:srgbClr val="484848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lvl="0" algn="ctr">
                <a:lnSpc>
                  <a:spcPct val="80000"/>
                </a:lnSpc>
                <a:spcBef>
                  <a:spcPts val="900"/>
                </a:spcBef>
                <a:tabLst>
                  <a:tab pos="355600" algn="l"/>
                  <a:tab pos="711200" algn="l"/>
                  <a:tab pos="1066800" algn="l"/>
                  <a:tab pos="1422400" algn="l"/>
                  <a:tab pos="1778000" algn="l"/>
                  <a:tab pos="2133600" algn="l"/>
                  <a:tab pos="2489200" algn="l"/>
                  <a:tab pos="2844800" algn="l"/>
                  <a:tab pos="3200400" algn="l"/>
                  <a:tab pos="3556000" algn="l"/>
                  <a:tab pos="3911600" algn="l"/>
                  <a:tab pos="4267200" algn="l"/>
                </a:tabLst>
                <a:defRPr sz="6000" spc="0">
                  <a:solidFill>
                    <a:srgbClr val="F16981"/>
                  </a:solidFill>
                  <a:latin typeface="+mj-lt"/>
                  <a:ea typeface="+mj-ea"/>
                  <a:cs typeface="+mj-cs"/>
                  <a:sym typeface="Helvetica Neue UltraLight"/>
                </a:defRPr>
              </a:pPr>
              <a:endParaRPr/>
            </a:p>
          </p:txBody>
        </p:sp>
        <p:sp>
          <p:nvSpPr>
            <p:cNvPr id="18" name="Shape 33">
              <a:extLst>
                <a:ext uri="{FF2B5EF4-FFF2-40B4-BE49-F238E27FC236}">
                  <a16:creationId xmlns:a16="http://schemas.microsoft.com/office/drawing/2014/main" id="{0D626A51-BDBF-E40C-E5A4-C93542F12A9A}"/>
                </a:ext>
              </a:extLst>
            </p:cNvPr>
            <p:cNvSpPr/>
            <p:nvPr/>
          </p:nvSpPr>
          <p:spPr>
            <a:xfrm>
              <a:off x="0" y="0"/>
              <a:ext cx="1611985" cy="6106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25" h="20786" extrusionOk="0">
                  <a:moveTo>
                    <a:pt x="663" y="0"/>
                  </a:moveTo>
                  <a:lnTo>
                    <a:pt x="4201" y="2945"/>
                  </a:lnTo>
                  <a:lnTo>
                    <a:pt x="18065" y="14481"/>
                  </a:lnTo>
                  <a:cubicBezTo>
                    <a:pt x="18628" y="14950"/>
                    <a:pt x="21600" y="18715"/>
                    <a:pt x="21417" y="20157"/>
                  </a:cubicBezTo>
                  <a:cubicBezTo>
                    <a:pt x="21234" y="21600"/>
                    <a:pt x="17965" y="20172"/>
                    <a:pt x="17402" y="19704"/>
                  </a:cubicBezTo>
                  <a:lnTo>
                    <a:pt x="3539" y="8167"/>
                  </a:lnTo>
                  <a:lnTo>
                    <a:pt x="0" y="5223"/>
                  </a:lnTo>
                  <a:cubicBezTo>
                    <a:pt x="0" y="5223"/>
                    <a:pt x="663" y="0"/>
                    <a:pt x="663" y="0"/>
                  </a:cubicBezTo>
                  <a:close/>
                </a:path>
              </a:pathLst>
            </a:custGeom>
            <a:solidFill>
              <a:srgbClr val="E4646C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lvl="0" defTabSz="1460500">
                <a:spcBef>
                  <a:spcPts val="1000"/>
                </a:spcBef>
                <a:tabLst>
                  <a:tab pos="355600" algn="l"/>
                  <a:tab pos="711200" algn="l"/>
                  <a:tab pos="1066800" algn="l"/>
                  <a:tab pos="1422400" algn="l"/>
                  <a:tab pos="1778000" algn="l"/>
                  <a:tab pos="2133600" algn="l"/>
                  <a:tab pos="2489200" algn="l"/>
                  <a:tab pos="2844800" algn="l"/>
                  <a:tab pos="3200400" algn="l"/>
                  <a:tab pos="3556000" algn="l"/>
                  <a:tab pos="3911600" algn="l"/>
                  <a:tab pos="4267200" algn="l"/>
                </a:tabLst>
                <a:defRPr sz="4800" cap="all" spc="96">
                  <a:solidFill>
                    <a:srgbClr val="E46B61"/>
                  </a:solidFill>
                  <a:latin typeface="+mj-lt"/>
                  <a:ea typeface="+mj-ea"/>
                  <a:cs typeface="+mj-cs"/>
                  <a:sym typeface="Helvetica Neue Bold Condensed"/>
                </a:defRPr>
              </a:pPr>
              <a:endParaRPr/>
            </a:p>
          </p:txBody>
        </p:sp>
        <p:sp>
          <p:nvSpPr>
            <p:cNvPr id="19" name="Shape 34">
              <a:extLst>
                <a:ext uri="{FF2B5EF4-FFF2-40B4-BE49-F238E27FC236}">
                  <a16:creationId xmlns:a16="http://schemas.microsoft.com/office/drawing/2014/main" id="{569B3C82-DDA5-D31A-8BCC-CD6E05368014}"/>
                </a:ext>
              </a:extLst>
            </p:cNvPr>
            <p:cNvSpPr/>
            <p:nvPr/>
          </p:nvSpPr>
          <p:spPr>
            <a:xfrm>
              <a:off x="114271" y="21831"/>
              <a:ext cx="519151" cy="3929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076" y="0"/>
                  </a:moveTo>
                  <a:lnTo>
                    <a:pt x="7388" y="1851"/>
                  </a:lnTo>
                  <a:lnTo>
                    <a:pt x="4735" y="12638"/>
                  </a:lnTo>
                  <a:lnTo>
                    <a:pt x="21600" y="19878"/>
                  </a:lnTo>
                  <a:lnTo>
                    <a:pt x="21177" y="21600"/>
                  </a:lnTo>
                  <a:lnTo>
                    <a:pt x="0" y="12509"/>
                  </a:lnTo>
                  <a:cubicBezTo>
                    <a:pt x="0" y="12509"/>
                    <a:pt x="3076" y="0"/>
                    <a:pt x="3076" y="0"/>
                  </a:cubicBezTo>
                  <a:close/>
                </a:path>
              </a:pathLst>
            </a:custGeom>
            <a:solidFill>
              <a:srgbClr val="484848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lvl="0" algn="ctr">
                <a:lnSpc>
                  <a:spcPct val="80000"/>
                </a:lnSpc>
                <a:spcBef>
                  <a:spcPts val="900"/>
                </a:spcBef>
                <a:tabLst>
                  <a:tab pos="355600" algn="l"/>
                  <a:tab pos="711200" algn="l"/>
                  <a:tab pos="1066800" algn="l"/>
                  <a:tab pos="1422400" algn="l"/>
                  <a:tab pos="1778000" algn="l"/>
                  <a:tab pos="2133600" algn="l"/>
                  <a:tab pos="2489200" algn="l"/>
                  <a:tab pos="2844800" algn="l"/>
                  <a:tab pos="3200400" algn="l"/>
                  <a:tab pos="3556000" algn="l"/>
                  <a:tab pos="3911600" algn="l"/>
                  <a:tab pos="4267200" algn="l"/>
                </a:tabLst>
                <a:defRPr sz="6000" spc="0">
                  <a:solidFill>
                    <a:srgbClr val="F16981"/>
                  </a:solidFill>
                  <a:latin typeface="+mj-lt"/>
                  <a:ea typeface="+mj-ea"/>
                  <a:cs typeface="+mj-cs"/>
                  <a:sym typeface="Helvetica Neue UltraLight"/>
                </a:defRPr>
              </a:pPr>
              <a:endParaRPr/>
            </a:p>
          </p:txBody>
        </p:sp>
      </p:grpSp>
      <p:grpSp>
        <p:nvGrpSpPr>
          <p:cNvPr id="20" name="Group 96">
            <a:extLst>
              <a:ext uri="{FF2B5EF4-FFF2-40B4-BE49-F238E27FC236}">
                <a16:creationId xmlns:a16="http://schemas.microsoft.com/office/drawing/2014/main" id="{9DE1D765-C4D0-0D9B-CCF3-F0565CC0216A}"/>
              </a:ext>
            </a:extLst>
          </p:cNvPr>
          <p:cNvGrpSpPr/>
          <p:nvPr/>
        </p:nvGrpSpPr>
        <p:grpSpPr>
          <a:xfrm>
            <a:off x="6918567" y="872431"/>
            <a:ext cx="1183530" cy="2161167"/>
            <a:chOff x="0" y="0"/>
            <a:chExt cx="3335363" cy="6090492"/>
          </a:xfrm>
        </p:grpSpPr>
        <p:sp>
          <p:nvSpPr>
            <p:cNvPr id="21" name="Shape 82">
              <a:extLst>
                <a:ext uri="{FF2B5EF4-FFF2-40B4-BE49-F238E27FC236}">
                  <a16:creationId xmlns:a16="http://schemas.microsoft.com/office/drawing/2014/main" id="{81F7990D-0B34-3B8F-EF4D-BE55FCF8E5EA}"/>
                </a:ext>
              </a:extLst>
            </p:cNvPr>
            <p:cNvSpPr/>
            <p:nvPr/>
          </p:nvSpPr>
          <p:spPr>
            <a:xfrm>
              <a:off x="3203294" y="2081611"/>
              <a:ext cx="132070" cy="5964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911" y="0"/>
                  </a:moveTo>
                  <a:lnTo>
                    <a:pt x="0" y="0"/>
                  </a:lnTo>
                  <a:cubicBezTo>
                    <a:pt x="0" y="5916"/>
                    <a:pt x="0" y="13465"/>
                    <a:pt x="0" y="21600"/>
                  </a:cubicBezTo>
                  <a:lnTo>
                    <a:pt x="10911" y="21600"/>
                  </a:lnTo>
                  <a:cubicBezTo>
                    <a:pt x="16789" y="21600"/>
                    <a:pt x="21600" y="20534"/>
                    <a:pt x="21600" y="19233"/>
                  </a:cubicBezTo>
                  <a:lnTo>
                    <a:pt x="21600" y="2367"/>
                  </a:lnTo>
                  <a:cubicBezTo>
                    <a:pt x="21600" y="1066"/>
                    <a:pt x="16789" y="0"/>
                    <a:pt x="10911" y="0"/>
                  </a:cubicBezTo>
                  <a:close/>
                </a:path>
              </a:pathLst>
            </a:custGeom>
            <a:solidFill>
              <a:srgbClr val="D8D8D7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lvl="0">
                <a:spcBef>
                  <a:spcPts val="1000"/>
                </a:spcBef>
                <a:tabLst>
                  <a:tab pos="355600" algn="l"/>
                  <a:tab pos="711200" algn="l"/>
                  <a:tab pos="1066800" algn="l"/>
                  <a:tab pos="1422400" algn="l"/>
                  <a:tab pos="1778000" algn="l"/>
                  <a:tab pos="2133600" algn="l"/>
                  <a:tab pos="2489200" algn="l"/>
                  <a:tab pos="2844800" algn="l"/>
                  <a:tab pos="3200400" algn="l"/>
                  <a:tab pos="3556000" algn="l"/>
                  <a:tab pos="3911600" algn="l"/>
                  <a:tab pos="4267200" algn="l"/>
                </a:tabLst>
                <a:defRPr sz="3000" spc="59"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+mj-lt"/>
                  <a:ea typeface="+mj-ea"/>
                  <a:cs typeface="+mj-cs"/>
                  <a:sym typeface="Gill Sans"/>
                </a:defRPr>
              </a:pPr>
              <a:endParaRPr/>
            </a:p>
          </p:txBody>
        </p:sp>
        <p:sp>
          <p:nvSpPr>
            <p:cNvPr id="22" name="Shape 83">
              <a:extLst>
                <a:ext uri="{FF2B5EF4-FFF2-40B4-BE49-F238E27FC236}">
                  <a16:creationId xmlns:a16="http://schemas.microsoft.com/office/drawing/2014/main" id="{2DFACCF0-36A2-8317-B563-520C16813802}"/>
                </a:ext>
              </a:extLst>
            </p:cNvPr>
            <p:cNvSpPr/>
            <p:nvPr/>
          </p:nvSpPr>
          <p:spPr>
            <a:xfrm>
              <a:off x="3203294" y="3183694"/>
              <a:ext cx="46280" cy="9356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21600"/>
                  </a:lnTo>
                  <a:lnTo>
                    <a:pt x="21600" y="0"/>
                  </a:lnTo>
                  <a:lnTo>
                    <a:pt x="0" y="0"/>
                  </a:lnTo>
                  <a:cubicBezTo>
                    <a:pt x="0" y="0"/>
                    <a:pt x="0" y="21600"/>
                    <a:pt x="0" y="21600"/>
                  </a:cubicBezTo>
                  <a:close/>
                </a:path>
              </a:pathLst>
            </a:custGeom>
            <a:solidFill>
              <a:srgbClr val="D8D8D7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lvl="0">
                <a:spcBef>
                  <a:spcPts val="1000"/>
                </a:spcBef>
                <a:tabLst>
                  <a:tab pos="355600" algn="l"/>
                  <a:tab pos="711200" algn="l"/>
                  <a:tab pos="1066800" algn="l"/>
                  <a:tab pos="1422400" algn="l"/>
                  <a:tab pos="1778000" algn="l"/>
                  <a:tab pos="2133600" algn="l"/>
                  <a:tab pos="2489200" algn="l"/>
                  <a:tab pos="2844800" algn="l"/>
                  <a:tab pos="3200400" algn="l"/>
                  <a:tab pos="3556000" algn="l"/>
                  <a:tab pos="3911600" algn="l"/>
                  <a:tab pos="4267200" algn="l"/>
                </a:tabLst>
                <a:defRPr sz="3000" spc="59"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+mj-lt"/>
                  <a:ea typeface="+mj-ea"/>
                  <a:cs typeface="+mj-cs"/>
                  <a:sym typeface="Gill Sans"/>
                </a:defRPr>
              </a:pPr>
              <a:endParaRPr/>
            </a:p>
          </p:txBody>
        </p:sp>
        <p:grpSp>
          <p:nvGrpSpPr>
            <p:cNvPr id="23" name="Group 95">
              <a:extLst>
                <a:ext uri="{FF2B5EF4-FFF2-40B4-BE49-F238E27FC236}">
                  <a16:creationId xmlns:a16="http://schemas.microsoft.com/office/drawing/2014/main" id="{1F5B7459-F7EB-DCF3-9314-D54746EC6C91}"/>
                </a:ext>
              </a:extLst>
            </p:cNvPr>
            <p:cNvGrpSpPr/>
            <p:nvPr/>
          </p:nvGrpSpPr>
          <p:grpSpPr>
            <a:xfrm>
              <a:off x="0" y="0"/>
              <a:ext cx="3203295" cy="6090493"/>
              <a:chOff x="0" y="0"/>
              <a:chExt cx="3203294" cy="6090492"/>
            </a:xfrm>
          </p:grpSpPr>
          <p:sp>
            <p:nvSpPr>
              <p:cNvPr id="24" name="Shape 84">
                <a:extLst>
                  <a:ext uri="{FF2B5EF4-FFF2-40B4-BE49-F238E27FC236}">
                    <a16:creationId xmlns:a16="http://schemas.microsoft.com/office/drawing/2014/main" id="{E0553750-28B4-0FB4-C885-14C05345F199}"/>
                  </a:ext>
                </a:extLst>
              </p:cNvPr>
              <p:cNvSpPr/>
              <p:nvPr/>
            </p:nvSpPr>
            <p:spPr>
              <a:xfrm>
                <a:off x="349524" y="4870397"/>
                <a:ext cx="2500072" cy="122009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10" y="660"/>
                    </a:moveTo>
                    <a:cubicBezTo>
                      <a:pt x="1408" y="660"/>
                      <a:pt x="1114" y="600"/>
                      <a:pt x="829" y="487"/>
                    </a:cubicBezTo>
                    <a:cubicBezTo>
                      <a:pt x="543" y="375"/>
                      <a:pt x="266" y="210"/>
                      <a:pt x="0" y="0"/>
                    </a:cubicBezTo>
                    <a:cubicBezTo>
                      <a:pt x="293" y="407"/>
                      <a:pt x="569" y="874"/>
                      <a:pt x="806" y="1517"/>
                    </a:cubicBezTo>
                    <a:cubicBezTo>
                      <a:pt x="1395" y="3123"/>
                      <a:pt x="1832" y="4565"/>
                      <a:pt x="2088" y="6483"/>
                    </a:cubicBezTo>
                    <a:cubicBezTo>
                      <a:pt x="2405" y="8866"/>
                      <a:pt x="2333" y="11532"/>
                      <a:pt x="2392" y="14005"/>
                    </a:cubicBezTo>
                    <a:cubicBezTo>
                      <a:pt x="2436" y="15851"/>
                      <a:pt x="2488" y="17579"/>
                      <a:pt x="3186" y="18926"/>
                    </a:cubicBezTo>
                    <a:cubicBezTo>
                      <a:pt x="3777" y="20065"/>
                      <a:pt x="4616" y="20595"/>
                      <a:pt x="5407" y="20754"/>
                    </a:cubicBezTo>
                    <a:cubicBezTo>
                      <a:pt x="5410" y="20755"/>
                      <a:pt x="7500" y="21600"/>
                      <a:pt x="10818" y="21600"/>
                    </a:cubicBezTo>
                    <a:cubicBezTo>
                      <a:pt x="13995" y="21600"/>
                      <a:pt x="16226" y="20755"/>
                      <a:pt x="16229" y="20754"/>
                    </a:cubicBezTo>
                    <a:cubicBezTo>
                      <a:pt x="17020" y="20595"/>
                      <a:pt x="17860" y="20065"/>
                      <a:pt x="18450" y="18926"/>
                    </a:cubicBezTo>
                    <a:cubicBezTo>
                      <a:pt x="19149" y="17579"/>
                      <a:pt x="19199" y="15851"/>
                      <a:pt x="19244" y="14005"/>
                    </a:cubicBezTo>
                    <a:cubicBezTo>
                      <a:pt x="19304" y="11533"/>
                      <a:pt x="19236" y="8867"/>
                      <a:pt x="19549" y="6483"/>
                    </a:cubicBezTo>
                    <a:cubicBezTo>
                      <a:pt x="19797" y="4589"/>
                      <a:pt x="20218" y="3165"/>
                      <a:pt x="20795" y="1572"/>
                    </a:cubicBezTo>
                    <a:cubicBezTo>
                      <a:pt x="21029" y="924"/>
                      <a:pt x="21306" y="459"/>
                      <a:pt x="21600" y="55"/>
                    </a:cubicBezTo>
                    <a:cubicBezTo>
                      <a:pt x="21334" y="265"/>
                      <a:pt x="21057" y="430"/>
                      <a:pt x="20772" y="542"/>
                    </a:cubicBezTo>
                    <a:cubicBezTo>
                      <a:pt x="20486" y="655"/>
                      <a:pt x="20192" y="715"/>
                      <a:pt x="19891" y="715"/>
                    </a:cubicBezTo>
                    <a:lnTo>
                      <a:pt x="1710" y="660"/>
                    </a:lnTo>
                    <a:close/>
                  </a:path>
                </a:pathLst>
              </a:custGeom>
              <a:solidFill>
                <a:srgbClr val="E4646C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lvl="0">
                  <a:spcBef>
                    <a:spcPts val="1000"/>
                  </a:spcBef>
                  <a:tabLst>
                    <a:tab pos="355600" algn="l"/>
                    <a:tab pos="711200" algn="l"/>
                    <a:tab pos="1066800" algn="l"/>
                    <a:tab pos="1422400" algn="l"/>
                    <a:tab pos="1778000" algn="l"/>
                    <a:tab pos="2133600" algn="l"/>
                    <a:tab pos="2489200" algn="l"/>
                    <a:tab pos="2844800" algn="l"/>
                    <a:tab pos="3200400" algn="l"/>
                    <a:tab pos="3556000" algn="l"/>
                    <a:tab pos="3911600" algn="l"/>
                    <a:tab pos="4267200" algn="l"/>
                  </a:tabLst>
                </a:pPr>
                <a:endParaRPr/>
              </a:p>
            </p:txBody>
          </p:sp>
          <p:sp>
            <p:nvSpPr>
              <p:cNvPr id="25" name="Shape 85">
                <a:extLst>
                  <a:ext uri="{FF2B5EF4-FFF2-40B4-BE49-F238E27FC236}">
                    <a16:creationId xmlns:a16="http://schemas.microsoft.com/office/drawing/2014/main" id="{A2DF0BDA-0061-E3D4-4E82-2394632DA261}"/>
                  </a:ext>
                </a:extLst>
              </p:cNvPr>
              <p:cNvSpPr/>
              <p:nvPr/>
            </p:nvSpPr>
            <p:spPr>
              <a:xfrm>
                <a:off x="345256" y="0"/>
                <a:ext cx="2507345" cy="122534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833" y="20943"/>
                    </a:moveTo>
                    <a:cubicBezTo>
                      <a:pt x="20132" y="20965"/>
                      <a:pt x="20425" y="21023"/>
                      <a:pt x="20711" y="21115"/>
                    </a:cubicBezTo>
                    <a:cubicBezTo>
                      <a:pt x="21014" y="21211"/>
                      <a:pt x="21310" y="21344"/>
                      <a:pt x="21600" y="21508"/>
                    </a:cubicBezTo>
                    <a:cubicBezTo>
                      <a:pt x="21282" y="21103"/>
                      <a:pt x="20982" y="20621"/>
                      <a:pt x="20734" y="19942"/>
                    </a:cubicBezTo>
                    <a:cubicBezTo>
                      <a:pt x="20160" y="18370"/>
                      <a:pt x="19765" y="16932"/>
                      <a:pt x="19528" y="15052"/>
                    </a:cubicBezTo>
                    <a:cubicBezTo>
                      <a:pt x="19228" y="12673"/>
                      <a:pt x="19286" y="10022"/>
                      <a:pt x="19224" y="7562"/>
                    </a:cubicBezTo>
                    <a:cubicBezTo>
                      <a:pt x="19178" y="5725"/>
                      <a:pt x="19129" y="4005"/>
                      <a:pt x="18432" y="2662"/>
                    </a:cubicBezTo>
                    <a:cubicBezTo>
                      <a:pt x="17844" y="1528"/>
                      <a:pt x="17007" y="1000"/>
                      <a:pt x="16218" y="843"/>
                    </a:cubicBezTo>
                    <a:cubicBezTo>
                      <a:pt x="16214" y="842"/>
                      <a:pt x="13990" y="0"/>
                      <a:pt x="10823" y="0"/>
                    </a:cubicBezTo>
                    <a:cubicBezTo>
                      <a:pt x="7515" y="0"/>
                      <a:pt x="5431" y="842"/>
                      <a:pt x="5427" y="843"/>
                    </a:cubicBezTo>
                    <a:cubicBezTo>
                      <a:pt x="4639" y="1001"/>
                      <a:pt x="3801" y="1528"/>
                      <a:pt x="3213" y="2662"/>
                    </a:cubicBezTo>
                    <a:cubicBezTo>
                      <a:pt x="2517" y="4005"/>
                      <a:pt x="2467" y="5725"/>
                      <a:pt x="2421" y="7562"/>
                    </a:cubicBezTo>
                    <a:cubicBezTo>
                      <a:pt x="2359" y="10022"/>
                      <a:pt x="2419" y="12674"/>
                      <a:pt x="2117" y="15052"/>
                    </a:cubicBezTo>
                    <a:cubicBezTo>
                      <a:pt x="1879" y="16930"/>
                      <a:pt x="1481" y="18365"/>
                      <a:pt x="911" y="19942"/>
                    </a:cubicBezTo>
                    <a:cubicBezTo>
                      <a:pt x="651" y="20661"/>
                      <a:pt x="336" y="21172"/>
                      <a:pt x="0" y="21600"/>
                    </a:cubicBezTo>
                    <a:cubicBezTo>
                      <a:pt x="302" y="21391"/>
                      <a:pt x="614" y="21227"/>
                      <a:pt x="934" y="21115"/>
                    </a:cubicBezTo>
                    <a:cubicBezTo>
                      <a:pt x="1220" y="21014"/>
                      <a:pt x="1513" y="20955"/>
                      <a:pt x="1812" y="20943"/>
                    </a:cubicBezTo>
                    <a:cubicBezTo>
                      <a:pt x="4827" y="21091"/>
                      <a:pt x="7843" y="21164"/>
                      <a:pt x="10859" y="21164"/>
                    </a:cubicBezTo>
                    <a:cubicBezTo>
                      <a:pt x="13850" y="21163"/>
                      <a:pt x="16842" y="21089"/>
                      <a:pt x="19833" y="20943"/>
                    </a:cubicBezTo>
                    <a:close/>
                  </a:path>
                </a:pathLst>
              </a:custGeom>
              <a:solidFill>
                <a:srgbClr val="E4646C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38100" tIns="38100" rIns="38100" bIns="38100" numCol="1" anchor="ctr">
                <a:noAutofit/>
              </a:bodyPr>
              <a:lstStyle/>
              <a:p>
                <a:pPr lvl="0">
                  <a:spcBef>
                    <a:spcPts val="1000"/>
                  </a:spcBef>
                  <a:tabLst>
                    <a:tab pos="355600" algn="l"/>
                    <a:tab pos="711200" algn="l"/>
                    <a:tab pos="1066800" algn="l"/>
                    <a:tab pos="1422400" algn="l"/>
                    <a:tab pos="1778000" algn="l"/>
                    <a:tab pos="2133600" algn="l"/>
                    <a:tab pos="2489200" algn="l"/>
                    <a:tab pos="2844800" algn="l"/>
                    <a:tab pos="3200400" algn="l"/>
                    <a:tab pos="3556000" algn="l"/>
                    <a:tab pos="3911600" algn="l"/>
                    <a:tab pos="4267200" algn="l"/>
                  </a:tabLst>
                </a:pPr>
                <a:endParaRPr/>
              </a:p>
            </p:txBody>
          </p:sp>
          <p:grpSp>
            <p:nvGrpSpPr>
              <p:cNvPr id="26" name="Group 94">
                <a:extLst>
                  <a:ext uri="{FF2B5EF4-FFF2-40B4-BE49-F238E27FC236}">
                    <a16:creationId xmlns:a16="http://schemas.microsoft.com/office/drawing/2014/main" id="{AAB71BC8-5B37-0528-6B5A-2ECAC55D28E5}"/>
                  </a:ext>
                </a:extLst>
              </p:cNvPr>
              <p:cNvGrpSpPr/>
              <p:nvPr/>
            </p:nvGrpSpPr>
            <p:grpSpPr>
              <a:xfrm>
                <a:off x="0" y="1179906"/>
                <a:ext cx="3203295" cy="3734224"/>
                <a:chOff x="0" y="0"/>
                <a:chExt cx="3203294" cy="3734223"/>
              </a:xfrm>
            </p:grpSpPr>
            <p:sp>
              <p:nvSpPr>
                <p:cNvPr id="27" name="Shape 86">
                  <a:extLst>
                    <a:ext uri="{FF2B5EF4-FFF2-40B4-BE49-F238E27FC236}">
                      <a16:creationId xmlns:a16="http://schemas.microsoft.com/office/drawing/2014/main" id="{738A862B-067F-F406-B619-D7CD4BB387B2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3203295" cy="373422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98" h="21600" extrusionOk="0">
                      <a:moveTo>
                        <a:pt x="19185" y="216"/>
                      </a:moveTo>
                      <a:cubicBezTo>
                        <a:pt x="18977" y="147"/>
                        <a:pt x="18761" y="93"/>
                        <a:pt x="18538" y="56"/>
                      </a:cubicBezTo>
                      <a:cubicBezTo>
                        <a:pt x="18315" y="20"/>
                        <a:pt x="18086" y="0"/>
                        <a:pt x="17851" y="0"/>
                      </a:cubicBezTo>
                      <a:lnTo>
                        <a:pt x="3746" y="0"/>
                      </a:lnTo>
                      <a:cubicBezTo>
                        <a:pt x="3511" y="0"/>
                        <a:pt x="3282" y="20"/>
                        <a:pt x="3059" y="56"/>
                      </a:cubicBezTo>
                      <a:cubicBezTo>
                        <a:pt x="2836" y="93"/>
                        <a:pt x="2620" y="147"/>
                        <a:pt x="2412" y="216"/>
                      </a:cubicBezTo>
                      <a:cubicBezTo>
                        <a:pt x="2009" y="444"/>
                        <a:pt x="1563" y="604"/>
                        <a:pt x="1188" y="906"/>
                      </a:cubicBezTo>
                      <a:cubicBezTo>
                        <a:pt x="438" y="1512"/>
                        <a:pt x="0" y="2357"/>
                        <a:pt x="0" y="3244"/>
                      </a:cubicBezTo>
                      <a:cubicBezTo>
                        <a:pt x="0" y="3245"/>
                        <a:pt x="0" y="7018"/>
                        <a:pt x="0" y="10800"/>
                      </a:cubicBezTo>
                      <a:cubicBezTo>
                        <a:pt x="0" y="14582"/>
                        <a:pt x="0" y="18355"/>
                        <a:pt x="0" y="18356"/>
                      </a:cubicBezTo>
                      <a:cubicBezTo>
                        <a:pt x="0" y="19243"/>
                        <a:pt x="438" y="20088"/>
                        <a:pt x="1188" y="20694"/>
                      </a:cubicBezTo>
                      <a:cubicBezTo>
                        <a:pt x="1562" y="20996"/>
                        <a:pt x="2009" y="21156"/>
                        <a:pt x="2412" y="21384"/>
                      </a:cubicBezTo>
                      <a:cubicBezTo>
                        <a:pt x="2620" y="21453"/>
                        <a:pt x="2836" y="21507"/>
                        <a:pt x="3059" y="21544"/>
                      </a:cubicBezTo>
                      <a:cubicBezTo>
                        <a:pt x="3282" y="21580"/>
                        <a:pt x="3511" y="21600"/>
                        <a:pt x="3746" y="21600"/>
                      </a:cubicBezTo>
                      <a:lnTo>
                        <a:pt x="17851" y="21600"/>
                      </a:lnTo>
                      <a:cubicBezTo>
                        <a:pt x="18086" y="21600"/>
                        <a:pt x="18315" y="21580"/>
                        <a:pt x="18538" y="21544"/>
                      </a:cubicBezTo>
                      <a:cubicBezTo>
                        <a:pt x="18761" y="21507"/>
                        <a:pt x="18992" y="21480"/>
                        <a:pt x="19185" y="21384"/>
                      </a:cubicBezTo>
                      <a:cubicBezTo>
                        <a:pt x="19602" y="21177"/>
                        <a:pt x="20033" y="20993"/>
                        <a:pt x="20409" y="20694"/>
                      </a:cubicBezTo>
                      <a:cubicBezTo>
                        <a:pt x="21163" y="20092"/>
                        <a:pt x="21598" y="19243"/>
                        <a:pt x="21597" y="18356"/>
                      </a:cubicBezTo>
                      <a:cubicBezTo>
                        <a:pt x="21597" y="18350"/>
                        <a:pt x="21594" y="14579"/>
                        <a:pt x="21597" y="10800"/>
                      </a:cubicBezTo>
                      <a:cubicBezTo>
                        <a:pt x="21600" y="7018"/>
                        <a:pt x="21597" y="3247"/>
                        <a:pt x="21597" y="3244"/>
                      </a:cubicBezTo>
                      <a:cubicBezTo>
                        <a:pt x="21597" y="2357"/>
                        <a:pt x="21159" y="1512"/>
                        <a:pt x="20409" y="906"/>
                      </a:cubicBezTo>
                      <a:cubicBezTo>
                        <a:pt x="20035" y="604"/>
                        <a:pt x="19588" y="444"/>
                        <a:pt x="19185" y="216"/>
                      </a:cubicBezTo>
                      <a:close/>
                    </a:path>
                  </a:pathLst>
                </a:custGeom>
                <a:solidFill>
                  <a:srgbClr val="EEEEEE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/>
                <a:p>
                  <a:pPr lvl="0">
                    <a:spcBef>
                      <a:spcPts val="1000"/>
                    </a:spcBef>
                    <a:tabLst>
                      <a:tab pos="355600" algn="l"/>
                      <a:tab pos="711200" algn="l"/>
                      <a:tab pos="1066800" algn="l"/>
                      <a:tab pos="1422400" algn="l"/>
                      <a:tab pos="1778000" algn="l"/>
                      <a:tab pos="2133600" algn="l"/>
                      <a:tab pos="2489200" algn="l"/>
                      <a:tab pos="2844800" algn="l"/>
                      <a:tab pos="3200400" algn="l"/>
                      <a:tab pos="3556000" algn="l"/>
                      <a:tab pos="3911600" algn="l"/>
                      <a:tab pos="4267200" algn="l"/>
                    </a:tabLst>
                    <a:defRPr sz="3000" spc="59"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  <a:latin typeface="+mj-lt"/>
                      <a:ea typeface="+mj-ea"/>
                      <a:cs typeface="+mj-cs"/>
                      <a:sym typeface="Gill Sans"/>
                    </a:defRPr>
                  </a:pPr>
                  <a:endParaRPr/>
                </a:p>
              </p:txBody>
            </p:sp>
            <p:grpSp>
              <p:nvGrpSpPr>
                <p:cNvPr id="28" name="Group 93">
                  <a:extLst>
                    <a:ext uri="{FF2B5EF4-FFF2-40B4-BE49-F238E27FC236}">
                      <a16:creationId xmlns:a16="http://schemas.microsoft.com/office/drawing/2014/main" id="{0843F7EE-F7B7-0BA2-4308-EBD956FC24F4}"/>
                    </a:ext>
                  </a:extLst>
                </p:cNvPr>
                <p:cNvGrpSpPr/>
                <p:nvPr/>
              </p:nvGrpSpPr>
              <p:grpSpPr>
                <a:xfrm>
                  <a:off x="147084" y="133585"/>
                  <a:ext cx="2908941" cy="3472752"/>
                  <a:chOff x="0" y="0"/>
                  <a:chExt cx="2908940" cy="3472750"/>
                </a:xfrm>
              </p:grpSpPr>
              <p:grpSp>
                <p:nvGrpSpPr>
                  <p:cNvPr id="29" name="Group 89">
                    <a:extLst>
                      <a:ext uri="{FF2B5EF4-FFF2-40B4-BE49-F238E27FC236}">
                        <a16:creationId xmlns:a16="http://schemas.microsoft.com/office/drawing/2014/main" id="{A85A1BDA-3973-DF31-EFEC-341FDB5A9C92}"/>
                      </a:ext>
                    </a:extLst>
                  </p:cNvPr>
                  <p:cNvGrpSpPr/>
                  <p:nvPr/>
                </p:nvGrpSpPr>
                <p:grpSpPr>
                  <a:xfrm>
                    <a:off x="0" y="-1"/>
                    <a:ext cx="2908941" cy="3472752"/>
                    <a:chOff x="0" y="0"/>
                    <a:chExt cx="2908940" cy="3472750"/>
                  </a:xfrm>
                </p:grpSpPr>
                <p:sp>
                  <p:nvSpPr>
                    <p:cNvPr id="33" name="Shape 87">
                      <a:extLst>
                        <a:ext uri="{FF2B5EF4-FFF2-40B4-BE49-F238E27FC236}">
                          <a16:creationId xmlns:a16="http://schemas.microsoft.com/office/drawing/2014/main" id="{E2AC08C8-F802-D6CC-564F-0CB467A315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0" y="0"/>
                      <a:ext cx="2908941" cy="3472751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0" y="18754"/>
                          </a:moveTo>
                          <a:cubicBezTo>
                            <a:pt x="0" y="20319"/>
                            <a:pt x="1537" y="21600"/>
                            <a:pt x="3417" y="21600"/>
                          </a:cubicBezTo>
                          <a:lnTo>
                            <a:pt x="18183" y="21600"/>
                          </a:lnTo>
                          <a:cubicBezTo>
                            <a:pt x="20063" y="21600"/>
                            <a:pt x="21600" y="20319"/>
                            <a:pt x="21600" y="18754"/>
                          </a:cubicBezTo>
                          <a:lnTo>
                            <a:pt x="21600" y="2846"/>
                          </a:lnTo>
                          <a:cubicBezTo>
                            <a:pt x="21600" y="1281"/>
                            <a:pt x="20063" y="0"/>
                            <a:pt x="18183" y="0"/>
                          </a:cubicBezTo>
                          <a:lnTo>
                            <a:pt x="3417" y="0"/>
                          </a:lnTo>
                          <a:cubicBezTo>
                            <a:pt x="1537" y="0"/>
                            <a:pt x="0" y="1281"/>
                            <a:pt x="0" y="2846"/>
                          </a:cubicBezTo>
                          <a:cubicBezTo>
                            <a:pt x="0" y="2846"/>
                            <a:pt x="0" y="18754"/>
                            <a:pt x="0" y="18754"/>
                          </a:cubicBezTo>
                          <a:close/>
                        </a:path>
                      </a:pathLst>
                    </a:custGeom>
                    <a:solidFill>
                      <a:srgbClr val="484848"/>
                    </a:solidFill>
                    <a:ln w="12700" cap="flat">
                      <a:noFill/>
                      <a:miter lim="400000"/>
                    </a:ln>
                    <a:effectLst/>
                  </p:spPr>
                  <p:txBody>
                    <a:bodyPr wrap="square" lIns="38100" tIns="38100" rIns="38100" bIns="38100" numCol="1" anchor="ctr">
                      <a:noAutofit/>
                    </a:bodyPr>
                    <a:lstStyle/>
                    <a:p>
                      <a:pPr lvl="0" algn="ctr">
                        <a:lnSpc>
                          <a:spcPct val="80000"/>
                        </a:lnSpc>
                        <a:spcBef>
                          <a:spcPts val="900"/>
                        </a:spcBef>
                        <a:tabLst>
                          <a:tab pos="355600" algn="l"/>
                          <a:tab pos="711200" algn="l"/>
                          <a:tab pos="1066800" algn="l"/>
                          <a:tab pos="1422400" algn="l"/>
                          <a:tab pos="1778000" algn="l"/>
                          <a:tab pos="2133600" algn="l"/>
                          <a:tab pos="2489200" algn="l"/>
                          <a:tab pos="2844800" algn="l"/>
                          <a:tab pos="3200400" algn="l"/>
                          <a:tab pos="3556000" algn="l"/>
                          <a:tab pos="3911600" algn="l"/>
                          <a:tab pos="4267200" algn="l"/>
                        </a:tabLst>
                        <a:defRPr sz="6000" spc="0">
                          <a:solidFill>
                            <a:srgbClr val="F16981"/>
                          </a:solidFill>
                          <a:latin typeface="+mj-lt"/>
                          <a:ea typeface="+mj-ea"/>
                          <a:cs typeface="+mj-cs"/>
                          <a:sym typeface="Helvetica Neue UltraLight"/>
                        </a:defRPr>
                      </a:pPr>
                      <a:endParaRPr/>
                    </a:p>
                  </p:txBody>
                </p:sp>
                <p:sp>
                  <p:nvSpPr>
                    <p:cNvPr id="34" name="Shape 88">
                      <a:extLst>
                        <a:ext uri="{FF2B5EF4-FFF2-40B4-BE49-F238E27FC236}">
                          <a16:creationId xmlns:a16="http://schemas.microsoft.com/office/drawing/2014/main" id="{6FF8834A-A165-E710-5D56-2F649364C5A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2538" y="0"/>
                      <a:ext cx="2006403" cy="2527269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1600" h="21600" extrusionOk="0">
                          <a:moveTo>
                            <a:pt x="0" y="0"/>
                          </a:moveTo>
                          <a:lnTo>
                            <a:pt x="21600" y="21600"/>
                          </a:lnTo>
                          <a:lnTo>
                            <a:pt x="21600" y="3909"/>
                          </a:lnTo>
                          <a:cubicBezTo>
                            <a:pt x="21600" y="1758"/>
                            <a:pt x="19371" y="0"/>
                            <a:pt x="16647" y="0"/>
                          </a:cubicBez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5A5A5A"/>
                    </a:solidFill>
                    <a:ln w="12700" cap="flat">
                      <a:noFill/>
                      <a:miter lim="400000"/>
                    </a:ln>
                    <a:effectLst/>
                  </p:spPr>
                  <p:txBody>
                    <a:bodyPr wrap="square" lIns="38100" tIns="38100" rIns="38100" bIns="38100" numCol="1" anchor="ctr">
                      <a:noAutofit/>
                    </a:bodyPr>
                    <a:lstStyle/>
                    <a:p>
                      <a:pPr lvl="0" algn="ctr">
                        <a:lnSpc>
                          <a:spcPct val="80000"/>
                        </a:lnSpc>
                        <a:spcBef>
                          <a:spcPts val="900"/>
                        </a:spcBef>
                        <a:tabLst>
                          <a:tab pos="355600" algn="l"/>
                          <a:tab pos="711200" algn="l"/>
                          <a:tab pos="1066800" algn="l"/>
                          <a:tab pos="1422400" algn="l"/>
                          <a:tab pos="1778000" algn="l"/>
                          <a:tab pos="2133600" algn="l"/>
                          <a:tab pos="2489200" algn="l"/>
                          <a:tab pos="2844800" algn="l"/>
                          <a:tab pos="3200400" algn="l"/>
                          <a:tab pos="3556000" algn="l"/>
                          <a:tab pos="3911600" algn="l"/>
                          <a:tab pos="4267200" algn="l"/>
                        </a:tabLst>
                        <a:defRPr sz="6000" spc="0">
                          <a:solidFill>
                            <a:srgbClr val="F16981"/>
                          </a:solidFill>
                          <a:latin typeface="+mj-lt"/>
                          <a:ea typeface="+mj-ea"/>
                          <a:cs typeface="+mj-cs"/>
                          <a:sym typeface="Helvetica Neue UltraLight"/>
                        </a:defRPr>
                      </a:pPr>
                      <a:endParaRPr/>
                    </a:p>
                  </p:txBody>
                </p:sp>
              </p:grpSp>
              <p:grpSp>
                <p:nvGrpSpPr>
                  <p:cNvPr id="30" name="Group 92">
                    <a:extLst>
                      <a:ext uri="{FF2B5EF4-FFF2-40B4-BE49-F238E27FC236}">
                        <a16:creationId xmlns:a16="http://schemas.microsoft.com/office/drawing/2014/main" id="{D42E90B8-6878-B548-01FA-507CEFAF8F4B}"/>
                      </a:ext>
                    </a:extLst>
                  </p:cNvPr>
                  <p:cNvGrpSpPr/>
                  <p:nvPr/>
                </p:nvGrpSpPr>
                <p:grpSpPr>
                  <a:xfrm>
                    <a:off x="341442" y="635135"/>
                    <a:ext cx="431379" cy="431233"/>
                    <a:chOff x="0" y="0"/>
                    <a:chExt cx="431378" cy="431231"/>
                  </a:xfrm>
                </p:grpSpPr>
                <p:sp>
                  <p:nvSpPr>
                    <p:cNvPr id="31" name="Shape 90">
                      <a:extLst>
                        <a:ext uri="{FF2B5EF4-FFF2-40B4-BE49-F238E27FC236}">
                          <a16:creationId xmlns:a16="http://schemas.microsoft.com/office/drawing/2014/main" id="{15FF1E34-DEA7-E2E2-FF2B-ED07CB9FFCC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0" y="0"/>
                      <a:ext cx="431232" cy="431232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19679" h="19679" extrusionOk="0">
                          <a:moveTo>
                            <a:pt x="16796" y="2882"/>
                          </a:moveTo>
                          <a:cubicBezTo>
                            <a:pt x="20639" y="6724"/>
                            <a:pt x="20639" y="12954"/>
                            <a:pt x="16796" y="16796"/>
                          </a:cubicBezTo>
                          <a:cubicBezTo>
                            <a:pt x="12954" y="20639"/>
                            <a:pt x="6724" y="20639"/>
                            <a:pt x="2882" y="16796"/>
                          </a:cubicBezTo>
                          <a:cubicBezTo>
                            <a:pt x="-961" y="12954"/>
                            <a:pt x="-961" y="6724"/>
                            <a:pt x="2882" y="2882"/>
                          </a:cubicBezTo>
                          <a:cubicBezTo>
                            <a:pt x="6724" y="-961"/>
                            <a:pt x="12954" y="-961"/>
                            <a:pt x="16796" y="2882"/>
                          </a:cubicBezTo>
                          <a:close/>
                        </a:path>
                      </a:pathLst>
                    </a:custGeom>
                    <a:solidFill>
                      <a:srgbClr val="745057"/>
                    </a:solidFill>
                    <a:ln w="12700" cap="flat">
                      <a:noFill/>
                      <a:miter lim="400000"/>
                    </a:ln>
                    <a:effectLst/>
                  </p:spPr>
                  <p:txBody>
                    <a:bodyPr wrap="square" lIns="0" tIns="0" rIns="0" bIns="0" numCol="1" anchor="ctr">
                      <a:noAutofit/>
                    </a:bodyPr>
                    <a:lstStyle/>
                    <a:p>
                      <a:pPr lvl="0">
                        <a:spcBef>
                          <a:spcPts val="1000"/>
                        </a:spcBef>
                        <a:tabLst>
                          <a:tab pos="355600" algn="l"/>
                          <a:tab pos="711200" algn="l"/>
                          <a:tab pos="1066800" algn="l"/>
                          <a:tab pos="1422400" algn="l"/>
                          <a:tab pos="1778000" algn="l"/>
                          <a:tab pos="2133600" algn="l"/>
                          <a:tab pos="2489200" algn="l"/>
                          <a:tab pos="2844800" algn="l"/>
                          <a:tab pos="3200400" algn="l"/>
                          <a:tab pos="3556000" algn="l"/>
                          <a:tab pos="3911600" algn="l"/>
                          <a:tab pos="4267200" algn="l"/>
                        </a:tabLst>
                      </a:pPr>
                      <a:endParaRPr/>
                    </a:p>
                  </p:txBody>
                </p:sp>
                <p:sp>
                  <p:nvSpPr>
                    <p:cNvPr id="32" name="Shape 91">
                      <a:extLst>
                        <a:ext uri="{FF2B5EF4-FFF2-40B4-BE49-F238E27FC236}">
                          <a16:creationId xmlns:a16="http://schemas.microsoft.com/office/drawing/2014/main" id="{A5AACD90-5538-966F-901A-51A94823997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1380" y="107"/>
                      <a:ext cx="389999" cy="413884"/>
                    </a:xfrm>
                    <a:custGeom>
                      <a:avLst/>
                      <a:gdLst/>
                      <a:ahLst/>
                      <a:cxnLst>
                        <a:cxn ang="0">
                          <a:pos x="wd2" y="hd2"/>
                        </a:cxn>
                        <a:cxn ang="5400000">
                          <a:pos x="wd2" y="hd2"/>
                        </a:cxn>
                        <a:cxn ang="10800000">
                          <a:pos x="wd2" y="hd2"/>
                        </a:cxn>
                        <a:cxn ang="16200000">
                          <a:pos x="wd2" y="hd2"/>
                        </a:cxn>
                      </a:cxnLst>
                      <a:rect l="0" t="0" r="r" b="b"/>
                      <a:pathLst>
                        <a:path w="20494" h="21600" extrusionOk="0">
                          <a:moveTo>
                            <a:pt x="9147" y="0"/>
                          </a:moveTo>
                          <a:cubicBezTo>
                            <a:pt x="6248" y="0"/>
                            <a:pt x="3356" y="1091"/>
                            <a:pt x="1143" y="3289"/>
                          </a:cubicBezTo>
                          <a:cubicBezTo>
                            <a:pt x="708" y="3721"/>
                            <a:pt x="350" y="4205"/>
                            <a:pt x="0" y="4684"/>
                          </a:cubicBezTo>
                          <a:lnTo>
                            <a:pt x="13531" y="21600"/>
                          </a:lnTo>
                          <a:cubicBezTo>
                            <a:pt x="14847" y="21051"/>
                            <a:pt x="16103" y="20275"/>
                            <a:pt x="17175" y="19211"/>
                          </a:cubicBezTo>
                          <a:cubicBezTo>
                            <a:pt x="21600" y="14816"/>
                            <a:pt x="21600" y="7683"/>
                            <a:pt x="17175" y="3289"/>
                          </a:cubicBezTo>
                          <a:cubicBezTo>
                            <a:pt x="14963" y="1091"/>
                            <a:pt x="12047" y="0"/>
                            <a:pt x="9147" y="0"/>
                          </a:cubicBezTo>
                          <a:close/>
                        </a:path>
                      </a:pathLst>
                    </a:custGeom>
                    <a:solidFill>
                      <a:srgbClr val="E4646C"/>
                    </a:solidFill>
                    <a:ln w="12700" cap="flat">
                      <a:noFill/>
                      <a:miter lim="400000"/>
                    </a:ln>
                    <a:effectLst/>
                  </p:spPr>
                  <p:txBody>
                    <a:bodyPr wrap="square" lIns="50800" tIns="50800" rIns="50800" bIns="50800" numCol="1" anchor="ctr">
                      <a:noAutofit/>
                    </a:bodyPr>
                    <a:lstStyle/>
                    <a:p>
                      <a:pPr lvl="0">
                        <a:spcBef>
                          <a:spcPts val="1000"/>
                        </a:spcBef>
                        <a:tabLst>
                          <a:tab pos="355600" algn="l"/>
                          <a:tab pos="711200" algn="l"/>
                          <a:tab pos="1066800" algn="l"/>
                          <a:tab pos="1422400" algn="l"/>
                          <a:tab pos="1778000" algn="l"/>
                          <a:tab pos="2133600" algn="l"/>
                          <a:tab pos="2489200" algn="l"/>
                          <a:tab pos="2844800" algn="l"/>
                          <a:tab pos="3200400" algn="l"/>
                          <a:tab pos="3556000" algn="l"/>
                          <a:tab pos="3911600" algn="l"/>
                          <a:tab pos="4267200" algn="l"/>
                        </a:tabLst>
                      </a:pPr>
                      <a:endParaRPr/>
                    </a:p>
                  </p:txBody>
                </p:sp>
              </p:grpSp>
            </p:grpSp>
          </p:grpSp>
        </p:grpSp>
      </p:grpSp>
      <p:grpSp>
        <p:nvGrpSpPr>
          <p:cNvPr id="35" name="Group 135">
            <a:extLst>
              <a:ext uri="{FF2B5EF4-FFF2-40B4-BE49-F238E27FC236}">
                <a16:creationId xmlns:a16="http://schemas.microsoft.com/office/drawing/2014/main" id="{DA94B0FB-25C8-B135-EB68-AB0432DD3943}"/>
              </a:ext>
            </a:extLst>
          </p:cNvPr>
          <p:cNvGrpSpPr/>
          <p:nvPr/>
        </p:nvGrpSpPr>
        <p:grpSpPr>
          <a:xfrm>
            <a:off x="3611304" y="3932808"/>
            <a:ext cx="1975209" cy="1975013"/>
            <a:chOff x="0" y="0"/>
            <a:chExt cx="3804805" cy="3804426"/>
          </a:xfrm>
        </p:grpSpPr>
        <p:sp>
          <p:nvSpPr>
            <p:cNvPr id="36" name="Shape 132">
              <a:extLst>
                <a:ext uri="{FF2B5EF4-FFF2-40B4-BE49-F238E27FC236}">
                  <a16:creationId xmlns:a16="http://schemas.microsoft.com/office/drawing/2014/main" id="{5146D1CA-6A78-15C8-C6D2-849AD738AD82}"/>
                </a:ext>
              </a:extLst>
            </p:cNvPr>
            <p:cNvSpPr/>
            <p:nvPr/>
          </p:nvSpPr>
          <p:spPr>
            <a:xfrm>
              <a:off x="124402" y="124221"/>
              <a:ext cx="3556001" cy="35560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rgbClr val="4AB5B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>
                <a:spcBef>
                  <a:spcPts val="1000"/>
                </a:spcBef>
                <a:tabLst>
                  <a:tab pos="355600" algn="l"/>
                  <a:tab pos="711200" algn="l"/>
                  <a:tab pos="1066800" algn="l"/>
                  <a:tab pos="1422400" algn="l"/>
                  <a:tab pos="1778000" algn="l"/>
                  <a:tab pos="2133600" algn="l"/>
                  <a:tab pos="2489200" algn="l"/>
                  <a:tab pos="2844800" algn="l"/>
                  <a:tab pos="3200400" algn="l"/>
                  <a:tab pos="3556000" algn="l"/>
                  <a:tab pos="3911600" algn="l"/>
                  <a:tab pos="4267200" algn="l"/>
                </a:tabLst>
              </a:pPr>
              <a:endParaRPr/>
            </a:p>
          </p:txBody>
        </p:sp>
        <p:sp>
          <p:nvSpPr>
            <p:cNvPr id="37" name="Shape 133">
              <a:extLst>
                <a:ext uri="{FF2B5EF4-FFF2-40B4-BE49-F238E27FC236}">
                  <a16:creationId xmlns:a16="http://schemas.microsoft.com/office/drawing/2014/main" id="{00FD7FF6-A38D-9DFF-F21B-E4F549F85C9D}"/>
                </a:ext>
              </a:extLst>
            </p:cNvPr>
            <p:cNvSpPr/>
            <p:nvPr/>
          </p:nvSpPr>
          <p:spPr>
            <a:xfrm>
              <a:off x="1674398" y="126603"/>
              <a:ext cx="2003823" cy="29737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460" y="0"/>
                  </a:moveTo>
                  <a:cubicBezTo>
                    <a:pt x="1624" y="0"/>
                    <a:pt x="808" y="48"/>
                    <a:pt x="0" y="118"/>
                  </a:cubicBezTo>
                  <a:lnTo>
                    <a:pt x="16560" y="21600"/>
                  </a:lnTo>
                  <a:cubicBezTo>
                    <a:pt x="19681" y="19306"/>
                    <a:pt x="21600" y="16257"/>
                    <a:pt x="21600" y="12897"/>
                  </a:cubicBezTo>
                  <a:cubicBezTo>
                    <a:pt x="21600" y="5771"/>
                    <a:pt x="13036" y="0"/>
                    <a:pt x="2460" y="0"/>
                  </a:cubicBezTo>
                  <a:close/>
                </a:path>
              </a:pathLst>
            </a:custGeom>
            <a:solidFill>
              <a:srgbClr val="61BEBE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lvl="0">
                <a:spcBef>
                  <a:spcPts val="1000"/>
                </a:spcBef>
                <a:tabLst>
                  <a:tab pos="355600" algn="l"/>
                  <a:tab pos="711200" algn="l"/>
                  <a:tab pos="1066800" algn="l"/>
                  <a:tab pos="1422400" algn="l"/>
                  <a:tab pos="1778000" algn="l"/>
                  <a:tab pos="2133600" algn="l"/>
                  <a:tab pos="2489200" algn="l"/>
                  <a:tab pos="2844800" algn="l"/>
                  <a:tab pos="3200400" algn="l"/>
                  <a:tab pos="3556000" algn="l"/>
                  <a:tab pos="3911600" algn="l"/>
                  <a:tab pos="4267200" algn="l"/>
                </a:tabLst>
              </a:pPr>
              <a:endParaRPr/>
            </a:p>
          </p:txBody>
        </p:sp>
        <p:sp>
          <p:nvSpPr>
            <p:cNvPr id="38" name="Shape 134">
              <a:extLst>
                <a:ext uri="{FF2B5EF4-FFF2-40B4-BE49-F238E27FC236}">
                  <a16:creationId xmlns:a16="http://schemas.microsoft.com/office/drawing/2014/main" id="{43FA56B1-8BC1-F14E-C9A7-CBB3609D8EB1}"/>
                </a:ext>
              </a:extLst>
            </p:cNvPr>
            <p:cNvSpPr/>
            <p:nvPr/>
          </p:nvSpPr>
          <p:spPr>
            <a:xfrm>
              <a:off x="-1" y="0"/>
              <a:ext cx="3804807" cy="38044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0595" extrusionOk="0">
                  <a:moveTo>
                    <a:pt x="9838" y="0"/>
                  </a:moveTo>
                  <a:cubicBezTo>
                    <a:pt x="7320" y="0"/>
                    <a:pt x="4803" y="1006"/>
                    <a:pt x="2881" y="3016"/>
                  </a:cubicBezTo>
                  <a:cubicBezTo>
                    <a:pt x="-961" y="7038"/>
                    <a:pt x="-961" y="13557"/>
                    <a:pt x="2881" y="17578"/>
                  </a:cubicBezTo>
                  <a:cubicBezTo>
                    <a:pt x="6724" y="21600"/>
                    <a:pt x="12954" y="21600"/>
                    <a:pt x="16797" y="17578"/>
                  </a:cubicBezTo>
                  <a:cubicBezTo>
                    <a:pt x="20639" y="13557"/>
                    <a:pt x="20639" y="7038"/>
                    <a:pt x="16797" y="3016"/>
                  </a:cubicBezTo>
                  <a:cubicBezTo>
                    <a:pt x="14875" y="1006"/>
                    <a:pt x="12356" y="0"/>
                    <a:pt x="9838" y="0"/>
                  </a:cubicBezTo>
                  <a:close/>
                  <a:moveTo>
                    <a:pt x="9840" y="685"/>
                  </a:moveTo>
                  <a:cubicBezTo>
                    <a:pt x="14914" y="685"/>
                    <a:pt x="19024" y="4986"/>
                    <a:pt x="19024" y="10297"/>
                  </a:cubicBezTo>
                  <a:cubicBezTo>
                    <a:pt x="19024" y="15608"/>
                    <a:pt x="14914" y="19909"/>
                    <a:pt x="9840" y="19909"/>
                  </a:cubicBezTo>
                  <a:cubicBezTo>
                    <a:pt x="4766" y="19909"/>
                    <a:pt x="654" y="15608"/>
                    <a:pt x="654" y="10297"/>
                  </a:cubicBezTo>
                  <a:cubicBezTo>
                    <a:pt x="654" y="4986"/>
                    <a:pt x="4766" y="685"/>
                    <a:pt x="9840" y="685"/>
                  </a:cubicBezTo>
                  <a:close/>
                  <a:moveTo>
                    <a:pt x="9840" y="2376"/>
                  </a:moveTo>
                  <a:cubicBezTo>
                    <a:pt x="9659" y="2376"/>
                    <a:pt x="9477" y="2440"/>
                    <a:pt x="9339" y="2585"/>
                  </a:cubicBezTo>
                  <a:cubicBezTo>
                    <a:pt x="9063" y="2873"/>
                    <a:pt x="9062" y="3345"/>
                    <a:pt x="9339" y="3635"/>
                  </a:cubicBezTo>
                  <a:cubicBezTo>
                    <a:pt x="9616" y="3924"/>
                    <a:pt x="10062" y="3924"/>
                    <a:pt x="10339" y="3635"/>
                  </a:cubicBezTo>
                  <a:cubicBezTo>
                    <a:pt x="10615" y="3347"/>
                    <a:pt x="10615" y="2873"/>
                    <a:pt x="10339" y="2585"/>
                  </a:cubicBezTo>
                  <a:cubicBezTo>
                    <a:pt x="10201" y="2440"/>
                    <a:pt x="10021" y="2376"/>
                    <a:pt x="9840" y="2376"/>
                  </a:cubicBezTo>
                  <a:close/>
                  <a:moveTo>
                    <a:pt x="9840" y="4443"/>
                  </a:moveTo>
                  <a:cubicBezTo>
                    <a:pt x="9628" y="4443"/>
                    <a:pt x="9468" y="4627"/>
                    <a:pt x="9468" y="4849"/>
                  </a:cubicBezTo>
                  <a:lnTo>
                    <a:pt x="9468" y="9694"/>
                  </a:lnTo>
                  <a:cubicBezTo>
                    <a:pt x="9491" y="9680"/>
                    <a:pt x="9511" y="9664"/>
                    <a:pt x="9534" y="9653"/>
                  </a:cubicBezTo>
                  <a:cubicBezTo>
                    <a:pt x="9511" y="9665"/>
                    <a:pt x="9491" y="9683"/>
                    <a:pt x="9468" y="9698"/>
                  </a:cubicBezTo>
                  <a:lnTo>
                    <a:pt x="9468" y="9694"/>
                  </a:lnTo>
                  <a:cubicBezTo>
                    <a:pt x="9427" y="9719"/>
                    <a:pt x="9384" y="9744"/>
                    <a:pt x="9347" y="9782"/>
                  </a:cubicBezTo>
                  <a:cubicBezTo>
                    <a:pt x="9279" y="9853"/>
                    <a:pt x="9227" y="9934"/>
                    <a:pt x="9193" y="10022"/>
                  </a:cubicBezTo>
                  <a:cubicBezTo>
                    <a:pt x="9125" y="10198"/>
                    <a:pt x="9125" y="10394"/>
                    <a:pt x="9193" y="10570"/>
                  </a:cubicBezTo>
                  <a:cubicBezTo>
                    <a:pt x="9227" y="10659"/>
                    <a:pt x="9279" y="10741"/>
                    <a:pt x="9347" y="10813"/>
                  </a:cubicBezTo>
                  <a:cubicBezTo>
                    <a:pt x="9415" y="10884"/>
                    <a:pt x="9493" y="10936"/>
                    <a:pt x="9577" y="10972"/>
                  </a:cubicBezTo>
                  <a:cubicBezTo>
                    <a:pt x="9662" y="11009"/>
                    <a:pt x="9749" y="11026"/>
                    <a:pt x="9840" y="11026"/>
                  </a:cubicBezTo>
                  <a:cubicBezTo>
                    <a:pt x="10019" y="11026"/>
                    <a:pt x="10197" y="10956"/>
                    <a:pt x="10333" y="10813"/>
                  </a:cubicBezTo>
                  <a:cubicBezTo>
                    <a:pt x="10364" y="10780"/>
                    <a:pt x="10387" y="10742"/>
                    <a:pt x="10411" y="10703"/>
                  </a:cubicBezTo>
                  <a:lnTo>
                    <a:pt x="10405" y="10703"/>
                  </a:lnTo>
                  <a:cubicBezTo>
                    <a:pt x="10425" y="10672"/>
                    <a:pt x="10447" y="10641"/>
                    <a:pt x="10462" y="10607"/>
                  </a:cubicBezTo>
                  <a:cubicBezTo>
                    <a:pt x="10448" y="10641"/>
                    <a:pt x="10430" y="10672"/>
                    <a:pt x="10411" y="10703"/>
                  </a:cubicBezTo>
                  <a:lnTo>
                    <a:pt x="13974" y="10703"/>
                  </a:lnTo>
                  <a:cubicBezTo>
                    <a:pt x="14186" y="10703"/>
                    <a:pt x="14362" y="10519"/>
                    <a:pt x="14362" y="10297"/>
                  </a:cubicBezTo>
                  <a:cubicBezTo>
                    <a:pt x="14362" y="10076"/>
                    <a:pt x="14186" y="9891"/>
                    <a:pt x="13974" y="9891"/>
                  </a:cubicBezTo>
                  <a:lnTo>
                    <a:pt x="10405" y="9891"/>
                  </a:lnTo>
                  <a:cubicBezTo>
                    <a:pt x="10380" y="9854"/>
                    <a:pt x="10364" y="9815"/>
                    <a:pt x="10333" y="9782"/>
                  </a:cubicBezTo>
                  <a:cubicBezTo>
                    <a:pt x="10303" y="9750"/>
                    <a:pt x="10264" y="9737"/>
                    <a:pt x="10230" y="9713"/>
                  </a:cubicBezTo>
                  <a:lnTo>
                    <a:pt x="10228" y="9324"/>
                  </a:lnTo>
                  <a:lnTo>
                    <a:pt x="10228" y="4849"/>
                  </a:lnTo>
                  <a:cubicBezTo>
                    <a:pt x="10228" y="4627"/>
                    <a:pt x="10052" y="4443"/>
                    <a:pt x="9840" y="4443"/>
                  </a:cubicBezTo>
                  <a:close/>
                  <a:moveTo>
                    <a:pt x="2959" y="9565"/>
                  </a:moveTo>
                  <a:cubicBezTo>
                    <a:pt x="2779" y="9565"/>
                    <a:pt x="2597" y="9629"/>
                    <a:pt x="2459" y="9773"/>
                  </a:cubicBezTo>
                  <a:cubicBezTo>
                    <a:pt x="2183" y="10062"/>
                    <a:pt x="2182" y="10532"/>
                    <a:pt x="2459" y="10822"/>
                  </a:cubicBezTo>
                  <a:cubicBezTo>
                    <a:pt x="2735" y="11111"/>
                    <a:pt x="3182" y="11111"/>
                    <a:pt x="3458" y="10822"/>
                  </a:cubicBezTo>
                  <a:cubicBezTo>
                    <a:pt x="3734" y="10533"/>
                    <a:pt x="3734" y="10062"/>
                    <a:pt x="3458" y="9773"/>
                  </a:cubicBezTo>
                  <a:cubicBezTo>
                    <a:pt x="3320" y="9629"/>
                    <a:pt x="3140" y="9565"/>
                    <a:pt x="2959" y="9565"/>
                  </a:cubicBezTo>
                  <a:close/>
                  <a:moveTo>
                    <a:pt x="16735" y="9565"/>
                  </a:moveTo>
                  <a:cubicBezTo>
                    <a:pt x="16554" y="9565"/>
                    <a:pt x="16372" y="9629"/>
                    <a:pt x="16234" y="9773"/>
                  </a:cubicBezTo>
                  <a:cubicBezTo>
                    <a:pt x="15958" y="10062"/>
                    <a:pt x="15958" y="10533"/>
                    <a:pt x="16234" y="10822"/>
                  </a:cubicBezTo>
                  <a:cubicBezTo>
                    <a:pt x="16510" y="11110"/>
                    <a:pt x="16948" y="11110"/>
                    <a:pt x="17223" y="10822"/>
                  </a:cubicBezTo>
                  <a:cubicBezTo>
                    <a:pt x="17499" y="10533"/>
                    <a:pt x="17499" y="10062"/>
                    <a:pt x="17223" y="9773"/>
                  </a:cubicBezTo>
                  <a:cubicBezTo>
                    <a:pt x="17086" y="9629"/>
                    <a:pt x="16916" y="9565"/>
                    <a:pt x="16735" y="9565"/>
                  </a:cubicBezTo>
                  <a:close/>
                  <a:moveTo>
                    <a:pt x="9840" y="16751"/>
                  </a:moveTo>
                  <a:cubicBezTo>
                    <a:pt x="9659" y="16751"/>
                    <a:pt x="9477" y="16815"/>
                    <a:pt x="9339" y="16960"/>
                  </a:cubicBezTo>
                  <a:cubicBezTo>
                    <a:pt x="9063" y="17248"/>
                    <a:pt x="9062" y="17721"/>
                    <a:pt x="9339" y="18010"/>
                  </a:cubicBezTo>
                  <a:cubicBezTo>
                    <a:pt x="9616" y="18299"/>
                    <a:pt x="10062" y="18299"/>
                    <a:pt x="10339" y="18010"/>
                  </a:cubicBezTo>
                  <a:cubicBezTo>
                    <a:pt x="10615" y="17722"/>
                    <a:pt x="10615" y="17248"/>
                    <a:pt x="10339" y="16960"/>
                  </a:cubicBezTo>
                  <a:cubicBezTo>
                    <a:pt x="10201" y="16815"/>
                    <a:pt x="10021" y="16751"/>
                    <a:pt x="9840" y="16751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>
                <a:spcBef>
                  <a:spcPts val="1000"/>
                </a:spcBef>
                <a:tabLst>
                  <a:tab pos="355600" algn="l"/>
                  <a:tab pos="711200" algn="l"/>
                  <a:tab pos="1066800" algn="l"/>
                  <a:tab pos="1422400" algn="l"/>
                  <a:tab pos="1778000" algn="l"/>
                  <a:tab pos="2133600" algn="l"/>
                  <a:tab pos="2489200" algn="l"/>
                  <a:tab pos="2844800" algn="l"/>
                  <a:tab pos="3200400" algn="l"/>
                  <a:tab pos="3556000" algn="l"/>
                  <a:tab pos="3911600" algn="l"/>
                  <a:tab pos="4267200" algn="l"/>
                </a:tabLst>
              </a:pPr>
              <a:endParaRPr/>
            </a:p>
          </p:txBody>
        </p:sp>
      </p:grpSp>
      <p:grpSp>
        <p:nvGrpSpPr>
          <p:cNvPr id="39" name="Group 243">
            <a:extLst>
              <a:ext uri="{FF2B5EF4-FFF2-40B4-BE49-F238E27FC236}">
                <a16:creationId xmlns:a16="http://schemas.microsoft.com/office/drawing/2014/main" id="{A9F0B941-915B-5036-49F5-76B7FEB1175F}"/>
              </a:ext>
            </a:extLst>
          </p:cNvPr>
          <p:cNvGrpSpPr/>
          <p:nvPr/>
        </p:nvGrpSpPr>
        <p:grpSpPr>
          <a:xfrm>
            <a:off x="3914205" y="1577366"/>
            <a:ext cx="1295241" cy="1354334"/>
            <a:chOff x="0" y="0"/>
            <a:chExt cx="2078447" cy="2173274"/>
          </a:xfrm>
        </p:grpSpPr>
        <p:sp>
          <p:nvSpPr>
            <p:cNvPr id="40" name="Shape 237">
              <a:extLst>
                <a:ext uri="{FF2B5EF4-FFF2-40B4-BE49-F238E27FC236}">
                  <a16:creationId xmlns:a16="http://schemas.microsoft.com/office/drawing/2014/main" id="{69A733DF-7766-4DB3-3C7B-46FCEBEDFE45}"/>
                </a:ext>
              </a:extLst>
            </p:cNvPr>
            <p:cNvSpPr/>
            <p:nvPr/>
          </p:nvSpPr>
          <p:spPr>
            <a:xfrm>
              <a:off x="0" y="41202"/>
              <a:ext cx="2078448" cy="15752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494" extrusionOk="0">
                  <a:moveTo>
                    <a:pt x="19725" y="21494"/>
                  </a:moveTo>
                  <a:cubicBezTo>
                    <a:pt x="19630" y="21494"/>
                    <a:pt x="19535" y="21463"/>
                    <a:pt x="19446" y="21398"/>
                  </a:cubicBezTo>
                  <a:cubicBezTo>
                    <a:pt x="19171" y="21195"/>
                    <a:pt x="19074" y="20738"/>
                    <a:pt x="19228" y="20378"/>
                  </a:cubicBezTo>
                  <a:cubicBezTo>
                    <a:pt x="20033" y="18495"/>
                    <a:pt x="20458" y="16352"/>
                    <a:pt x="20458" y="14180"/>
                  </a:cubicBezTo>
                  <a:cubicBezTo>
                    <a:pt x="20458" y="7188"/>
                    <a:pt x="16126" y="1499"/>
                    <a:pt x="10800" y="1499"/>
                  </a:cubicBezTo>
                  <a:cubicBezTo>
                    <a:pt x="5475" y="1499"/>
                    <a:pt x="1142" y="7188"/>
                    <a:pt x="1142" y="14180"/>
                  </a:cubicBezTo>
                  <a:cubicBezTo>
                    <a:pt x="1142" y="16352"/>
                    <a:pt x="1567" y="18495"/>
                    <a:pt x="2372" y="20377"/>
                  </a:cubicBezTo>
                  <a:cubicBezTo>
                    <a:pt x="2526" y="20738"/>
                    <a:pt x="2428" y="21194"/>
                    <a:pt x="2153" y="21397"/>
                  </a:cubicBezTo>
                  <a:cubicBezTo>
                    <a:pt x="1878" y="21600"/>
                    <a:pt x="1530" y="21472"/>
                    <a:pt x="1376" y="21110"/>
                  </a:cubicBezTo>
                  <a:cubicBezTo>
                    <a:pt x="476" y="19005"/>
                    <a:pt x="0" y="16608"/>
                    <a:pt x="0" y="14180"/>
                  </a:cubicBezTo>
                  <a:cubicBezTo>
                    <a:pt x="0" y="6361"/>
                    <a:pt x="4845" y="0"/>
                    <a:pt x="10800" y="0"/>
                  </a:cubicBezTo>
                  <a:cubicBezTo>
                    <a:pt x="16755" y="0"/>
                    <a:pt x="21600" y="6361"/>
                    <a:pt x="21600" y="14180"/>
                  </a:cubicBezTo>
                  <a:cubicBezTo>
                    <a:pt x="21600" y="16608"/>
                    <a:pt x="21124" y="19005"/>
                    <a:pt x="20224" y="21111"/>
                  </a:cubicBezTo>
                  <a:cubicBezTo>
                    <a:pt x="20119" y="21356"/>
                    <a:pt x="19925" y="21494"/>
                    <a:pt x="19725" y="21494"/>
                  </a:cubicBezTo>
                  <a:close/>
                </a:path>
              </a:pathLst>
            </a:custGeom>
            <a:solidFill>
              <a:srgbClr val="53585F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lvl="0">
                <a:spcBef>
                  <a:spcPts val="1000"/>
                </a:spcBef>
                <a:tabLst>
                  <a:tab pos="355600" algn="l"/>
                  <a:tab pos="711200" algn="l"/>
                  <a:tab pos="1066800" algn="l"/>
                  <a:tab pos="1422400" algn="l"/>
                  <a:tab pos="1778000" algn="l"/>
                  <a:tab pos="2133600" algn="l"/>
                  <a:tab pos="2489200" algn="l"/>
                  <a:tab pos="2844800" algn="l"/>
                  <a:tab pos="3200400" algn="l"/>
                  <a:tab pos="3556000" algn="l"/>
                  <a:tab pos="3911600" algn="l"/>
                  <a:tab pos="4267200" algn="l"/>
                </a:tabLst>
                <a:defRPr sz="3000" spc="59"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+mj-lt"/>
                  <a:ea typeface="+mj-ea"/>
                  <a:cs typeface="+mj-cs"/>
                  <a:sym typeface="Gill Sans"/>
                </a:defRPr>
              </a:pPr>
              <a:endParaRPr/>
            </a:p>
          </p:txBody>
        </p:sp>
        <p:sp>
          <p:nvSpPr>
            <p:cNvPr id="41" name="Shape 238">
              <a:extLst>
                <a:ext uri="{FF2B5EF4-FFF2-40B4-BE49-F238E27FC236}">
                  <a16:creationId xmlns:a16="http://schemas.microsoft.com/office/drawing/2014/main" id="{305C362C-2735-6819-FF23-A561EC0DCBDF}"/>
                </a:ext>
              </a:extLst>
            </p:cNvPr>
            <p:cNvSpPr/>
            <p:nvPr/>
          </p:nvSpPr>
          <p:spPr>
            <a:xfrm>
              <a:off x="219746" y="0"/>
              <a:ext cx="1638447" cy="5372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79" h="21600" extrusionOk="0">
                  <a:moveTo>
                    <a:pt x="1159" y="21600"/>
                  </a:moveTo>
                  <a:cubicBezTo>
                    <a:pt x="939" y="21600"/>
                    <a:pt x="716" y="21406"/>
                    <a:pt x="518" y="21000"/>
                  </a:cubicBezTo>
                  <a:cubicBezTo>
                    <a:pt x="-15" y="19903"/>
                    <a:pt x="-160" y="17675"/>
                    <a:pt x="194" y="16024"/>
                  </a:cubicBezTo>
                  <a:cubicBezTo>
                    <a:pt x="2380" y="5840"/>
                    <a:pt x="6190" y="0"/>
                    <a:pt x="10645" y="0"/>
                  </a:cubicBezTo>
                  <a:cubicBezTo>
                    <a:pt x="15232" y="0"/>
                    <a:pt x="18939" y="5475"/>
                    <a:pt x="21084" y="15415"/>
                  </a:cubicBezTo>
                  <a:cubicBezTo>
                    <a:pt x="21440" y="17064"/>
                    <a:pt x="21297" y="19293"/>
                    <a:pt x="20764" y="20394"/>
                  </a:cubicBezTo>
                  <a:cubicBezTo>
                    <a:pt x="20232" y="21495"/>
                    <a:pt x="19512" y="21051"/>
                    <a:pt x="19156" y="19403"/>
                  </a:cubicBezTo>
                  <a:cubicBezTo>
                    <a:pt x="17455" y="11520"/>
                    <a:pt x="14433" y="7179"/>
                    <a:pt x="10645" y="7179"/>
                  </a:cubicBezTo>
                  <a:cubicBezTo>
                    <a:pt x="6926" y="7179"/>
                    <a:pt x="3900" y="11731"/>
                    <a:pt x="2126" y="19997"/>
                  </a:cubicBezTo>
                  <a:cubicBezTo>
                    <a:pt x="1902" y="21037"/>
                    <a:pt x="1534" y="21600"/>
                    <a:pt x="1159" y="21600"/>
                  </a:cubicBezTo>
                  <a:close/>
                </a:path>
              </a:pathLst>
            </a:custGeom>
            <a:solidFill>
              <a:srgbClr val="EDEDEF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lvl="0">
                <a:spcBef>
                  <a:spcPts val="1000"/>
                </a:spcBef>
                <a:tabLst>
                  <a:tab pos="355600" algn="l"/>
                  <a:tab pos="711200" algn="l"/>
                  <a:tab pos="1066800" algn="l"/>
                  <a:tab pos="1422400" algn="l"/>
                  <a:tab pos="1778000" algn="l"/>
                  <a:tab pos="2133600" algn="l"/>
                  <a:tab pos="2489200" algn="l"/>
                  <a:tab pos="2844800" algn="l"/>
                  <a:tab pos="3200400" algn="l"/>
                  <a:tab pos="3556000" algn="l"/>
                  <a:tab pos="3911600" algn="l"/>
                  <a:tab pos="4267200" algn="l"/>
                </a:tabLst>
                <a:defRPr sz="3000" spc="59"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+mj-lt"/>
                  <a:ea typeface="+mj-ea"/>
                  <a:cs typeface="+mj-cs"/>
                  <a:sym typeface="Gill Sans"/>
                </a:defRPr>
              </a:pPr>
              <a:endParaRPr/>
            </a:p>
          </p:txBody>
        </p:sp>
        <p:sp>
          <p:nvSpPr>
            <p:cNvPr id="42" name="Shape 239">
              <a:extLst>
                <a:ext uri="{FF2B5EF4-FFF2-40B4-BE49-F238E27FC236}">
                  <a16:creationId xmlns:a16="http://schemas.microsoft.com/office/drawing/2014/main" id="{8AABD2DF-2600-F58E-6809-AA1148E899F0}"/>
                </a:ext>
              </a:extLst>
            </p:cNvPr>
            <p:cNvSpPr/>
            <p:nvPr/>
          </p:nvSpPr>
          <p:spPr>
            <a:xfrm>
              <a:off x="247214" y="1236071"/>
              <a:ext cx="721849" cy="9372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94" h="20580" extrusionOk="0">
                  <a:moveTo>
                    <a:pt x="19621" y="14610"/>
                  </a:moveTo>
                  <a:cubicBezTo>
                    <a:pt x="20947" y="16310"/>
                    <a:pt x="20252" y="18548"/>
                    <a:pt x="18075" y="19584"/>
                  </a:cubicBezTo>
                  <a:lnTo>
                    <a:pt x="17086" y="20054"/>
                  </a:lnTo>
                  <a:cubicBezTo>
                    <a:pt x="14910" y="21090"/>
                    <a:pt x="12044" y="20547"/>
                    <a:pt x="10718" y="18847"/>
                  </a:cubicBezTo>
                  <a:lnTo>
                    <a:pt x="673" y="5970"/>
                  </a:lnTo>
                  <a:cubicBezTo>
                    <a:pt x="-653" y="4270"/>
                    <a:pt x="42" y="2032"/>
                    <a:pt x="2219" y="996"/>
                  </a:cubicBezTo>
                  <a:lnTo>
                    <a:pt x="3208" y="526"/>
                  </a:lnTo>
                  <a:cubicBezTo>
                    <a:pt x="5384" y="-510"/>
                    <a:pt x="8249" y="33"/>
                    <a:pt x="9575" y="1733"/>
                  </a:cubicBezTo>
                  <a:cubicBezTo>
                    <a:pt x="9575" y="1733"/>
                    <a:pt x="19621" y="14610"/>
                    <a:pt x="19621" y="14610"/>
                  </a:cubicBezTo>
                  <a:close/>
                </a:path>
              </a:pathLst>
            </a:custGeom>
            <a:solidFill>
              <a:srgbClr val="53585F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lvl="0">
                <a:spcBef>
                  <a:spcPts val="1000"/>
                </a:spcBef>
                <a:tabLst>
                  <a:tab pos="355600" algn="l"/>
                  <a:tab pos="711200" algn="l"/>
                  <a:tab pos="1066800" algn="l"/>
                  <a:tab pos="1422400" algn="l"/>
                  <a:tab pos="1778000" algn="l"/>
                  <a:tab pos="2133600" algn="l"/>
                  <a:tab pos="2489200" algn="l"/>
                  <a:tab pos="2844800" algn="l"/>
                  <a:tab pos="3200400" algn="l"/>
                  <a:tab pos="3556000" algn="l"/>
                  <a:tab pos="3911600" algn="l"/>
                  <a:tab pos="4267200" algn="l"/>
                </a:tabLst>
                <a:defRPr sz="3000" spc="59"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+mj-lt"/>
                  <a:ea typeface="+mj-ea"/>
                  <a:cs typeface="+mj-cs"/>
                  <a:sym typeface="Gill Sans"/>
                </a:defRPr>
              </a:pPr>
              <a:endParaRPr/>
            </a:p>
          </p:txBody>
        </p:sp>
        <p:sp>
          <p:nvSpPr>
            <p:cNvPr id="43" name="Shape 240">
              <a:extLst>
                <a:ext uri="{FF2B5EF4-FFF2-40B4-BE49-F238E27FC236}">
                  <a16:creationId xmlns:a16="http://schemas.microsoft.com/office/drawing/2014/main" id="{80BDD421-0B31-24A6-424C-0AF8E2667B1C}"/>
                </a:ext>
              </a:extLst>
            </p:cNvPr>
            <p:cNvSpPr/>
            <p:nvPr/>
          </p:nvSpPr>
          <p:spPr>
            <a:xfrm>
              <a:off x="123607" y="1510754"/>
              <a:ext cx="469066" cy="6569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90" h="20736" extrusionOk="0">
                  <a:moveTo>
                    <a:pt x="3837" y="0"/>
                  </a:moveTo>
                  <a:lnTo>
                    <a:pt x="3064" y="338"/>
                  </a:lnTo>
                  <a:cubicBezTo>
                    <a:pt x="-334" y="1827"/>
                    <a:pt x="-1010" y="5529"/>
                    <a:pt x="1562" y="8564"/>
                  </a:cubicBezTo>
                  <a:lnTo>
                    <a:pt x="8964" y="17300"/>
                  </a:lnTo>
                  <a:cubicBezTo>
                    <a:pt x="11536" y="20335"/>
                    <a:pt x="16420" y="21600"/>
                    <a:pt x="19818" y="20111"/>
                  </a:cubicBezTo>
                  <a:lnTo>
                    <a:pt x="20590" y="19773"/>
                  </a:lnTo>
                  <a:cubicBezTo>
                    <a:pt x="20590" y="19773"/>
                    <a:pt x="3837" y="0"/>
                    <a:pt x="3837" y="0"/>
                  </a:cubicBezTo>
                  <a:close/>
                </a:path>
              </a:pathLst>
            </a:custGeom>
            <a:solidFill>
              <a:srgbClr val="EDEDEF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lvl="0">
                <a:spcBef>
                  <a:spcPts val="1000"/>
                </a:spcBef>
                <a:tabLst>
                  <a:tab pos="355600" algn="l"/>
                  <a:tab pos="711200" algn="l"/>
                  <a:tab pos="1066800" algn="l"/>
                  <a:tab pos="1422400" algn="l"/>
                  <a:tab pos="1778000" algn="l"/>
                  <a:tab pos="2133600" algn="l"/>
                  <a:tab pos="2489200" algn="l"/>
                  <a:tab pos="2844800" algn="l"/>
                  <a:tab pos="3200400" algn="l"/>
                  <a:tab pos="3556000" algn="l"/>
                  <a:tab pos="3911600" algn="l"/>
                  <a:tab pos="4267200" algn="l"/>
                </a:tabLst>
                <a:defRPr sz="3000" spc="59"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+mj-lt"/>
                  <a:ea typeface="+mj-ea"/>
                  <a:cs typeface="+mj-cs"/>
                  <a:sym typeface="Gill Sans"/>
                </a:defRPr>
              </a:pPr>
              <a:endParaRPr/>
            </a:p>
          </p:txBody>
        </p:sp>
        <p:sp>
          <p:nvSpPr>
            <p:cNvPr id="44" name="Shape 241">
              <a:extLst>
                <a:ext uri="{FF2B5EF4-FFF2-40B4-BE49-F238E27FC236}">
                  <a16:creationId xmlns:a16="http://schemas.microsoft.com/office/drawing/2014/main" id="{ABFD7647-C1CB-7558-92F2-CDD07925C40D}"/>
                </a:ext>
              </a:extLst>
            </p:cNvPr>
            <p:cNvSpPr/>
            <p:nvPr/>
          </p:nvSpPr>
          <p:spPr>
            <a:xfrm>
              <a:off x="1098730" y="1236071"/>
              <a:ext cx="721872" cy="9372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93" h="20580" extrusionOk="0">
                  <a:moveTo>
                    <a:pt x="673" y="14610"/>
                  </a:moveTo>
                  <a:cubicBezTo>
                    <a:pt x="-653" y="16310"/>
                    <a:pt x="43" y="18548"/>
                    <a:pt x="2219" y="19583"/>
                  </a:cubicBezTo>
                  <a:lnTo>
                    <a:pt x="3208" y="20054"/>
                  </a:lnTo>
                  <a:cubicBezTo>
                    <a:pt x="5385" y="21090"/>
                    <a:pt x="8250" y="20547"/>
                    <a:pt x="9576" y="18847"/>
                  </a:cubicBezTo>
                  <a:lnTo>
                    <a:pt x="19621" y="5970"/>
                  </a:lnTo>
                  <a:cubicBezTo>
                    <a:pt x="20947" y="4270"/>
                    <a:pt x="20251" y="2033"/>
                    <a:pt x="18075" y="997"/>
                  </a:cubicBezTo>
                  <a:lnTo>
                    <a:pt x="17086" y="526"/>
                  </a:lnTo>
                  <a:cubicBezTo>
                    <a:pt x="14910" y="-510"/>
                    <a:pt x="12044" y="33"/>
                    <a:pt x="10718" y="1733"/>
                  </a:cubicBezTo>
                  <a:cubicBezTo>
                    <a:pt x="10718" y="1733"/>
                    <a:pt x="673" y="14610"/>
                    <a:pt x="673" y="14610"/>
                  </a:cubicBezTo>
                  <a:close/>
                </a:path>
              </a:pathLst>
            </a:custGeom>
            <a:solidFill>
              <a:srgbClr val="53585F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lvl="0">
                <a:spcBef>
                  <a:spcPts val="1000"/>
                </a:spcBef>
                <a:tabLst>
                  <a:tab pos="355600" algn="l"/>
                  <a:tab pos="711200" algn="l"/>
                  <a:tab pos="1066800" algn="l"/>
                  <a:tab pos="1422400" algn="l"/>
                  <a:tab pos="1778000" algn="l"/>
                  <a:tab pos="2133600" algn="l"/>
                  <a:tab pos="2489200" algn="l"/>
                  <a:tab pos="2844800" algn="l"/>
                  <a:tab pos="3200400" algn="l"/>
                  <a:tab pos="3556000" algn="l"/>
                  <a:tab pos="3911600" algn="l"/>
                  <a:tab pos="4267200" algn="l"/>
                </a:tabLst>
                <a:defRPr sz="3000" spc="59"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+mj-lt"/>
                  <a:ea typeface="+mj-ea"/>
                  <a:cs typeface="+mj-cs"/>
                  <a:sym typeface="Gill Sans"/>
                </a:defRPr>
              </a:pPr>
              <a:endParaRPr/>
            </a:p>
          </p:txBody>
        </p:sp>
        <p:sp>
          <p:nvSpPr>
            <p:cNvPr id="45" name="Shape 242">
              <a:extLst>
                <a:ext uri="{FF2B5EF4-FFF2-40B4-BE49-F238E27FC236}">
                  <a16:creationId xmlns:a16="http://schemas.microsoft.com/office/drawing/2014/main" id="{0B1F5057-0B4D-2D1B-9989-B76CF9AA4CA5}"/>
                </a:ext>
              </a:extLst>
            </p:cNvPr>
            <p:cNvSpPr/>
            <p:nvPr/>
          </p:nvSpPr>
          <p:spPr>
            <a:xfrm>
              <a:off x="1469551" y="1510754"/>
              <a:ext cx="469073" cy="6568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90" h="20736" extrusionOk="0">
                  <a:moveTo>
                    <a:pt x="16754" y="0"/>
                  </a:moveTo>
                  <a:lnTo>
                    <a:pt x="17526" y="338"/>
                  </a:lnTo>
                  <a:cubicBezTo>
                    <a:pt x="20924" y="1827"/>
                    <a:pt x="21600" y="5528"/>
                    <a:pt x="19028" y="8563"/>
                  </a:cubicBezTo>
                  <a:lnTo>
                    <a:pt x="11626" y="17300"/>
                  </a:lnTo>
                  <a:cubicBezTo>
                    <a:pt x="9054" y="20335"/>
                    <a:pt x="4170" y="21600"/>
                    <a:pt x="772" y="20111"/>
                  </a:cubicBezTo>
                  <a:lnTo>
                    <a:pt x="0" y="19773"/>
                  </a:lnTo>
                  <a:cubicBezTo>
                    <a:pt x="0" y="19773"/>
                    <a:pt x="16754" y="0"/>
                    <a:pt x="16754" y="0"/>
                  </a:cubicBezTo>
                  <a:close/>
                </a:path>
              </a:pathLst>
            </a:custGeom>
            <a:solidFill>
              <a:srgbClr val="EDEDEF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lvl="0">
                <a:spcBef>
                  <a:spcPts val="1000"/>
                </a:spcBef>
                <a:tabLst>
                  <a:tab pos="355600" algn="l"/>
                  <a:tab pos="711200" algn="l"/>
                  <a:tab pos="1066800" algn="l"/>
                  <a:tab pos="1422400" algn="l"/>
                  <a:tab pos="1778000" algn="l"/>
                  <a:tab pos="2133600" algn="l"/>
                  <a:tab pos="2489200" algn="l"/>
                  <a:tab pos="2844800" algn="l"/>
                  <a:tab pos="3200400" algn="l"/>
                  <a:tab pos="3556000" algn="l"/>
                  <a:tab pos="3911600" algn="l"/>
                  <a:tab pos="4267200" algn="l"/>
                </a:tabLst>
                <a:defRPr sz="3000" spc="59"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+mj-lt"/>
                  <a:ea typeface="+mj-ea"/>
                  <a:cs typeface="+mj-cs"/>
                  <a:sym typeface="Gill Sans"/>
                </a:defRPr>
              </a:pPr>
              <a:endParaRPr/>
            </a:p>
          </p:txBody>
        </p:sp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CF5A065A-3D69-4B4A-4531-4C3642D10662}"/>
              </a:ext>
            </a:extLst>
          </p:cNvPr>
          <p:cNvSpPr/>
          <p:nvPr/>
        </p:nvSpPr>
        <p:spPr>
          <a:xfrm>
            <a:off x="0" y="0"/>
            <a:ext cx="4991100" cy="586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Vector Devices</a:t>
            </a:r>
            <a:endParaRPr lang="en-C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448924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79A0DC4-8E6A-E27D-5BDD-45EDCB70F04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8631" y="732077"/>
            <a:ext cx="5773738" cy="435567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F0288A6-30EC-ACE9-D38E-D568E4AD5ADC}"/>
              </a:ext>
            </a:extLst>
          </p:cNvPr>
          <p:cNvSpPr txBox="1"/>
          <p:nvPr/>
        </p:nvSpPr>
        <p:spPr>
          <a:xfrm>
            <a:off x="899343" y="1148897"/>
            <a:ext cx="4080645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3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ea"/>
                <a:sym typeface="+mn-lt"/>
              </a:rPr>
              <a:t>Application</a:t>
            </a:r>
            <a:br>
              <a:rPr lang="en-US" sz="33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ea"/>
                <a:sym typeface="+mn-lt"/>
              </a:rPr>
            </a:br>
            <a:r>
              <a:rPr lang="en-US" sz="33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ea"/>
                <a:sym typeface="+mn-lt"/>
              </a:rPr>
              <a:t>Devices</a:t>
            </a:r>
          </a:p>
          <a:p>
            <a:r>
              <a:rPr lang="en-US" sz="33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ea"/>
                <a:sym typeface="+mn-lt"/>
              </a:rPr>
              <a:t>Monitor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4169ED7-29A4-01E7-0610-05014A79F1C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59162734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C17FEDC3-B256-5EA3-F523-63ECD4F5006F}"/>
              </a:ext>
            </a:extLst>
          </p:cNvPr>
          <p:cNvSpPr/>
          <p:nvPr/>
        </p:nvSpPr>
        <p:spPr>
          <a:xfrm>
            <a:off x="300038" y="3429000"/>
            <a:ext cx="11591925" cy="31321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79A0DC4-8E6A-E27D-5BDD-45EDCB70F04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851" y="732077"/>
            <a:ext cx="5773738" cy="435567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FDA7375B-23D9-539E-62EC-C5931F7F9E6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1176" y="1381359"/>
            <a:ext cx="4266948" cy="3621528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05EAE72-B39C-5063-8C79-00545924DF0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E95B0069-3716-50DE-4AE7-57D0C316FA1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705155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79A0DC4-8E6A-E27D-5BDD-45EDCB70F04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744" y="837282"/>
            <a:ext cx="7712869" cy="5818546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E0D9627E-1CCD-EA8E-8D83-C8CD1ECF1BA6}"/>
              </a:ext>
            </a:extLst>
          </p:cNvPr>
          <p:cNvGrpSpPr/>
          <p:nvPr/>
        </p:nvGrpSpPr>
        <p:grpSpPr>
          <a:xfrm>
            <a:off x="8220074" y="3087459"/>
            <a:ext cx="3097213" cy="1008062"/>
            <a:chOff x="8220074" y="2375120"/>
            <a:chExt cx="3097213" cy="1008062"/>
          </a:xfrm>
        </p:grpSpPr>
        <p:sp>
          <p:nvSpPr>
            <p:cNvPr id="14" name="Rectangle: Rounded Corners 3">
              <a:extLst>
                <a:ext uri="{FF2B5EF4-FFF2-40B4-BE49-F238E27FC236}">
                  <a16:creationId xmlns:a16="http://schemas.microsoft.com/office/drawing/2014/main" id="{AAB1C6A4-C2EF-6F6C-A223-9B3E55C1BF94}"/>
                </a:ext>
              </a:extLst>
            </p:cNvPr>
            <p:cNvSpPr/>
            <p:nvPr/>
          </p:nvSpPr>
          <p:spPr>
            <a:xfrm>
              <a:off x="8220074" y="2375120"/>
              <a:ext cx="3097213" cy="1008062"/>
            </a:xfrm>
            <a:prstGeom prst="roundRect">
              <a:avLst>
                <a:gd name="adj" fmla="val 2180"/>
              </a:avLst>
            </a:prstGeom>
            <a:solidFill>
              <a:srgbClr val="F6F5E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500" b="1" dirty="0">
                <a:solidFill>
                  <a:schemeClr val="bg1">
                    <a:lumMod val="95000"/>
                    <a:alpha val="40000"/>
                  </a:schemeClr>
                </a:solidFill>
                <a:latin typeface="+mj-lt"/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62797FD1-C672-1C8B-E0A0-CD90AB3BE72D}"/>
                </a:ext>
              </a:extLst>
            </p:cNvPr>
            <p:cNvGrpSpPr/>
            <p:nvPr/>
          </p:nvGrpSpPr>
          <p:grpSpPr>
            <a:xfrm>
              <a:off x="8414226" y="2513933"/>
              <a:ext cx="2451736" cy="754291"/>
              <a:chOff x="5742255" y="3991779"/>
              <a:chExt cx="2051972" cy="754291"/>
            </a:xfrm>
          </p:grpSpPr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BB5CC997-5779-904D-904B-EDF9F7A4D461}"/>
                  </a:ext>
                </a:extLst>
              </p:cNvPr>
              <p:cNvSpPr txBox="1"/>
              <p:nvPr/>
            </p:nvSpPr>
            <p:spPr>
              <a:xfrm>
                <a:off x="5742255" y="4229069"/>
                <a:ext cx="2051972" cy="51700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>
                  <a:lnSpc>
                    <a:spcPct val="150000"/>
                  </a:lnSpc>
                  <a:defRPr sz="900">
                    <a:solidFill>
                      <a:schemeClr val="bg1">
                        <a:lumMod val="50000"/>
                      </a:schemeClr>
                    </a:solidFill>
                    <a:cs typeface="+mn-ea"/>
                  </a:defRPr>
                </a:lvl1pPr>
              </a:lstStyle>
              <a:p>
                <a:r>
                  <a:rPr lang="en-US" dirty="0"/>
                  <a:t>Lorem ipsum dolor sit </a:t>
                </a:r>
                <a:r>
                  <a:rPr lang="en-US" dirty="0" err="1"/>
                  <a:t>amet</a:t>
                </a:r>
                <a:r>
                  <a:rPr lang="en-US" dirty="0"/>
                  <a:t>. Qui </a:t>
                </a:r>
                <a:r>
                  <a:rPr lang="en-US" dirty="0" err="1"/>
                  <a:t>sint</a:t>
                </a:r>
                <a:r>
                  <a:rPr lang="en-US" dirty="0"/>
                  <a:t> </a:t>
                </a:r>
                <a:r>
                  <a:rPr lang="en-US" dirty="0" err="1"/>
                  <a:t>neque</a:t>
                </a:r>
                <a:r>
                  <a:rPr lang="en-US" dirty="0"/>
                  <a:t> a </a:t>
                </a:r>
                <a:r>
                  <a:rPr lang="en-US" dirty="0" err="1"/>
                  <a:t>velit</a:t>
                </a:r>
                <a:r>
                  <a:rPr lang="en-US" dirty="0"/>
                  <a:t> </a:t>
                </a:r>
                <a:r>
                  <a:rPr lang="en-US" dirty="0" err="1"/>
                  <a:t>modi</a:t>
                </a:r>
                <a:r>
                  <a:rPr lang="en-US" dirty="0"/>
                  <a:t>.</a:t>
                </a: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0ACD3CFB-D03D-5883-343C-F9F973254F55}"/>
                  </a:ext>
                </a:extLst>
              </p:cNvPr>
              <p:cNvSpPr txBox="1"/>
              <p:nvPr/>
            </p:nvSpPr>
            <p:spPr>
              <a:xfrm>
                <a:off x="5742255" y="3991779"/>
                <a:ext cx="2051972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id-ID"/>
                </a:defPPr>
                <a:lvl1pPr>
                  <a:defRPr sz="1100">
                    <a:solidFill>
                      <a:schemeClr val="tx1">
                        <a:lumMod val="95000"/>
                        <a:lumOff val="5000"/>
                      </a:schemeClr>
                    </a:solidFill>
                    <a:cs typeface="+mn-ea"/>
                  </a:defRPr>
                </a:lvl1pPr>
              </a:lstStyle>
              <a:p>
                <a:r>
                  <a:rPr lang="en-US" dirty="0"/>
                  <a:t>2000 nits</a:t>
                </a:r>
              </a:p>
            </p:txBody>
          </p:sp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6998E07-F78F-A4B1-D11D-F0DA3CC1AF6B}"/>
              </a:ext>
            </a:extLst>
          </p:cNvPr>
          <p:cNvGrpSpPr/>
          <p:nvPr/>
        </p:nvGrpSpPr>
        <p:grpSpPr>
          <a:xfrm>
            <a:off x="8220074" y="1922464"/>
            <a:ext cx="3097213" cy="1008062"/>
            <a:chOff x="8220074" y="1160464"/>
            <a:chExt cx="3097213" cy="1008062"/>
          </a:xfrm>
        </p:grpSpPr>
        <p:sp>
          <p:nvSpPr>
            <p:cNvPr id="13" name="Rectangle: Rounded Corners 3">
              <a:extLst>
                <a:ext uri="{FF2B5EF4-FFF2-40B4-BE49-F238E27FC236}">
                  <a16:creationId xmlns:a16="http://schemas.microsoft.com/office/drawing/2014/main" id="{139C5329-1684-04CA-FD7B-E12216354DEB}"/>
                </a:ext>
              </a:extLst>
            </p:cNvPr>
            <p:cNvSpPr/>
            <p:nvPr/>
          </p:nvSpPr>
          <p:spPr>
            <a:xfrm>
              <a:off x="8220074" y="1160464"/>
              <a:ext cx="3097213" cy="1008062"/>
            </a:xfrm>
            <a:prstGeom prst="roundRect">
              <a:avLst>
                <a:gd name="adj" fmla="val 218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500" b="1" dirty="0">
                <a:solidFill>
                  <a:schemeClr val="bg1">
                    <a:lumMod val="95000"/>
                    <a:alpha val="40000"/>
                  </a:schemeClr>
                </a:solidFill>
                <a:latin typeface="+mj-lt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0A9CEF4-A654-A3E3-43BB-156906867273}"/>
                </a:ext>
              </a:extLst>
            </p:cNvPr>
            <p:cNvGrpSpPr/>
            <p:nvPr/>
          </p:nvGrpSpPr>
          <p:grpSpPr>
            <a:xfrm>
              <a:off x="8414226" y="1287349"/>
              <a:ext cx="2451736" cy="723577"/>
              <a:chOff x="5742255" y="3991779"/>
              <a:chExt cx="2051972" cy="723577"/>
            </a:xfrm>
          </p:grpSpPr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1628ABE-DE09-7888-7E9D-B0D58EEF160D}"/>
                  </a:ext>
                </a:extLst>
              </p:cNvPr>
              <p:cNvSpPr txBox="1"/>
              <p:nvPr/>
            </p:nvSpPr>
            <p:spPr>
              <a:xfrm>
                <a:off x="5742255" y="4229069"/>
                <a:ext cx="2051972" cy="4862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>
                  <a:lnSpc>
                    <a:spcPct val="150000"/>
                  </a:lnSpc>
                  <a:defRPr sz="900">
                    <a:solidFill>
                      <a:schemeClr val="bg1">
                        <a:lumMod val="50000"/>
                      </a:schemeClr>
                    </a:solidFill>
                    <a:cs typeface="+mn-ea"/>
                  </a:defRPr>
                </a:lvl1pPr>
              </a:lstStyle>
              <a:p>
                <a:r>
                  <a:rPr lang="en-US" dirty="0">
                    <a:solidFill>
                      <a:schemeClr val="bg1"/>
                    </a:solidFill>
                  </a:rPr>
                  <a:t>Lorem ipsum dolor sit </a:t>
                </a:r>
                <a:r>
                  <a:rPr lang="en-US" dirty="0" err="1">
                    <a:solidFill>
                      <a:schemeClr val="bg1"/>
                    </a:solidFill>
                  </a:rPr>
                  <a:t>amet</a:t>
                </a:r>
                <a:r>
                  <a:rPr lang="en-US" dirty="0">
                    <a:solidFill>
                      <a:schemeClr val="bg1"/>
                    </a:solidFill>
                  </a:rPr>
                  <a:t>. Qui </a:t>
                </a:r>
                <a:r>
                  <a:rPr lang="en-US" dirty="0" err="1">
                    <a:solidFill>
                      <a:schemeClr val="bg1"/>
                    </a:solidFill>
                  </a:rPr>
                  <a:t>sint</a:t>
                </a:r>
                <a:r>
                  <a:rPr lang="en-US" dirty="0">
                    <a:solidFill>
                      <a:schemeClr val="bg1"/>
                    </a:solidFill>
                  </a:rPr>
                  <a:t> </a:t>
                </a:r>
                <a:r>
                  <a:rPr lang="en-US" dirty="0" err="1">
                    <a:solidFill>
                      <a:schemeClr val="bg1"/>
                    </a:solidFill>
                  </a:rPr>
                  <a:t>neque</a:t>
                </a:r>
                <a:r>
                  <a:rPr lang="en-US" dirty="0">
                    <a:solidFill>
                      <a:schemeClr val="bg1"/>
                    </a:solidFill>
                  </a:rPr>
                  <a:t> a </a:t>
                </a:r>
                <a:r>
                  <a:rPr lang="en-US" dirty="0" err="1">
                    <a:solidFill>
                      <a:schemeClr val="bg1"/>
                    </a:solidFill>
                  </a:rPr>
                  <a:t>velit</a:t>
                </a:r>
                <a:r>
                  <a:rPr lang="en-US" dirty="0">
                    <a:solidFill>
                      <a:schemeClr val="bg1"/>
                    </a:solidFill>
                  </a:rPr>
                  <a:t> </a:t>
                </a:r>
                <a:r>
                  <a:rPr lang="en-US" dirty="0" err="1">
                    <a:solidFill>
                      <a:schemeClr val="bg1"/>
                    </a:solidFill>
                  </a:rPr>
                  <a:t>modi</a:t>
                </a:r>
                <a:r>
                  <a:rPr lang="en-US" dirty="0">
                    <a:solidFill>
                      <a:schemeClr val="bg1"/>
                    </a:solidFill>
                  </a:rPr>
                  <a:t>.</a:t>
                </a: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84F11291-E6B1-4BCE-9EAD-E1588E32F3E2}"/>
                  </a:ext>
                </a:extLst>
              </p:cNvPr>
              <p:cNvSpPr txBox="1"/>
              <p:nvPr/>
            </p:nvSpPr>
            <p:spPr>
              <a:xfrm>
                <a:off x="5742255" y="3991779"/>
                <a:ext cx="2051972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id-ID"/>
                </a:defPPr>
                <a:lvl1pPr>
                  <a:defRPr sz="1100">
                    <a:solidFill>
                      <a:schemeClr val="tx1">
                        <a:lumMod val="95000"/>
                        <a:lumOff val="5000"/>
                      </a:schemeClr>
                    </a:solidFill>
                    <a:cs typeface="+mn-ea"/>
                  </a:defRPr>
                </a:lvl1pPr>
              </a:lstStyle>
              <a:p>
                <a:r>
                  <a:rPr lang="en-US" dirty="0">
                    <a:solidFill>
                      <a:schemeClr val="bg1"/>
                    </a:solidFill>
                  </a:rPr>
                  <a:t>5,000,000:1</a:t>
                </a:r>
              </a:p>
            </p:txBody>
          </p:sp>
        </p:grp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5DB16E9-E00F-012D-0558-A3D4E9D91002}"/>
              </a:ext>
            </a:extLst>
          </p:cNvPr>
          <p:cNvGrpSpPr/>
          <p:nvPr/>
        </p:nvGrpSpPr>
        <p:grpSpPr>
          <a:xfrm>
            <a:off x="8220074" y="4252455"/>
            <a:ext cx="3097213" cy="1008062"/>
            <a:chOff x="8220074" y="3490455"/>
            <a:chExt cx="3097213" cy="1008062"/>
          </a:xfrm>
        </p:grpSpPr>
        <p:sp>
          <p:nvSpPr>
            <p:cNvPr id="15" name="Rectangle: Rounded Corners 3">
              <a:extLst>
                <a:ext uri="{FF2B5EF4-FFF2-40B4-BE49-F238E27FC236}">
                  <a16:creationId xmlns:a16="http://schemas.microsoft.com/office/drawing/2014/main" id="{5B9B6277-40FB-82EA-05BB-FE3133173310}"/>
                </a:ext>
              </a:extLst>
            </p:cNvPr>
            <p:cNvSpPr/>
            <p:nvPr/>
          </p:nvSpPr>
          <p:spPr>
            <a:xfrm>
              <a:off x="8220074" y="3490455"/>
              <a:ext cx="3097213" cy="1008062"/>
            </a:xfrm>
            <a:prstGeom prst="roundRect">
              <a:avLst>
                <a:gd name="adj" fmla="val 2180"/>
              </a:avLst>
            </a:prstGeom>
            <a:solidFill>
              <a:srgbClr val="F6F5E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500" b="1" dirty="0">
                <a:solidFill>
                  <a:schemeClr val="bg1">
                    <a:lumMod val="95000"/>
                    <a:alpha val="40000"/>
                  </a:schemeClr>
                </a:solidFill>
                <a:latin typeface="+mj-lt"/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A08D855-232F-C625-02CD-B5162FFA5E86}"/>
                </a:ext>
              </a:extLst>
            </p:cNvPr>
            <p:cNvGrpSpPr/>
            <p:nvPr/>
          </p:nvGrpSpPr>
          <p:grpSpPr>
            <a:xfrm>
              <a:off x="8414226" y="3589777"/>
              <a:ext cx="2451736" cy="754291"/>
              <a:chOff x="5742255" y="3991779"/>
              <a:chExt cx="2051972" cy="754291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7B2E556D-1E2A-7705-5FDA-7CF0C7FADF62}"/>
                  </a:ext>
                </a:extLst>
              </p:cNvPr>
              <p:cNvSpPr txBox="1"/>
              <p:nvPr/>
            </p:nvSpPr>
            <p:spPr>
              <a:xfrm>
                <a:off x="5742255" y="4229069"/>
                <a:ext cx="2051972" cy="51700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>
                  <a:lnSpc>
                    <a:spcPct val="150000"/>
                  </a:lnSpc>
                  <a:defRPr sz="900">
                    <a:solidFill>
                      <a:schemeClr val="bg1">
                        <a:lumMod val="50000"/>
                      </a:schemeClr>
                    </a:solidFill>
                    <a:cs typeface="+mn-ea"/>
                  </a:defRPr>
                </a:lvl1pPr>
              </a:lstStyle>
              <a:p>
                <a:r>
                  <a:rPr lang="en-US" dirty="0"/>
                  <a:t>Lorem ipsum dolor sit </a:t>
                </a:r>
                <a:r>
                  <a:rPr lang="en-US" dirty="0" err="1"/>
                  <a:t>amet</a:t>
                </a:r>
                <a:r>
                  <a:rPr lang="en-US" dirty="0"/>
                  <a:t>. Qui </a:t>
                </a:r>
                <a:r>
                  <a:rPr lang="en-US" dirty="0" err="1"/>
                  <a:t>sint</a:t>
                </a:r>
                <a:r>
                  <a:rPr lang="en-US" dirty="0"/>
                  <a:t> </a:t>
                </a:r>
                <a:r>
                  <a:rPr lang="en-US" dirty="0" err="1"/>
                  <a:t>neque</a:t>
                </a:r>
                <a:r>
                  <a:rPr lang="en-US" dirty="0"/>
                  <a:t> a </a:t>
                </a:r>
                <a:r>
                  <a:rPr lang="en-US" dirty="0" err="1"/>
                  <a:t>velit</a:t>
                </a:r>
                <a:r>
                  <a:rPr lang="en-US" dirty="0"/>
                  <a:t> </a:t>
                </a:r>
                <a:r>
                  <a:rPr lang="en-US" dirty="0" err="1"/>
                  <a:t>modi</a:t>
                </a:r>
                <a:r>
                  <a:rPr lang="en-US" dirty="0"/>
                  <a:t>.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B40E8A56-23D6-9A20-17B9-ECF592F8DE8F}"/>
                  </a:ext>
                </a:extLst>
              </p:cNvPr>
              <p:cNvSpPr txBox="1"/>
              <p:nvPr/>
            </p:nvSpPr>
            <p:spPr>
              <a:xfrm>
                <a:off x="5742255" y="3991779"/>
                <a:ext cx="2051972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id-ID"/>
                </a:defPPr>
                <a:lvl1pPr>
                  <a:defRPr sz="1100">
                    <a:solidFill>
                      <a:schemeClr val="tx1">
                        <a:lumMod val="95000"/>
                        <a:lumOff val="5000"/>
                      </a:schemeClr>
                    </a:solidFill>
                    <a:cs typeface="+mn-ea"/>
                  </a:defRPr>
                </a:lvl1pPr>
              </a:lstStyle>
              <a:p>
                <a:r>
                  <a:rPr lang="en-US" dirty="0"/>
                  <a:t>4K Ready</a:t>
                </a:r>
              </a:p>
            </p:txBody>
          </p:sp>
        </p:grpSp>
      </p:grp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0576266-E81A-4C57-2D5D-09C4B86E03D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2817509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C28BB1B-A720-9410-4503-BAED029AA65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6383" y="668890"/>
            <a:ext cx="3525668" cy="552022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6EBA838-2B3F-62DA-ED3E-2AD5F0BECCA4}"/>
              </a:ext>
            </a:extLst>
          </p:cNvPr>
          <p:cNvSpPr txBox="1"/>
          <p:nvPr/>
        </p:nvSpPr>
        <p:spPr>
          <a:xfrm>
            <a:off x="6167438" y="1148897"/>
            <a:ext cx="4080645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3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ea"/>
                <a:sym typeface="+mn-lt"/>
              </a:rPr>
              <a:t>Application</a:t>
            </a:r>
            <a:br>
              <a:rPr lang="en-US" sz="33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ea"/>
                <a:sym typeface="+mn-lt"/>
              </a:rPr>
            </a:br>
            <a:r>
              <a:rPr lang="en-US" sz="33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ea"/>
                <a:sym typeface="+mn-lt"/>
              </a:rPr>
              <a:t>Devices</a:t>
            </a:r>
          </a:p>
          <a:p>
            <a:r>
              <a:rPr lang="en-US" sz="33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ea"/>
                <a:sym typeface="+mn-lt"/>
              </a:rPr>
              <a:t>Smartwatch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B00561C-F988-6F10-9202-5E38E7F51013}"/>
              </a:ext>
            </a:extLst>
          </p:cNvPr>
          <p:cNvGrpSpPr/>
          <p:nvPr/>
        </p:nvGrpSpPr>
        <p:grpSpPr>
          <a:xfrm>
            <a:off x="1314420" y="1956810"/>
            <a:ext cx="900113" cy="900111"/>
            <a:chOff x="6763368" y="4844977"/>
            <a:chExt cx="1247026" cy="1247023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900DDD53-50A9-072E-E798-50CE1DE6FBC1}"/>
                </a:ext>
              </a:extLst>
            </p:cNvPr>
            <p:cNvSpPr/>
            <p:nvPr/>
          </p:nvSpPr>
          <p:spPr>
            <a:xfrm>
              <a:off x="6763368" y="4844977"/>
              <a:ext cx="1247026" cy="124702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28600" dist="76200" dir="2700000" algn="tl" rotWithShape="0">
                <a:prstClr val="black">
                  <a:alpha val="1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0C966AD7-2418-A764-5D11-262520D6D0BD}"/>
                </a:ext>
              </a:extLst>
            </p:cNvPr>
            <p:cNvGrpSpPr/>
            <p:nvPr/>
          </p:nvGrpSpPr>
          <p:grpSpPr>
            <a:xfrm>
              <a:off x="6877537" y="5104538"/>
              <a:ext cx="1018688" cy="739184"/>
              <a:chOff x="6877537" y="5048179"/>
              <a:chExt cx="1018688" cy="739184"/>
            </a:xfrm>
          </p:grpSpPr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D834E5B5-AC4D-C4AC-C720-C4107557888D}"/>
                  </a:ext>
                </a:extLst>
              </p:cNvPr>
              <p:cNvSpPr txBox="1"/>
              <p:nvPr/>
            </p:nvSpPr>
            <p:spPr>
              <a:xfrm>
                <a:off x="6934687" y="5444647"/>
                <a:ext cx="904387" cy="3427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lnSpc>
                    <a:spcPct val="120000"/>
                  </a:lnSpc>
                  <a:defRPr sz="1200">
                    <a:solidFill>
                      <a:schemeClr val="tx1">
                        <a:lumMod val="85000"/>
                        <a:lumOff val="15000"/>
                      </a:schemeClr>
                    </a:solidFill>
                  </a:defRPr>
                </a:lvl1pPr>
              </a:lstStyle>
              <a:p>
                <a:pPr algn="ctr"/>
                <a:r>
                  <a:rPr lang="en-US" sz="900" dirty="0"/>
                  <a:t>Point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1D70F145-DF4D-12A9-9E67-FCA8F579DA08}"/>
                  </a:ext>
                </a:extLst>
              </p:cNvPr>
              <p:cNvSpPr txBox="1"/>
              <p:nvPr/>
            </p:nvSpPr>
            <p:spPr>
              <a:xfrm>
                <a:off x="6877537" y="5048179"/>
                <a:ext cx="1018688" cy="5543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defRPr sz="4400" b="1">
                    <a:solidFill>
                      <a:schemeClr val="accent2"/>
                    </a:solidFill>
                    <a:latin typeface="+mj-lt"/>
                    <a:cs typeface="Sora ExtraBold" pitchFamily="2" charset="0"/>
                  </a:defRPr>
                </a:lvl1pPr>
              </a:lstStyle>
              <a:p>
                <a:pPr algn="ctr"/>
                <a:r>
                  <a:rPr lang="en-US" sz="2000" dirty="0">
                    <a:solidFill>
                      <a:schemeClr val="accent1"/>
                    </a:solidFill>
                  </a:rPr>
                  <a:t>12M</a:t>
                </a:r>
                <a:endParaRPr lang="en-US" sz="1600" dirty="0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1C1A316-527A-B217-4854-521273F114A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8086178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>
            <a:extLst>
              <a:ext uri="{FF2B5EF4-FFF2-40B4-BE49-F238E27FC236}">
                <a16:creationId xmlns:a16="http://schemas.microsoft.com/office/drawing/2014/main" id="{FDDCF48B-0EEA-C006-55F6-7FACCBB214CC}"/>
              </a:ext>
            </a:extLst>
          </p:cNvPr>
          <p:cNvSpPr txBox="1"/>
          <p:nvPr/>
        </p:nvSpPr>
        <p:spPr>
          <a:xfrm>
            <a:off x="1019175" y="1148897"/>
            <a:ext cx="4080645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3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ea"/>
                <a:sym typeface="+mn-lt"/>
              </a:rPr>
              <a:t>Application</a:t>
            </a:r>
            <a:br>
              <a:rPr lang="en-US" sz="33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ea"/>
                <a:sym typeface="+mn-lt"/>
              </a:rPr>
            </a:br>
            <a:r>
              <a:rPr lang="en-US" sz="33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ea"/>
                <a:sym typeface="+mn-lt"/>
              </a:rPr>
              <a:t>Devices</a:t>
            </a:r>
          </a:p>
          <a:p>
            <a:r>
              <a:rPr lang="en-US" sz="33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ea"/>
                <a:sym typeface="+mn-lt"/>
              </a:rPr>
              <a:t>Smartwatch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06FD3FD-A4B4-2491-5453-B23202C62DB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21940" y="1478229"/>
            <a:ext cx="2471567" cy="386979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08C4C31-C3CE-3C60-57C9-32F33C31B44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7" y="1478230"/>
            <a:ext cx="2429868" cy="3869789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69831B2B-3FD3-EA6B-EA8B-49DAF9CF108F}"/>
              </a:ext>
            </a:extLst>
          </p:cNvPr>
          <p:cNvGrpSpPr/>
          <p:nvPr/>
        </p:nvGrpSpPr>
        <p:grpSpPr>
          <a:xfrm>
            <a:off x="8075613" y="2947719"/>
            <a:ext cx="900113" cy="900111"/>
            <a:chOff x="6763368" y="4844977"/>
            <a:chExt cx="1247026" cy="1247023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2D3E846B-7794-888F-5BC3-ED6078AFD76D}"/>
                </a:ext>
              </a:extLst>
            </p:cNvPr>
            <p:cNvSpPr/>
            <p:nvPr/>
          </p:nvSpPr>
          <p:spPr>
            <a:xfrm>
              <a:off x="6763368" y="4844977"/>
              <a:ext cx="1247026" cy="124702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28600" dist="76200" dir="2700000" algn="tl" rotWithShape="0">
                <a:prstClr val="black">
                  <a:alpha val="12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6E58A9B5-7D8B-6FE2-5FD1-A5D031CFFA32}"/>
                </a:ext>
              </a:extLst>
            </p:cNvPr>
            <p:cNvGrpSpPr/>
            <p:nvPr/>
          </p:nvGrpSpPr>
          <p:grpSpPr>
            <a:xfrm>
              <a:off x="6877537" y="5104538"/>
              <a:ext cx="1018688" cy="739184"/>
              <a:chOff x="6877537" y="5048179"/>
              <a:chExt cx="1018688" cy="739184"/>
            </a:xfrm>
          </p:grpSpPr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7AC78492-2D7F-C74C-CA5F-5139D8AE3C9E}"/>
                  </a:ext>
                </a:extLst>
              </p:cNvPr>
              <p:cNvSpPr txBox="1"/>
              <p:nvPr/>
            </p:nvSpPr>
            <p:spPr>
              <a:xfrm>
                <a:off x="6934687" y="5444647"/>
                <a:ext cx="904387" cy="3427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lnSpc>
                    <a:spcPct val="120000"/>
                  </a:lnSpc>
                  <a:defRPr sz="1200">
                    <a:solidFill>
                      <a:schemeClr val="tx1">
                        <a:lumMod val="85000"/>
                        <a:lumOff val="15000"/>
                      </a:schemeClr>
                    </a:solidFill>
                  </a:defRPr>
                </a:lvl1pPr>
              </a:lstStyle>
              <a:p>
                <a:pPr algn="ctr"/>
                <a:r>
                  <a:rPr lang="en-US" sz="900" dirty="0"/>
                  <a:t>Point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4192B93C-B270-FEFA-FC6F-EA111948EA68}"/>
                  </a:ext>
                </a:extLst>
              </p:cNvPr>
              <p:cNvSpPr txBox="1"/>
              <p:nvPr/>
            </p:nvSpPr>
            <p:spPr>
              <a:xfrm>
                <a:off x="6877537" y="5048179"/>
                <a:ext cx="1018688" cy="5543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defRPr sz="4400" b="1">
                    <a:solidFill>
                      <a:schemeClr val="accent2"/>
                    </a:solidFill>
                    <a:latin typeface="+mj-lt"/>
                    <a:cs typeface="Sora ExtraBold" pitchFamily="2" charset="0"/>
                  </a:defRPr>
                </a:lvl1pPr>
              </a:lstStyle>
              <a:p>
                <a:pPr algn="ctr"/>
                <a:r>
                  <a:rPr lang="en-US" sz="2000" dirty="0">
                    <a:solidFill>
                      <a:schemeClr val="accent1"/>
                    </a:solidFill>
                  </a:rPr>
                  <a:t>VS</a:t>
                </a:r>
                <a:endParaRPr lang="en-US" sz="1600" dirty="0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D836A6D-2633-95E9-40CA-79899248CDA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807EF34-BDF5-F626-62D7-109FADA78AF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1171961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98D6460D-3926-4298-958D-C949138BDF51}"/>
              </a:ext>
            </a:extLst>
          </p:cNvPr>
          <p:cNvGrpSpPr/>
          <p:nvPr/>
        </p:nvGrpSpPr>
        <p:grpSpPr>
          <a:xfrm>
            <a:off x="2594968" y="2069503"/>
            <a:ext cx="3528553" cy="3069032"/>
            <a:chOff x="5190610" y="4138651"/>
            <a:chExt cx="7058025" cy="6138864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A79552DA-F91B-4F50-ABCF-2F45012256D2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5650191" y="3679070"/>
              <a:ext cx="6138864" cy="7058025"/>
            </a:xfrm>
            <a:custGeom>
              <a:avLst/>
              <a:gdLst>
                <a:gd name="T0" fmla="*/ 0 w 2224"/>
                <a:gd name="T1" fmla="*/ 1003 h 2555"/>
                <a:gd name="T2" fmla="*/ 1112 w 2224"/>
                <a:gd name="T3" fmla="*/ 0 h 2555"/>
                <a:gd name="T4" fmla="*/ 2224 w 2224"/>
                <a:gd name="T5" fmla="*/ 1004 h 2555"/>
                <a:gd name="T6" fmla="*/ 1741 w 2224"/>
                <a:gd name="T7" fmla="*/ 1487 h 2555"/>
                <a:gd name="T8" fmla="*/ 1585 w 2224"/>
                <a:gd name="T9" fmla="*/ 1321 h 2555"/>
                <a:gd name="T10" fmla="*/ 1585 w 2224"/>
                <a:gd name="T11" fmla="*/ 2555 h 2555"/>
                <a:gd name="T12" fmla="*/ 639 w 2224"/>
                <a:gd name="T13" fmla="*/ 2555 h 2555"/>
                <a:gd name="T14" fmla="*/ 639 w 2224"/>
                <a:gd name="T15" fmla="*/ 1335 h 2555"/>
                <a:gd name="T16" fmla="*/ 492 w 2224"/>
                <a:gd name="T17" fmla="*/ 1498 h 2555"/>
                <a:gd name="T18" fmla="*/ 0 w 2224"/>
                <a:gd name="T19" fmla="*/ 1003 h 2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24" h="2555">
                  <a:moveTo>
                    <a:pt x="0" y="1003"/>
                  </a:moveTo>
                  <a:cubicBezTo>
                    <a:pt x="1112" y="0"/>
                    <a:pt x="1112" y="0"/>
                    <a:pt x="1112" y="0"/>
                  </a:cubicBezTo>
                  <a:cubicBezTo>
                    <a:pt x="2224" y="1004"/>
                    <a:pt x="2224" y="1004"/>
                    <a:pt x="2224" y="1004"/>
                  </a:cubicBezTo>
                  <a:cubicBezTo>
                    <a:pt x="1741" y="1487"/>
                    <a:pt x="1741" y="1487"/>
                    <a:pt x="1741" y="1487"/>
                  </a:cubicBezTo>
                  <a:cubicBezTo>
                    <a:pt x="1585" y="1321"/>
                    <a:pt x="1585" y="1321"/>
                    <a:pt x="1585" y="1321"/>
                  </a:cubicBezTo>
                  <a:cubicBezTo>
                    <a:pt x="1585" y="2555"/>
                    <a:pt x="1585" y="2555"/>
                    <a:pt x="1585" y="2555"/>
                  </a:cubicBezTo>
                  <a:cubicBezTo>
                    <a:pt x="1339" y="2555"/>
                    <a:pt x="885" y="2555"/>
                    <a:pt x="639" y="2555"/>
                  </a:cubicBezTo>
                  <a:cubicBezTo>
                    <a:pt x="639" y="1335"/>
                    <a:pt x="639" y="1335"/>
                    <a:pt x="639" y="1335"/>
                  </a:cubicBezTo>
                  <a:cubicBezTo>
                    <a:pt x="492" y="1498"/>
                    <a:pt x="492" y="1498"/>
                    <a:pt x="492" y="1498"/>
                  </a:cubicBezTo>
                  <a:cubicBezTo>
                    <a:pt x="0" y="1003"/>
                    <a:pt x="0" y="1003"/>
                    <a:pt x="0" y="100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28B954C-FB2A-43AA-B7E5-8B48690BE09D}"/>
                </a:ext>
              </a:extLst>
            </p:cNvPr>
            <p:cNvSpPr txBox="1"/>
            <p:nvPr/>
          </p:nvSpPr>
          <p:spPr>
            <a:xfrm>
              <a:off x="7438887" y="6746357"/>
              <a:ext cx="3328909" cy="92345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r"/>
              <a:r>
                <a:rPr lang="en-US" sz="2400">
                  <a:solidFill>
                    <a:srgbClr val="FFFFFF"/>
                  </a:solidFill>
                  <a:latin typeface="+mj-lt"/>
                  <a:ea typeface="+mj-ea"/>
                  <a:cs typeface="+mj-cs"/>
                </a:rPr>
                <a:t>INCREASE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FA958FC-98B4-4456-BCB1-25D2E8AEF2FD}"/>
              </a:ext>
            </a:extLst>
          </p:cNvPr>
          <p:cNvGrpSpPr/>
          <p:nvPr/>
        </p:nvGrpSpPr>
        <p:grpSpPr>
          <a:xfrm>
            <a:off x="6068480" y="2069503"/>
            <a:ext cx="3528553" cy="3069032"/>
            <a:chOff x="12138539" y="4138652"/>
            <a:chExt cx="7058025" cy="6138864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B22221C3-2420-4787-858D-764DA16C2A3E}"/>
                </a:ext>
              </a:extLst>
            </p:cNvPr>
            <p:cNvSpPr>
              <a:spLocks/>
            </p:cNvSpPr>
            <p:nvPr/>
          </p:nvSpPr>
          <p:spPr bwMode="auto">
            <a:xfrm rot="16200000" flipH="1">
              <a:off x="12598120" y="3679071"/>
              <a:ext cx="6138864" cy="7058025"/>
            </a:xfrm>
            <a:custGeom>
              <a:avLst/>
              <a:gdLst>
                <a:gd name="T0" fmla="*/ 0 w 2224"/>
                <a:gd name="T1" fmla="*/ 1003 h 2555"/>
                <a:gd name="T2" fmla="*/ 1112 w 2224"/>
                <a:gd name="T3" fmla="*/ 0 h 2555"/>
                <a:gd name="T4" fmla="*/ 2224 w 2224"/>
                <a:gd name="T5" fmla="*/ 1004 h 2555"/>
                <a:gd name="T6" fmla="*/ 1741 w 2224"/>
                <a:gd name="T7" fmla="*/ 1487 h 2555"/>
                <a:gd name="T8" fmla="*/ 1585 w 2224"/>
                <a:gd name="T9" fmla="*/ 1321 h 2555"/>
                <a:gd name="T10" fmla="*/ 1585 w 2224"/>
                <a:gd name="T11" fmla="*/ 2555 h 2555"/>
                <a:gd name="T12" fmla="*/ 639 w 2224"/>
                <a:gd name="T13" fmla="*/ 2555 h 2555"/>
                <a:gd name="T14" fmla="*/ 639 w 2224"/>
                <a:gd name="T15" fmla="*/ 1335 h 2555"/>
                <a:gd name="T16" fmla="*/ 492 w 2224"/>
                <a:gd name="T17" fmla="*/ 1498 h 2555"/>
                <a:gd name="T18" fmla="*/ 0 w 2224"/>
                <a:gd name="T19" fmla="*/ 1003 h 2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24" h="2555">
                  <a:moveTo>
                    <a:pt x="0" y="1003"/>
                  </a:moveTo>
                  <a:cubicBezTo>
                    <a:pt x="1112" y="0"/>
                    <a:pt x="1112" y="0"/>
                    <a:pt x="1112" y="0"/>
                  </a:cubicBezTo>
                  <a:cubicBezTo>
                    <a:pt x="2224" y="1004"/>
                    <a:pt x="2224" y="1004"/>
                    <a:pt x="2224" y="1004"/>
                  </a:cubicBezTo>
                  <a:cubicBezTo>
                    <a:pt x="1741" y="1487"/>
                    <a:pt x="1741" y="1487"/>
                    <a:pt x="1741" y="1487"/>
                  </a:cubicBezTo>
                  <a:cubicBezTo>
                    <a:pt x="1585" y="1321"/>
                    <a:pt x="1585" y="1321"/>
                    <a:pt x="1585" y="1321"/>
                  </a:cubicBezTo>
                  <a:cubicBezTo>
                    <a:pt x="1585" y="2555"/>
                    <a:pt x="1585" y="2555"/>
                    <a:pt x="1585" y="2555"/>
                  </a:cubicBezTo>
                  <a:cubicBezTo>
                    <a:pt x="1339" y="2555"/>
                    <a:pt x="885" y="2555"/>
                    <a:pt x="639" y="2555"/>
                  </a:cubicBezTo>
                  <a:cubicBezTo>
                    <a:pt x="639" y="1335"/>
                    <a:pt x="639" y="1335"/>
                    <a:pt x="639" y="1335"/>
                  </a:cubicBezTo>
                  <a:cubicBezTo>
                    <a:pt x="492" y="1498"/>
                    <a:pt x="492" y="1498"/>
                    <a:pt x="492" y="1498"/>
                  </a:cubicBezTo>
                  <a:cubicBezTo>
                    <a:pt x="0" y="1003"/>
                    <a:pt x="0" y="1003"/>
                    <a:pt x="0" y="100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B27989B-F4EC-45AD-A745-084CE5A3AA1E}"/>
                </a:ext>
              </a:extLst>
            </p:cNvPr>
            <p:cNvSpPr txBox="1"/>
            <p:nvPr/>
          </p:nvSpPr>
          <p:spPr>
            <a:xfrm>
              <a:off x="13168905" y="6746356"/>
              <a:ext cx="3425102" cy="92345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sz="2400">
                  <a:solidFill>
                    <a:schemeClr val="bg1"/>
                  </a:solidFill>
                  <a:latin typeface="+mj-lt"/>
                  <a:ea typeface="+mj-ea"/>
                  <a:cs typeface="+mj-cs"/>
                </a:rPr>
                <a:t>DECREASE</a:t>
              </a: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D6EA7507-B16A-4618-96F3-245FB338A1FA}"/>
              </a:ext>
            </a:extLst>
          </p:cNvPr>
          <p:cNvSpPr txBox="1"/>
          <p:nvPr/>
        </p:nvSpPr>
        <p:spPr>
          <a:xfrm>
            <a:off x="8249442" y="1510901"/>
            <a:ext cx="269518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/>
              <a:t>Planning</a:t>
            </a:r>
          </a:p>
          <a:p>
            <a:r>
              <a:rPr lang="en-US" sz="1100"/>
              <a:t>Aenean ac viverra neque. Maecenas ullamcorper turpis sed tellus vestibulum bibendum quam dictum venenatis ut ac dia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3B96D4E-C836-432E-8011-496FEACEE961}"/>
              </a:ext>
            </a:extLst>
          </p:cNvPr>
          <p:cNvSpPr txBox="1"/>
          <p:nvPr/>
        </p:nvSpPr>
        <p:spPr>
          <a:xfrm>
            <a:off x="1247376" y="4740242"/>
            <a:ext cx="269518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bg2"/>
                </a:solidFill>
              </a:rPr>
              <a:t>Recruitment</a:t>
            </a:r>
          </a:p>
          <a:p>
            <a:pPr algn="r"/>
            <a:r>
              <a:rPr lang="en-US" sz="1100" dirty="0"/>
              <a:t>Aenean ac </a:t>
            </a:r>
            <a:r>
              <a:rPr lang="en-US" sz="1100" dirty="0" err="1"/>
              <a:t>viverra</a:t>
            </a:r>
            <a:r>
              <a:rPr lang="en-US" sz="1100" dirty="0"/>
              <a:t> </a:t>
            </a:r>
            <a:r>
              <a:rPr lang="en-US" sz="1100" dirty="0" err="1"/>
              <a:t>neque</a:t>
            </a:r>
            <a:r>
              <a:rPr lang="en-US" sz="1100" dirty="0"/>
              <a:t>. Maecenas </a:t>
            </a:r>
            <a:r>
              <a:rPr lang="en-US" sz="1100" dirty="0" err="1"/>
              <a:t>ullamcorper</a:t>
            </a:r>
            <a:r>
              <a:rPr lang="en-US" sz="1100" dirty="0"/>
              <a:t> </a:t>
            </a:r>
            <a:r>
              <a:rPr lang="en-US" sz="1100" dirty="0" err="1"/>
              <a:t>turpis</a:t>
            </a:r>
            <a:r>
              <a:rPr lang="en-US" sz="1100" dirty="0"/>
              <a:t> sed </a:t>
            </a:r>
            <a:r>
              <a:rPr lang="en-US" sz="1100" dirty="0" err="1"/>
              <a:t>tellus</a:t>
            </a:r>
            <a:r>
              <a:rPr lang="en-US" sz="1100" dirty="0"/>
              <a:t> vestibulum </a:t>
            </a:r>
            <a:r>
              <a:rPr lang="en-US" sz="1100" dirty="0" err="1"/>
              <a:t>bibendum</a:t>
            </a:r>
            <a:r>
              <a:rPr lang="en-US" sz="1100" dirty="0"/>
              <a:t> </a:t>
            </a:r>
            <a:r>
              <a:rPr lang="en-US" sz="1100" dirty="0" err="1"/>
              <a:t>quam</a:t>
            </a:r>
            <a:r>
              <a:rPr lang="en-US" sz="1100" dirty="0"/>
              <a:t> dictum </a:t>
            </a:r>
            <a:r>
              <a:rPr lang="en-US" sz="1100" dirty="0" err="1"/>
              <a:t>venenatis</a:t>
            </a:r>
            <a:r>
              <a:rPr lang="en-US" sz="1100" dirty="0"/>
              <a:t> </a:t>
            </a:r>
            <a:r>
              <a:rPr lang="en-US" sz="1100" dirty="0" err="1"/>
              <a:t>ut</a:t>
            </a:r>
            <a:r>
              <a:rPr lang="en-US" sz="1100" dirty="0"/>
              <a:t> ac dia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6A9E256-0151-4235-A7AC-20BB2BA6E752}"/>
              </a:ext>
            </a:extLst>
          </p:cNvPr>
          <p:cNvSpPr txBox="1"/>
          <p:nvPr/>
        </p:nvSpPr>
        <p:spPr>
          <a:xfrm>
            <a:off x="1027704" y="3219362"/>
            <a:ext cx="1337226" cy="769313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/>
            <a:r>
              <a:rPr lang="en-US" sz="4399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28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0973008-C5F6-4AA2-97D7-1F632C97A520}"/>
              </a:ext>
            </a:extLst>
          </p:cNvPr>
          <p:cNvSpPr txBox="1"/>
          <p:nvPr/>
        </p:nvSpPr>
        <p:spPr>
          <a:xfrm>
            <a:off x="9742867" y="3219362"/>
            <a:ext cx="1337226" cy="769313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/>
            <a:r>
              <a:rPr lang="en-US" sz="4399">
                <a:latin typeface="+mj-lt"/>
                <a:ea typeface="+mj-ea"/>
                <a:cs typeface="+mj-cs"/>
              </a:rPr>
              <a:t>20%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D6924A0-9C6A-091A-8B67-D37EB4FD8C24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Data infographic </a:t>
            </a:r>
            <a:endParaRPr lang="en-C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98232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1F9C0B3-CF71-4FEC-9ABB-A4877021CDE8}"/>
              </a:ext>
            </a:extLst>
          </p:cNvPr>
          <p:cNvCxnSpPr>
            <a:stCxn id="32" idx="1"/>
          </p:cNvCxnSpPr>
          <p:nvPr/>
        </p:nvCxnSpPr>
        <p:spPr>
          <a:xfrm flipH="1">
            <a:off x="4260570" y="3691797"/>
            <a:ext cx="3624046" cy="0"/>
          </a:xfrm>
          <a:prstGeom prst="line">
            <a:avLst/>
          </a:prstGeom>
          <a:ln w="4445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7E392086-7E7F-49A7-B341-482A13C17305}"/>
              </a:ext>
            </a:extLst>
          </p:cNvPr>
          <p:cNvSpPr/>
          <p:nvPr/>
        </p:nvSpPr>
        <p:spPr>
          <a:xfrm>
            <a:off x="4924544" y="3240612"/>
            <a:ext cx="2878791" cy="4291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89000"/>
              </a:lnSpc>
            </a:pPr>
            <a:r>
              <a:rPr lang="en-US" sz="1400">
                <a:solidFill>
                  <a:schemeClr val="tx1">
                    <a:lumMod val="90000"/>
                    <a:lumOff val="10000"/>
                  </a:schemeClr>
                </a:solidFill>
              </a:rPr>
              <a:t>Develop</a:t>
            </a:r>
            <a:endParaRPr lang="en-US" sz="105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r">
              <a:lnSpc>
                <a:spcPct val="89000"/>
              </a:lnSpc>
            </a:pPr>
            <a:r>
              <a:rPr lang="en-US" sz="1000">
                <a:solidFill>
                  <a:schemeClr val="tx1">
                    <a:lumMod val="90000"/>
                    <a:lumOff val="10000"/>
                  </a:schemeClr>
                </a:solidFill>
              </a:rPr>
              <a:t>Lorem ipsum dolor sit </a:t>
            </a:r>
            <a:r>
              <a:rPr lang="en-US" sz="1000" err="1">
                <a:solidFill>
                  <a:schemeClr val="tx1">
                    <a:lumMod val="90000"/>
                    <a:lumOff val="10000"/>
                  </a:schemeClr>
                </a:solidFill>
              </a:rPr>
              <a:t>amet</a:t>
            </a:r>
            <a:r>
              <a:rPr lang="en-US" sz="1000">
                <a:solidFill>
                  <a:schemeClr val="tx1">
                    <a:lumMod val="90000"/>
                    <a:lumOff val="10000"/>
                  </a:schemeClr>
                </a:solidFill>
              </a:rPr>
              <a:t>, </a:t>
            </a:r>
            <a:r>
              <a:rPr lang="en-US" sz="1000" err="1">
                <a:solidFill>
                  <a:schemeClr val="tx1">
                    <a:lumMod val="90000"/>
                    <a:lumOff val="10000"/>
                  </a:schemeClr>
                </a:solidFill>
              </a:rPr>
              <a:t>consectetur</a:t>
            </a:r>
            <a:r>
              <a:rPr lang="en-US" sz="1000">
                <a:solidFill>
                  <a:schemeClr val="tx1">
                    <a:lumMod val="90000"/>
                    <a:lumOff val="10000"/>
                  </a:schemeClr>
                </a:solidFill>
              </a:rPr>
              <a:t> </a:t>
            </a:r>
          </a:p>
        </p:txBody>
      </p:sp>
      <p:sp>
        <p:nvSpPr>
          <p:cNvPr id="32" name="Rounded Rectangle 123">
            <a:extLst>
              <a:ext uri="{FF2B5EF4-FFF2-40B4-BE49-F238E27FC236}">
                <a16:creationId xmlns:a16="http://schemas.microsoft.com/office/drawing/2014/main" id="{536A9E49-1AF0-4F3F-98ED-D1B3DE4E2AE0}"/>
              </a:ext>
            </a:extLst>
          </p:cNvPr>
          <p:cNvSpPr/>
          <p:nvPr/>
        </p:nvSpPr>
        <p:spPr>
          <a:xfrm>
            <a:off x="7884616" y="3341712"/>
            <a:ext cx="700171" cy="70017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latin typeface="+mj-lt"/>
                <a:cs typeface="+mj-cs"/>
              </a:rPr>
              <a:t>3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66F55D1-4F1C-48C3-9148-15C29DDD8080}"/>
              </a:ext>
            </a:extLst>
          </p:cNvPr>
          <p:cNvCxnSpPr>
            <a:stCxn id="23" idx="1"/>
          </p:cNvCxnSpPr>
          <p:nvPr/>
        </p:nvCxnSpPr>
        <p:spPr>
          <a:xfrm flipH="1">
            <a:off x="3682722" y="2864061"/>
            <a:ext cx="6074658" cy="0"/>
          </a:xfrm>
          <a:prstGeom prst="line">
            <a:avLst/>
          </a:prstGeom>
          <a:ln w="44450">
            <a:solidFill>
              <a:schemeClr val="accent5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437D725E-6D72-4473-B283-BDA12E9004FB}"/>
              </a:ext>
            </a:extLst>
          </p:cNvPr>
          <p:cNvSpPr/>
          <p:nvPr/>
        </p:nvSpPr>
        <p:spPr>
          <a:xfrm>
            <a:off x="6790958" y="2412875"/>
            <a:ext cx="2878791" cy="4291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89000"/>
              </a:lnSpc>
            </a:pPr>
            <a:r>
              <a:rPr lang="en-US" sz="1400">
                <a:solidFill>
                  <a:schemeClr val="tx1">
                    <a:lumMod val="90000"/>
                    <a:lumOff val="10000"/>
                  </a:schemeClr>
                </a:solidFill>
              </a:rPr>
              <a:t>Research</a:t>
            </a:r>
            <a:endParaRPr lang="en-US" sz="105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r">
              <a:lnSpc>
                <a:spcPct val="89000"/>
              </a:lnSpc>
            </a:pPr>
            <a:r>
              <a:rPr lang="en-US" sz="1000">
                <a:solidFill>
                  <a:schemeClr val="tx1">
                    <a:lumMod val="90000"/>
                    <a:lumOff val="10000"/>
                  </a:schemeClr>
                </a:solidFill>
              </a:rPr>
              <a:t>Lorem ipsum dolor sit amet, consectetur </a:t>
            </a:r>
          </a:p>
        </p:txBody>
      </p:sp>
      <p:sp>
        <p:nvSpPr>
          <p:cNvPr id="23" name="Rounded Rectangle 112">
            <a:extLst>
              <a:ext uri="{FF2B5EF4-FFF2-40B4-BE49-F238E27FC236}">
                <a16:creationId xmlns:a16="http://schemas.microsoft.com/office/drawing/2014/main" id="{5FD7F94D-D424-456C-9C26-AB621290E81D}"/>
              </a:ext>
            </a:extLst>
          </p:cNvPr>
          <p:cNvSpPr/>
          <p:nvPr/>
        </p:nvSpPr>
        <p:spPr>
          <a:xfrm>
            <a:off x="9757380" y="2513975"/>
            <a:ext cx="700171" cy="700171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latin typeface="+mj-lt"/>
                <a:cs typeface="+mj-cs"/>
              </a:rPr>
              <a:t>2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6EF4A08-ADA3-4DA2-B48E-D44BAFDB6E05}"/>
              </a:ext>
            </a:extLst>
          </p:cNvPr>
          <p:cNvCxnSpPr>
            <a:stCxn id="20" idx="1"/>
          </p:cNvCxnSpPr>
          <p:nvPr/>
        </p:nvCxnSpPr>
        <p:spPr>
          <a:xfrm flipH="1">
            <a:off x="3205053" y="2152843"/>
            <a:ext cx="3624046" cy="0"/>
          </a:xfrm>
          <a:prstGeom prst="line">
            <a:avLst/>
          </a:prstGeom>
          <a:ln w="44450">
            <a:solidFill>
              <a:schemeClr val="bg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AE3422E3-F7D9-483D-9213-388BA7A44044}"/>
              </a:ext>
            </a:extLst>
          </p:cNvPr>
          <p:cNvSpPr/>
          <p:nvPr/>
        </p:nvSpPr>
        <p:spPr>
          <a:xfrm>
            <a:off x="3869027" y="1686417"/>
            <a:ext cx="2878791" cy="4291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89000"/>
              </a:lnSpc>
            </a:pPr>
            <a:r>
              <a:rPr lang="en-US" sz="1400">
                <a:solidFill>
                  <a:schemeClr val="tx1">
                    <a:lumMod val="90000"/>
                    <a:lumOff val="10000"/>
                  </a:schemeClr>
                </a:solidFill>
              </a:rPr>
              <a:t>Investment</a:t>
            </a:r>
            <a:endParaRPr lang="en-US" sz="105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r">
              <a:lnSpc>
                <a:spcPct val="89000"/>
              </a:lnSpc>
            </a:pPr>
            <a:r>
              <a:rPr lang="en-US" sz="1000">
                <a:solidFill>
                  <a:schemeClr val="tx1">
                    <a:lumMod val="90000"/>
                    <a:lumOff val="10000"/>
                  </a:schemeClr>
                </a:solidFill>
              </a:rPr>
              <a:t>Lorem ipsum dolor sit amet, consectetur </a:t>
            </a:r>
          </a:p>
        </p:txBody>
      </p:sp>
      <p:sp>
        <p:nvSpPr>
          <p:cNvPr id="20" name="Rounded Rectangle 105">
            <a:extLst>
              <a:ext uri="{FF2B5EF4-FFF2-40B4-BE49-F238E27FC236}">
                <a16:creationId xmlns:a16="http://schemas.microsoft.com/office/drawing/2014/main" id="{26F7BE2C-AC2D-482C-BC4E-12F6BB86F2E9}"/>
              </a:ext>
            </a:extLst>
          </p:cNvPr>
          <p:cNvSpPr/>
          <p:nvPr/>
        </p:nvSpPr>
        <p:spPr>
          <a:xfrm>
            <a:off x="6829099" y="1802758"/>
            <a:ext cx="700171" cy="700171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latin typeface="+mj-lt"/>
                <a:cs typeface="+mj-cs"/>
              </a:rPr>
              <a:t>1</a:t>
            </a:r>
            <a:endParaRPr lang="en-US" sz="2400" dirty="0">
              <a:latin typeface="+mj-lt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E5470E3-FC5D-4A70-9AAF-24990F47D167}"/>
              </a:ext>
            </a:extLst>
          </p:cNvPr>
          <p:cNvCxnSpPr>
            <a:stCxn id="35" idx="1"/>
          </p:cNvCxnSpPr>
          <p:nvPr/>
        </p:nvCxnSpPr>
        <p:spPr>
          <a:xfrm flipH="1">
            <a:off x="5074649" y="4447630"/>
            <a:ext cx="5873337" cy="0"/>
          </a:xfrm>
          <a:prstGeom prst="line">
            <a:avLst/>
          </a:prstGeom>
          <a:ln w="44450">
            <a:solidFill>
              <a:schemeClr val="accent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0AA3881E-5C54-46DB-B32E-6CC937DE00A9}"/>
              </a:ext>
            </a:extLst>
          </p:cNvPr>
          <p:cNvSpPr/>
          <p:nvPr/>
        </p:nvSpPr>
        <p:spPr>
          <a:xfrm>
            <a:off x="7901618" y="3996445"/>
            <a:ext cx="2878791" cy="4291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89000"/>
              </a:lnSpc>
            </a:pPr>
            <a:r>
              <a:rPr lang="en-US" sz="1400">
                <a:solidFill>
                  <a:schemeClr val="tx1">
                    <a:lumMod val="90000"/>
                    <a:lumOff val="10000"/>
                  </a:schemeClr>
                </a:solidFill>
              </a:rPr>
              <a:t>Test</a:t>
            </a:r>
            <a:endParaRPr lang="en-US" sz="105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r">
              <a:lnSpc>
                <a:spcPct val="89000"/>
              </a:lnSpc>
            </a:pPr>
            <a:r>
              <a:rPr lang="en-US" sz="1000">
                <a:solidFill>
                  <a:schemeClr val="tx1">
                    <a:lumMod val="90000"/>
                    <a:lumOff val="10000"/>
                  </a:schemeClr>
                </a:solidFill>
              </a:rPr>
              <a:t>Lorem ipsum dolor sit amet, consectetur </a:t>
            </a:r>
          </a:p>
        </p:txBody>
      </p:sp>
      <p:sp>
        <p:nvSpPr>
          <p:cNvPr id="35" name="Rounded Rectangle 126">
            <a:extLst>
              <a:ext uri="{FF2B5EF4-FFF2-40B4-BE49-F238E27FC236}">
                <a16:creationId xmlns:a16="http://schemas.microsoft.com/office/drawing/2014/main" id="{8AD20B59-B684-40C5-9742-19E3E1B4D510}"/>
              </a:ext>
            </a:extLst>
          </p:cNvPr>
          <p:cNvSpPr/>
          <p:nvPr/>
        </p:nvSpPr>
        <p:spPr>
          <a:xfrm>
            <a:off x="10947986" y="4097545"/>
            <a:ext cx="700171" cy="70017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latin typeface="+mj-lt"/>
                <a:cs typeface="+mj-cs"/>
              </a:rPr>
              <a:t>4</a:t>
            </a:r>
          </a:p>
        </p:txBody>
      </p:sp>
      <p:grpSp>
        <p:nvGrpSpPr>
          <p:cNvPr id="1040" name="Group 1039">
            <a:extLst>
              <a:ext uri="{FF2B5EF4-FFF2-40B4-BE49-F238E27FC236}">
                <a16:creationId xmlns:a16="http://schemas.microsoft.com/office/drawing/2014/main" id="{0FF9BE1D-9F35-4336-81BD-5EAEA94540B3}"/>
              </a:ext>
            </a:extLst>
          </p:cNvPr>
          <p:cNvGrpSpPr/>
          <p:nvPr/>
        </p:nvGrpSpPr>
        <p:grpSpPr>
          <a:xfrm>
            <a:off x="869044" y="3313808"/>
            <a:ext cx="4774578" cy="2639669"/>
            <a:chOff x="7415213" y="5407025"/>
            <a:chExt cx="9550400" cy="5280025"/>
          </a:xfrm>
        </p:grpSpPr>
        <p:sp>
          <p:nvSpPr>
            <p:cNvPr id="25" name="Freeform 28">
              <a:extLst>
                <a:ext uri="{FF2B5EF4-FFF2-40B4-BE49-F238E27FC236}">
                  <a16:creationId xmlns:a16="http://schemas.microsoft.com/office/drawing/2014/main" id="{4BFC72A1-BE16-4C30-9770-2DE7BF4BE2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5213" y="6626225"/>
              <a:ext cx="3917950" cy="4060825"/>
            </a:xfrm>
            <a:custGeom>
              <a:avLst/>
              <a:gdLst>
                <a:gd name="T0" fmla="*/ 0 w 2468"/>
                <a:gd name="T1" fmla="*/ 664 h 2558"/>
                <a:gd name="T2" fmla="*/ 645 w 2468"/>
                <a:gd name="T3" fmla="*/ 0 h 2558"/>
                <a:gd name="T4" fmla="*/ 2468 w 2468"/>
                <a:gd name="T5" fmla="*/ 1223 h 2558"/>
                <a:gd name="T6" fmla="*/ 2338 w 2468"/>
                <a:gd name="T7" fmla="*/ 2558 h 2558"/>
                <a:gd name="T8" fmla="*/ 0 w 2468"/>
                <a:gd name="T9" fmla="*/ 664 h 2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8" h="2558">
                  <a:moveTo>
                    <a:pt x="0" y="664"/>
                  </a:moveTo>
                  <a:lnTo>
                    <a:pt x="645" y="0"/>
                  </a:lnTo>
                  <a:lnTo>
                    <a:pt x="2468" y="1223"/>
                  </a:lnTo>
                  <a:lnTo>
                    <a:pt x="2338" y="2558"/>
                  </a:lnTo>
                  <a:lnTo>
                    <a:pt x="0" y="66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26" name="Freeform 29">
              <a:extLst>
                <a:ext uri="{FF2B5EF4-FFF2-40B4-BE49-F238E27FC236}">
                  <a16:creationId xmlns:a16="http://schemas.microsoft.com/office/drawing/2014/main" id="{E9F3F753-3FB7-4D68-B9B3-73BC8DE60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26788" y="6819900"/>
              <a:ext cx="5838825" cy="3867150"/>
            </a:xfrm>
            <a:custGeom>
              <a:avLst/>
              <a:gdLst>
                <a:gd name="T0" fmla="*/ 0 w 3678"/>
                <a:gd name="T1" fmla="*/ 2436 h 2436"/>
                <a:gd name="T2" fmla="*/ 3678 w 3678"/>
                <a:gd name="T3" fmla="*/ 731 h 2436"/>
                <a:gd name="T4" fmla="*/ 2928 w 3678"/>
                <a:gd name="T5" fmla="*/ 0 h 2436"/>
                <a:gd name="T6" fmla="*/ 130 w 3678"/>
                <a:gd name="T7" fmla="*/ 1101 h 2436"/>
                <a:gd name="T8" fmla="*/ 0 w 3678"/>
                <a:gd name="T9" fmla="*/ 2436 h 2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8" h="2436">
                  <a:moveTo>
                    <a:pt x="0" y="2436"/>
                  </a:moveTo>
                  <a:lnTo>
                    <a:pt x="3678" y="731"/>
                  </a:lnTo>
                  <a:lnTo>
                    <a:pt x="2928" y="0"/>
                  </a:lnTo>
                  <a:lnTo>
                    <a:pt x="130" y="1101"/>
                  </a:lnTo>
                  <a:lnTo>
                    <a:pt x="0" y="243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28" name="Freeform 31">
              <a:extLst>
                <a:ext uri="{FF2B5EF4-FFF2-40B4-BE49-F238E27FC236}">
                  <a16:creationId xmlns:a16="http://schemas.microsoft.com/office/drawing/2014/main" id="{7A0D2E6E-2AA9-4E91-87F3-09EAB4F90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9151" y="5407025"/>
              <a:ext cx="7335838" cy="3160713"/>
            </a:xfrm>
            <a:custGeom>
              <a:avLst/>
              <a:gdLst>
                <a:gd name="T0" fmla="*/ 0 w 4621"/>
                <a:gd name="T1" fmla="*/ 768 h 1991"/>
                <a:gd name="T2" fmla="*/ 1823 w 4621"/>
                <a:gd name="T3" fmla="*/ 1991 h 1991"/>
                <a:gd name="T4" fmla="*/ 4621 w 4621"/>
                <a:gd name="T5" fmla="*/ 890 h 1991"/>
                <a:gd name="T6" fmla="*/ 2615 w 4621"/>
                <a:gd name="T7" fmla="*/ 0 h 1991"/>
                <a:gd name="T8" fmla="*/ 0 w 4621"/>
                <a:gd name="T9" fmla="*/ 768 h 1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21" h="1991">
                  <a:moveTo>
                    <a:pt x="0" y="768"/>
                  </a:moveTo>
                  <a:lnTo>
                    <a:pt x="1823" y="1991"/>
                  </a:lnTo>
                  <a:lnTo>
                    <a:pt x="4621" y="890"/>
                  </a:lnTo>
                  <a:lnTo>
                    <a:pt x="2615" y="0"/>
                  </a:lnTo>
                  <a:lnTo>
                    <a:pt x="0" y="768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</p:grpSp>
      <p:grpSp>
        <p:nvGrpSpPr>
          <p:cNvPr id="1039" name="Group 1038">
            <a:extLst>
              <a:ext uri="{FF2B5EF4-FFF2-40B4-BE49-F238E27FC236}">
                <a16:creationId xmlns:a16="http://schemas.microsoft.com/office/drawing/2014/main" id="{E0B157CA-2288-4B4A-8DA8-7A025762FCBB}"/>
              </a:ext>
            </a:extLst>
          </p:cNvPr>
          <p:cNvGrpSpPr/>
          <p:nvPr/>
        </p:nvGrpSpPr>
        <p:grpSpPr>
          <a:xfrm>
            <a:off x="1380946" y="2880591"/>
            <a:ext cx="3667441" cy="1917450"/>
            <a:chOff x="8439151" y="4732338"/>
            <a:chExt cx="7335837" cy="3835400"/>
          </a:xfrm>
        </p:grpSpPr>
        <p:sp>
          <p:nvSpPr>
            <p:cNvPr id="29" name="Line 32">
              <a:extLst>
                <a:ext uri="{FF2B5EF4-FFF2-40B4-BE49-F238E27FC236}">
                  <a16:creationId xmlns:a16="http://schemas.microsoft.com/office/drawing/2014/main" id="{66F595F5-49A0-4252-B875-973A25DEAD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590463" y="5407025"/>
              <a:ext cx="173038" cy="596900"/>
            </a:xfrm>
            <a:prstGeom prst="line">
              <a:avLst/>
            </a:prstGeom>
            <a:noFill/>
            <a:ln w="12700" cap="flat">
              <a:solidFill>
                <a:srgbClr val="2E00E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30" name="Freeform 33">
              <a:extLst>
                <a:ext uri="{FF2B5EF4-FFF2-40B4-BE49-F238E27FC236}">
                  <a16:creationId xmlns:a16="http://schemas.microsoft.com/office/drawing/2014/main" id="{EB019F36-ECFB-4E46-9CC3-549C000ADBB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15476" y="4732338"/>
              <a:ext cx="5021263" cy="1847850"/>
            </a:xfrm>
            <a:custGeom>
              <a:avLst/>
              <a:gdLst>
                <a:gd name="T0" fmla="*/ 0 w 3163"/>
                <a:gd name="T1" fmla="*/ 475 h 1164"/>
                <a:gd name="T2" fmla="*/ 1274 w 3163"/>
                <a:gd name="T3" fmla="*/ 1164 h 1164"/>
                <a:gd name="T4" fmla="*/ 3163 w 3163"/>
                <a:gd name="T5" fmla="*/ 555 h 1164"/>
                <a:gd name="T6" fmla="*/ 1811 w 3163"/>
                <a:gd name="T7" fmla="*/ 0 h 1164"/>
                <a:gd name="T8" fmla="*/ 0 w 3163"/>
                <a:gd name="T9" fmla="*/ 475 h 1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63" h="1164">
                  <a:moveTo>
                    <a:pt x="0" y="475"/>
                  </a:moveTo>
                  <a:lnTo>
                    <a:pt x="1274" y="1164"/>
                  </a:lnTo>
                  <a:lnTo>
                    <a:pt x="3163" y="555"/>
                  </a:lnTo>
                  <a:lnTo>
                    <a:pt x="1811" y="0"/>
                  </a:lnTo>
                  <a:lnTo>
                    <a:pt x="0" y="475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31" name="Freeform 34">
              <a:extLst>
                <a:ext uri="{FF2B5EF4-FFF2-40B4-BE49-F238E27FC236}">
                  <a16:creationId xmlns:a16="http://schemas.microsoft.com/office/drawing/2014/main" id="{19D843E9-3101-449F-A88F-0FE3AAE4C99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9151" y="5486400"/>
              <a:ext cx="3098800" cy="3081338"/>
            </a:xfrm>
            <a:custGeom>
              <a:avLst/>
              <a:gdLst>
                <a:gd name="T0" fmla="*/ 0 w 1952"/>
                <a:gd name="T1" fmla="*/ 718 h 1941"/>
                <a:gd name="T2" fmla="*/ 678 w 1952"/>
                <a:gd name="T3" fmla="*/ 0 h 1941"/>
                <a:gd name="T4" fmla="*/ 1952 w 1952"/>
                <a:gd name="T5" fmla="*/ 689 h 1941"/>
                <a:gd name="T6" fmla="*/ 1823 w 1952"/>
                <a:gd name="T7" fmla="*/ 1941 h 1941"/>
                <a:gd name="T8" fmla="*/ 0 w 1952"/>
                <a:gd name="T9" fmla="*/ 718 h 19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2" h="1941">
                  <a:moveTo>
                    <a:pt x="0" y="718"/>
                  </a:moveTo>
                  <a:lnTo>
                    <a:pt x="678" y="0"/>
                  </a:lnTo>
                  <a:lnTo>
                    <a:pt x="1952" y="689"/>
                  </a:lnTo>
                  <a:lnTo>
                    <a:pt x="1823" y="1941"/>
                  </a:lnTo>
                  <a:lnTo>
                    <a:pt x="0" y="718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024" name="Freeform 35">
              <a:extLst>
                <a:ext uri="{FF2B5EF4-FFF2-40B4-BE49-F238E27FC236}">
                  <a16:creationId xmlns:a16="http://schemas.microsoft.com/office/drawing/2014/main" id="{22D6A0DA-3415-4FE2-932D-6EE4B710B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33163" y="5613400"/>
              <a:ext cx="4441825" cy="2954338"/>
            </a:xfrm>
            <a:custGeom>
              <a:avLst/>
              <a:gdLst>
                <a:gd name="T0" fmla="*/ 129 w 2798"/>
                <a:gd name="T1" fmla="*/ 609 h 1861"/>
                <a:gd name="T2" fmla="*/ 2018 w 2798"/>
                <a:gd name="T3" fmla="*/ 0 h 1861"/>
                <a:gd name="T4" fmla="*/ 2798 w 2798"/>
                <a:gd name="T5" fmla="*/ 760 h 1861"/>
                <a:gd name="T6" fmla="*/ 0 w 2798"/>
                <a:gd name="T7" fmla="*/ 1861 h 1861"/>
                <a:gd name="T8" fmla="*/ 129 w 2798"/>
                <a:gd name="T9" fmla="*/ 609 h 1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98" h="1861">
                  <a:moveTo>
                    <a:pt x="129" y="609"/>
                  </a:moveTo>
                  <a:lnTo>
                    <a:pt x="2018" y="0"/>
                  </a:lnTo>
                  <a:lnTo>
                    <a:pt x="2798" y="760"/>
                  </a:lnTo>
                  <a:lnTo>
                    <a:pt x="0" y="1861"/>
                  </a:lnTo>
                  <a:lnTo>
                    <a:pt x="129" y="60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</p:grp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75F73F2D-7311-4D0D-A032-44C98E63CE0C}"/>
              </a:ext>
            </a:extLst>
          </p:cNvPr>
          <p:cNvGrpSpPr/>
          <p:nvPr/>
        </p:nvGrpSpPr>
        <p:grpSpPr>
          <a:xfrm>
            <a:off x="1919038" y="2403212"/>
            <a:ext cx="2510305" cy="1319041"/>
            <a:chOff x="9515476" y="3941763"/>
            <a:chExt cx="5021263" cy="2638425"/>
          </a:xfrm>
        </p:grpSpPr>
        <p:sp>
          <p:nvSpPr>
            <p:cNvPr id="1025" name="Freeform 36">
              <a:extLst>
                <a:ext uri="{FF2B5EF4-FFF2-40B4-BE49-F238E27FC236}">
                  <a16:creationId xmlns:a16="http://schemas.microsoft.com/office/drawing/2014/main" id="{B2EF0848-B4E4-44B6-B3FA-0CE72338A2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66413" y="3941763"/>
              <a:ext cx="2574925" cy="793750"/>
            </a:xfrm>
            <a:custGeom>
              <a:avLst/>
              <a:gdLst>
                <a:gd name="T0" fmla="*/ 0 w 1622"/>
                <a:gd name="T1" fmla="*/ 218 h 500"/>
                <a:gd name="T2" fmla="*/ 659 w 1622"/>
                <a:gd name="T3" fmla="*/ 500 h 500"/>
                <a:gd name="T4" fmla="*/ 1622 w 1622"/>
                <a:gd name="T5" fmla="*/ 252 h 500"/>
                <a:gd name="T6" fmla="*/ 935 w 1622"/>
                <a:gd name="T7" fmla="*/ 0 h 500"/>
                <a:gd name="T8" fmla="*/ 0 w 1622"/>
                <a:gd name="T9" fmla="*/ 218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2" h="500">
                  <a:moveTo>
                    <a:pt x="0" y="218"/>
                  </a:moveTo>
                  <a:lnTo>
                    <a:pt x="659" y="500"/>
                  </a:lnTo>
                  <a:lnTo>
                    <a:pt x="1622" y="252"/>
                  </a:lnTo>
                  <a:lnTo>
                    <a:pt x="935" y="0"/>
                  </a:lnTo>
                  <a:lnTo>
                    <a:pt x="0" y="218"/>
                  </a:lnTo>
                  <a:close/>
                </a:path>
              </a:pathLst>
            </a:custGeom>
            <a:solidFill>
              <a:schemeClr val="accent5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026" name="Freeform 37">
              <a:extLst>
                <a:ext uri="{FF2B5EF4-FFF2-40B4-BE49-F238E27FC236}">
                  <a16:creationId xmlns:a16="http://schemas.microsoft.com/office/drawing/2014/main" id="{D23BD590-FFEB-4309-8BEA-12C961A4E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15476" y="4287838"/>
              <a:ext cx="2197100" cy="2292350"/>
            </a:xfrm>
            <a:custGeom>
              <a:avLst/>
              <a:gdLst>
                <a:gd name="T0" fmla="*/ 0 w 1384"/>
                <a:gd name="T1" fmla="*/ 755 h 1444"/>
                <a:gd name="T2" fmla="*/ 725 w 1384"/>
                <a:gd name="T3" fmla="*/ 0 h 1444"/>
                <a:gd name="T4" fmla="*/ 1384 w 1384"/>
                <a:gd name="T5" fmla="*/ 282 h 1444"/>
                <a:gd name="T6" fmla="*/ 1274 w 1384"/>
                <a:gd name="T7" fmla="*/ 1444 h 1444"/>
                <a:gd name="T8" fmla="*/ 0 w 1384"/>
                <a:gd name="T9" fmla="*/ 755 h 1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4" h="1444">
                  <a:moveTo>
                    <a:pt x="0" y="755"/>
                  </a:moveTo>
                  <a:lnTo>
                    <a:pt x="725" y="0"/>
                  </a:lnTo>
                  <a:lnTo>
                    <a:pt x="1384" y="282"/>
                  </a:lnTo>
                  <a:lnTo>
                    <a:pt x="1274" y="1444"/>
                  </a:lnTo>
                  <a:lnTo>
                    <a:pt x="0" y="755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027" name="Freeform 38">
              <a:extLst>
                <a:ext uri="{FF2B5EF4-FFF2-40B4-BE49-F238E27FC236}">
                  <a16:creationId xmlns:a16="http://schemas.microsoft.com/office/drawing/2014/main" id="{C3C9CD51-57D7-42D4-8727-A013B89863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37951" y="4341813"/>
              <a:ext cx="2998788" cy="2238375"/>
            </a:xfrm>
            <a:custGeom>
              <a:avLst/>
              <a:gdLst>
                <a:gd name="T0" fmla="*/ 110 w 1889"/>
                <a:gd name="T1" fmla="*/ 248 h 1410"/>
                <a:gd name="T2" fmla="*/ 1073 w 1889"/>
                <a:gd name="T3" fmla="*/ 0 h 1410"/>
                <a:gd name="T4" fmla="*/ 1889 w 1889"/>
                <a:gd name="T5" fmla="*/ 801 h 1410"/>
                <a:gd name="T6" fmla="*/ 0 w 1889"/>
                <a:gd name="T7" fmla="*/ 1410 h 1410"/>
                <a:gd name="T8" fmla="*/ 110 w 1889"/>
                <a:gd name="T9" fmla="*/ 248 h 1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89" h="1410">
                  <a:moveTo>
                    <a:pt x="110" y="248"/>
                  </a:moveTo>
                  <a:lnTo>
                    <a:pt x="1073" y="0"/>
                  </a:lnTo>
                  <a:lnTo>
                    <a:pt x="1889" y="801"/>
                  </a:lnTo>
                  <a:lnTo>
                    <a:pt x="0" y="1410"/>
                  </a:lnTo>
                  <a:lnTo>
                    <a:pt x="110" y="248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</p:grp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88F92CF7-6036-4DDE-96AD-4D27620CC130}"/>
              </a:ext>
            </a:extLst>
          </p:cNvPr>
          <p:cNvGrpSpPr/>
          <p:nvPr/>
        </p:nvGrpSpPr>
        <p:grpSpPr>
          <a:xfrm>
            <a:off x="2494432" y="1869088"/>
            <a:ext cx="1287295" cy="856345"/>
            <a:chOff x="10666413" y="3022600"/>
            <a:chExt cx="2574926" cy="1712913"/>
          </a:xfrm>
          <a:solidFill>
            <a:schemeClr val="accent1"/>
          </a:solidFill>
        </p:grpSpPr>
        <p:sp>
          <p:nvSpPr>
            <p:cNvPr id="1028" name="Freeform 39">
              <a:extLst>
                <a:ext uri="{FF2B5EF4-FFF2-40B4-BE49-F238E27FC236}">
                  <a16:creationId xmlns:a16="http://schemas.microsoft.com/office/drawing/2014/main" id="{05F88749-169B-490A-AA15-7873522AD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12576" y="3022600"/>
              <a:ext cx="1528763" cy="1712913"/>
            </a:xfrm>
            <a:custGeom>
              <a:avLst/>
              <a:gdLst>
                <a:gd name="T0" fmla="*/ 107 w 963"/>
                <a:gd name="T1" fmla="*/ 0 h 1079"/>
                <a:gd name="T2" fmla="*/ 963 w 963"/>
                <a:gd name="T3" fmla="*/ 831 h 1079"/>
                <a:gd name="T4" fmla="*/ 0 w 963"/>
                <a:gd name="T5" fmla="*/ 1079 h 1079"/>
                <a:gd name="T6" fmla="*/ 107 w 963"/>
                <a:gd name="T7" fmla="*/ 0 h 1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63" h="1079">
                  <a:moveTo>
                    <a:pt x="107" y="0"/>
                  </a:moveTo>
                  <a:lnTo>
                    <a:pt x="963" y="831"/>
                  </a:lnTo>
                  <a:lnTo>
                    <a:pt x="0" y="1079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035" name="Freeform 40">
              <a:extLst>
                <a:ext uri="{FF2B5EF4-FFF2-40B4-BE49-F238E27FC236}">
                  <a16:creationId xmlns:a16="http://schemas.microsoft.com/office/drawing/2014/main" id="{5D86B4E9-6A2F-43DC-9937-1D1E6963A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66413" y="3022600"/>
              <a:ext cx="1216025" cy="1712913"/>
            </a:xfrm>
            <a:custGeom>
              <a:avLst/>
              <a:gdLst>
                <a:gd name="T0" fmla="*/ 766 w 766"/>
                <a:gd name="T1" fmla="*/ 0 h 1079"/>
                <a:gd name="T2" fmla="*/ 0 w 766"/>
                <a:gd name="T3" fmla="*/ 797 h 1079"/>
                <a:gd name="T4" fmla="*/ 659 w 766"/>
                <a:gd name="T5" fmla="*/ 1079 h 1079"/>
                <a:gd name="T6" fmla="*/ 766 w 766"/>
                <a:gd name="T7" fmla="*/ 0 h 1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6" h="1079">
                  <a:moveTo>
                    <a:pt x="766" y="0"/>
                  </a:moveTo>
                  <a:lnTo>
                    <a:pt x="0" y="797"/>
                  </a:lnTo>
                  <a:lnTo>
                    <a:pt x="659" y="1079"/>
                  </a:lnTo>
                  <a:lnTo>
                    <a:pt x="766" y="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E80930F8-AED9-9265-0A33-6705FA32D8CA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yramid Process</a:t>
            </a:r>
            <a:endParaRPr lang="en-C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55032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/>
          <p:cNvSpPr/>
          <p:nvPr/>
        </p:nvSpPr>
        <p:spPr>
          <a:xfrm flipH="1">
            <a:off x="740587" y="3619272"/>
            <a:ext cx="2227109" cy="4944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200" b="1" dirty="0"/>
              <a:t>Potential Energy</a:t>
            </a:r>
          </a:p>
          <a:p>
            <a:pPr>
              <a:lnSpc>
                <a:spcPct val="89000"/>
              </a:lnSpc>
            </a:pPr>
            <a:r>
              <a:rPr lang="en-US" sz="1200" dirty="0"/>
              <a:t>Lorem ipsum dolor sit </a:t>
            </a:r>
            <a:r>
              <a:rPr lang="en-US" sz="1200" dirty="0" err="1"/>
              <a:t>amet</a:t>
            </a:r>
            <a:r>
              <a:rPr lang="en-US" sz="1200" dirty="0"/>
              <a:t>, </a:t>
            </a:r>
            <a:r>
              <a:rPr lang="en-US" sz="1200" dirty="0" err="1"/>
              <a:t>consectetur</a:t>
            </a:r>
            <a:r>
              <a:rPr lang="en-US" sz="1200" dirty="0"/>
              <a:t> </a:t>
            </a:r>
            <a:r>
              <a:rPr lang="en-US" sz="1200" dirty="0" err="1"/>
              <a:t>adipiscing</a:t>
            </a:r>
            <a:r>
              <a:rPr lang="en-US" sz="1200" dirty="0"/>
              <a:t> </a:t>
            </a:r>
            <a:r>
              <a:rPr lang="en-US" sz="1200" dirty="0" err="1"/>
              <a:t>elit</a:t>
            </a:r>
            <a:endParaRPr lang="en-US" sz="1200" dirty="0"/>
          </a:p>
        </p:txBody>
      </p:sp>
      <p:cxnSp>
        <p:nvCxnSpPr>
          <p:cNvPr id="44" name="Straight Connector 43"/>
          <p:cNvCxnSpPr/>
          <p:nvPr/>
        </p:nvCxnSpPr>
        <p:spPr>
          <a:xfrm flipH="1">
            <a:off x="3622451" y="3907508"/>
            <a:ext cx="112995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ounded Rectangle 44"/>
          <p:cNvSpPr/>
          <p:nvPr/>
        </p:nvSpPr>
        <p:spPr>
          <a:xfrm flipH="1">
            <a:off x="3041117" y="3555527"/>
            <a:ext cx="703962" cy="703962"/>
          </a:xfrm>
          <a:prstGeom prst="roundRect">
            <a:avLst>
              <a:gd name="adj" fmla="val 32320"/>
            </a:avLst>
          </a:prstGeom>
          <a:solidFill>
            <a:schemeClr val="bg2"/>
          </a:solidFill>
          <a:ln w="12700">
            <a:noFill/>
          </a:ln>
          <a:scene3d>
            <a:camera prst="orthographicFront"/>
            <a:lightRig rig="threePt" dir="t"/>
          </a:scene3d>
          <a:sp3d extrusionH="2476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09">
              <a:defRPr/>
            </a:pPr>
            <a:r>
              <a:rPr lang="en-US" sz="24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4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5157633" y="2579982"/>
            <a:ext cx="2321639" cy="2321639"/>
          </a:xfrm>
          <a:prstGeom prst="roundRect">
            <a:avLst/>
          </a:prstGeom>
          <a:solidFill>
            <a:schemeClr val="bg1"/>
          </a:solidFill>
          <a:ln w="377825">
            <a:solidFill>
              <a:schemeClr val="bg2"/>
            </a:solidFill>
          </a:ln>
          <a:scene3d>
            <a:camera prst="isometricTopUp"/>
            <a:lightRig rig="threePt" dir="t"/>
          </a:scene3d>
          <a:sp3d extrusionH="5080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9" name="Straight Connector 38"/>
          <p:cNvCxnSpPr/>
          <p:nvPr/>
        </p:nvCxnSpPr>
        <p:spPr>
          <a:xfrm>
            <a:off x="7481497" y="3491997"/>
            <a:ext cx="1129951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ounded Rectangle 39"/>
          <p:cNvSpPr/>
          <p:nvPr/>
        </p:nvSpPr>
        <p:spPr>
          <a:xfrm>
            <a:off x="8488820" y="3140016"/>
            <a:ext cx="703962" cy="703962"/>
          </a:xfrm>
          <a:prstGeom prst="roundRect">
            <a:avLst>
              <a:gd name="adj" fmla="val 32320"/>
            </a:avLst>
          </a:prstGeom>
          <a:solidFill>
            <a:schemeClr val="accent5"/>
          </a:solidFill>
          <a:ln w="12700">
            <a:noFill/>
          </a:ln>
          <a:scene3d>
            <a:camera prst="orthographicFront"/>
            <a:lightRig rig="threePt" dir="t"/>
          </a:scene3d>
          <a:sp3d extrusionH="2476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09">
              <a:defRPr/>
            </a:pPr>
            <a:r>
              <a:rPr lang="en-US" sz="24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3</a:t>
            </a:r>
          </a:p>
        </p:txBody>
      </p:sp>
      <p:sp>
        <p:nvSpPr>
          <p:cNvPr id="41" name="Rectangle 40"/>
          <p:cNvSpPr/>
          <p:nvPr/>
        </p:nvSpPr>
        <p:spPr>
          <a:xfrm>
            <a:off x="9408650" y="3244750"/>
            <a:ext cx="2211576" cy="4944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200" b="1" dirty="0"/>
              <a:t>Thermal Energy</a:t>
            </a:r>
          </a:p>
          <a:p>
            <a:pPr>
              <a:lnSpc>
                <a:spcPct val="89000"/>
              </a:lnSpc>
            </a:pPr>
            <a:r>
              <a:rPr lang="en-US" sz="1200" dirty="0"/>
              <a:t>Lorem ipsum dolor sit </a:t>
            </a:r>
            <a:r>
              <a:rPr lang="en-US" sz="1200" dirty="0" err="1"/>
              <a:t>amet</a:t>
            </a:r>
            <a:r>
              <a:rPr lang="en-US" sz="1200" dirty="0"/>
              <a:t>, </a:t>
            </a:r>
            <a:r>
              <a:rPr lang="en-US" sz="1200" dirty="0" err="1"/>
              <a:t>consectetur</a:t>
            </a:r>
            <a:r>
              <a:rPr lang="en-US" sz="1200" dirty="0"/>
              <a:t> </a:t>
            </a:r>
            <a:r>
              <a:rPr lang="en-US" sz="1200" dirty="0" err="1"/>
              <a:t>adipiscing</a:t>
            </a:r>
            <a:r>
              <a:rPr lang="en-US" sz="1200" dirty="0"/>
              <a:t> </a:t>
            </a:r>
            <a:r>
              <a:rPr lang="en-US" sz="1200" dirty="0" err="1"/>
              <a:t>elit</a:t>
            </a:r>
            <a:endParaRPr lang="en-US" sz="1200" dirty="0"/>
          </a:p>
        </p:txBody>
      </p:sp>
      <p:cxnSp>
        <p:nvCxnSpPr>
          <p:cNvPr id="37" name="Straight Connector 36"/>
          <p:cNvCxnSpPr/>
          <p:nvPr/>
        </p:nvCxnSpPr>
        <p:spPr>
          <a:xfrm>
            <a:off x="6911823" y="2525689"/>
            <a:ext cx="112995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ounded Rectangle 34"/>
          <p:cNvSpPr/>
          <p:nvPr/>
        </p:nvSpPr>
        <p:spPr>
          <a:xfrm>
            <a:off x="7919146" y="2173708"/>
            <a:ext cx="703962" cy="703962"/>
          </a:xfrm>
          <a:prstGeom prst="roundRect">
            <a:avLst>
              <a:gd name="adj" fmla="val 32320"/>
            </a:avLst>
          </a:prstGeom>
          <a:solidFill>
            <a:schemeClr val="accent1"/>
          </a:solidFill>
          <a:ln w="12700">
            <a:noFill/>
          </a:ln>
          <a:scene3d>
            <a:camera prst="orthographicFront"/>
            <a:lightRig rig="threePt" dir="t"/>
          </a:scene3d>
          <a:sp3d extrusionH="2476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09">
              <a:defRPr/>
            </a:pPr>
            <a:r>
              <a:rPr lang="en-US" sz="24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1</a:t>
            </a:r>
          </a:p>
        </p:txBody>
      </p:sp>
      <p:sp>
        <p:nvSpPr>
          <p:cNvPr id="38" name="Rectangle 37"/>
          <p:cNvSpPr/>
          <p:nvPr/>
        </p:nvSpPr>
        <p:spPr>
          <a:xfrm>
            <a:off x="8867256" y="2267102"/>
            <a:ext cx="2211576" cy="4944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200" b="1" dirty="0"/>
              <a:t>Two way relation</a:t>
            </a:r>
          </a:p>
          <a:p>
            <a:pPr>
              <a:lnSpc>
                <a:spcPct val="89000"/>
              </a:lnSpc>
            </a:pPr>
            <a:r>
              <a:rPr lang="en-US" sz="1200" dirty="0"/>
              <a:t>Lorem ipsum dolor sit </a:t>
            </a:r>
            <a:r>
              <a:rPr lang="en-US" sz="1200" dirty="0" err="1"/>
              <a:t>amet</a:t>
            </a:r>
            <a:r>
              <a:rPr lang="en-US" sz="1200" dirty="0"/>
              <a:t>, </a:t>
            </a:r>
            <a:r>
              <a:rPr lang="en-US" sz="1200" dirty="0" err="1"/>
              <a:t>consectetur</a:t>
            </a:r>
            <a:r>
              <a:rPr lang="en-US" sz="1200" dirty="0"/>
              <a:t> </a:t>
            </a:r>
            <a:r>
              <a:rPr lang="en-US" sz="1200" dirty="0" err="1"/>
              <a:t>adipiscing</a:t>
            </a:r>
            <a:r>
              <a:rPr lang="en-US" sz="1200" dirty="0"/>
              <a:t> </a:t>
            </a:r>
            <a:r>
              <a:rPr lang="en-US" sz="1200" dirty="0" err="1"/>
              <a:t>elit</a:t>
            </a:r>
            <a:endParaRPr lang="en-US" sz="1200" dirty="0"/>
          </a:p>
        </p:txBody>
      </p:sp>
      <p:sp>
        <p:nvSpPr>
          <p:cNvPr id="49" name="Rectangle 48"/>
          <p:cNvSpPr/>
          <p:nvPr/>
        </p:nvSpPr>
        <p:spPr>
          <a:xfrm flipH="1">
            <a:off x="1296019" y="2653890"/>
            <a:ext cx="2248348" cy="4944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9000"/>
              </a:lnSpc>
            </a:pPr>
            <a:r>
              <a:rPr lang="en-US" sz="1200" b="1" dirty="0"/>
              <a:t>Transport</a:t>
            </a:r>
          </a:p>
          <a:p>
            <a:pPr>
              <a:lnSpc>
                <a:spcPct val="89000"/>
              </a:lnSpc>
            </a:pPr>
            <a:r>
              <a:rPr lang="en-US" sz="1200" dirty="0"/>
              <a:t>Lorem ipsum dolor sit </a:t>
            </a:r>
            <a:r>
              <a:rPr lang="en-US" sz="1200" dirty="0" err="1"/>
              <a:t>amet</a:t>
            </a:r>
            <a:r>
              <a:rPr lang="en-US" sz="1200" dirty="0"/>
              <a:t>, </a:t>
            </a:r>
            <a:r>
              <a:rPr lang="en-US" sz="1200" dirty="0" err="1"/>
              <a:t>consectetur</a:t>
            </a:r>
            <a:r>
              <a:rPr lang="en-US" sz="1200" dirty="0"/>
              <a:t> </a:t>
            </a:r>
            <a:r>
              <a:rPr lang="en-US" sz="1200" dirty="0" err="1"/>
              <a:t>adipiscing</a:t>
            </a:r>
            <a:r>
              <a:rPr lang="en-US" sz="1200" dirty="0"/>
              <a:t> </a:t>
            </a:r>
            <a:r>
              <a:rPr lang="en-US" sz="1200" dirty="0" err="1"/>
              <a:t>elit</a:t>
            </a:r>
            <a:endParaRPr lang="en-US" sz="1200" dirty="0"/>
          </a:p>
        </p:txBody>
      </p:sp>
      <p:cxnSp>
        <p:nvCxnSpPr>
          <p:cNvPr id="47" name="Straight Connector 46"/>
          <p:cNvCxnSpPr/>
          <p:nvPr/>
        </p:nvCxnSpPr>
        <p:spPr>
          <a:xfrm flipH="1">
            <a:off x="4235518" y="2965730"/>
            <a:ext cx="1129951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ounded Rectangle 47"/>
          <p:cNvSpPr/>
          <p:nvPr/>
        </p:nvSpPr>
        <p:spPr>
          <a:xfrm flipH="1">
            <a:off x="3654184" y="2613749"/>
            <a:ext cx="703962" cy="703962"/>
          </a:xfrm>
          <a:prstGeom prst="roundRect">
            <a:avLst>
              <a:gd name="adj" fmla="val 32320"/>
            </a:avLst>
          </a:prstGeom>
          <a:solidFill>
            <a:schemeClr val="accent3"/>
          </a:solidFill>
          <a:ln w="12700">
            <a:noFill/>
          </a:ln>
          <a:scene3d>
            <a:camera prst="orthographicFront"/>
            <a:lightRig rig="threePt" dir="t"/>
          </a:scene3d>
          <a:sp3d extrusionH="2476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09">
              <a:defRPr/>
            </a:pPr>
            <a:r>
              <a:rPr lang="en-US" sz="24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2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5402097" y="2388153"/>
            <a:ext cx="1825898" cy="1825898"/>
          </a:xfrm>
          <a:prstGeom prst="roundRect">
            <a:avLst/>
          </a:prstGeom>
          <a:solidFill>
            <a:schemeClr val="bg1"/>
          </a:solidFill>
          <a:ln w="377825">
            <a:solidFill>
              <a:schemeClr val="accent5"/>
            </a:solidFill>
          </a:ln>
          <a:scene3d>
            <a:camera prst="isometricTopUp"/>
            <a:lightRig rig="threePt" dir="t"/>
          </a:scene3d>
          <a:sp3d extrusionH="5080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ounded Rectangle 31"/>
          <p:cNvSpPr/>
          <p:nvPr/>
        </p:nvSpPr>
        <p:spPr>
          <a:xfrm>
            <a:off x="5629134" y="2267759"/>
            <a:ext cx="1371825" cy="1371825"/>
          </a:xfrm>
          <a:prstGeom prst="roundRect">
            <a:avLst/>
          </a:prstGeom>
          <a:solidFill>
            <a:schemeClr val="bg1"/>
          </a:solidFill>
          <a:ln w="377825">
            <a:solidFill>
              <a:schemeClr val="accent3"/>
            </a:solidFill>
          </a:ln>
          <a:scene3d>
            <a:camera prst="isometricTopUp"/>
            <a:lightRig rig="threePt" dir="t"/>
          </a:scene3d>
          <a:sp3d extrusionH="5080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32"/>
          <p:cNvSpPr/>
          <p:nvPr/>
        </p:nvSpPr>
        <p:spPr>
          <a:xfrm>
            <a:off x="5889150" y="2176408"/>
            <a:ext cx="851794" cy="851794"/>
          </a:xfrm>
          <a:prstGeom prst="roundRect">
            <a:avLst/>
          </a:prstGeom>
          <a:solidFill>
            <a:schemeClr val="bg1"/>
          </a:solidFill>
          <a:ln w="377825">
            <a:solidFill>
              <a:schemeClr val="accent1"/>
            </a:solidFill>
          </a:ln>
          <a:scene3d>
            <a:camera prst="isometricTopUp"/>
            <a:lightRig rig="threePt" dir="t"/>
          </a:scene3d>
          <a:sp3d extrusionH="5080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D4562B2-AAEE-0371-2944-2866FEA2169B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our Step infographic </a:t>
            </a:r>
            <a:endParaRPr lang="en-C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159488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1A76D7B7-C4F4-41DE-906F-1DD080280F5C}"/>
              </a:ext>
            </a:extLst>
          </p:cNvPr>
          <p:cNvSpPr/>
          <p:nvPr/>
        </p:nvSpPr>
        <p:spPr>
          <a:xfrm>
            <a:off x="2327193" y="2861427"/>
            <a:ext cx="3689613" cy="13692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7C25F93-0981-4A61-89DB-32D2D6A99B95}"/>
              </a:ext>
            </a:extLst>
          </p:cNvPr>
          <p:cNvSpPr/>
          <p:nvPr/>
        </p:nvSpPr>
        <p:spPr>
          <a:xfrm flipH="1">
            <a:off x="9645751" y="2600236"/>
            <a:ext cx="522380" cy="522380"/>
          </a:xfrm>
          <a:prstGeom prst="ellipse">
            <a:avLst/>
          </a:prstGeom>
          <a:solidFill>
            <a:schemeClr val="accent1"/>
          </a:solidFill>
          <a:ln w="88900">
            <a:solidFill>
              <a:schemeClr val="accent1">
                <a:lumMod val="75000"/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109">
              <a:defRPr/>
            </a:pPr>
            <a:endParaRPr lang="en-US" sz="4399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42ABEC2-2358-4A8A-8310-A64755226309}"/>
              </a:ext>
            </a:extLst>
          </p:cNvPr>
          <p:cNvCxnSpPr>
            <a:cxnSpLocks/>
            <a:stCxn id="9" idx="6"/>
          </p:cNvCxnSpPr>
          <p:nvPr/>
        </p:nvCxnSpPr>
        <p:spPr>
          <a:xfrm flipH="1">
            <a:off x="5394604" y="2861426"/>
            <a:ext cx="425114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F9F5974-E638-4EA0-BB7B-B795D7719D48}"/>
              </a:ext>
            </a:extLst>
          </p:cNvPr>
          <p:cNvSpPr txBox="1"/>
          <p:nvPr/>
        </p:nvSpPr>
        <p:spPr>
          <a:xfrm flipH="1">
            <a:off x="7466778" y="3273720"/>
            <a:ext cx="230714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</a:rPr>
              <a:t>Analyze</a:t>
            </a:r>
          </a:p>
          <a:p>
            <a:r>
              <a:rPr lang="en-US" sz="1200" dirty="0"/>
              <a:t>Aenean ac </a:t>
            </a:r>
            <a:r>
              <a:rPr lang="en-US" sz="1200" dirty="0" err="1"/>
              <a:t>viverra</a:t>
            </a:r>
            <a:r>
              <a:rPr lang="en-US" sz="1200" dirty="0"/>
              <a:t> </a:t>
            </a:r>
            <a:r>
              <a:rPr lang="en-US" sz="1200" dirty="0" err="1"/>
              <a:t>neque</a:t>
            </a:r>
            <a:r>
              <a:rPr lang="en-US" sz="1200" dirty="0"/>
              <a:t>. Maecenas </a:t>
            </a:r>
            <a:r>
              <a:rPr lang="en-US" sz="1200" dirty="0" err="1"/>
              <a:t>ullamcorper</a:t>
            </a:r>
            <a:r>
              <a:rPr lang="en-US" sz="1200" dirty="0"/>
              <a:t> </a:t>
            </a:r>
            <a:r>
              <a:rPr lang="en-US" sz="1200" dirty="0" err="1"/>
              <a:t>turpis</a:t>
            </a:r>
            <a:r>
              <a:rPr lang="en-US" sz="1200" dirty="0"/>
              <a:t> se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75E52E9-9316-4415-899A-872A494E6EED}"/>
              </a:ext>
            </a:extLst>
          </p:cNvPr>
          <p:cNvSpPr txBox="1"/>
          <p:nvPr/>
        </p:nvSpPr>
        <p:spPr>
          <a:xfrm flipH="1">
            <a:off x="6897142" y="1240961"/>
            <a:ext cx="2630848" cy="1369286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8298" b="1" dirty="0">
                <a:ea typeface="+mj-ea"/>
                <a:cs typeface="+mj-cs"/>
              </a:rPr>
              <a:t>50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118CAA-0523-4444-9C0D-A50DAB082AD5}"/>
              </a:ext>
            </a:extLst>
          </p:cNvPr>
          <p:cNvSpPr txBox="1"/>
          <p:nvPr/>
        </p:nvSpPr>
        <p:spPr>
          <a:xfrm>
            <a:off x="7472949" y="4455218"/>
            <a:ext cx="2472801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</a:rPr>
              <a:t>Market</a:t>
            </a:r>
          </a:p>
          <a:p>
            <a:r>
              <a:rPr lang="en-US" sz="1200" dirty="0"/>
              <a:t>Aenean ac </a:t>
            </a:r>
            <a:r>
              <a:rPr lang="en-US" sz="1200" dirty="0" err="1"/>
              <a:t>viverra</a:t>
            </a:r>
            <a:r>
              <a:rPr lang="en-US" sz="1200" dirty="0"/>
              <a:t> </a:t>
            </a:r>
            <a:r>
              <a:rPr lang="en-US" sz="1200" dirty="0" err="1"/>
              <a:t>neque</a:t>
            </a:r>
            <a:r>
              <a:rPr lang="en-US" sz="1200" dirty="0"/>
              <a:t>. Maecenas </a:t>
            </a:r>
            <a:r>
              <a:rPr lang="en-US" sz="1200" dirty="0" err="1"/>
              <a:t>ullamcorper</a:t>
            </a:r>
            <a:r>
              <a:rPr lang="en-US" sz="1200" dirty="0"/>
              <a:t> </a:t>
            </a:r>
            <a:r>
              <a:rPr lang="en-US" sz="1200" dirty="0" err="1"/>
              <a:t>turpis</a:t>
            </a:r>
            <a:r>
              <a:rPr lang="en-US" sz="1200" dirty="0"/>
              <a:t> sed </a:t>
            </a:r>
            <a:r>
              <a:rPr lang="en-US" sz="1200" dirty="0" err="1"/>
              <a:t>tellus</a:t>
            </a:r>
            <a:r>
              <a:rPr lang="en-US" sz="1200" dirty="0"/>
              <a:t> vestibulum </a:t>
            </a:r>
            <a:r>
              <a:rPr lang="en-US" sz="1200" dirty="0" err="1"/>
              <a:t>bibendum</a:t>
            </a:r>
            <a:r>
              <a:rPr lang="en-US" sz="1200" dirty="0"/>
              <a:t> </a:t>
            </a:r>
            <a:r>
              <a:rPr lang="en-US" sz="1200" dirty="0" err="1"/>
              <a:t>quam</a:t>
            </a:r>
            <a:r>
              <a:rPr lang="en-US" sz="1200" dirty="0"/>
              <a:t> dictum </a:t>
            </a:r>
            <a:r>
              <a:rPr lang="en-US" sz="1200" dirty="0" err="1"/>
              <a:t>venenatis</a:t>
            </a:r>
            <a:r>
              <a:rPr lang="en-US" sz="1200" dirty="0"/>
              <a:t> </a:t>
            </a:r>
            <a:r>
              <a:rPr lang="en-US" sz="1200" dirty="0" err="1"/>
              <a:t>ut</a:t>
            </a:r>
            <a:r>
              <a:rPr lang="en-US" sz="1200" dirty="0"/>
              <a:t> ac dia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56F9DAE-7A0D-44BF-B04F-CF24F03C898D}"/>
              </a:ext>
            </a:extLst>
          </p:cNvPr>
          <p:cNvSpPr txBox="1"/>
          <p:nvPr/>
        </p:nvSpPr>
        <p:spPr>
          <a:xfrm flipH="1">
            <a:off x="7013365" y="1042335"/>
            <a:ext cx="2514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2"/>
                </a:solidFill>
              </a:rPr>
              <a:t>Almost</a:t>
            </a:r>
            <a:endParaRPr lang="en-US" sz="1200" b="1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AC4F7381-EA47-4B0E-859B-9969CAE4CE20}"/>
              </a:ext>
            </a:extLst>
          </p:cNvPr>
          <p:cNvSpPr/>
          <p:nvPr/>
        </p:nvSpPr>
        <p:spPr>
          <a:xfrm>
            <a:off x="1669445" y="1005676"/>
            <a:ext cx="5367306" cy="6565453"/>
          </a:xfrm>
          <a:custGeom>
            <a:avLst/>
            <a:gdLst>
              <a:gd name="connsiteX0" fmla="*/ 5176353 w 5248275"/>
              <a:gd name="connsiteY0" fmla="*/ 2851595 h 6419850"/>
              <a:gd name="connsiteX1" fmla="*/ 4704866 w 5248275"/>
              <a:gd name="connsiteY1" fmla="*/ 2084833 h 6419850"/>
              <a:gd name="connsiteX2" fmla="*/ 4657241 w 5248275"/>
              <a:gd name="connsiteY2" fmla="*/ 1656208 h 6419850"/>
              <a:gd name="connsiteX3" fmla="*/ 4404828 w 5248275"/>
              <a:gd name="connsiteY3" fmla="*/ 832295 h 6419850"/>
              <a:gd name="connsiteX4" fmla="*/ 2818916 w 5248275"/>
              <a:gd name="connsiteY4" fmla="*/ 8383 h 6419850"/>
              <a:gd name="connsiteX5" fmla="*/ 1399690 w 5248275"/>
              <a:gd name="connsiteY5" fmla="*/ 132208 h 6419850"/>
              <a:gd name="connsiteX6" fmla="*/ 580540 w 5248275"/>
              <a:gd name="connsiteY6" fmla="*/ 770383 h 6419850"/>
              <a:gd name="connsiteX7" fmla="*/ 275740 w 5248275"/>
              <a:gd name="connsiteY7" fmla="*/ 1875283 h 6419850"/>
              <a:gd name="connsiteX8" fmla="*/ 618640 w 5248275"/>
              <a:gd name="connsiteY8" fmla="*/ 3208783 h 6419850"/>
              <a:gd name="connsiteX9" fmla="*/ 847240 w 5248275"/>
              <a:gd name="connsiteY9" fmla="*/ 4266058 h 6419850"/>
              <a:gd name="connsiteX10" fmla="*/ 28090 w 5248275"/>
              <a:gd name="connsiteY10" fmla="*/ 6104383 h 6419850"/>
              <a:gd name="connsiteX11" fmla="*/ 3242778 w 5248275"/>
              <a:gd name="connsiteY11" fmla="*/ 6309170 h 6419850"/>
              <a:gd name="connsiteX12" fmla="*/ 3314216 w 5248275"/>
              <a:gd name="connsiteY12" fmla="*/ 5437633 h 6419850"/>
              <a:gd name="connsiteX13" fmla="*/ 3376128 w 5248275"/>
              <a:gd name="connsiteY13" fmla="*/ 4994720 h 6419850"/>
              <a:gd name="connsiteX14" fmla="*/ 3733316 w 5248275"/>
              <a:gd name="connsiteY14" fmla="*/ 4723258 h 6419850"/>
              <a:gd name="connsiteX15" fmla="*/ 4552466 w 5248275"/>
              <a:gd name="connsiteY15" fmla="*/ 4637533 h 6419850"/>
              <a:gd name="connsiteX16" fmla="*/ 4714391 w 5248275"/>
              <a:gd name="connsiteY16" fmla="*/ 4437508 h 6419850"/>
              <a:gd name="connsiteX17" fmla="*/ 4742966 w 5248275"/>
              <a:gd name="connsiteY17" fmla="*/ 4189858 h 6419850"/>
              <a:gd name="connsiteX18" fmla="*/ 4752491 w 5248275"/>
              <a:gd name="connsiteY18" fmla="*/ 3951733 h 6419850"/>
              <a:gd name="connsiteX19" fmla="*/ 4866791 w 5248275"/>
              <a:gd name="connsiteY19" fmla="*/ 3827908 h 6419850"/>
              <a:gd name="connsiteX20" fmla="*/ 4800116 w 5248275"/>
              <a:gd name="connsiteY20" fmla="*/ 3675508 h 6419850"/>
              <a:gd name="connsiteX21" fmla="*/ 4914416 w 5248275"/>
              <a:gd name="connsiteY21" fmla="*/ 3599308 h 6419850"/>
              <a:gd name="connsiteX22" fmla="*/ 4885841 w 5248275"/>
              <a:gd name="connsiteY22" fmla="*/ 3475483 h 6419850"/>
              <a:gd name="connsiteX23" fmla="*/ 4833453 w 5248275"/>
              <a:gd name="connsiteY23" fmla="*/ 3308795 h 6419850"/>
              <a:gd name="connsiteX24" fmla="*/ 5023953 w 5248275"/>
              <a:gd name="connsiteY24" fmla="*/ 3232595 h 6419850"/>
              <a:gd name="connsiteX25" fmla="*/ 5233503 w 5248275"/>
              <a:gd name="connsiteY25" fmla="*/ 3070670 h 6419850"/>
              <a:gd name="connsiteX26" fmla="*/ 5176353 w 5248275"/>
              <a:gd name="connsiteY26" fmla="*/ 2851595 h 6419850"/>
              <a:gd name="connsiteX27" fmla="*/ 4105743 w 5248275"/>
              <a:gd name="connsiteY27" fmla="*/ 1811465 h 6419850"/>
              <a:gd name="connsiteX28" fmla="*/ 3959058 w 5248275"/>
              <a:gd name="connsiteY28" fmla="*/ 2218183 h 6419850"/>
              <a:gd name="connsiteX29" fmla="*/ 3607585 w 5248275"/>
              <a:gd name="connsiteY29" fmla="*/ 2394395 h 6419850"/>
              <a:gd name="connsiteX30" fmla="*/ 3607585 w 5248275"/>
              <a:gd name="connsiteY30" fmla="*/ 2396300 h 6419850"/>
              <a:gd name="connsiteX31" fmla="*/ 3589488 w 5248275"/>
              <a:gd name="connsiteY31" fmla="*/ 2394395 h 6419850"/>
              <a:gd name="connsiteX32" fmla="*/ 3568533 w 5248275"/>
              <a:gd name="connsiteY32" fmla="*/ 2396300 h 6419850"/>
              <a:gd name="connsiteX33" fmla="*/ 3568533 w 5248275"/>
              <a:gd name="connsiteY33" fmla="*/ 2394395 h 6419850"/>
              <a:gd name="connsiteX34" fmla="*/ 3460900 w 5248275"/>
              <a:gd name="connsiteY34" fmla="*/ 2377250 h 6419850"/>
              <a:gd name="connsiteX35" fmla="*/ 3266591 w 5248275"/>
              <a:gd name="connsiteY35" fmla="*/ 2427733 h 6419850"/>
              <a:gd name="connsiteX36" fmla="*/ 3007510 w 5248275"/>
              <a:gd name="connsiteY36" fmla="*/ 2331530 h 6419850"/>
              <a:gd name="connsiteX37" fmla="*/ 3005605 w 5248275"/>
              <a:gd name="connsiteY37" fmla="*/ 2331530 h 6419850"/>
              <a:gd name="connsiteX38" fmla="*/ 2931310 w 5248275"/>
              <a:gd name="connsiteY38" fmla="*/ 2336293 h 6419850"/>
              <a:gd name="connsiteX39" fmla="*/ 2834155 w 5248275"/>
              <a:gd name="connsiteY39" fmla="*/ 2327720 h 6419850"/>
              <a:gd name="connsiteX40" fmla="*/ 2466491 w 5248275"/>
              <a:gd name="connsiteY40" fmla="*/ 2490598 h 6419850"/>
              <a:gd name="connsiteX41" fmla="*/ 1942615 w 5248275"/>
              <a:gd name="connsiteY41" fmla="*/ 2773490 h 6419850"/>
              <a:gd name="connsiteX42" fmla="*/ 1894038 w 5248275"/>
              <a:gd name="connsiteY42" fmla="*/ 2812543 h 6419850"/>
              <a:gd name="connsiteX43" fmla="*/ 1886418 w 5248275"/>
              <a:gd name="connsiteY43" fmla="*/ 2819210 h 6419850"/>
              <a:gd name="connsiteX44" fmla="*/ 1881655 w 5248275"/>
              <a:gd name="connsiteY44" fmla="*/ 2822068 h 6419850"/>
              <a:gd name="connsiteX45" fmla="*/ 1846413 w 5248275"/>
              <a:gd name="connsiteY45" fmla="*/ 2847785 h 6419850"/>
              <a:gd name="connsiteX46" fmla="*/ 1846413 w 5248275"/>
              <a:gd name="connsiteY46" fmla="*/ 2843023 h 6419850"/>
              <a:gd name="connsiteX47" fmla="*/ 1451125 w 5248275"/>
              <a:gd name="connsiteY47" fmla="*/ 2919223 h 6419850"/>
              <a:gd name="connsiteX48" fmla="*/ 1313013 w 5248275"/>
              <a:gd name="connsiteY48" fmla="*/ 2905888 h 6419850"/>
              <a:gd name="connsiteX49" fmla="*/ 1289200 w 5248275"/>
              <a:gd name="connsiteY49" fmla="*/ 2900173 h 6419850"/>
              <a:gd name="connsiteX50" fmla="*/ 1285390 w 5248275"/>
              <a:gd name="connsiteY50" fmla="*/ 2899220 h 6419850"/>
              <a:gd name="connsiteX51" fmla="*/ 1273008 w 5248275"/>
              <a:gd name="connsiteY51" fmla="*/ 2895410 h 6419850"/>
              <a:gd name="connsiteX52" fmla="*/ 878673 w 5248275"/>
              <a:gd name="connsiteY52" fmla="*/ 2608708 h 6419850"/>
              <a:gd name="connsiteX53" fmla="*/ 726273 w 5248275"/>
              <a:gd name="connsiteY53" fmla="*/ 2111503 h 6419850"/>
              <a:gd name="connsiteX54" fmla="*/ 736750 w 5248275"/>
              <a:gd name="connsiteY54" fmla="*/ 1972438 h 6419850"/>
              <a:gd name="connsiteX55" fmla="*/ 734845 w 5248275"/>
              <a:gd name="connsiteY55" fmla="*/ 1972438 h 6419850"/>
              <a:gd name="connsiteX56" fmla="*/ 740560 w 5248275"/>
              <a:gd name="connsiteY56" fmla="*/ 1943863 h 6419850"/>
              <a:gd name="connsiteX57" fmla="*/ 743418 w 5248275"/>
              <a:gd name="connsiteY57" fmla="*/ 1928623 h 6419850"/>
              <a:gd name="connsiteX58" fmla="*/ 718653 w 5248275"/>
              <a:gd name="connsiteY58" fmla="*/ 1836230 h 6419850"/>
              <a:gd name="connsiteX59" fmla="*/ 710080 w 5248275"/>
              <a:gd name="connsiteY59" fmla="*/ 1740980 h 6419850"/>
              <a:gd name="connsiteX60" fmla="*/ 846288 w 5248275"/>
              <a:gd name="connsiteY60" fmla="*/ 1387603 h 6419850"/>
              <a:gd name="connsiteX61" fmla="*/ 1143468 w 5248275"/>
              <a:gd name="connsiteY61" fmla="*/ 901828 h 6419850"/>
              <a:gd name="connsiteX62" fmla="*/ 1261578 w 5248275"/>
              <a:gd name="connsiteY62" fmla="*/ 729425 h 6419850"/>
              <a:gd name="connsiteX63" fmla="*/ 1312060 w 5248275"/>
              <a:gd name="connsiteY63" fmla="*/ 673228 h 6419850"/>
              <a:gd name="connsiteX64" fmla="*/ 1312060 w 5248275"/>
              <a:gd name="connsiteY64" fmla="*/ 677990 h 6419850"/>
              <a:gd name="connsiteX65" fmla="*/ 1671153 w 5248275"/>
              <a:gd name="connsiteY65" fmla="*/ 521780 h 6419850"/>
              <a:gd name="connsiteX66" fmla="*/ 1843555 w 5248275"/>
              <a:gd name="connsiteY66" fmla="*/ 399860 h 6419850"/>
              <a:gd name="connsiteX67" fmla="*/ 1844508 w 5248275"/>
              <a:gd name="connsiteY67" fmla="*/ 397955 h 6419850"/>
              <a:gd name="connsiteX68" fmla="*/ 1852128 w 5248275"/>
              <a:gd name="connsiteY68" fmla="*/ 395098 h 6419850"/>
              <a:gd name="connsiteX69" fmla="*/ 1853080 w 5248275"/>
              <a:gd name="connsiteY69" fmla="*/ 395098 h 6419850"/>
              <a:gd name="connsiteX70" fmla="*/ 1883560 w 5248275"/>
              <a:gd name="connsiteY70" fmla="*/ 381763 h 6419850"/>
              <a:gd name="connsiteX71" fmla="*/ 1883560 w 5248275"/>
              <a:gd name="connsiteY71" fmla="*/ 385573 h 6419850"/>
              <a:gd name="connsiteX72" fmla="*/ 2030245 w 5248275"/>
              <a:gd name="connsiteY72" fmla="*/ 361760 h 6419850"/>
              <a:gd name="connsiteX73" fmla="*/ 2037865 w 5248275"/>
              <a:gd name="connsiteY73" fmla="*/ 361760 h 6419850"/>
              <a:gd name="connsiteX74" fmla="*/ 2349333 w 5248275"/>
              <a:gd name="connsiteY74" fmla="*/ 244603 h 6419850"/>
              <a:gd name="connsiteX75" fmla="*/ 2534118 w 5248275"/>
              <a:gd name="connsiteY75" fmla="*/ 281750 h 6419850"/>
              <a:gd name="connsiteX76" fmla="*/ 2800818 w 5248275"/>
              <a:gd name="connsiteY76" fmla="*/ 218885 h 6419850"/>
              <a:gd name="connsiteX77" fmla="*/ 2990366 w 5248275"/>
              <a:gd name="connsiteY77" fmla="*/ 249365 h 6419850"/>
              <a:gd name="connsiteX78" fmla="*/ 2990366 w 5248275"/>
              <a:gd name="connsiteY78" fmla="*/ 247460 h 6419850"/>
              <a:gd name="connsiteX79" fmla="*/ 3020845 w 5248275"/>
              <a:gd name="connsiteY79" fmla="*/ 260795 h 6419850"/>
              <a:gd name="connsiteX80" fmla="*/ 3028466 w 5248275"/>
              <a:gd name="connsiteY80" fmla="*/ 264605 h 6419850"/>
              <a:gd name="connsiteX81" fmla="*/ 3031323 w 5248275"/>
              <a:gd name="connsiteY81" fmla="*/ 264605 h 6419850"/>
              <a:gd name="connsiteX82" fmla="*/ 3262780 w 5248275"/>
              <a:gd name="connsiteY82" fmla="*/ 430340 h 6419850"/>
              <a:gd name="connsiteX83" fmla="*/ 3308500 w 5248275"/>
              <a:gd name="connsiteY83" fmla="*/ 426530 h 6419850"/>
              <a:gd name="connsiteX84" fmla="*/ 3696168 w 5248275"/>
              <a:gd name="connsiteY84" fmla="*/ 690373 h 6419850"/>
              <a:gd name="connsiteX85" fmla="*/ 4004778 w 5248275"/>
              <a:gd name="connsiteY85" fmla="*/ 1121855 h 6419850"/>
              <a:gd name="connsiteX86" fmla="*/ 4124793 w 5248275"/>
              <a:gd name="connsiteY86" fmla="*/ 1299973 h 6419850"/>
              <a:gd name="connsiteX87" fmla="*/ 4126698 w 5248275"/>
              <a:gd name="connsiteY87" fmla="*/ 1303783 h 6419850"/>
              <a:gd name="connsiteX88" fmla="*/ 4129555 w 5248275"/>
              <a:gd name="connsiteY88" fmla="*/ 1312355 h 6419850"/>
              <a:gd name="connsiteX89" fmla="*/ 4129555 w 5248275"/>
              <a:gd name="connsiteY89" fmla="*/ 1313308 h 6419850"/>
              <a:gd name="connsiteX90" fmla="*/ 4142891 w 5248275"/>
              <a:gd name="connsiteY90" fmla="*/ 1347598 h 6419850"/>
              <a:gd name="connsiteX91" fmla="*/ 4140985 w 5248275"/>
              <a:gd name="connsiteY91" fmla="*/ 1347598 h 6419850"/>
              <a:gd name="connsiteX92" fmla="*/ 4161941 w 5248275"/>
              <a:gd name="connsiteY92" fmla="*/ 1498093 h 6419850"/>
              <a:gd name="connsiteX93" fmla="*/ 4098123 w 5248275"/>
              <a:gd name="connsiteY93" fmla="*/ 1750505 h 6419850"/>
              <a:gd name="connsiteX94" fmla="*/ 4105743 w 5248275"/>
              <a:gd name="connsiteY94" fmla="*/ 1811465 h 6419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5248275" h="6419850">
                <a:moveTo>
                  <a:pt x="5176353" y="2851595"/>
                </a:moveTo>
                <a:cubicBezTo>
                  <a:pt x="5090628" y="2775395"/>
                  <a:pt x="4704866" y="2170558"/>
                  <a:pt x="4704866" y="2084833"/>
                </a:cubicBezTo>
                <a:cubicBezTo>
                  <a:pt x="4704866" y="1999108"/>
                  <a:pt x="4676291" y="1770508"/>
                  <a:pt x="4657241" y="1656208"/>
                </a:cubicBezTo>
                <a:cubicBezTo>
                  <a:pt x="4638191" y="1541908"/>
                  <a:pt x="4662003" y="1213295"/>
                  <a:pt x="4404828" y="832295"/>
                </a:cubicBezTo>
                <a:cubicBezTo>
                  <a:pt x="4147653" y="451295"/>
                  <a:pt x="3847616" y="-20192"/>
                  <a:pt x="2818916" y="8383"/>
                </a:cubicBezTo>
                <a:cubicBezTo>
                  <a:pt x="1790215" y="36958"/>
                  <a:pt x="1733065" y="-1142"/>
                  <a:pt x="1399690" y="132208"/>
                </a:cubicBezTo>
                <a:cubicBezTo>
                  <a:pt x="1066315" y="265558"/>
                  <a:pt x="704365" y="551308"/>
                  <a:pt x="580540" y="770383"/>
                </a:cubicBezTo>
                <a:cubicBezTo>
                  <a:pt x="456715" y="989458"/>
                  <a:pt x="283360" y="1437133"/>
                  <a:pt x="275740" y="1875283"/>
                </a:cubicBezTo>
                <a:cubicBezTo>
                  <a:pt x="268120" y="2313433"/>
                  <a:pt x="93813" y="2604898"/>
                  <a:pt x="618640" y="3208783"/>
                </a:cubicBezTo>
                <a:cubicBezTo>
                  <a:pt x="1054885" y="3710750"/>
                  <a:pt x="952015" y="3980308"/>
                  <a:pt x="847240" y="4266058"/>
                </a:cubicBezTo>
                <a:cubicBezTo>
                  <a:pt x="742465" y="4551808"/>
                  <a:pt x="351940" y="5780533"/>
                  <a:pt x="28090" y="6104383"/>
                </a:cubicBezTo>
                <a:cubicBezTo>
                  <a:pt x="-295760" y="6428233"/>
                  <a:pt x="3242778" y="6518720"/>
                  <a:pt x="3242778" y="6309170"/>
                </a:cubicBezTo>
                <a:cubicBezTo>
                  <a:pt x="3242778" y="6099620"/>
                  <a:pt x="3173245" y="5766245"/>
                  <a:pt x="3314216" y="5437633"/>
                </a:cubicBezTo>
                <a:cubicBezTo>
                  <a:pt x="3385653" y="5270945"/>
                  <a:pt x="3352316" y="5132833"/>
                  <a:pt x="3376128" y="4994720"/>
                </a:cubicBezTo>
                <a:cubicBezTo>
                  <a:pt x="3383748" y="4948048"/>
                  <a:pt x="3457091" y="4704208"/>
                  <a:pt x="3733316" y="4723258"/>
                </a:cubicBezTo>
                <a:cubicBezTo>
                  <a:pt x="4009541" y="4742308"/>
                  <a:pt x="4412448" y="4704208"/>
                  <a:pt x="4552466" y="4637533"/>
                </a:cubicBezTo>
                <a:cubicBezTo>
                  <a:pt x="4662003" y="4585145"/>
                  <a:pt x="4695341" y="4504183"/>
                  <a:pt x="4714391" y="4437508"/>
                </a:cubicBezTo>
                <a:cubicBezTo>
                  <a:pt x="4733441" y="4370833"/>
                  <a:pt x="4757253" y="4289870"/>
                  <a:pt x="4742966" y="4189858"/>
                </a:cubicBezTo>
                <a:cubicBezTo>
                  <a:pt x="4727726" y="4084130"/>
                  <a:pt x="4733441" y="4018408"/>
                  <a:pt x="4752491" y="3951733"/>
                </a:cubicBezTo>
                <a:cubicBezTo>
                  <a:pt x="4771541" y="3885058"/>
                  <a:pt x="4857266" y="3894583"/>
                  <a:pt x="4866791" y="3827908"/>
                </a:cubicBezTo>
                <a:cubicBezTo>
                  <a:pt x="4876316" y="3761233"/>
                  <a:pt x="4876316" y="3665983"/>
                  <a:pt x="4800116" y="3675508"/>
                </a:cubicBezTo>
                <a:cubicBezTo>
                  <a:pt x="4800116" y="3675508"/>
                  <a:pt x="4904891" y="3656458"/>
                  <a:pt x="4914416" y="3599308"/>
                </a:cubicBezTo>
                <a:cubicBezTo>
                  <a:pt x="4923941" y="3542158"/>
                  <a:pt x="4914416" y="3523108"/>
                  <a:pt x="4885841" y="3475483"/>
                </a:cubicBezTo>
                <a:cubicBezTo>
                  <a:pt x="4857266" y="3427858"/>
                  <a:pt x="4838216" y="3389758"/>
                  <a:pt x="4833453" y="3308795"/>
                </a:cubicBezTo>
                <a:cubicBezTo>
                  <a:pt x="4833453" y="3308795"/>
                  <a:pt x="4890603" y="3232595"/>
                  <a:pt x="5023953" y="3232595"/>
                </a:cubicBezTo>
                <a:cubicBezTo>
                  <a:pt x="5157303" y="3232595"/>
                  <a:pt x="5223978" y="3099245"/>
                  <a:pt x="5233503" y="3070670"/>
                </a:cubicBezTo>
                <a:cubicBezTo>
                  <a:pt x="5243028" y="3042095"/>
                  <a:pt x="5262078" y="2927795"/>
                  <a:pt x="5176353" y="2851595"/>
                </a:cubicBezTo>
                <a:close/>
                <a:moveTo>
                  <a:pt x="4105743" y="1811465"/>
                </a:moveTo>
                <a:cubicBezTo>
                  <a:pt x="4105743" y="1963865"/>
                  <a:pt x="4054308" y="2107693"/>
                  <a:pt x="3959058" y="2218183"/>
                </a:cubicBezTo>
                <a:cubicBezTo>
                  <a:pt x="3865713" y="2324863"/>
                  <a:pt x="3740935" y="2387728"/>
                  <a:pt x="3607585" y="2394395"/>
                </a:cubicBezTo>
                <a:cubicBezTo>
                  <a:pt x="3607585" y="2396300"/>
                  <a:pt x="3607585" y="2396300"/>
                  <a:pt x="3607585" y="2396300"/>
                </a:cubicBezTo>
                <a:cubicBezTo>
                  <a:pt x="3589488" y="2394395"/>
                  <a:pt x="3589488" y="2394395"/>
                  <a:pt x="3589488" y="2394395"/>
                </a:cubicBezTo>
                <a:cubicBezTo>
                  <a:pt x="3568533" y="2396300"/>
                  <a:pt x="3568533" y="2396300"/>
                  <a:pt x="3568533" y="2396300"/>
                </a:cubicBezTo>
                <a:cubicBezTo>
                  <a:pt x="3568533" y="2394395"/>
                  <a:pt x="3568533" y="2394395"/>
                  <a:pt x="3568533" y="2394395"/>
                </a:cubicBezTo>
                <a:cubicBezTo>
                  <a:pt x="3532338" y="2392490"/>
                  <a:pt x="3496143" y="2387728"/>
                  <a:pt x="3460900" y="2377250"/>
                </a:cubicBezTo>
                <a:cubicBezTo>
                  <a:pt x="3399941" y="2411540"/>
                  <a:pt x="3333266" y="2427733"/>
                  <a:pt x="3266591" y="2427733"/>
                </a:cubicBezTo>
                <a:cubicBezTo>
                  <a:pt x="3173245" y="2427733"/>
                  <a:pt x="3083710" y="2394395"/>
                  <a:pt x="3007510" y="2331530"/>
                </a:cubicBezTo>
                <a:cubicBezTo>
                  <a:pt x="3005605" y="2331530"/>
                  <a:pt x="3005605" y="2331530"/>
                  <a:pt x="3005605" y="2331530"/>
                </a:cubicBezTo>
                <a:cubicBezTo>
                  <a:pt x="2979888" y="2335340"/>
                  <a:pt x="2956075" y="2336293"/>
                  <a:pt x="2931310" y="2336293"/>
                </a:cubicBezTo>
                <a:cubicBezTo>
                  <a:pt x="2899878" y="2336293"/>
                  <a:pt x="2866541" y="2332483"/>
                  <a:pt x="2834155" y="2327720"/>
                </a:cubicBezTo>
                <a:cubicBezTo>
                  <a:pt x="2674135" y="2461070"/>
                  <a:pt x="2567455" y="2475358"/>
                  <a:pt x="2466491" y="2490598"/>
                </a:cubicBezTo>
                <a:cubicBezTo>
                  <a:pt x="2339808" y="2507743"/>
                  <a:pt x="2207410" y="2523935"/>
                  <a:pt x="1942615" y="2773490"/>
                </a:cubicBezTo>
                <a:cubicBezTo>
                  <a:pt x="1927375" y="2786825"/>
                  <a:pt x="1911183" y="2800160"/>
                  <a:pt x="1894038" y="2812543"/>
                </a:cubicBezTo>
                <a:cubicBezTo>
                  <a:pt x="1886418" y="2819210"/>
                  <a:pt x="1886418" y="2819210"/>
                  <a:pt x="1886418" y="2819210"/>
                </a:cubicBezTo>
                <a:cubicBezTo>
                  <a:pt x="1881655" y="2822068"/>
                  <a:pt x="1881655" y="2822068"/>
                  <a:pt x="1881655" y="2822068"/>
                </a:cubicBezTo>
                <a:cubicBezTo>
                  <a:pt x="1846413" y="2847785"/>
                  <a:pt x="1846413" y="2847785"/>
                  <a:pt x="1846413" y="2847785"/>
                </a:cubicBezTo>
                <a:cubicBezTo>
                  <a:pt x="1846413" y="2843023"/>
                  <a:pt x="1846413" y="2843023"/>
                  <a:pt x="1846413" y="2843023"/>
                </a:cubicBezTo>
                <a:cubicBezTo>
                  <a:pt x="1714968" y="2919223"/>
                  <a:pt x="1569235" y="2919223"/>
                  <a:pt x="1451125" y="2919223"/>
                </a:cubicBezTo>
                <a:cubicBezTo>
                  <a:pt x="1404453" y="2919223"/>
                  <a:pt x="1358733" y="2914460"/>
                  <a:pt x="1313013" y="2905888"/>
                </a:cubicBezTo>
                <a:cubicBezTo>
                  <a:pt x="1299678" y="2902078"/>
                  <a:pt x="1293010" y="2901125"/>
                  <a:pt x="1289200" y="2900173"/>
                </a:cubicBezTo>
                <a:cubicBezTo>
                  <a:pt x="1285390" y="2899220"/>
                  <a:pt x="1285390" y="2899220"/>
                  <a:pt x="1285390" y="2899220"/>
                </a:cubicBezTo>
                <a:cubicBezTo>
                  <a:pt x="1273008" y="2895410"/>
                  <a:pt x="1273008" y="2895410"/>
                  <a:pt x="1273008" y="2895410"/>
                </a:cubicBezTo>
                <a:cubicBezTo>
                  <a:pt x="1112035" y="2850643"/>
                  <a:pt x="974875" y="2746820"/>
                  <a:pt x="878673" y="2608708"/>
                </a:cubicBezTo>
                <a:cubicBezTo>
                  <a:pt x="782470" y="2470595"/>
                  <a:pt x="726273" y="2296288"/>
                  <a:pt x="726273" y="2111503"/>
                </a:cubicBezTo>
                <a:cubicBezTo>
                  <a:pt x="726273" y="2063878"/>
                  <a:pt x="729130" y="2018158"/>
                  <a:pt x="736750" y="1972438"/>
                </a:cubicBezTo>
                <a:cubicBezTo>
                  <a:pt x="734845" y="1972438"/>
                  <a:pt x="734845" y="1972438"/>
                  <a:pt x="734845" y="1972438"/>
                </a:cubicBezTo>
                <a:cubicBezTo>
                  <a:pt x="740560" y="1943863"/>
                  <a:pt x="740560" y="1943863"/>
                  <a:pt x="740560" y="1943863"/>
                </a:cubicBezTo>
                <a:cubicBezTo>
                  <a:pt x="743418" y="1928623"/>
                  <a:pt x="743418" y="1928623"/>
                  <a:pt x="743418" y="1928623"/>
                </a:cubicBezTo>
                <a:cubicBezTo>
                  <a:pt x="732940" y="1898143"/>
                  <a:pt x="724368" y="1866710"/>
                  <a:pt x="718653" y="1836230"/>
                </a:cubicBezTo>
                <a:cubicBezTo>
                  <a:pt x="712938" y="1804798"/>
                  <a:pt x="710080" y="1773365"/>
                  <a:pt x="710080" y="1740980"/>
                </a:cubicBezTo>
                <a:cubicBezTo>
                  <a:pt x="710080" y="1607630"/>
                  <a:pt x="760563" y="1479043"/>
                  <a:pt x="846288" y="1387603"/>
                </a:cubicBezTo>
                <a:cubicBezTo>
                  <a:pt x="858670" y="1176148"/>
                  <a:pt x="972018" y="991363"/>
                  <a:pt x="1143468" y="901828"/>
                </a:cubicBezTo>
                <a:cubicBezTo>
                  <a:pt x="1173948" y="837058"/>
                  <a:pt x="1214905" y="779908"/>
                  <a:pt x="1261578" y="729425"/>
                </a:cubicBezTo>
                <a:cubicBezTo>
                  <a:pt x="1312060" y="673228"/>
                  <a:pt x="1312060" y="673228"/>
                  <a:pt x="1312060" y="673228"/>
                </a:cubicBezTo>
                <a:cubicBezTo>
                  <a:pt x="1312060" y="677990"/>
                  <a:pt x="1312060" y="677990"/>
                  <a:pt x="1312060" y="677990"/>
                </a:cubicBezTo>
                <a:cubicBezTo>
                  <a:pt x="1414930" y="588455"/>
                  <a:pt x="1540660" y="532258"/>
                  <a:pt x="1671153" y="521780"/>
                </a:cubicBezTo>
                <a:cubicBezTo>
                  <a:pt x="1720683" y="467488"/>
                  <a:pt x="1779738" y="426530"/>
                  <a:pt x="1843555" y="399860"/>
                </a:cubicBezTo>
                <a:cubicBezTo>
                  <a:pt x="1844508" y="397955"/>
                  <a:pt x="1844508" y="397955"/>
                  <a:pt x="1844508" y="397955"/>
                </a:cubicBezTo>
                <a:cubicBezTo>
                  <a:pt x="1849270" y="396050"/>
                  <a:pt x="1851175" y="395098"/>
                  <a:pt x="1852128" y="395098"/>
                </a:cubicBezTo>
                <a:cubicBezTo>
                  <a:pt x="1853080" y="395098"/>
                  <a:pt x="1853080" y="395098"/>
                  <a:pt x="1853080" y="395098"/>
                </a:cubicBezTo>
                <a:cubicBezTo>
                  <a:pt x="1883560" y="381763"/>
                  <a:pt x="1883560" y="381763"/>
                  <a:pt x="1883560" y="381763"/>
                </a:cubicBezTo>
                <a:cubicBezTo>
                  <a:pt x="1883560" y="385573"/>
                  <a:pt x="1883560" y="385573"/>
                  <a:pt x="1883560" y="385573"/>
                </a:cubicBezTo>
                <a:cubicBezTo>
                  <a:pt x="1930233" y="368428"/>
                  <a:pt x="1980715" y="361760"/>
                  <a:pt x="2030245" y="361760"/>
                </a:cubicBezTo>
                <a:lnTo>
                  <a:pt x="2037865" y="361760"/>
                </a:lnTo>
                <a:cubicBezTo>
                  <a:pt x="2128353" y="285560"/>
                  <a:pt x="2235985" y="244603"/>
                  <a:pt x="2349333" y="244603"/>
                </a:cubicBezTo>
                <a:cubicBezTo>
                  <a:pt x="2413150" y="244603"/>
                  <a:pt x="2475063" y="256033"/>
                  <a:pt x="2534118" y="281750"/>
                </a:cubicBezTo>
                <a:cubicBezTo>
                  <a:pt x="2618891" y="240793"/>
                  <a:pt x="2708425" y="218885"/>
                  <a:pt x="2800818" y="218885"/>
                </a:cubicBezTo>
                <a:cubicBezTo>
                  <a:pt x="2865588" y="218885"/>
                  <a:pt x="2927500" y="229363"/>
                  <a:pt x="2990366" y="249365"/>
                </a:cubicBezTo>
                <a:cubicBezTo>
                  <a:pt x="2990366" y="247460"/>
                  <a:pt x="2990366" y="247460"/>
                  <a:pt x="2990366" y="247460"/>
                </a:cubicBezTo>
                <a:cubicBezTo>
                  <a:pt x="3020845" y="260795"/>
                  <a:pt x="3020845" y="260795"/>
                  <a:pt x="3020845" y="260795"/>
                </a:cubicBezTo>
                <a:cubicBezTo>
                  <a:pt x="3028466" y="264605"/>
                  <a:pt x="3028466" y="264605"/>
                  <a:pt x="3028466" y="264605"/>
                </a:cubicBezTo>
                <a:cubicBezTo>
                  <a:pt x="3031323" y="264605"/>
                  <a:pt x="3031323" y="264605"/>
                  <a:pt x="3031323" y="264605"/>
                </a:cubicBezTo>
                <a:cubicBezTo>
                  <a:pt x="3118000" y="299848"/>
                  <a:pt x="3198010" y="357950"/>
                  <a:pt x="3262780" y="430340"/>
                </a:cubicBezTo>
                <a:cubicBezTo>
                  <a:pt x="3278020" y="428435"/>
                  <a:pt x="3293260" y="426530"/>
                  <a:pt x="3308500" y="426530"/>
                </a:cubicBezTo>
                <a:cubicBezTo>
                  <a:pt x="3470425" y="426530"/>
                  <a:pt x="3621873" y="529400"/>
                  <a:pt x="3696168" y="690373"/>
                </a:cubicBezTo>
                <a:cubicBezTo>
                  <a:pt x="3856188" y="766573"/>
                  <a:pt x="3973345" y="931355"/>
                  <a:pt x="4004778" y="1121855"/>
                </a:cubicBezTo>
                <a:cubicBezTo>
                  <a:pt x="4056213" y="1170433"/>
                  <a:pt x="4097170" y="1231393"/>
                  <a:pt x="4124793" y="1299973"/>
                </a:cubicBezTo>
                <a:cubicBezTo>
                  <a:pt x="4126698" y="1303783"/>
                  <a:pt x="4126698" y="1303783"/>
                  <a:pt x="4126698" y="1303783"/>
                </a:cubicBezTo>
                <a:cubicBezTo>
                  <a:pt x="4127650" y="1308545"/>
                  <a:pt x="4128603" y="1311403"/>
                  <a:pt x="4129555" y="1312355"/>
                </a:cubicBezTo>
                <a:cubicBezTo>
                  <a:pt x="4129555" y="1313308"/>
                  <a:pt x="4129555" y="1313308"/>
                  <a:pt x="4129555" y="1313308"/>
                </a:cubicBezTo>
                <a:cubicBezTo>
                  <a:pt x="4142891" y="1347598"/>
                  <a:pt x="4142891" y="1347598"/>
                  <a:pt x="4142891" y="1347598"/>
                </a:cubicBezTo>
                <a:cubicBezTo>
                  <a:pt x="4140985" y="1347598"/>
                  <a:pt x="4140985" y="1347598"/>
                  <a:pt x="4140985" y="1347598"/>
                </a:cubicBezTo>
                <a:cubicBezTo>
                  <a:pt x="4154320" y="1397128"/>
                  <a:pt x="4161941" y="1447610"/>
                  <a:pt x="4161941" y="1498093"/>
                </a:cubicBezTo>
                <a:cubicBezTo>
                  <a:pt x="4161941" y="1587628"/>
                  <a:pt x="4140985" y="1674305"/>
                  <a:pt x="4098123" y="1750505"/>
                </a:cubicBezTo>
                <a:cubicBezTo>
                  <a:pt x="4105743" y="1770508"/>
                  <a:pt x="4105743" y="1790510"/>
                  <a:pt x="4105743" y="1811465"/>
                </a:cubicBezTo>
                <a:close/>
              </a:path>
            </a:pathLst>
          </a:custGeom>
          <a:solidFill>
            <a:schemeClr val="tx1">
              <a:lumMod val="90000"/>
              <a:lumOff val="1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9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17CCAD7-645A-AAEA-CEC8-72D58412A0C1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ind infographic </a:t>
            </a:r>
            <a:endParaRPr lang="en-C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52353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2F1F91F-B662-4288-83A1-B50DD91838FE}"/>
              </a:ext>
            </a:extLst>
          </p:cNvPr>
          <p:cNvSpPr/>
          <p:nvPr/>
        </p:nvSpPr>
        <p:spPr>
          <a:xfrm>
            <a:off x="5088173" y="2663787"/>
            <a:ext cx="1556834" cy="1530427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+mj-lt"/>
              </a:rPr>
              <a:t>Section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A8E1F091-F11D-45A3-87B9-9545335FFE13}"/>
              </a:ext>
            </a:extLst>
          </p:cNvPr>
          <p:cNvSpPr/>
          <p:nvPr/>
        </p:nvSpPr>
        <p:spPr>
          <a:xfrm>
            <a:off x="7278875" y="884246"/>
            <a:ext cx="1927609" cy="492378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latin typeface="+mj-lt"/>
              </a:rPr>
              <a:t>Option A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B0713AC-C4C6-47F1-A879-8E988588FAC9}"/>
              </a:ext>
            </a:extLst>
          </p:cNvPr>
          <p:cNvSpPr/>
          <p:nvPr/>
        </p:nvSpPr>
        <p:spPr>
          <a:xfrm>
            <a:off x="7278875" y="2022580"/>
            <a:ext cx="1927609" cy="49237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latin typeface="+mj-lt"/>
              </a:rPr>
              <a:t>Option B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DF47919-1890-4DDB-8687-42D38B787CE4}"/>
              </a:ext>
            </a:extLst>
          </p:cNvPr>
          <p:cNvSpPr/>
          <p:nvPr/>
        </p:nvSpPr>
        <p:spPr>
          <a:xfrm>
            <a:off x="7278875" y="3160913"/>
            <a:ext cx="1927609" cy="492378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latin typeface="+mj-lt"/>
              </a:rPr>
              <a:t>Option C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4F8F55A4-14B9-4D82-A9A1-CC5CF982F9E9}"/>
              </a:ext>
            </a:extLst>
          </p:cNvPr>
          <p:cNvSpPr/>
          <p:nvPr/>
        </p:nvSpPr>
        <p:spPr>
          <a:xfrm>
            <a:off x="7278875" y="4299246"/>
            <a:ext cx="1927609" cy="492378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latin typeface="+mj-lt"/>
              </a:rPr>
              <a:t>Option D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08BCBBC-BBBB-480D-8FB4-C742253460ED}"/>
              </a:ext>
            </a:extLst>
          </p:cNvPr>
          <p:cNvSpPr/>
          <p:nvPr/>
        </p:nvSpPr>
        <p:spPr>
          <a:xfrm>
            <a:off x="7278875" y="5437580"/>
            <a:ext cx="1927609" cy="492378"/>
          </a:xfrm>
          <a:prstGeom prst="roundRect">
            <a:avLst>
              <a:gd name="adj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latin typeface="+mj-lt"/>
              </a:rPr>
              <a:t>Option E</a:t>
            </a:r>
          </a:p>
        </p:txBody>
      </p:sp>
      <p:cxnSp>
        <p:nvCxnSpPr>
          <p:cNvPr id="15" name="Connector: Elbow 8">
            <a:extLst>
              <a:ext uri="{FF2B5EF4-FFF2-40B4-BE49-F238E27FC236}">
                <a16:creationId xmlns:a16="http://schemas.microsoft.com/office/drawing/2014/main" id="{FC841D9F-BF91-40A9-87B7-D0E11AA81793}"/>
              </a:ext>
            </a:extLst>
          </p:cNvPr>
          <p:cNvCxnSpPr>
            <a:cxnSpLocks/>
            <a:stCxn id="10" idx="1"/>
            <a:endCxn id="9" idx="3"/>
          </p:cNvCxnSpPr>
          <p:nvPr/>
        </p:nvCxnSpPr>
        <p:spPr>
          <a:xfrm rot="10800000" flipV="1">
            <a:off x="6645008" y="1130435"/>
            <a:ext cx="633868" cy="2298565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or: Elbow 8">
            <a:extLst>
              <a:ext uri="{FF2B5EF4-FFF2-40B4-BE49-F238E27FC236}">
                <a16:creationId xmlns:a16="http://schemas.microsoft.com/office/drawing/2014/main" id="{E697F50F-4EEE-48BD-AD57-A9B703508134}"/>
              </a:ext>
            </a:extLst>
          </p:cNvPr>
          <p:cNvCxnSpPr>
            <a:cxnSpLocks/>
            <a:stCxn id="11" idx="1"/>
            <a:endCxn id="9" idx="3"/>
          </p:cNvCxnSpPr>
          <p:nvPr/>
        </p:nvCxnSpPr>
        <p:spPr>
          <a:xfrm rot="10800000" flipV="1">
            <a:off x="6645008" y="2268769"/>
            <a:ext cx="633868" cy="1160231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8">
            <a:extLst>
              <a:ext uri="{FF2B5EF4-FFF2-40B4-BE49-F238E27FC236}">
                <a16:creationId xmlns:a16="http://schemas.microsoft.com/office/drawing/2014/main" id="{65FE704C-1979-4D37-BD4A-D44F43E031CF}"/>
              </a:ext>
            </a:extLst>
          </p:cNvPr>
          <p:cNvCxnSpPr>
            <a:cxnSpLocks/>
            <a:stCxn id="12" idx="1"/>
            <a:endCxn id="9" idx="3"/>
          </p:cNvCxnSpPr>
          <p:nvPr/>
        </p:nvCxnSpPr>
        <p:spPr>
          <a:xfrm rot="10800000" flipV="1">
            <a:off x="6645008" y="3407102"/>
            <a:ext cx="633868" cy="21898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8">
            <a:extLst>
              <a:ext uri="{FF2B5EF4-FFF2-40B4-BE49-F238E27FC236}">
                <a16:creationId xmlns:a16="http://schemas.microsoft.com/office/drawing/2014/main" id="{7B3395E6-C133-43E1-AED4-F03D6886070A}"/>
              </a:ext>
            </a:extLst>
          </p:cNvPr>
          <p:cNvCxnSpPr>
            <a:cxnSpLocks/>
            <a:stCxn id="13" idx="1"/>
            <a:endCxn id="9" idx="3"/>
          </p:cNvCxnSpPr>
          <p:nvPr/>
        </p:nvCxnSpPr>
        <p:spPr>
          <a:xfrm rot="10800000">
            <a:off x="6645008" y="3429001"/>
            <a:ext cx="633868" cy="1116435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Elbow 8">
            <a:extLst>
              <a:ext uri="{FF2B5EF4-FFF2-40B4-BE49-F238E27FC236}">
                <a16:creationId xmlns:a16="http://schemas.microsoft.com/office/drawing/2014/main" id="{9ACE0D31-F13D-4221-BCC3-B89BA5A12D30}"/>
              </a:ext>
            </a:extLst>
          </p:cNvPr>
          <p:cNvCxnSpPr>
            <a:cxnSpLocks/>
            <a:stCxn id="14" idx="1"/>
            <a:endCxn id="9" idx="3"/>
          </p:cNvCxnSpPr>
          <p:nvPr/>
        </p:nvCxnSpPr>
        <p:spPr>
          <a:xfrm rot="10800000">
            <a:off x="6645008" y="3429001"/>
            <a:ext cx="633868" cy="2254769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313B7527-F952-4751-A61D-158CAFF2A5EC}"/>
              </a:ext>
            </a:extLst>
          </p:cNvPr>
          <p:cNvSpPr/>
          <p:nvPr/>
        </p:nvSpPr>
        <p:spPr>
          <a:xfrm flipH="1">
            <a:off x="2526695" y="884246"/>
            <a:ext cx="1927609" cy="492378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latin typeface="+mj-lt"/>
              </a:rPr>
              <a:t>Option A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6CBA9B8F-C489-48DC-B0DC-73EF0B0255CD}"/>
              </a:ext>
            </a:extLst>
          </p:cNvPr>
          <p:cNvSpPr/>
          <p:nvPr/>
        </p:nvSpPr>
        <p:spPr>
          <a:xfrm flipH="1">
            <a:off x="2526695" y="2022580"/>
            <a:ext cx="1927609" cy="49237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latin typeface="+mj-lt"/>
              </a:rPr>
              <a:t>Option B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ACB95B5E-B045-43F2-B1FC-1CE1986BAD76}"/>
              </a:ext>
            </a:extLst>
          </p:cNvPr>
          <p:cNvSpPr/>
          <p:nvPr/>
        </p:nvSpPr>
        <p:spPr>
          <a:xfrm flipH="1">
            <a:off x="2526695" y="3160913"/>
            <a:ext cx="1927609" cy="492378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latin typeface="+mj-lt"/>
              </a:rPr>
              <a:t>Option C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32688D93-779D-4EA2-8EAE-1B1DDAECAB20}"/>
              </a:ext>
            </a:extLst>
          </p:cNvPr>
          <p:cNvSpPr/>
          <p:nvPr/>
        </p:nvSpPr>
        <p:spPr>
          <a:xfrm flipH="1">
            <a:off x="2526695" y="4299246"/>
            <a:ext cx="1927609" cy="492378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latin typeface="+mj-lt"/>
              </a:rPr>
              <a:t>Option D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3E1368AA-B206-4FE8-9940-5D04EBAD14B1}"/>
              </a:ext>
            </a:extLst>
          </p:cNvPr>
          <p:cNvSpPr/>
          <p:nvPr/>
        </p:nvSpPr>
        <p:spPr>
          <a:xfrm flipH="1">
            <a:off x="2526695" y="5437580"/>
            <a:ext cx="1927609" cy="492378"/>
          </a:xfrm>
          <a:prstGeom prst="roundRect">
            <a:avLst>
              <a:gd name="adj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latin typeface="+mj-lt"/>
              </a:rPr>
              <a:t>Option E</a:t>
            </a:r>
          </a:p>
        </p:txBody>
      </p:sp>
      <p:cxnSp>
        <p:nvCxnSpPr>
          <p:cNvPr id="29" name="Connector: Elbow 8">
            <a:extLst>
              <a:ext uri="{FF2B5EF4-FFF2-40B4-BE49-F238E27FC236}">
                <a16:creationId xmlns:a16="http://schemas.microsoft.com/office/drawing/2014/main" id="{FACF3635-E8DE-47F5-800F-8F8B48CADC09}"/>
              </a:ext>
            </a:extLst>
          </p:cNvPr>
          <p:cNvCxnSpPr>
            <a:cxnSpLocks/>
            <a:stCxn id="24" idx="1"/>
            <a:endCxn id="9" idx="1"/>
          </p:cNvCxnSpPr>
          <p:nvPr/>
        </p:nvCxnSpPr>
        <p:spPr>
          <a:xfrm>
            <a:off x="4454304" y="1130435"/>
            <a:ext cx="633868" cy="2298565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or: Elbow 8">
            <a:extLst>
              <a:ext uri="{FF2B5EF4-FFF2-40B4-BE49-F238E27FC236}">
                <a16:creationId xmlns:a16="http://schemas.microsoft.com/office/drawing/2014/main" id="{81F1330F-1257-4FAE-AB09-03A0DD1A0C14}"/>
              </a:ext>
            </a:extLst>
          </p:cNvPr>
          <p:cNvCxnSpPr>
            <a:cxnSpLocks/>
            <a:stCxn id="25" idx="1"/>
            <a:endCxn id="9" idx="1"/>
          </p:cNvCxnSpPr>
          <p:nvPr/>
        </p:nvCxnSpPr>
        <p:spPr>
          <a:xfrm>
            <a:off x="4454304" y="2268769"/>
            <a:ext cx="633868" cy="1160231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8">
            <a:extLst>
              <a:ext uri="{FF2B5EF4-FFF2-40B4-BE49-F238E27FC236}">
                <a16:creationId xmlns:a16="http://schemas.microsoft.com/office/drawing/2014/main" id="{BA8D794E-873E-4AA7-8BD8-2C3EA0FFE98B}"/>
              </a:ext>
            </a:extLst>
          </p:cNvPr>
          <p:cNvCxnSpPr>
            <a:cxnSpLocks/>
            <a:stCxn id="26" idx="1"/>
            <a:endCxn id="9" idx="1"/>
          </p:cNvCxnSpPr>
          <p:nvPr/>
        </p:nvCxnSpPr>
        <p:spPr>
          <a:xfrm>
            <a:off x="4454304" y="3407102"/>
            <a:ext cx="633868" cy="21898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8">
            <a:extLst>
              <a:ext uri="{FF2B5EF4-FFF2-40B4-BE49-F238E27FC236}">
                <a16:creationId xmlns:a16="http://schemas.microsoft.com/office/drawing/2014/main" id="{02D6AF27-8B7A-4533-ADAC-F58B42AB1B89}"/>
              </a:ext>
            </a:extLst>
          </p:cNvPr>
          <p:cNvCxnSpPr>
            <a:cxnSpLocks/>
            <a:stCxn id="27" idx="1"/>
            <a:endCxn id="9" idx="1"/>
          </p:cNvCxnSpPr>
          <p:nvPr/>
        </p:nvCxnSpPr>
        <p:spPr>
          <a:xfrm flipV="1">
            <a:off x="4454304" y="3429000"/>
            <a:ext cx="633868" cy="1116435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8">
            <a:extLst>
              <a:ext uri="{FF2B5EF4-FFF2-40B4-BE49-F238E27FC236}">
                <a16:creationId xmlns:a16="http://schemas.microsoft.com/office/drawing/2014/main" id="{C874EAB1-D71F-43D2-8EA7-997D419E2863}"/>
              </a:ext>
            </a:extLst>
          </p:cNvPr>
          <p:cNvCxnSpPr>
            <a:cxnSpLocks/>
            <a:stCxn id="28" idx="1"/>
            <a:endCxn id="9" idx="1"/>
          </p:cNvCxnSpPr>
          <p:nvPr/>
        </p:nvCxnSpPr>
        <p:spPr>
          <a:xfrm flipV="1">
            <a:off x="4454304" y="3429000"/>
            <a:ext cx="633868" cy="2254769"/>
          </a:xfrm>
          <a:prstGeom prst="curvedConnector3">
            <a:avLst>
              <a:gd name="adj1" fmla="val 50000"/>
            </a:avLst>
          </a:prstGeom>
          <a:ln>
            <a:solidFill>
              <a:schemeClr val="tx1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4AEEDD72-4F98-4A64-84D7-2E4711888AAB}"/>
              </a:ext>
            </a:extLst>
          </p:cNvPr>
          <p:cNvSpPr txBox="1"/>
          <p:nvPr/>
        </p:nvSpPr>
        <p:spPr>
          <a:xfrm>
            <a:off x="9469578" y="876519"/>
            <a:ext cx="1665027" cy="5078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100"/>
              <a:t>Donec vitae dolor sed urna laoreet consectetur et a odio. 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FEE648D2-FA75-4ECC-AEBB-9888560E3562}"/>
              </a:ext>
            </a:extLst>
          </p:cNvPr>
          <p:cNvSpPr txBox="1"/>
          <p:nvPr/>
        </p:nvSpPr>
        <p:spPr>
          <a:xfrm>
            <a:off x="9469578" y="2014853"/>
            <a:ext cx="1441295" cy="5078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pt-BR" sz="1100"/>
              <a:t>Cras vestibulum diam id risus convallis maximus.</a:t>
            </a:r>
            <a:endParaRPr lang="en-US" sz="110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D2EB3CC4-A513-424D-AE06-477AC9D98EDC}"/>
              </a:ext>
            </a:extLst>
          </p:cNvPr>
          <p:cNvSpPr txBox="1"/>
          <p:nvPr/>
        </p:nvSpPr>
        <p:spPr>
          <a:xfrm>
            <a:off x="9469578" y="3068548"/>
            <a:ext cx="1744961" cy="67710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100"/>
              <a:t>Etiam lacus nulla, bibendum egestas suscipit ut, sollicitudin eu massa.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F4F91ECF-EC6B-4CED-8B90-36363FC43484}"/>
              </a:ext>
            </a:extLst>
          </p:cNvPr>
          <p:cNvSpPr txBox="1"/>
          <p:nvPr/>
        </p:nvSpPr>
        <p:spPr>
          <a:xfrm>
            <a:off x="9469578" y="4291519"/>
            <a:ext cx="1744960" cy="5078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pt-BR" sz="1100"/>
              <a:t>Phasellus semper quam justo, vel aliquam magna lobortis at. </a:t>
            </a:r>
            <a:endParaRPr lang="en-US" sz="110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F1FB9E99-1E33-43D4-BB30-4D392A3E4D8C}"/>
              </a:ext>
            </a:extLst>
          </p:cNvPr>
          <p:cNvSpPr txBox="1"/>
          <p:nvPr/>
        </p:nvSpPr>
        <p:spPr>
          <a:xfrm>
            <a:off x="9469578" y="5429853"/>
            <a:ext cx="1744960" cy="5078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100"/>
              <a:t>Aliquam et ante nunc fusce tincidunt eget ligula vitae hendrerit.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1805387E-5011-46BB-99F9-651115B34DB3}"/>
              </a:ext>
            </a:extLst>
          </p:cNvPr>
          <p:cNvSpPr txBox="1"/>
          <p:nvPr/>
        </p:nvSpPr>
        <p:spPr>
          <a:xfrm>
            <a:off x="458081" y="876519"/>
            <a:ext cx="1884205" cy="5078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pt-BR" sz="1100"/>
              <a:t>Phasellus id ligula ut enim elementum bibendum eget eget magna.</a:t>
            </a:r>
            <a:endParaRPr lang="en-US" sz="1100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A35D7AC0-352D-4480-B64E-6F72437DE668}"/>
              </a:ext>
            </a:extLst>
          </p:cNvPr>
          <p:cNvSpPr txBox="1"/>
          <p:nvPr/>
        </p:nvSpPr>
        <p:spPr>
          <a:xfrm>
            <a:off x="1044116" y="2099492"/>
            <a:ext cx="1298170" cy="33855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100"/>
              <a:t>Aliquam interdum gravida molestie.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15D01CB4-28B7-4D34-B7DF-5EB07C8A763F}"/>
              </a:ext>
            </a:extLst>
          </p:cNvPr>
          <p:cNvSpPr txBox="1"/>
          <p:nvPr/>
        </p:nvSpPr>
        <p:spPr>
          <a:xfrm>
            <a:off x="355025" y="3153186"/>
            <a:ext cx="1987262" cy="5078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pt-BR" sz="1100"/>
              <a:t>Nulla tincidunt, elit sed placerat hendrerit, diam massa porttitor dolor, </a:t>
            </a:r>
            <a:endParaRPr lang="en-US" sz="1100"/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52849E12-B8D0-48DD-B8D2-0F096C6C8624}"/>
              </a:ext>
            </a:extLst>
          </p:cNvPr>
          <p:cNvSpPr txBox="1"/>
          <p:nvPr/>
        </p:nvSpPr>
        <p:spPr>
          <a:xfrm>
            <a:off x="705892" y="4291519"/>
            <a:ext cx="1636394" cy="5078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1100"/>
              <a:t>Donec vitae dolor sed urna laoreet consectetur et a odio. 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C8A19C9C-6F84-4BC3-91BC-30A043C89334}"/>
              </a:ext>
            </a:extLst>
          </p:cNvPr>
          <p:cNvSpPr txBox="1"/>
          <p:nvPr/>
        </p:nvSpPr>
        <p:spPr>
          <a:xfrm>
            <a:off x="958595" y="5429853"/>
            <a:ext cx="1383691" cy="5078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pt-BR" sz="1100"/>
              <a:t>Cras vestibulum diam id risus convallis maximus.</a:t>
            </a:r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4761379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209">
            <a:extLst>
              <a:ext uri="{FF2B5EF4-FFF2-40B4-BE49-F238E27FC236}">
                <a16:creationId xmlns:a16="http://schemas.microsoft.com/office/drawing/2014/main" id="{59C5ADBE-0F12-89E3-3524-5143280E0F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4619490"/>
              </p:ext>
            </p:extLst>
          </p:nvPr>
        </p:nvGraphicFramePr>
        <p:xfrm>
          <a:off x="9312057" y="3912197"/>
          <a:ext cx="2035402" cy="20354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Chart 210">
            <a:extLst>
              <a:ext uri="{FF2B5EF4-FFF2-40B4-BE49-F238E27FC236}">
                <a16:creationId xmlns:a16="http://schemas.microsoft.com/office/drawing/2014/main" id="{31D042D6-85C3-DD91-9CFA-6A01D940B8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7996853"/>
              </p:ext>
            </p:extLst>
          </p:nvPr>
        </p:nvGraphicFramePr>
        <p:xfrm>
          <a:off x="1053798" y="3878389"/>
          <a:ext cx="2035401" cy="20354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Oval 4">
            <a:extLst>
              <a:ext uri="{FF2B5EF4-FFF2-40B4-BE49-F238E27FC236}">
                <a16:creationId xmlns:a16="http://schemas.microsoft.com/office/drawing/2014/main" id="{0284C8CB-42D0-C03C-98D7-426757E0F348}"/>
              </a:ext>
            </a:extLst>
          </p:cNvPr>
          <p:cNvSpPr/>
          <p:nvPr/>
        </p:nvSpPr>
        <p:spPr>
          <a:xfrm>
            <a:off x="6202020" y="1217582"/>
            <a:ext cx="872095" cy="1679000"/>
          </a:xfrm>
          <a:custGeom>
            <a:avLst/>
            <a:gdLst/>
            <a:ahLst/>
            <a:cxnLst/>
            <a:rect l="l" t="t" r="r" b="b"/>
            <a:pathLst>
              <a:path w="2384740" h="4591218">
                <a:moveTo>
                  <a:pt x="1192370" y="0"/>
                </a:moveTo>
                <a:lnTo>
                  <a:pt x="1387511" y="148190"/>
                </a:lnTo>
                <a:cubicBezTo>
                  <a:pt x="1996544" y="658614"/>
                  <a:pt x="2384740" y="1431074"/>
                  <a:pt x="2384740" y="2295609"/>
                </a:cubicBezTo>
                <a:cubicBezTo>
                  <a:pt x="2384740" y="3160145"/>
                  <a:pt x="1996544" y="3932604"/>
                  <a:pt x="1387511" y="4443029"/>
                </a:cubicBezTo>
                <a:lnTo>
                  <a:pt x="1192370" y="4591218"/>
                </a:lnTo>
                <a:lnTo>
                  <a:pt x="997230" y="4443029"/>
                </a:lnTo>
                <a:cubicBezTo>
                  <a:pt x="388197" y="3932604"/>
                  <a:pt x="0" y="3160145"/>
                  <a:pt x="0" y="2295609"/>
                </a:cubicBezTo>
                <a:cubicBezTo>
                  <a:pt x="0" y="1431074"/>
                  <a:pt x="388197" y="658614"/>
                  <a:pt x="997230" y="14819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11">
            <a:extLst>
              <a:ext uri="{FF2B5EF4-FFF2-40B4-BE49-F238E27FC236}">
                <a16:creationId xmlns:a16="http://schemas.microsoft.com/office/drawing/2014/main" id="{6644A6E3-925C-51E6-AAFF-B1310FCB94A1}"/>
              </a:ext>
            </a:extLst>
          </p:cNvPr>
          <p:cNvSpPr/>
          <p:nvPr/>
        </p:nvSpPr>
        <p:spPr>
          <a:xfrm>
            <a:off x="4978511" y="1039381"/>
            <a:ext cx="1568228" cy="2035402"/>
          </a:xfrm>
          <a:custGeom>
            <a:avLst/>
            <a:gdLst/>
            <a:ahLst/>
            <a:cxnLst/>
            <a:rect l="l" t="t" r="r" b="b"/>
            <a:pathLst>
              <a:path w="4288312" h="5565796">
                <a:moveTo>
                  <a:pt x="2740341" y="0"/>
                </a:moveTo>
                <a:cubicBezTo>
                  <a:pt x="3307885" y="0"/>
                  <a:pt x="3835131" y="175211"/>
                  <a:pt x="4272492" y="475275"/>
                </a:cubicBezTo>
                <a:lnTo>
                  <a:pt x="4288312" y="487289"/>
                </a:lnTo>
                <a:lnTo>
                  <a:pt x="4093172" y="635479"/>
                </a:lnTo>
                <a:cubicBezTo>
                  <a:pt x="3484139" y="1145903"/>
                  <a:pt x="3095942" y="1918363"/>
                  <a:pt x="3095942" y="2782898"/>
                </a:cubicBezTo>
                <a:cubicBezTo>
                  <a:pt x="3095942" y="3647434"/>
                  <a:pt x="3484139" y="4419893"/>
                  <a:pt x="4093172" y="4930318"/>
                </a:cubicBezTo>
                <a:lnTo>
                  <a:pt x="4288312" y="5078507"/>
                </a:lnTo>
                <a:lnTo>
                  <a:pt x="4272492" y="5090521"/>
                </a:lnTo>
                <a:cubicBezTo>
                  <a:pt x="3835131" y="5390585"/>
                  <a:pt x="3307885" y="5565796"/>
                  <a:pt x="2740341" y="5565796"/>
                </a:cubicBezTo>
                <a:cubicBezTo>
                  <a:pt x="1226892" y="5565796"/>
                  <a:pt x="0" y="4319850"/>
                  <a:pt x="0" y="2782898"/>
                </a:cubicBezTo>
                <a:cubicBezTo>
                  <a:pt x="0" y="1245946"/>
                  <a:pt x="1226892" y="0"/>
                  <a:pt x="2740341" y="0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14">
            <a:extLst>
              <a:ext uri="{FF2B5EF4-FFF2-40B4-BE49-F238E27FC236}">
                <a16:creationId xmlns:a16="http://schemas.microsoft.com/office/drawing/2014/main" id="{660287D6-36D5-141A-C049-4A2BBB3F2A7F}"/>
              </a:ext>
            </a:extLst>
          </p:cNvPr>
          <p:cNvSpPr/>
          <p:nvPr/>
        </p:nvSpPr>
        <p:spPr>
          <a:xfrm>
            <a:off x="6746700" y="1039381"/>
            <a:ext cx="1568228" cy="2035402"/>
          </a:xfrm>
          <a:custGeom>
            <a:avLst/>
            <a:gdLst/>
            <a:ahLst/>
            <a:cxnLst/>
            <a:rect l="l" t="t" r="r" b="b"/>
            <a:pathLst>
              <a:path w="4288312" h="5565796">
                <a:moveTo>
                  <a:pt x="1547971" y="0"/>
                </a:moveTo>
                <a:cubicBezTo>
                  <a:pt x="3061420" y="0"/>
                  <a:pt x="4288312" y="1245946"/>
                  <a:pt x="4288312" y="2782898"/>
                </a:cubicBezTo>
                <a:cubicBezTo>
                  <a:pt x="4288312" y="4319850"/>
                  <a:pt x="3061420" y="5565796"/>
                  <a:pt x="1547971" y="5565796"/>
                </a:cubicBezTo>
                <a:cubicBezTo>
                  <a:pt x="980428" y="5565796"/>
                  <a:pt x="453182" y="5390585"/>
                  <a:pt x="15820" y="5090521"/>
                </a:cubicBezTo>
                <a:lnTo>
                  <a:pt x="0" y="5078507"/>
                </a:lnTo>
                <a:lnTo>
                  <a:pt x="195141" y="4930318"/>
                </a:lnTo>
                <a:cubicBezTo>
                  <a:pt x="804174" y="4419893"/>
                  <a:pt x="1192370" y="3647434"/>
                  <a:pt x="1192370" y="2782898"/>
                </a:cubicBezTo>
                <a:cubicBezTo>
                  <a:pt x="1192370" y="1918363"/>
                  <a:pt x="804174" y="1145903"/>
                  <a:pt x="195141" y="635479"/>
                </a:cubicBezTo>
                <a:lnTo>
                  <a:pt x="0" y="487289"/>
                </a:lnTo>
                <a:lnTo>
                  <a:pt x="15820" y="475275"/>
                </a:lnTo>
                <a:cubicBezTo>
                  <a:pt x="453182" y="175211"/>
                  <a:pt x="980428" y="0"/>
                  <a:pt x="1547971" y="0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AutoShape 1">
            <a:extLst>
              <a:ext uri="{FF2B5EF4-FFF2-40B4-BE49-F238E27FC236}">
                <a16:creationId xmlns:a16="http://schemas.microsoft.com/office/drawing/2014/main" id="{6506362E-4898-B793-9A16-82825DDB12B7}"/>
              </a:ext>
            </a:extLst>
          </p:cNvPr>
          <p:cNvSpPr>
            <a:spLocks/>
          </p:cNvSpPr>
          <p:nvPr/>
        </p:nvSpPr>
        <p:spPr bwMode="auto">
          <a:xfrm>
            <a:off x="6472850" y="4050295"/>
            <a:ext cx="1840600" cy="18406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lnTo>
                  <a:pt x="10800" y="10800"/>
                </a:lnTo>
                <a:lnTo>
                  <a:pt x="10800" y="21600"/>
                </a:ln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close/>
                <a:moveTo>
                  <a:pt x="1080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" name="AutoShape 2">
            <a:extLst>
              <a:ext uri="{FF2B5EF4-FFF2-40B4-BE49-F238E27FC236}">
                <a16:creationId xmlns:a16="http://schemas.microsoft.com/office/drawing/2014/main" id="{726A5417-1C2D-47B5-B11C-A79875A296BD}"/>
              </a:ext>
            </a:extLst>
          </p:cNvPr>
          <p:cNvSpPr>
            <a:spLocks/>
          </p:cNvSpPr>
          <p:nvPr/>
        </p:nvSpPr>
        <p:spPr bwMode="auto">
          <a:xfrm>
            <a:off x="5254996" y="4050295"/>
            <a:ext cx="920300" cy="18406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0"/>
                </a:moveTo>
                <a:lnTo>
                  <a:pt x="0" y="21600"/>
                </a:lnTo>
                <a:cubicBezTo>
                  <a:pt x="11929" y="21600"/>
                  <a:pt x="21600" y="16765"/>
                  <a:pt x="21600" y="10800"/>
                </a:cubicBezTo>
                <a:cubicBezTo>
                  <a:pt x="21600" y="4835"/>
                  <a:pt x="11929" y="0"/>
                  <a:pt x="0" y="0"/>
                </a:cubicBezTo>
                <a:close/>
                <a:moveTo>
                  <a:pt x="0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" name="AutoShape 3">
            <a:extLst>
              <a:ext uri="{FF2B5EF4-FFF2-40B4-BE49-F238E27FC236}">
                <a16:creationId xmlns:a16="http://schemas.microsoft.com/office/drawing/2014/main" id="{265A34B7-9EC8-8E03-B865-619B74E6C8A7}"/>
              </a:ext>
            </a:extLst>
          </p:cNvPr>
          <p:cNvSpPr>
            <a:spLocks/>
          </p:cNvSpPr>
          <p:nvPr/>
        </p:nvSpPr>
        <p:spPr bwMode="auto">
          <a:xfrm>
            <a:off x="4185920" y="4050295"/>
            <a:ext cx="920300" cy="920300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0" y="21600"/>
                </a:moveTo>
                <a:cubicBezTo>
                  <a:pt x="0" y="9671"/>
                  <a:pt x="9671" y="0"/>
                  <a:pt x="21600" y="0"/>
                </a:cubicBezTo>
                <a:lnTo>
                  <a:pt x="21600" y="21600"/>
                </a:lnTo>
                <a:cubicBezTo>
                  <a:pt x="21600" y="21600"/>
                  <a:pt x="0" y="21600"/>
                  <a:pt x="0" y="21600"/>
                </a:cubicBezTo>
                <a:close/>
                <a:moveTo>
                  <a:pt x="0" y="2160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A92A7A0-CC08-CA84-35FE-C8E91F2E2AFB}"/>
              </a:ext>
            </a:extLst>
          </p:cNvPr>
          <p:cNvGrpSpPr/>
          <p:nvPr/>
        </p:nvGrpSpPr>
        <p:grpSpPr>
          <a:xfrm>
            <a:off x="9180995" y="1077756"/>
            <a:ext cx="1903378" cy="1903378"/>
            <a:chOff x="5129957" y="2914650"/>
            <a:chExt cx="2736850" cy="2736850"/>
          </a:xfrm>
        </p:grpSpPr>
        <p:sp>
          <p:nvSpPr>
            <p:cNvPr id="13" name="AutoShape 1">
              <a:extLst>
                <a:ext uri="{FF2B5EF4-FFF2-40B4-BE49-F238E27FC236}">
                  <a16:creationId xmlns:a16="http://schemas.microsoft.com/office/drawing/2014/main" id="{F4E30418-5CF6-8F1E-8280-C28F15DA6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6270" y="2965450"/>
              <a:ext cx="1760537" cy="2686050"/>
            </a:xfrm>
            <a:custGeom>
              <a:avLst/>
              <a:gdLst/>
              <a:ahLst/>
              <a:cxnLst/>
              <a:rect l="0" t="0" r="r" b="b"/>
              <a:pathLst>
                <a:path w="19067" h="20401">
                  <a:moveTo>
                    <a:pt x="8406" y="0"/>
                  </a:moveTo>
                  <a:cubicBezTo>
                    <a:pt x="8406" y="0"/>
                    <a:pt x="-822" y="3521"/>
                    <a:pt x="4203" y="9987"/>
                  </a:cubicBezTo>
                  <a:cubicBezTo>
                    <a:pt x="11353" y="19187"/>
                    <a:pt x="0" y="19974"/>
                    <a:pt x="0" y="19974"/>
                  </a:cubicBezTo>
                  <a:cubicBezTo>
                    <a:pt x="7872" y="21600"/>
                    <a:pt x="16135" y="18447"/>
                    <a:pt x="18457" y="12932"/>
                  </a:cubicBezTo>
                  <a:cubicBezTo>
                    <a:pt x="20778" y="7416"/>
                    <a:pt x="16278" y="1626"/>
                    <a:pt x="8406" y="0"/>
                  </a:cubicBezTo>
                  <a:close/>
                  <a:moveTo>
                    <a:pt x="8406" y="0"/>
                  </a:move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14" name="AutoShape 2">
              <a:extLst>
                <a:ext uri="{FF2B5EF4-FFF2-40B4-BE49-F238E27FC236}">
                  <a16:creationId xmlns:a16="http://schemas.microsoft.com/office/drawing/2014/main" id="{0D9B81C2-9803-CAFF-220E-B478564E33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9957" y="2914650"/>
              <a:ext cx="1758950" cy="2686050"/>
            </a:xfrm>
            <a:custGeom>
              <a:avLst/>
              <a:gdLst/>
              <a:ahLst/>
              <a:cxnLst/>
              <a:rect l="0" t="0" r="r" b="b"/>
              <a:pathLst>
                <a:path w="17360" h="20401">
                  <a:moveTo>
                    <a:pt x="13533" y="10414"/>
                  </a:moveTo>
                  <a:cubicBezTo>
                    <a:pt x="8958" y="3948"/>
                    <a:pt x="17360" y="427"/>
                    <a:pt x="17360" y="427"/>
                  </a:cubicBezTo>
                  <a:cubicBezTo>
                    <a:pt x="10193" y="-1199"/>
                    <a:pt x="2670" y="1954"/>
                    <a:pt x="556" y="7469"/>
                  </a:cubicBezTo>
                  <a:cubicBezTo>
                    <a:pt x="-1557" y="12985"/>
                    <a:pt x="2540" y="18775"/>
                    <a:pt x="9707" y="20401"/>
                  </a:cubicBezTo>
                  <a:cubicBezTo>
                    <a:pt x="9707" y="20401"/>
                    <a:pt x="20043" y="19614"/>
                    <a:pt x="13533" y="10414"/>
                  </a:cubicBezTo>
                  <a:close/>
                  <a:moveTo>
                    <a:pt x="13533" y="10414"/>
                  </a:move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7FC6667A-6A78-00B9-85EC-347CC1E5DA98}"/>
              </a:ext>
            </a:extLst>
          </p:cNvPr>
          <p:cNvSpPr/>
          <p:nvPr/>
        </p:nvSpPr>
        <p:spPr>
          <a:xfrm>
            <a:off x="0" y="0"/>
            <a:ext cx="4991100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Circle Chart &amp; Segments</a:t>
            </a:r>
            <a:endParaRPr lang="en-CA" dirty="0">
              <a:solidFill>
                <a:schemeClr val="tx1"/>
              </a:solidFill>
            </a:endParaRPr>
          </a:p>
        </p:txBody>
      </p:sp>
      <p:graphicFrame>
        <p:nvGraphicFramePr>
          <p:cNvPr id="16" name="Chart 211">
            <a:extLst>
              <a:ext uri="{FF2B5EF4-FFF2-40B4-BE49-F238E27FC236}">
                <a16:creationId xmlns:a16="http://schemas.microsoft.com/office/drawing/2014/main" id="{7754282F-6E1A-6F17-8783-B7708DAEBA5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04192653"/>
              </p:ext>
            </p:extLst>
          </p:nvPr>
        </p:nvGraphicFramePr>
        <p:xfrm>
          <a:off x="967609" y="1039382"/>
          <a:ext cx="2035402" cy="20354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39068320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8"/>
          <p:cNvSpPr>
            <a:spLocks/>
          </p:cNvSpPr>
          <p:nvPr/>
        </p:nvSpPr>
        <p:spPr bwMode="auto">
          <a:xfrm>
            <a:off x="7411491" y="2745108"/>
            <a:ext cx="1933612" cy="1937548"/>
          </a:xfrm>
          <a:custGeom>
            <a:avLst/>
            <a:gdLst>
              <a:gd name="T0" fmla="*/ 421 w 478"/>
              <a:gd name="T1" fmla="*/ 344 h 478"/>
              <a:gd name="T2" fmla="*/ 135 w 478"/>
              <a:gd name="T3" fmla="*/ 420 h 478"/>
              <a:gd name="T4" fmla="*/ 58 w 478"/>
              <a:gd name="T5" fmla="*/ 134 h 478"/>
              <a:gd name="T6" fmla="*/ 344 w 478"/>
              <a:gd name="T7" fmla="*/ 58 h 478"/>
              <a:gd name="T8" fmla="*/ 421 w 478"/>
              <a:gd name="T9" fmla="*/ 344 h 4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8" h="478">
                <a:moveTo>
                  <a:pt x="421" y="344"/>
                </a:moveTo>
                <a:cubicBezTo>
                  <a:pt x="363" y="444"/>
                  <a:pt x="235" y="478"/>
                  <a:pt x="135" y="420"/>
                </a:cubicBezTo>
                <a:cubicBezTo>
                  <a:pt x="35" y="362"/>
                  <a:pt x="0" y="234"/>
                  <a:pt x="58" y="134"/>
                </a:cubicBezTo>
                <a:cubicBezTo>
                  <a:pt x="116" y="34"/>
                  <a:pt x="244" y="0"/>
                  <a:pt x="344" y="58"/>
                </a:cubicBezTo>
                <a:cubicBezTo>
                  <a:pt x="444" y="116"/>
                  <a:pt x="478" y="244"/>
                  <a:pt x="421" y="34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7"/>
          <p:cNvSpPr>
            <a:spLocks/>
          </p:cNvSpPr>
          <p:nvPr/>
        </p:nvSpPr>
        <p:spPr bwMode="auto">
          <a:xfrm>
            <a:off x="5085378" y="1310719"/>
            <a:ext cx="2341258" cy="2344433"/>
          </a:xfrm>
          <a:custGeom>
            <a:avLst/>
            <a:gdLst>
              <a:gd name="T0" fmla="*/ 420 w 478"/>
              <a:gd name="T1" fmla="*/ 344 h 478"/>
              <a:gd name="T2" fmla="*/ 135 w 478"/>
              <a:gd name="T3" fmla="*/ 421 h 478"/>
              <a:gd name="T4" fmla="*/ 58 w 478"/>
              <a:gd name="T5" fmla="*/ 135 h 478"/>
              <a:gd name="T6" fmla="*/ 344 w 478"/>
              <a:gd name="T7" fmla="*/ 58 h 478"/>
              <a:gd name="T8" fmla="*/ 420 w 478"/>
              <a:gd name="T9" fmla="*/ 344 h 4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8" h="478">
                <a:moveTo>
                  <a:pt x="420" y="344"/>
                </a:moveTo>
                <a:cubicBezTo>
                  <a:pt x="363" y="444"/>
                  <a:pt x="235" y="478"/>
                  <a:pt x="135" y="421"/>
                </a:cubicBezTo>
                <a:cubicBezTo>
                  <a:pt x="34" y="363"/>
                  <a:pt x="0" y="235"/>
                  <a:pt x="58" y="135"/>
                </a:cubicBezTo>
                <a:cubicBezTo>
                  <a:pt x="116" y="35"/>
                  <a:pt x="244" y="0"/>
                  <a:pt x="344" y="58"/>
                </a:cubicBezTo>
                <a:cubicBezTo>
                  <a:pt x="444" y="116"/>
                  <a:pt x="478" y="244"/>
                  <a:pt x="420" y="344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5"/>
          <p:cNvSpPr>
            <a:spLocks/>
          </p:cNvSpPr>
          <p:nvPr/>
        </p:nvSpPr>
        <p:spPr bwMode="auto">
          <a:xfrm>
            <a:off x="2718216" y="2295500"/>
            <a:ext cx="2831002" cy="2836764"/>
          </a:xfrm>
          <a:custGeom>
            <a:avLst/>
            <a:gdLst>
              <a:gd name="T0" fmla="*/ 420 w 478"/>
              <a:gd name="T1" fmla="*/ 344 h 478"/>
              <a:gd name="T2" fmla="*/ 134 w 478"/>
              <a:gd name="T3" fmla="*/ 420 h 478"/>
              <a:gd name="T4" fmla="*/ 58 w 478"/>
              <a:gd name="T5" fmla="*/ 134 h 478"/>
              <a:gd name="T6" fmla="*/ 343 w 478"/>
              <a:gd name="T7" fmla="*/ 58 h 478"/>
              <a:gd name="T8" fmla="*/ 420 w 478"/>
              <a:gd name="T9" fmla="*/ 344 h 4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8" h="478">
                <a:moveTo>
                  <a:pt x="420" y="344"/>
                </a:moveTo>
                <a:cubicBezTo>
                  <a:pt x="362" y="444"/>
                  <a:pt x="234" y="478"/>
                  <a:pt x="134" y="420"/>
                </a:cubicBezTo>
                <a:cubicBezTo>
                  <a:pt x="34" y="362"/>
                  <a:pt x="0" y="234"/>
                  <a:pt x="58" y="134"/>
                </a:cubicBezTo>
                <a:cubicBezTo>
                  <a:pt x="115" y="34"/>
                  <a:pt x="243" y="0"/>
                  <a:pt x="343" y="58"/>
                </a:cubicBezTo>
                <a:cubicBezTo>
                  <a:pt x="444" y="115"/>
                  <a:pt x="478" y="243"/>
                  <a:pt x="420" y="34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Freeform 6"/>
          <p:cNvSpPr>
            <a:spLocks/>
          </p:cNvSpPr>
          <p:nvPr/>
        </p:nvSpPr>
        <p:spPr bwMode="auto">
          <a:xfrm>
            <a:off x="5191798" y="3877582"/>
            <a:ext cx="2128417" cy="2132745"/>
          </a:xfrm>
          <a:custGeom>
            <a:avLst/>
            <a:gdLst>
              <a:gd name="T0" fmla="*/ 420 w 478"/>
              <a:gd name="T1" fmla="*/ 343 h 478"/>
              <a:gd name="T2" fmla="*/ 134 w 478"/>
              <a:gd name="T3" fmla="*/ 420 h 478"/>
              <a:gd name="T4" fmla="*/ 58 w 478"/>
              <a:gd name="T5" fmla="*/ 134 h 478"/>
              <a:gd name="T6" fmla="*/ 344 w 478"/>
              <a:gd name="T7" fmla="*/ 57 h 478"/>
              <a:gd name="T8" fmla="*/ 420 w 478"/>
              <a:gd name="T9" fmla="*/ 343 h 4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8" h="478">
                <a:moveTo>
                  <a:pt x="420" y="343"/>
                </a:moveTo>
                <a:cubicBezTo>
                  <a:pt x="362" y="443"/>
                  <a:pt x="234" y="478"/>
                  <a:pt x="134" y="420"/>
                </a:cubicBezTo>
                <a:cubicBezTo>
                  <a:pt x="34" y="362"/>
                  <a:pt x="0" y="234"/>
                  <a:pt x="58" y="134"/>
                </a:cubicBezTo>
                <a:cubicBezTo>
                  <a:pt x="116" y="34"/>
                  <a:pt x="244" y="0"/>
                  <a:pt x="344" y="57"/>
                </a:cubicBezTo>
                <a:cubicBezTo>
                  <a:pt x="444" y="115"/>
                  <a:pt x="478" y="243"/>
                  <a:pt x="420" y="343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3" name="Group 12"/>
          <p:cNvGrpSpPr/>
          <p:nvPr/>
        </p:nvGrpSpPr>
        <p:grpSpPr>
          <a:xfrm>
            <a:off x="6112078" y="2575328"/>
            <a:ext cx="287856" cy="2365080"/>
            <a:chOff x="6112080" y="2575217"/>
            <a:chExt cx="287893" cy="2365388"/>
          </a:xfrm>
        </p:grpSpPr>
        <p:sp>
          <p:nvSpPr>
            <p:cNvPr id="19" name="Rectangle 18"/>
            <p:cNvSpPr/>
            <p:nvPr/>
          </p:nvSpPr>
          <p:spPr>
            <a:xfrm rot="16200000">
              <a:off x="5073333" y="3613964"/>
              <a:ext cx="2365388" cy="287893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7" name="Straight Arrow Connector 26"/>
            <p:cNvCxnSpPr/>
            <p:nvPr/>
          </p:nvCxnSpPr>
          <p:spPr>
            <a:xfrm flipH="1">
              <a:off x="6243406" y="3022936"/>
              <a:ext cx="2434" cy="1376864"/>
            </a:xfrm>
            <a:prstGeom prst="straightConnector1">
              <a:avLst/>
            </a:prstGeom>
            <a:ln>
              <a:solidFill>
                <a:schemeClr val="bg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/>
          <p:cNvGrpSpPr/>
          <p:nvPr/>
        </p:nvGrpSpPr>
        <p:grpSpPr>
          <a:xfrm>
            <a:off x="4045062" y="2767695"/>
            <a:ext cx="2365080" cy="647616"/>
            <a:chOff x="4044795" y="2767609"/>
            <a:chExt cx="2365388" cy="647700"/>
          </a:xfrm>
        </p:grpSpPr>
        <p:sp>
          <p:nvSpPr>
            <p:cNvPr id="18" name="Rectangle 17"/>
            <p:cNvSpPr/>
            <p:nvPr/>
          </p:nvSpPr>
          <p:spPr>
            <a:xfrm rot="19783966">
              <a:off x="4044795" y="2932040"/>
              <a:ext cx="2365388" cy="287893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3" name="Straight Arrow Connector 22"/>
            <p:cNvCxnSpPr/>
            <p:nvPr/>
          </p:nvCxnSpPr>
          <p:spPr>
            <a:xfrm flipV="1">
              <a:off x="4633205" y="2767609"/>
              <a:ext cx="1109174" cy="647700"/>
            </a:xfrm>
            <a:prstGeom prst="straightConnector1">
              <a:avLst/>
            </a:prstGeom>
            <a:ln>
              <a:solidFill>
                <a:schemeClr val="bg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/>
          <p:cNvGrpSpPr/>
          <p:nvPr/>
        </p:nvGrpSpPr>
        <p:grpSpPr>
          <a:xfrm>
            <a:off x="6140424" y="3988360"/>
            <a:ext cx="2365080" cy="665040"/>
            <a:chOff x="6140430" y="3988432"/>
            <a:chExt cx="2365388" cy="665127"/>
          </a:xfrm>
        </p:grpSpPr>
        <p:sp>
          <p:nvSpPr>
            <p:cNvPr id="20" name="Rectangle 19"/>
            <p:cNvSpPr/>
            <p:nvPr/>
          </p:nvSpPr>
          <p:spPr>
            <a:xfrm rot="19714171">
              <a:off x="6140430" y="4187043"/>
              <a:ext cx="2365388" cy="287893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4" name="Straight Arrow Connector 23"/>
            <p:cNvCxnSpPr/>
            <p:nvPr/>
          </p:nvCxnSpPr>
          <p:spPr>
            <a:xfrm flipH="1">
              <a:off x="6769675" y="3988432"/>
              <a:ext cx="1084292" cy="665127"/>
            </a:xfrm>
            <a:prstGeom prst="straightConnector1">
              <a:avLst/>
            </a:prstGeom>
            <a:ln>
              <a:solidFill>
                <a:schemeClr val="bg1"/>
              </a:solidFill>
              <a:prstDash val="dash"/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/>
        </p:nvGrpSpPr>
        <p:grpSpPr>
          <a:xfrm>
            <a:off x="4179429" y="3597967"/>
            <a:ext cx="4084887" cy="287856"/>
            <a:chOff x="4179179" y="3597989"/>
            <a:chExt cx="4085419" cy="287893"/>
          </a:xfrm>
        </p:grpSpPr>
        <p:sp>
          <p:nvSpPr>
            <p:cNvPr id="21" name="Rectangle 20"/>
            <p:cNvSpPr/>
            <p:nvPr/>
          </p:nvSpPr>
          <p:spPr>
            <a:xfrm>
              <a:off x="4179179" y="3597989"/>
              <a:ext cx="4085419" cy="287893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0" name="Straight Arrow Connector 29"/>
            <p:cNvCxnSpPr/>
            <p:nvPr/>
          </p:nvCxnSpPr>
          <p:spPr>
            <a:xfrm flipH="1" flipV="1">
              <a:off x="4714304" y="3738152"/>
              <a:ext cx="3105057" cy="3783"/>
            </a:xfrm>
            <a:prstGeom prst="straightConnector1">
              <a:avLst/>
            </a:prstGeom>
            <a:ln>
              <a:solidFill>
                <a:schemeClr val="bg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Oval 13"/>
          <p:cNvSpPr/>
          <p:nvPr/>
        </p:nvSpPr>
        <p:spPr>
          <a:xfrm>
            <a:off x="3679750" y="3259916"/>
            <a:ext cx="907932" cy="907932"/>
          </a:xfrm>
          <a:prstGeom prst="ellipse">
            <a:avLst/>
          </a:prstGeom>
          <a:solidFill>
            <a:srgbClr val="FBFBFB"/>
          </a:solidFill>
          <a:ln>
            <a:noFill/>
          </a:ln>
          <a:effectLst>
            <a:outerShdw blurRad="266700" dist="190500" dir="2700000" sx="94000" sy="94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/>
          <p:cNvSpPr txBox="1"/>
          <p:nvPr/>
        </p:nvSpPr>
        <p:spPr>
          <a:xfrm>
            <a:off x="3855435" y="3417936"/>
            <a:ext cx="556563" cy="5918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dirty="0">
                <a:solidFill>
                  <a:srgbClr val="262626"/>
                </a:solidFill>
              </a:rPr>
              <a:t>01</a:t>
            </a:r>
            <a:endParaRPr lang="en-US" sz="1600" b="1" dirty="0">
              <a:solidFill>
                <a:srgbClr val="262626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rgbClr val="262626"/>
                </a:solidFill>
              </a:rPr>
              <a:t>Step</a:t>
            </a:r>
            <a:endParaRPr lang="en-US" sz="1600" dirty="0">
              <a:solidFill>
                <a:srgbClr val="262626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5802039" y="2028968"/>
            <a:ext cx="907932" cy="907932"/>
          </a:xfrm>
          <a:prstGeom prst="ellipse">
            <a:avLst/>
          </a:prstGeom>
          <a:solidFill>
            <a:srgbClr val="FBFBFB"/>
          </a:solidFill>
          <a:ln>
            <a:noFill/>
          </a:ln>
          <a:effectLst>
            <a:outerShdw blurRad="266700" dist="190500" dir="2700000" sx="94000" sy="94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/>
          <p:cNvSpPr txBox="1"/>
          <p:nvPr/>
        </p:nvSpPr>
        <p:spPr>
          <a:xfrm>
            <a:off x="5949672" y="2186988"/>
            <a:ext cx="612667" cy="5918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dirty="0">
                <a:solidFill>
                  <a:srgbClr val="262626"/>
                </a:solidFill>
              </a:rPr>
              <a:t>02</a:t>
            </a:r>
            <a:endParaRPr lang="en-US" sz="1600" b="1" dirty="0">
              <a:solidFill>
                <a:srgbClr val="262626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rgbClr val="262626"/>
                </a:solidFill>
              </a:rPr>
              <a:t>Step</a:t>
            </a:r>
            <a:endParaRPr lang="en-US" sz="1600" dirty="0">
              <a:solidFill>
                <a:srgbClr val="262626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5802039" y="4489115"/>
            <a:ext cx="907932" cy="907932"/>
          </a:xfrm>
          <a:prstGeom prst="ellipse">
            <a:avLst/>
          </a:prstGeom>
          <a:solidFill>
            <a:srgbClr val="FBFBFB"/>
          </a:solidFill>
          <a:ln>
            <a:noFill/>
          </a:ln>
          <a:effectLst>
            <a:outerShdw blurRad="266700" dist="190500" dir="2700000" sx="94000" sy="94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Box 37"/>
          <p:cNvSpPr txBox="1"/>
          <p:nvPr/>
        </p:nvSpPr>
        <p:spPr>
          <a:xfrm>
            <a:off x="5949672" y="4647135"/>
            <a:ext cx="612667" cy="5918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dirty="0">
                <a:solidFill>
                  <a:srgbClr val="262626"/>
                </a:solidFill>
              </a:rPr>
              <a:t>03</a:t>
            </a:r>
            <a:endParaRPr lang="en-US" sz="1600" b="1" dirty="0">
              <a:solidFill>
                <a:srgbClr val="262626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rgbClr val="262626"/>
                </a:solidFill>
              </a:rPr>
              <a:t>Step</a:t>
            </a:r>
            <a:endParaRPr lang="en-US" sz="1600" dirty="0">
              <a:solidFill>
                <a:srgbClr val="262626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7924331" y="3259916"/>
            <a:ext cx="907932" cy="907932"/>
          </a:xfrm>
          <a:prstGeom prst="ellipse">
            <a:avLst/>
          </a:prstGeom>
          <a:solidFill>
            <a:srgbClr val="FBFBFB"/>
          </a:solidFill>
          <a:ln>
            <a:noFill/>
          </a:ln>
          <a:effectLst>
            <a:outerShdw blurRad="266700" dist="190500" dir="2700000" sx="94000" sy="94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Box 38"/>
          <p:cNvSpPr txBox="1"/>
          <p:nvPr/>
        </p:nvSpPr>
        <p:spPr>
          <a:xfrm>
            <a:off x="8065552" y="3417936"/>
            <a:ext cx="625491" cy="5918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dirty="0">
                <a:solidFill>
                  <a:srgbClr val="262626"/>
                </a:solidFill>
              </a:rPr>
              <a:t>04</a:t>
            </a:r>
            <a:endParaRPr lang="en-US" sz="1600" b="1" dirty="0">
              <a:solidFill>
                <a:srgbClr val="262626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rgbClr val="262626"/>
                </a:solidFill>
              </a:rPr>
              <a:t>Step</a:t>
            </a:r>
            <a:endParaRPr lang="en-US" sz="1600" dirty="0">
              <a:solidFill>
                <a:srgbClr val="262626"/>
              </a:solidFill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1832890" y="4874062"/>
            <a:ext cx="2420852" cy="5080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89000"/>
              </a:lnSpc>
            </a:pPr>
            <a:r>
              <a:rPr lang="en-US" sz="1600" b="1" dirty="0"/>
              <a:t>Key Point</a:t>
            </a:r>
            <a:endParaRPr lang="en-US" sz="1050" b="1" dirty="0"/>
          </a:p>
          <a:p>
            <a:pPr>
              <a:lnSpc>
                <a:spcPct val="89000"/>
              </a:lnSpc>
            </a:pPr>
            <a:r>
              <a:rPr lang="en-US" sz="1000" dirty="0"/>
              <a:t>Lorem ipsum dolor sit </a:t>
            </a:r>
            <a:r>
              <a:rPr lang="en-US" sz="1000" dirty="0" err="1"/>
              <a:t>amet</a:t>
            </a:r>
            <a:r>
              <a:rPr lang="en-US" sz="1000" dirty="0"/>
              <a:t>, </a:t>
            </a:r>
            <a:r>
              <a:rPr lang="en-US" sz="1000" dirty="0" err="1"/>
              <a:t>consectetur</a:t>
            </a:r>
            <a:r>
              <a:rPr lang="en-US" sz="1000" dirty="0"/>
              <a:t> </a:t>
            </a:r>
            <a:r>
              <a:rPr lang="en-US" sz="1000" dirty="0" err="1"/>
              <a:t>adipiscing</a:t>
            </a:r>
            <a:r>
              <a:rPr lang="en-US" sz="1000" dirty="0"/>
              <a:t> </a:t>
            </a:r>
            <a:r>
              <a:rPr lang="en-US" sz="1000" dirty="0" err="1"/>
              <a:t>elit</a:t>
            </a:r>
            <a:endParaRPr lang="en-US" sz="1000" dirty="0"/>
          </a:p>
        </p:txBody>
      </p:sp>
      <p:sp>
        <p:nvSpPr>
          <p:cNvPr id="46" name="Rectangle 45"/>
          <p:cNvSpPr/>
          <p:nvPr/>
        </p:nvSpPr>
        <p:spPr>
          <a:xfrm>
            <a:off x="3499193" y="1306063"/>
            <a:ext cx="2420852" cy="5080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89000"/>
              </a:lnSpc>
            </a:pPr>
            <a:r>
              <a:rPr lang="en-US" sz="1600" b="1" dirty="0"/>
              <a:t>Key Point</a:t>
            </a:r>
            <a:endParaRPr lang="en-US" sz="1050" b="1" dirty="0"/>
          </a:p>
          <a:p>
            <a:pPr>
              <a:lnSpc>
                <a:spcPct val="89000"/>
              </a:lnSpc>
            </a:pPr>
            <a:r>
              <a:rPr lang="en-US" sz="1000" dirty="0"/>
              <a:t>Lorem ipsum dolor sit </a:t>
            </a:r>
            <a:r>
              <a:rPr lang="en-US" sz="1000" dirty="0" err="1"/>
              <a:t>amet</a:t>
            </a:r>
            <a:r>
              <a:rPr lang="en-US" sz="1000" dirty="0"/>
              <a:t>, </a:t>
            </a:r>
            <a:r>
              <a:rPr lang="en-US" sz="1000" dirty="0" err="1"/>
              <a:t>consectetur</a:t>
            </a:r>
            <a:r>
              <a:rPr lang="en-US" sz="1000" dirty="0"/>
              <a:t> </a:t>
            </a:r>
            <a:r>
              <a:rPr lang="en-US" sz="1000" dirty="0" err="1"/>
              <a:t>adipiscing</a:t>
            </a:r>
            <a:r>
              <a:rPr lang="en-US" sz="1000" dirty="0"/>
              <a:t> </a:t>
            </a:r>
            <a:r>
              <a:rPr lang="en-US" sz="1000" dirty="0" err="1"/>
              <a:t>elit</a:t>
            </a:r>
            <a:endParaRPr lang="en-US" sz="1000" dirty="0"/>
          </a:p>
        </p:txBody>
      </p:sp>
      <p:sp>
        <p:nvSpPr>
          <p:cNvPr id="47" name="Rectangle 46"/>
          <p:cNvSpPr/>
          <p:nvPr/>
        </p:nvSpPr>
        <p:spPr>
          <a:xfrm>
            <a:off x="9271762" y="2567796"/>
            <a:ext cx="2420852" cy="5080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89000"/>
              </a:lnSpc>
            </a:pPr>
            <a:r>
              <a:rPr lang="en-US" sz="1600" b="1" dirty="0"/>
              <a:t>Key Point</a:t>
            </a:r>
            <a:endParaRPr lang="en-US" sz="1050" b="1" dirty="0"/>
          </a:p>
          <a:p>
            <a:pPr>
              <a:lnSpc>
                <a:spcPct val="89000"/>
              </a:lnSpc>
            </a:pPr>
            <a:r>
              <a:rPr lang="en-US" sz="1000" dirty="0"/>
              <a:t>Lorem ipsum dolor sit </a:t>
            </a:r>
            <a:r>
              <a:rPr lang="en-US" sz="1000" dirty="0" err="1"/>
              <a:t>amet</a:t>
            </a:r>
            <a:r>
              <a:rPr lang="en-US" sz="1000" dirty="0"/>
              <a:t>, </a:t>
            </a:r>
            <a:r>
              <a:rPr lang="en-US" sz="1000" dirty="0" err="1"/>
              <a:t>consectetur</a:t>
            </a:r>
            <a:r>
              <a:rPr lang="en-US" sz="1000" dirty="0"/>
              <a:t> </a:t>
            </a:r>
            <a:r>
              <a:rPr lang="en-US" sz="1000" dirty="0" err="1"/>
              <a:t>adipiscing</a:t>
            </a:r>
            <a:r>
              <a:rPr lang="en-US" sz="1000" dirty="0"/>
              <a:t> </a:t>
            </a:r>
            <a:r>
              <a:rPr lang="en-US" sz="1000" dirty="0" err="1"/>
              <a:t>elit</a:t>
            </a:r>
            <a:endParaRPr lang="en-US" sz="1000" dirty="0"/>
          </a:p>
        </p:txBody>
      </p:sp>
      <p:sp>
        <p:nvSpPr>
          <p:cNvPr id="48" name="Rectangle 47"/>
          <p:cNvSpPr/>
          <p:nvPr/>
        </p:nvSpPr>
        <p:spPr>
          <a:xfrm>
            <a:off x="7366576" y="5319023"/>
            <a:ext cx="2420852" cy="5080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89000"/>
              </a:lnSpc>
            </a:pPr>
            <a:r>
              <a:rPr lang="en-US" sz="1600" b="1" dirty="0"/>
              <a:t>Key Point</a:t>
            </a:r>
            <a:endParaRPr lang="en-US" sz="1050" b="1" dirty="0"/>
          </a:p>
          <a:p>
            <a:pPr>
              <a:lnSpc>
                <a:spcPct val="89000"/>
              </a:lnSpc>
            </a:pPr>
            <a:r>
              <a:rPr lang="en-US" sz="1000" dirty="0"/>
              <a:t>Lorem ipsum dolor sit </a:t>
            </a:r>
            <a:r>
              <a:rPr lang="en-US" sz="1000" dirty="0" err="1"/>
              <a:t>amet</a:t>
            </a:r>
            <a:r>
              <a:rPr lang="en-US" sz="1000" dirty="0"/>
              <a:t>, </a:t>
            </a:r>
            <a:r>
              <a:rPr lang="en-US" sz="1000" dirty="0" err="1"/>
              <a:t>consectetur</a:t>
            </a:r>
            <a:r>
              <a:rPr lang="en-US" sz="1000" dirty="0"/>
              <a:t> </a:t>
            </a:r>
            <a:r>
              <a:rPr lang="en-US" sz="1000" dirty="0" err="1"/>
              <a:t>adipiscing</a:t>
            </a:r>
            <a:r>
              <a:rPr lang="en-US" sz="1000" dirty="0"/>
              <a:t> </a:t>
            </a:r>
            <a:r>
              <a:rPr lang="en-US" sz="1000" dirty="0" err="1"/>
              <a:t>elit</a:t>
            </a:r>
            <a:endParaRPr lang="en-US" sz="10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D7C771C-5536-C00F-FA00-763AFAFFCBD7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Oval Cycle Process</a:t>
            </a:r>
          </a:p>
        </p:txBody>
      </p:sp>
    </p:spTree>
    <p:extLst>
      <p:ext uri="{BB962C8B-B14F-4D97-AF65-F5344CB8AC3E}">
        <p14:creationId xmlns:p14="http://schemas.microsoft.com/office/powerpoint/2010/main" val="263740019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D53D4DCE-5DEE-4EAB-AF6B-4665FD8E17F9}"/>
              </a:ext>
            </a:extLst>
          </p:cNvPr>
          <p:cNvSpPr>
            <a:spLocks noEditPoints="1"/>
          </p:cNvSpPr>
          <p:nvPr/>
        </p:nvSpPr>
        <p:spPr bwMode="auto">
          <a:xfrm>
            <a:off x="4120112" y="1421568"/>
            <a:ext cx="3954951" cy="3957064"/>
          </a:xfrm>
          <a:custGeom>
            <a:avLst/>
            <a:gdLst>
              <a:gd name="T0" fmla="*/ 935 w 1870"/>
              <a:gd name="T1" fmla="*/ 1870 h 1870"/>
              <a:gd name="T2" fmla="*/ 274 w 1870"/>
              <a:gd name="T3" fmla="*/ 1596 h 1870"/>
              <a:gd name="T4" fmla="*/ 0 w 1870"/>
              <a:gd name="T5" fmla="*/ 935 h 1870"/>
              <a:gd name="T6" fmla="*/ 274 w 1870"/>
              <a:gd name="T7" fmla="*/ 274 h 1870"/>
              <a:gd name="T8" fmla="*/ 935 w 1870"/>
              <a:gd name="T9" fmla="*/ 0 h 1870"/>
              <a:gd name="T10" fmla="*/ 1596 w 1870"/>
              <a:gd name="T11" fmla="*/ 274 h 1870"/>
              <a:gd name="T12" fmla="*/ 1870 w 1870"/>
              <a:gd name="T13" fmla="*/ 935 h 1870"/>
              <a:gd name="T14" fmla="*/ 1596 w 1870"/>
              <a:gd name="T15" fmla="*/ 1596 h 1870"/>
              <a:gd name="T16" fmla="*/ 935 w 1870"/>
              <a:gd name="T17" fmla="*/ 1870 h 1870"/>
              <a:gd name="T18" fmla="*/ 935 w 1870"/>
              <a:gd name="T19" fmla="*/ 360 h 1870"/>
              <a:gd name="T20" fmla="*/ 360 w 1870"/>
              <a:gd name="T21" fmla="*/ 935 h 1870"/>
              <a:gd name="T22" fmla="*/ 935 w 1870"/>
              <a:gd name="T23" fmla="*/ 1510 h 1870"/>
              <a:gd name="T24" fmla="*/ 1510 w 1870"/>
              <a:gd name="T25" fmla="*/ 935 h 1870"/>
              <a:gd name="T26" fmla="*/ 935 w 1870"/>
              <a:gd name="T27" fmla="*/ 360 h 18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870" h="1870">
                <a:moveTo>
                  <a:pt x="935" y="1870"/>
                </a:moveTo>
                <a:cubicBezTo>
                  <a:pt x="685" y="1870"/>
                  <a:pt x="450" y="1773"/>
                  <a:pt x="274" y="1596"/>
                </a:cubicBezTo>
                <a:cubicBezTo>
                  <a:pt x="97" y="1420"/>
                  <a:pt x="0" y="1185"/>
                  <a:pt x="0" y="935"/>
                </a:cubicBezTo>
                <a:cubicBezTo>
                  <a:pt x="0" y="685"/>
                  <a:pt x="97" y="450"/>
                  <a:pt x="274" y="274"/>
                </a:cubicBezTo>
                <a:cubicBezTo>
                  <a:pt x="450" y="97"/>
                  <a:pt x="685" y="0"/>
                  <a:pt x="935" y="0"/>
                </a:cubicBezTo>
                <a:cubicBezTo>
                  <a:pt x="1185" y="0"/>
                  <a:pt x="1420" y="97"/>
                  <a:pt x="1596" y="274"/>
                </a:cubicBezTo>
                <a:cubicBezTo>
                  <a:pt x="1773" y="450"/>
                  <a:pt x="1870" y="685"/>
                  <a:pt x="1870" y="935"/>
                </a:cubicBezTo>
                <a:cubicBezTo>
                  <a:pt x="1870" y="1185"/>
                  <a:pt x="1773" y="1420"/>
                  <a:pt x="1596" y="1596"/>
                </a:cubicBezTo>
                <a:cubicBezTo>
                  <a:pt x="1420" y="1773"/>
                  <a:pt x="1185" y="1870"/>
                  <a:pt x="935" y="1870"/>
                </a:cubicBezTo>
                <a:close/>
                <a:moveTo>
                  <a:pt x="935" y="360"/>
                </a:moveTo>
                <a:cubicBezTo>
                  <a:pt x="618" y="360"/>
                  <a:pt x="360" y="618"/>
                  <a:pt x="360" y="935"/>
                </a:cubicBezTo>
                <a:cubicBezTo>
                  <a:pt x="360" y="1252"/>
                  <a:pt x="618" y="1510"/>
                  <a:pt x="935" y="1510"/>
                </a:cubicBezTo>
                <a:cubicBezTo>
                  <a:pt x="1252" y="1510"/>
                  <a:pt x="1510" y="1252"/>
                  <a:pt x="1510" y="935"/>
                </a:cubicBezTo>
                <a:cubicBezTo>
                  <a:pt x="1510" y="618"/>
                  <a:pt x="1252" y="360"/>
                  <a:pt x="935" y="360"/>
                </a:cubicBezTo>
                <a:close/>
              </a:path>
            </a:pathLst>
          </a:cu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txBody>
          <a:bodyPr vert="horz" wrap="square" lIns="45714" tIns="22857" rIns="45714" bIns="22857" numCol="1" anchor="t" anchorCtr="0" compatLnSpc="1">
            <a:prstTxWarp prst="textNoShape">
              <a:avLst/>
            </a:prstTxWarp>
          </a:bodyPr>
          <a:lstStyle/>
          <a:p>
            <a:pPr defTabSz="228554">
              <a:defRPr/>
            </a:pPr>
            <a:endParaRPr lang="en-US" sz="900">
              <a:solidFill>
                <a:srgbClr val="172144"/>
              </a:solidFill>
              <a:latin typeface="+mj-lt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F136D48-6E28-4BDB-B0C0-D6E689A0B003}"/>
              </a:ext>
            </a:extLst>
          </p:cNvPr>
          <p:cNvGrpSpPr/>
          <p:nvPr/>
        </p:nvGrpSpPr>
        <p:grpSpPr>
          <a:xfrm>
            <a:off x="1678063" y="3791482"/>
            <a:ext cx="2172682" cy="720747"/>
            <a:chOff x="4492012" y="3777843"/>
            <a:chExt cx="3548457" cy="1441683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BD798DA-2067-47D3-BA61-33E4A8B9EBA1}"/>
                </a:ext>
              </a:extLst>
            </p:cNvPr>
            <p:cNvSpPr txBox="1"/>
            <p:nvPr/>
          </p:nvSpPr>
          <p:spPr>
            <a:xfrm>
              <a:off x="5407694" y="3777843"/>
              <a:ext cx="1795981" cy="49250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228554">
                <a:defRPr/>
              </a:pPr>
              <a:r>
                <a:rPr lang="en-US" sz="1600" b="1" dirty="0"/>
                <a:t>Marketing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FC18F9B0-C0E7-4877-B1E5-A7D011C8C571}"/>
                </a:ext>
              </a:extLst>
            </p:cNvPr>
            <p:cNvSpPr txBox="1"/>
            <p:nvPr/>
          </p:nvSpPr>
          <p:spPr>
            <a:xfrm>
              <a:off x="4492012" y="4480765"/>
              <a:ext cx="3548457" cy="7387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228554">
                <a:defRPr/>
              </a:pPr>
              <a:r>
                <a:rPr lang="en-US" sz="800"/>
                <a:t> Nam eget lorem id ligula elementum efficitur. Etiam auctor lorem et nibh porttitor, a vestibulum magna laoreet.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A9EFBD2-0539-42AD-9FA3-E84BE23361E5}"/>
              </a:ext>
            </a:extLst>
          </p:cNvPr>
          <p:cNvGrpSpPr/>
          <p:nvPr/>
        </p:nvGrpSpPr>
        <p:grpSpPr>
          <a:xfrm>
            <a:off x="8313698" y="3814609"/>
            <a:ext cx="2172682" cy="720747"/>
            <a:chOff x="16070089" y="8280785"/>
            <a:chExt cx="3548457" cy="1441683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EB5C105E-D90C-40F1-BE12-4B0BBBB72E54}"/>
                </a:ext>
              </a:extLst>
            </p:cNvPr>
            <p:cNvSpPr txBox="1"/>
            <p:nvPr/>
          </p:nvSpPr>
          <p:spPr>
            <a:xfrm>
              <a:off x="16751280" y="8280785"/>
              <a:ext cx="2186071" cy="4925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228554">
                <a:defRPr/>
              </a:pPr>
              <a:r>
                <a:rPr lang="en-US" sz="1600" b="1"/>
                <a:t>Calculations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BE1A13EA-2993-4818-8968-01E5A4EB3BB7}"/>
                </a:ext>
              </a:extLst>
            </p:cNvPr>
            <p:cNvSpPr txBox="1"/>
            <p:nvPr/>
          </p:nvSpPr>
          <p:spPr>
            <a:xfrm>
              <a:off x="16070089" y="8983707"/>
              <a:ext cx="3548457" cy="7387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228554">
                <a:defRPr/>
              </a:pPr>
              <a:r>
                <a:rPr lang="en-US" sz="800"/>
                <a:t> Nam eget lorem id ligula elementum efficitur. Etiam auctor lorem et nibh porttitor, a vestibulum magna laoreet.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59BEE34-9BB1-4172-B15E-FB7FA39C13B6}"/>
              </a:ext>
            </a:extLst>
          </p:cNvPr>
          <p:cNvGrpSpPr/>
          <p:nvPr/>
        </p:nvGrpSpPr>
        <p:grpSpPr>
          <a:xfrm>
            <a:off x="4968267" y="5705940"/>
            <a:ext cx="2172682" cy="720747"/>
            <a:chOff x="4894001" y="8445170"/>
            <a:chExt cx="3548457" cy="1441683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1F351421-5363-4A6C-BC01-1867AFAFE963}"/>
                </a:ext>
              </a:extLst>
            </p:cNvPr>
            <p:cNvSpPr txBox="1"/>
            <p:nvPr/>
          </p:nvSpPr>
          <p:spPr>
            <a:xfrm>
              <a:off x="4894001" y="9148092"/>
              <a:ext cx="3548457" cy="7387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228554">
                <a:defRPr/>
              </a:pPr>
              <a:r>
                <a:rPr lang="en-US" sz="800"/>
                <a:t> Nam eget lorem id ligula elementum efficitur. Etiam auctor lorem et nibh porttitor, a vestibulum magna laoreet.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F4AEAC3E-ECA2-4989-9072-BE5B8D4CF947}"/>
                </a:ext>
              </a:extLst>
            </p:cNvPr>
            <p:cNvSpPr txBox="1"/>
            <p:nvPr/>
          </p:nvSpPr>
          <p:spPr>
            <a:xfrm>
              <a:off x="5856633" y="8445170"/>
              <a:ext cx="1623190" cy="49250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228554">
                <a:defRPr/>
              </a:pPr>
              <a:r>
                <a:rPr lang="en-US" sz="1600" b="1"/>
                <a:t>Briefcase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88790B7-A0EB-4EED-B627-70F70659419E}"/>
              </a:ext>
            </a:extLst>
          </p:cNvPr>
          <p:cNvGrpSpPr/>
          <p:nvPr/>
        </p:nvGrpSpPr>
        <p:grpSpPr>
          <a:xfrm>
            <a:off x="7896610" y="1187500"/>
            <a:ext cx="2172682" cy="720747"/>
            <a:chOff x="16070089" y="3601772"/>
            <a:chExt cx="3548457" cy="1441683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9AB5F66-B3CF-4CC1-AE5B-17C09917DA02}"/>
                </a:ext>
              </a:extLst>
            </p:cNvPr>
            <p:cNvSpPr txBox="1"/>
            <p:nvPr/>
          </p:nvSpPr>
          <p:spPr>
            <a:xfrm>
              <a:off x="16916217" y="3601772"/>
              <a:ext cx="1856196" cy="4925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228554">
                <a:defRPr/>
              </a:pPr>
              <a:r>
                <a:rPr lang="en-US" sz="1600" b="1"/>
                <a:t>Protection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80D857DF-2390-45E7-8CA3-851DD48FF112}"/>
                </a:ext>
              </a:extLst>
            </p:cNvPr>
            <p:cNvSpPr txBox="1"/>
            <p:nvPr/>
          </p:nvSpPr>
          <p:spPr>
            <a:xfrm>
              <a:off x="16070089" y="4304694"/>
              <a:ext cx="3548457" cy="7387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228554">
                <a:defRPr/>
              </a:pPr>
              <a:r>
                <a:rPr lang="en-US" sz="800"/>
                <a:t> Nam eget lorem id ligula elementum efficitur. Etiam auctor lorem et nibh porttitor, a vestibulum magna laoreet.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3F68B8C-68C6-49D3-8915-BF31F8A4EF0E}"/>
              </a:ext>
            </a:extLst>
          </p:cNvPr>
          <p:cNvGrpSpPr/>
          <p:nvPr/>
        </p:nvGrpSpPr>
        <p:grpSpPr>
          <a:xfrm>
            <a:off x="2073135" y="1164556"/>
            <a:ext cx="2172682" cy="720747"/>
            <a:chOff x="10419359" y="404628"/>
            <a:chExt cx="3548457" cy="1441683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23034A4C-4495-4758-B063-F0A0962A063A}"/>
                </a:ext>
              </a:extLst>
            </p:cNvPr>
            <p:cNvSpPr txBox="1"/>
            <p:nvPr/>
          </p:nvSpPr>
          <p:spPr>
            <a:xfrm>
              <a:off x="11388537" y="404628"/>
              <a:ext cx="1610099" cy="49250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228554">
                <a:defRPr/>
              </a:pPr>
              <a:r>
                <a:rPr lang="en-US" sz="1600" b="1"/>
                <a:t>Research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208E0648-D29B-48B8-B411-109DFE5BCE6C}"/>
                </a:ext>
              </a:extLst>
            </p:cNvPr>
            <p:cNvSpPr txBox="1"/>
            <p:nvPr/>
          </p:nvSpPr>
          <p:spPr>
            <a:xfrm>
              <a:off x="10419359" y="1107550"/>
              <a:ext cx="3548457" cy="7387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228554">
                <a:defRPr/>
              </a:pPr>
              <a:r>
                <a:rPr lang="en-US" sz="800"/>
                <a:t> Nam eget lorem id ligula elementum efficitur. Etiam auctor lorem et nibh porttitor, a vestibulum magna laoreet.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BF026B8-3AFA-4143-900A-C8D924DCC01B}"/>
              </a:ext>
            </a:extLst>
          </p:cNvPr>
          <p:cNvGrpSpPr/>
          <p:nvPr/>
        </p:nvGrpSpPr>
        <p:grpSpPr>
          <a:xfrm>
            <a:off x="4065182" y="1237764"/>
            <a:ext cx="1969026" cy="1780997"/>
            <a:chOff x="8131423" y="2474958"/>
            <a:chExt cx="3938564" cy="3562457"/>
          </a:xfrm>
        </p:grpSpPr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BD118529-B449-4346-89B1-88BE19643C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9078" y="2474958"/>
              <a:ext cx="3570907" cy="2165787"/>
            </a:xfrm>
            <a:custGeom>
              <a:avLst/>
              <a:gdLst>
                <a:gd name="T0" fmla="*/ 844 w 844"/>
                <a:gd name="T1" fmla="*/ 0 h 512"/>
                <a:gd name="T2" fmla="*/ 844 w 844"/>
                <a:gd name="T3" fmla="*/ 60 h 512"/>
                <a:gd name="T4" fmla="*/ 58 w 844"/>
                <a:gd name="T5" fmla="*/ 512 h 512"/>
                <a:gd name="T6" fmla="*/ 0 w 844"/>
                <a:gd name="T7" fmla="*/ 494 h 512"/>
                <a:gd name="T8" fmla="*/ 844 w 844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4" h="512">
                  <a:moveTo>
                    <a:pt x="844" y="0"/>
                  </a:moveTo>
                  <a:cubicBezTo>
                    <a:pt x="844" y="60"/>
                    <a:pt x="844" y="60"/>
                    <a:pt x="844" y="60"/>
                  </a:cubicBezTo>
                  <a:cubicBezTo>
                    <a:pt x="512" y="70"/>
                    <a:pt x="223" y="248"/>
                    <a:pt x="58" y="512"/>
                  </a:cubicBezTo>
                  <a:cubicBezTo>
                    <a:pt x="40" y="503"/>
                    <a:pt x="20" y="497"/>
                    <a:pt x="0" y="494"/>
                  </a:cubicBezTo>
                  <a:cubicBezTo>
                    <a:pt x="173" y="206"/>
                    <a:pt x="485" y="11"/>
                    <a:pt x="844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en-US" sz="900">
                <a:solidFill>
                  <a:srgbClr val="172144"/>
                </a:solidFill>
                <a:latin typeface="+mj-lt"/>
              </a:endParaRPr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82F8436A-5EBB-450F-A504-0E3148EA0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4182" y="2728514"/>
              <a:ext cx="3325803" cy="3224381"/>
            </a:xfrm>
            <a:custGeom>
              <a:avLst/>
              <a:gdLst>
                <a:gd name="T0" fmla="*/ 786 w 786"/>
                <a:gd name="T1" fmla="*/ 0 h 762"/>
                <a:gd name="T2" fmla="*/ 786 w 786"/>
                <a:gd name="T3" fmla="*/ 410 h 762"/>
                <a:gd name="T4" fmla="*/ 302 w 786"/>
                <a:gd name="T5" fmla="*/ 762 h 762"/>
                <a:gd name="T6" fmla="*/ 105 w 786"/>
                <a:gd name="T7" fmla="*/ 697 h 762"/>
                <a:gd name="T8" fmla="*/ 114 w 786"/>
                <a:gd name="T9" fmla="*/ 635 h 762"/>
                <a:gd name="T10" fmla="*/ 0 w 786"/>
                <a:gd name="T11" fmla="*/ 452 h 762"/>
                <a:gd name="T12" fmla="*/ 786 w 786"/>
                <a:gd name="T13" fmla="*/ 0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6" h="762">
                  <a:moveTo>
                    <a:pt x="786" y="0"/>
                  </a:moveTo>
                  <a:cubicBezTo>
                    <a:pt x="786" y="410"/>
                    <a:pt x="786" y="410"/>
                    <a:pt x="786" y="410"/>
                  </a:cubicBezTo>
                  <a:cubicBezTo>
                    <a:pt x="565" y="422"/>
                    <a:pt x="378" y="565"/>
                    <a:pt x="302" y="762"/>
                  </a:cubicBezTo>
                  <a:cubicBezTo>
                    <a:pt x="105" y="697"/>
                    <a:pt x="105" y="697"/>
                    <a:pt x="105" y="697"/>
                  </a:cubicBezTo>
                  <a:cubicBezTo>
                    <a:pt x="111" y="678"/>
                    <a:pt x="114" y="657"/>
                    <a:pt x="114" y="635"/>
                  </a:cubicBezTo>
                  <a:cubicBezTo>
                    <a:pt x="114" y="555"/>
                    <a:pt x="68" y="485"/>
                    <a:pt x="0" y="452"/>
                  </a:cubicBezTo>
                  <a:cubicBezTo>
                    <a:pt x="165" y="188"/>
                    <a:pt x="454" y="10"/>
                    <a:pt x="78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en-US" sz="900">
                <a:solidFill>
                  <a:srgbClr val="172144"/>
                </a:solidFill>
                <a:latin typeface="+mj-lt"/>
              </a:endParaRPr>
            </a:p>
          </p:txBody>
        </p:sp>
        <p:sp>
          <p:nvSpPr>
            <p:cNvPr id="23" name="Freeform 20">
              <a:extLst>
                <a:ext uri="{FF2B5EF4-FFF2-40B4-BE49-F238E27FC236}">
                  <a16:creationId xmlns:a16="http://schemas.microsoft.com/office/drawing/2014/main" id="{7ECAFFFC-1C13-45DF-ABCE-E1C0CC4137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22525" y="4463257"/>
              <a:ext cx="2047462" cy="1574158"/>
            </a:xfrm>
            <a:custGeom>
              <a:avLst/>
              <a:gdLst>
                <a:gd name="T0" fmla="*/ 484 w 484"/>
                <a:gd name="T1" fmla="*/ 0 h 372"/>
                <a:gd name="T2" fmla="*/ 484 w 484"/>
                <a:gd name="T3" fmla="*/ 65 h 372"/>
                <a:gd name="T4" fmla="*/ 62 w 484"/>
                <a:gd name="T5" fmla="*/ 372 h 372"/>
                <a:gd name="T6" fmla="*/ 0 w 484"/>
                <a:gd name="T7" fmla="*/ 352 h 372"/>
                <a:gd name="T8" fmla="*/ 484 w 484"/>
                <a:gd name="T9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4" h="372">
                  <a:moveTo>
                    <a:pt x="484" y="0"/>
                  </a:moveTo>
                  <a:cubicBezTo>
                    <a:pt x="484" y="65"/>
                    <a:pt x="484" y="65"/>
                    <a:pt x="484" y="65"/>
                  </a:cubicBezTo>
                  <a:cubicBezTo>
                    <a:pt x="292" y="77"/>
                    <a:pt x="130" y="201"/>
                    <a:pt x="62" y="372"/>
                  </a:cubicBezTo>
                  <a:cubicBezTo>
                    <a:pt x="0" y="352"/>
                    <a:pt x="0" y="352"/>
                    <a:pt x="0" y="352"/>
                  </a:cubicBezTo>
                  <a:cubicBezTo>
                    <a:pt x="76" y="155"/>
                    <a:pt x="263" y="12"/>
                    <a:pt x="484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en-US" sz="900">
                <a:solidFill>
                  <a:srgbClr val="172144"/>
                </a:solidFill>
                <a:latin typeface="+mj-lt"/>
              </a:endParaRPr>
            </a:p>
          </p:txBody>
        </p:sp>
        <p:sp>
          <p:nvSpPr>
            <p:cNvPr id="24" name="Freeform 21">
              <a:extLst>
                <a:ext uri="{FF2B5EF4-FFF2-40B4-BE49-F238E27FC236}">
                  <a16:creationId xmlns:a16="http://schemas.microsoft.com/office/drawing/2014/main" id="{E166848C-E1A8-465B-AD78-42975B3D1A5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1423" y="4564679"/>
              <a:ext cx="1096628" cy="1113532"/>
            </a:xfrm>
            <a:custGeom>
              <a:avLst/>
              <a:gdLst>
                <a:gd name="T0" fmla="*/ 259 w 259"/>
                <a:gd name="T1" fmla="*/ 201 h 263"/>
                <a:gd name="T2" fmla="*/ 250 w 259"/>
                <a:gd name="T3" fmla="*/ 263 h 263"/>
                <a:gd name="T4" fmla="*/ 57 w 259"/>
                <a:gd name="T5" fmla="*/ 201 h 263"/>
                <a:gd name="T6" fmla="*/ 0 w 259"/>
                <a:gd name="T7" fmla="*/ 182 h 263"/>
                <a:gd name="T8" fmla="*/ 87 w 259"/>
                <a:gd name="T9" fmla="*/ 0 h 263"/>
                <a:gd name="T10" fmla="*/ 145 w 259"/>
                <a:gd name="T11" fmla="*/ 18 h 263"/>
                <a:gd name="T12" fmla="*/ 259 w 259"/>
                <a:gd name="T13" fmla="*/ 20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9" h="263">
                  <a:moveTo>
                    <a:pt x="259" y="201"/>
                  </a:moveTo>
                  <a:cubicBezTo>
                    <a:pt x="259" y="223"/>
                    <a:pt x="256" y="244"/>
                    <a:pt x="250" y="263"/>
                  </a:cubicBezTo>
                  <a:cubicBezTo>
                    <a:pt x="57" y="201"/>
                    <a:pt x="57" y="201"/>
                    <a:pt x="57" y="201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23" y="118"/>
                    <a:pt x="52" y="58"/>
                    <a:pt x="87" y="0"/>
                  </a:cubicBezTo>
                  <a:cubicBezTo>
                    <a:pt x="107" y="3"/>
                    <a:pt x="127" y="9"/>
                    <a:pt x="145" y="18"/>
                  </a:cubicBezTo>
                  <a:cubicBezTo>
                    <a:pt x="213" y="51"/>
                    <a:pt x="259" y="121"/>
                    <a:pt x="259" y="20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en-US" sz="900">
                <a:solidFill>
                  <a:srgbClr val="172144"/>
                </a:solidFill>
                <a:latin typeface="+mj-lt"/>
              </a:endParaRPr>
            </a:p>
          </p:txBody>
        </p:sp>
      </p:grpSp>
      <p:sp>
        <p:nvSpPr>
          <p:cNvPr id="58" name="TextBox 57">
            <a:extLst>
              <a:ext uri="{FF2B5EF4-FFF2-40B4-BE49-F238E27FC236}">
                <a16:creationId xmlns:a16="http://schemas.microsoft.com/office/drawing/2014/main" id="{AB5E21A7-59B5-4410-A478-64319F858EE8}"/>
              </a:ext>
            </a:extLst>
          </p:cNvPr>
          <p:cNvSpPr txBox="1"/>
          <p:nvPr/>
        </p:nvSpPr>
        <p:spPr>
          <a:xfrm>
            <a:off x="4223235" y="2472400"/>
            <a:ext cx="21480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228554">
              <a:defRPr/>
            </a:pPr>
            <a:r>
              <a:rPr lang="en-US" sz="1400" b="1" dirty="0">
                <a:solidFill>
                  <a:srgbClr val="172144"/>
                </a:solidFill>
                <a:latin typeface="+mj-lt"/>
              </a:rPr>
              <a:t>01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2A822BF-48F7-4609-9DB1-53C96051D85A}"/>
              </a:ext>
            </a:extLst>
          </p:cNvPr>
          <p:cNvGrpSpPr/>
          <p:nvPr/>
        </p:nvGrpSpPr>
        <p:grpSpPr>
          <a:xfrm>
            <a:off x="6160968" y="1237764"/>
            <a:ext cx="1969025" cy="1780997"/>
            <a:chOff x="12323541" y="2474958"/>
            <a:chExt cx="3938562" cy="3562457"/>
          </a:xfrm>
        </p:grpSpPr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9BF4589E-79D8-4341-AFC8-B571775F7E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68726" y="2584832"/>
              <a:ext cx="3093377" cy="2831370"/>
            </a:xfrm>
            <a:custGeom>
              <a:avLst/>
              <a:gdLst>
                <a:gd name="T0" fmla="*/ 731 w 731"/>
                <a:gd name="T1" fmla="*/ 650 h 669"/>
                <a:gd name="T2" fmla="*/ 674 w 731"/>
                <a:gd name="T3" fmla="*/ 669 h 669"/>
                <a:gd name="T4" fmla="*/ 1 w 731"/>
                <a:gd name="T5" fmla="*/ 61 h 669"/>
                <a:gd name="T6" fmla="*/ 3 w 731"/>
                <a:gd name="T7" fmla="*/ 34 h 669"/>
                <a:gd name="T8" fmla="*/ 0 w 731"/>
                <a:gd name="T9" fmla="*/ 0 h 669"/>
                <a:gd name="T10" fmla="*/ 731 w 731"/>
                <a:gd name="T11" fmla="*/ 650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31" h="669">
                  <a:moveTo>
                    <a:pt x="731" y="650"/>
                  </a:moveTo>
                  <a:cubicBezTo>
                    <a:pt x="674" y="669"/>
                    <a:pt x="674" y="669"/>
                    <a:pt x="674" y="669"/>
                  </a:cubicBezTo>
                  <a:cubicBezTo>
                    <a:pt x="566" y="369"/>
                    <a:pt x="314" y="138"/>
                    <a:pt x="1" y="61"/>
                  </a:cubicBezTo>
                  <a:cubicBezTo>
                    <a:pt x="2" y="52"/>
                    <a:pt x="3" y="43"/>
                    <a:pt x="3" y="34"/>
                  </a:cubicBezTo>
                  <a:cubicBezTo>
                    <a:pt x="3" y="22"/>
                    <a:pt x="2" y="11"/>
                    <a:pt x="0" y="0"/>
                  </a:cubicBezTo>
                  <a:cubicBezTo>
                    <a:pt x="340" y="78"/>
                    <a:pt x="615" y="326"/>
                    <a:pt x="731" y="650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en-US" sz="900">
                <a:solidFill>
                  <a:srgbClr val="172144"/>
                </a:solidFill>
                <a:latin typeface="+mj-lt"/>
              </a:endParaRPr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97BA5575-B3C1-4094-895F-0610C665E5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3541" y="2842614"/>
              <a:ext cx="3697685" cy="3110281"/>
            </a:xfrm>
            <a:custGeom>
              <a:avLst/>
              <a:gdLst>
                <a:gd name="T0" fmla="*/ 874 w 874"/>
                <a:gd name="T1" fmla="*/ 608 h 735"/>
                <a:gd name="T2" fmla="*/ 484 w 874"/>
                <a:gd name="T3" fmla="*/ 735 h 735"/>
                <a:gd name="T4" fmla="*/ 0 w 874"/>
                <a:gd name="T5" fmla="*/ 383 h 735"/>
                <a:gd name="T6" fmla="*/ 0 w 874"/>
                <a:gd name="T7" fmla="*/ 176 h 735"/>
                <a:gd name="T8" fmla="*/ 201 w 874"/>
                <a:gd name="T9" fmla="*/ 0 h 735"/>
                <a:gd name="T10" fmla="*/ 874 w 874"/>
                <a:gd name="T11" fmla="*/ 608 h 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4" h="735">
                  <a:moveTo>
                    <a:pt x="874" y="608"/>
                  </a:moveTo>
                  <a:cubicBezTo>
                    <a:pt x="484" y="735"/>
                    <a:pt x="484" y="735"/>
                    <a:pt x="484" y="735"/>
                  </a:cubicBezTo>
                  <a:cubicBezTo>
                    <a:pt x="408" y="538"/>
                    <a:pt x="221" y="395"/>
                    <a:pt x="0" y="383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103" y="176"/>
                    <a:pt x="187" y="99"/>
                    <a:pt x="201" y="0"/>
                  </a:cubicBezTo>
                  <a:cubicBezTo>
                    <a:pt x="514" y="77"/>
                    <a:pt x="766" y="308"/>
                    <a:pt x="874" y="60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en-US" sz="900">
                <a:solidFill>
                  <a:srgbClr val="172144"/>
                </a:solidFill>
                <a:latin typeface="+mj-lt"/>
              </a:endParaRPr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130F9280-B858-4066-8F08-DA8B8011E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3541" y="4463257"/>
              <a:ext cx="2047462" cy="1574158"/>
            </a:xfrm>
            <a:custGeom>
              <a:avLst/>
              <a:gdLst>
                <a:gd name="T0" fmla="*/ 484 w 484"/>
                <a:gd name="T1" fmla="*/ 352 h 372"/>
                <a:gd name="T2" fmla="*/ 422 w 484"/>
                <a:gd name="T3" fmla="*/ 372 h 372"/>
                <a:gd name="T4" fmla="*/ 0 w 484"/>
                <a:gd name="T5" fmla="*/ 65 h 372"/>
                <a:gd name="T6" fmla="*/ 0 w 484"/>
                <a:gd name="T7" fmla="*/ 0 h 372"/>
                <a:gd name="T8" fmla="*/ 484 w 484"/>
                <a:gd name="T9" fmla="*/ 352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4" h="372">
                  <a:moveTo>
                    <a:pt x="484" y="352"/>
                  </a:moveTo>
                  <a:cubicBezTo>
                    <a:pt x="422" y="372"/>
                    <a:pt x="422" y="372"/>
                    <a:pt x="422" y="372"/>
                  </a:cubicBezTo>
                  <a:cubicBezTo>
                    <a:pt x="354" y="201"/>
                    <a:pt x="192" y="77"/>
                    <a:pt x="0" y="6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21" y="12"/>
                    <a:pt x="408" y="155"/>
                    <a:pt x="484" y="352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en-US" sz="900">
                <a:solidFill>
                  <a:srgbClr val="172144"/>
                </a:solidFill>
                <a:latin typeface="+mj-lt"/>
              </a:endParaRPr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F2949D21-3457-42F2-95C5-354823E0C7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3541" y="2474958"/>
              <a:ext cx="857863" cy="1113532"/>
            </a:xfrm>
            <a:custGeom>
              <a:avLst/>
              <a:gdLst>
                <a:gd name="T0" fmla="*/ 203 w 203"/>
                <a:gd name="T1" fmla="*/ 60 h 263"/>
                <a:gd name="T2" fmla="*/ 201 w 203"/>
                <a:gd name="T3" fmla="*/ 87 h 263"/>
                <a:gd name="T4" fmla="*/ 0 w 203"/>
                <a:gd name="T5" fmla="*/ 263 h 263"/>
                <a:gd name="T6" fmla="*/ 0 w 203"/>
                <a:gd name="T7" fmla="*/ 0 h 263"/>
                <a:gd name="T8" fmla="*/ 200 w 203"/>
                <a:gd name="T9" fmla="*/ 26 h 263"/>
                <a:gd name="T10" fmla="*/ 203 w 203"/>
                <a:gd name="T11" fmla="*/ 6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3" h="263">
                  <a:moveTo>
                    <a:pt x="203" y="60"/>
                  </a:moveTo>
                  <a:cubicBezTo>
                    <a:pt x="203" y="69"/>
                    <a:pt x="202" y="78"/>
                    <a:pt x="201" y="87"/>
                  </a:cubicBezTo>
                  <a:cubicBezTo>
                    <a:pt x="187" y="186"/>
                    <a:pt x="103" y="263"/>
                    <a:pt x="0" y="26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8" y="2"/>
                    <a:pt x="135" y="11"/>
                    <a:pt x="200" y="26"/>
                  </a:cubicBezTo>
                  <a:cubicBezTo>
                    <a:pt x="202" y="37"/>
                    <a:pt x="203" y="48"/>
                    <a:pt x="203" y="60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en-US" sz="900">
                <a:solidFill>
                  <a:srgbClr val="172144"/>
                </a:solidFill>
                <a:latin typeface="+mj-lt"/>
              </a:endParaRPr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3AFACA54-3083-4129-B0E2-0340E443A63F}"/>
              </a:ext>
            </a:extLst>
          </p:cNvPr>
          <p:cNvSpPr txBox="1"/>
          <p:nvPr/>
        </p:nvSpPr>
        <p:spPr>
          <a:xfrm>
            <a:off x="6207919" y="1361947"/>
            <a:ext cx="25167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228554">
              <a:defRPr/>
            </a:pPr>
            <a:r>
              <a:rPr lang="en-US" sz="1400" b="1" dirty="0">
                <a:solidFill>
                  <a:srgbClr val="172144"/>
                </a:solidFill>
                <a:latin typeface="+mj-lt"/>
              </a:rPr>
              <a:t>02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C93F5E0-C04C-4318-B45B-66183B427820}"/>
              </a:ext>
            </a:extLst>
          </p:cNvPr>
          <p:cNvGrpSpPr/>
          <p:nvPr/>
        </p:nvGrpSpPr>
        <p:grpSpPr>
          <a:xfrm>
            <a:off x="6751466" y="2788477"/>
            <a:ext cx="1503178" cy="2314450"/>
            <a:chOff x="13504687" y="5576787"/>
            <a:chExt cx="3006747" cy="4629502"/>
          </a:xfrm>
        </p:grpSpPr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FFB14F31-348C-4DC4-A626-DC501B70A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87947" y="6419860"/>
              <a:ext cx="1823487" cy="3786429"/>
            </a:xfrm>
            <a:custGeom>
              <a:avLst/>
              <a:gdLst>
                <a:gd name="T0" fmla="*/ 431 w 431"/>
                <a:gd name="T1" fmla="*/ 88 h 895"/>
                <a:gd name="T2" fmla="*/ 35 w 431"/>
                <a:gd name="T3" fmla="*/ 895 h 895"/>
                <a:gd name="T4" fmla="*/ 0 w 431"/>
                <a:gd name="T5" fmla="*/ 847 h 895"/>
                <a:gd name="T6" fmla="*/ 372 w 431"/>
                <a:gd name="T7" fmla="*/ 88 h 895"/>
                <a:gd name="T8" fmla="*/ 369 w 431"/>
                <a:gd name="T9" fmla="*/ 20 h 895"/>
                <a:gd name="T10" fmla="*/ 427 w 431"/>
                <a:gd name="T11" fmla="*/ 0 h 895"/>
                <a:gd name="T12" fmla="*/ 431 w 431"/>
                <a:gd name="T13" fmla="*/ 88 h 8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1" h="895">
                  <a:moveTo>
                    <a:pt x="431" y="88"/>
                  </a:moveTo>
                  <a:cubicBezTo>
                    <a:pt x="431" y="416"/>
                    <a:pt x="276" y="709"/>
                    <a:pt x="35" y="895"/>
                  </a:cubicBezTo>
                  <a:cubicBezTo>
                    <a:pt x="0" y="847"/>
                    <a:pt x="0" y="847"/>
                    <a:pt x="0" y="847"/>
                  </a:cubicBezTo>
                  <a:cubicBezTo>
                    <a:pt x="226" y="671"/>
                    <a:pt x="372" y="397"/>
                    <a:pt x="372" y="88"/>
                  </a:cubicBezTo>
                  <a:cubicBezTo>
                    <a:pt x="372" y="65"/>
                    <a:pt x="371" y="42"/>
                    <a:pt x="369" y="20"/>
                  </a:cubicBezTo>
                  <a:cubicBezTo>
                    <a:pt x="390" y="16"/>
                    <a:pt x="409" y="9"/>
                    <a:pt x="427" y="0"/>
                  </a:cubicBezTo>
                  <a:cubicBezTo>
                    <a:pt x="430" y="29"/>
                    <a:pt x="431" y="58"/>
                    <a:pt x="431" y="88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en-US" sz="900">
                <a:solidFill>
                  <a:srgbClr val="172144"/>
                </a:solidFill>
                <a:latin typeface="+mj-lt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D943BC49-A26F-40DC-9BE1-E6A8EA91C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69499" y="5919087"/>
              <a:ext cx="2592606" cy="4084358"/>
            </a:xfrm>
            <a:custGeom>
              <a:avLst/>
              <a:gdLst>
                <a:gd name="T0" fmla="*/ 613 w 613"/>
                <a:gd name="T1" fmla="*/ 206 h 965"/>
                <a:gd name="T2" fmla="*/ 241 w 613"/>
                <a:gd name="T3" fmla="*/ 965 h 965"/>
                <a:gd name="T4" fmla="*/ 0 w 613"/>
                <a:gd name="T5" fmla="*/ 633 h 965"/>
                <a:gd name="T6" fmla="*/ 202 w 613"/>
                <a:gd name="T7" fmla="*/ 206 h 965"/>
                <a:gd name="T8" fmla="*/ 184 w 613"/>
                <a:gd name="T9" fmla="*/ 65 h 965"/>
                <a:gd name="T10" fmla="*/ 383 w 613"/>
                <a:gd name="T11" fmla="*/ 0 h 965"/>
                <a:gd name="T12" fmla="*/ 576 w 613"/>
                <a:gd name="T13" fmla="*/ 140 h 965"/>
                <a:gd name="T14" fmla="*/ 610 w 613"/>
                <a:gd name="T15" fmla="*/ 138 h 965"/>
                <a:gd name="T16" fmla="*/ 613 w 613"/>
                <a:gd name="T17" fmla="*/ 206 h 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3" h="965">
                  <a:moveTo>
                    <a:pt x="613" y="206"/>
                  </a:moveTo>
                  <a:cubicBezTo>
                    <a:pt x="613" y="515"/>
                    <a:pt x="467" y="789"/>
                    <a:pt x="241" y="965"/>
                  </a:cubicBezTo>
                  <a:cubicBezTo>
                    <a:pt x="0" y="633"/>
                    <a:pt x="0" y="633"/>
                    <a:pt x="0" y="633"/>
                  </a:cubicBezTo>
                  <a:cubicBezTo>
                    <a:pt x="123" y="532"/>
                    <a:pt x="202" y="378"/>
                    <a:pt x="202" y="206"/>
                  </a:cubicBezTo>
                  <a:cubicBezTo>
                    <a:pt x="202" y="157"/>
                    <a:pt x="196" y="110"/>
                    <a:pt x="184" y="65"/>
                  </a:cubicBezTo>
                  <a:cubicBezTo>
                    <a:pt x="383" y="0"/>
                    <a:pt x="383" y="0"/>
                    <a:pt x="383" y="0"/>
                  </a:cubicBezTo>
                  <a:cubicBezTo>
                    <a:pt x="409" y="82"/>
                    <a:pt x="485" y="140"/>
                    <a:pt x="576" y="140"/>
                  </a:cubicBezTo>
                  <a:cubicBezTo>
                    <a:pt x="587" y="140"/>
                    <a:pt x="599" y="139"/>
                    <a:pt x="610" y="138"/>
                  </a:cubicBezTo>
                  <a:cubicBezTo>
                    <a:pt x="612" y="160"/>
                    <a:pt x="613" y="183"/>
                    <a:pt x="613" y="206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en-US" sz="900">
                <a:solidFill>
                  <a:srgbClr val="172144"/>
                </a:solidFill>
                <a:latin typeface="+mj-lt"/>
              </a:endParaRPr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1ACB0DA5-18D8-4834-988D-3F4A18254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4687" y="6195886"/>
              <a:ext cx="1018448" cy="2402439"/>
            </a:xfrm>
            <a:custGeom>
              <a:avLst/>
              <a:gdLst>
                <a:gd name="T0" fmla="*/ 241 w 241"/>
                <a:gd name="T1" fmla="*/ 141 h 568"/>
                <a:gd name="T2" fmla="*/ 39 w 241"/>
                <a:gd name="T3" fmla="*/ 568 h 568"/>
                <a:gd name="T4" fmla="*/ 0 w 241"/>
                <a:gd name="T5" fmla="*/ 515 h 568"/>
                <a:gd name="T6" fmla="*/ 177 w 241"/>
                <a:gd name="T7" fmla="*/ 141 h 568"/>
                <a:gd name="T8" fmla="*/ 161 w 241"/>
                <a:gd name="T9" fmla="*/ 20 h 568"/>
                <a:gd name="T10" fmla="*/ 223 w 241"/>
                <a:gd name="T11" fmla="*/ 0 h 568"/>
                <a:gd name="T12" fmla="*/ 241 w 241"/>
                <a:gd name="T13" fmla="*/ 141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1" h="568">
                  <a:moveTo>
                    <a:pt x="241" y="141"/>
                  </a:moveTo>
                  <a:cubicBezTo>
                    <a:pt x="241" y="313"/>
                    <a:pt x="162" y="467"/>
                    <a:pt x="39" y="568"/>
                  </a:cubicBezTo>
                  <a:cubicBezTo>
                    <a:pt x="0" y="515"/>
                    <a:pt x="0" y="515"/>
                    <a:pt x="0" y="515"/>
                  </a:cubicBezTo>
                  <a:cubicBezTo>
                    <a:pt x="108" y="426"/>
                    <a:pt x="177" y="292"/>
                    <a:pt x="177" y="141"/>
                  </a:cubicBezTo>
                  <a:cubicBezTo>
                    <a:pt x="177" y="99"/>
                    <a:pt x="171" y="59"/>
                    <a:pt x="161" y="20"/>
                  </a:cubicBezTo>
                  <a:cubicBezTo>
                    <a:pt x="223" y="0"/>
                    <a:pt x="223" y="0"/>
                    <a:pt x="223" y="0"/>
                  </a:cubicBezTo>
                  <a:cubicBezTo>
                    <a:pt x="235" y="45"/>
                    <a:pt x="241" y="92"/>
                    <a:pt x="241" y="141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en-US" sz="900">
                <a:solidFill>
                  <a:srgbClr val="172144"/>
                </a:solidFill>
                <a:latin typeface="+mj-lt"/>
              </a:endParaRPr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49D9CB29-75A6-4B75-9462-E52F05993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88028" y="5576787"/>
              <a:ext cx="1206502" cy="936043"/>
            </a:xfrm>
            <a:custGeom>
              <a:avLst/>
              <a:gdLst>
                <a:gd name="T0" fmla="*/ 285 w 285"/>
                <a:gd name="T1" fmla="*/ 199 h 221"/>
                <a:gd name="T2" fmla="*/ 227 w 285"/>
                <a:gd name="T3" fmla="*/ 219 h 221"/>
                <a:gd name="T4" fmla="*/ 193 w 285"/>
                <a:gd name="T5" fmla="*/ 221 h 221"/>
                <a:gd name="T6" fmla="*/ 0 w 285"/>
                <a:gd name="T7" fmla="*/ 81 h 221"/>
                <a:gd name="T8" fmla="*/ 192 w 285"/>
                <a:gd name="T9" fmla="*/ 19 h 221"/>
                <a:gd name="T10" fmla="*/ 248 w 285"/>
                <a:gd name="T11" fmla="*/ 0 h 221"/>
                <a:gd name="T12" fmla="*/ 285 w 285"/>
                <a:gd name="T13" fmla="*/ 199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5" h="221">
                  <a:moveTo>
                    <a:pt x="285" y="199"/>
                  </a:moveTo>
                  <a:cubicBezTo>
                    <a:pt x="267" y="208"/>
                    <a:pt x="248" y="215"/>
                    <a:pt x="227" y="219"/>
                  </a:cubicBezTo>
                  <a:cubicBezTo>
                    <a:pt x="216" y="220"/>
                    <a:pt x="204" y="221"/>
                    <a:pt x="193" y="221"/>
                  </a:cubicBezTo>
                  <a:cubicBezTo>
                    <a:pt x="102" y="221"/>
                    <a:pt x="26" y="163"/>
                    <a:pt x="0" y="81"/>
                  </a:cubicBezTo>
                  <a:cubicBezTo>
                    <a:pt x="192" y="19"/>
                    <a:pt x="192" y="19"/>
                    <a:pt x="192" y="19"/>
                  </a:cubicBezTo>
                  <a:cubicBezTo>
                    <a:pt x="248" y="0"/>
                    <a:pt x="248" y="0"/>
                    <a:pt x="248" y="0"/>
                  </a:cubicBezTo>
                  <a:cubicBezTo>
                    <a:pt x="267" y="64"/>
                    <a:pt x="279" y="131"/>
                    <a:pt x="285" y="199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en-US" sz="900">
                <a:solidFill>
                  <a:srgbClr val="172144"/>
                </a:solidFill>
                <a:latin typeface="+mj-lt"/>
              </a:endParaRPr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68AC450A-8E86-444F-AA80-972457938C75}"/>
              </a:ext>
            </a:extLst>
          </p:cNvPr>
          <p:cNvSpPr txBox="1"/>
          <p:nvPr/>
        </p:nvSpPr>
        <p:spPr>
          <a:xfrm>
            <a:off x="7869131" y="2940283"/>
            <a:ext cx="25167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228554">
              <a:defRPr/>
            </a:pPr>
            <a:r>
              <a:rPr lang="en-US" sz="1400" b="1" dirty="0">
                <a:solidFill>
                  <a:srgbClr val="172144"/>
                </a:solidFill>
                <a:latin typeface="+mj-lt"/>
              </a:rPr>
              <a:t>03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9FEE34CA-E550-4B45-8E83-5B91B5F6242D}"/>
              </a:ext>
            </a:extLst>
          </p:cNvPr>
          <p:cNvGrpSpPr/>
          <p:nvPr/>
        </p:nvGrpSpPr>
        <p:grpSpPr>
          <a:xfrm>
            <a:off x="4881736" y="4263133"/>
            <a:ext cx="2431703" cy="1290853"/>
            <a:chOff x="9764743" y="8526483"/>
            <a:chExt cx="4864040" cy="2582042"/>
          </a:xfrm>
        </p:grpSpPr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AC7DA6E9-0A29-4111-9F11-FA2852D0CB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764743" y="10151352"/>
              <a:ext cx="4120277" cy="957173"/>
            </a:xfrm>
            <a:custGeom>
              <a:avLst/>
              <a:gdLst>
                <a:gd name="T0" fmla="*/ 974 w 974"/>
                <a:gd name="T1" fmla="*/ 145 h 226"/>
                <a:gd name="T2" fmla="*/ 575 w 974"/>
                <a:gd name="T3" fmla="*/ 226 h 226"/>
                <a:gd name="T4" fmla="*/ 0 w 974"/>
                <a:gd name="T5" fmla="*/ 48 h 226"/>
                <a:gd name="T6" fmla="*/ 35 w 974"/>
                <a:gd name="T7" fmla="*/ 0 h 226"/>
                <a:gd name="T8" fmla="*/ 575 w 974"/>
                <a:gd name="T9" fmla="*/ 167 h 226"/>
                <a:gd name="T10" fmla="*/ 937 w 974"/>
                <a:gd name="T11" fmla="*/ 96 h 226"/>
                <a:gd name="T12" fmla="*/ 974 w 974"/>
                <a:gd name="T13" fmla="*/ 14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4" h="226">
                  <a:moveTo>
                    <a:pt x="974" y="145"/>
                  </a:moveTo>
                  <a:cubicBezTo>
                    <a:pt x="851" y="197"/>
                    <a:pt x="716" y="226"/>
                    <a:pt x="575" y="226"/>
                  </a:cubicBezTo>
                  <a:cubicBezTo>
                    <a:pt x="362" y="226"/>
                    <a:pt x="163" y="160"/>
                    <a:pt x="0" y="48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189" y="105"/>
                    <a:pt x="375" y="167"/>
                    <a:pt x="575" y="167"/>
                  </a:cubicBezTo>
                  <a:cubicBezTo>
                    <a:pt x="703" y="167"/>
                    <a:pt x="825" y="142"/>
                    <a:pt x="937" y="96"/>
                  </a:cubicBezTo>
                  <a:cubicBezTo>
                    <a:pt x="946" y="114"/>
                    <a:pt x="959" y="131"/>
                    <a:pt x="974" y="145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en-US" sz="900">
                <a:solidFill>
                  <a:srgbClr val="172144"/>
                </a:solidFill>
                <a:latin typeface="+mj-lt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4F6A3CCF-6D0B-4CDD-92A9-25E5D03271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2651" y="8746231"/>
              <a:ext cx="4065340" cy="2112963"/>
            </a:xfrm>
            <a:custGeom>
              <a:avLst/>
              <a:gdLst>
                <a:gd name="T0" fmla="*/ 878 w 961"/>
                <a:gd name="T1" fmla="*/ 332 h 499"/>
                <a:gd name="T2" fmla="*/ 902 w 961"/>
                <a:gd name="T3" fmla="*/ 428 h 499"/>
                <a:gd name="T4" fmla="*/ 540 w 961"/>
                <a:gd name="T5" fmla="*/ 499 h 499"/>
                <a:gd name="T6" fmla="*/ 0 w 961"/>
                <a:gd name="T7" fmla="*/ 332 h 499"/>
                <a:gd name="T8" fmla="*/ 241 w 961"/>
                <a:gd name="T9" fmla="*/ 0 h 499"/>
                <a:gd name="T10" fmla="*/ 241 w 961"/>
                <a:gd name="T11" fmla="*/ 0 h 499"/>
                <a:gd name="T12" fmla="*/ 540 w 961"/>
                <a:gd name="T13" fmla="*/ 88 h 499"/>
                <a:gd name="T14" fmla="*/ 839 w 961"/>
                <a:gd name="T15" fmla="*/ 0 h 499"/>
                <a:gd name="T16" fmla="*/ 839 w 961"/>
                <a:gd name="T17" fmla="*/ 0 h 499"/>
                <a:gd name="T18" fmla="*/ 961 w 961"/>
                <a:gd name="T19" fmla="*/ 168 h 499"/>
                <a:gd name="T20" fmla="*/ 878 w 961"/>
                <a:gd name="T21" fmla="*/ 332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61" h="499">
                  <a:moveTo>
                    <a:pt x="878" y="332"/>
                  </a:moveTo>
                  <a:cubicBezTo>
                    <a:pt x="878" y="367"/>
                    <a:pt x="886" y="400"/>
                    <a:pt x="902" y="428"/>
                  </a:cubicBezTo>
                  <a:cubicBezTo>
                    <a:pt x="790" y="474"/>
                    <a:pt x="668" y="499"/>
                    <a:pt x="540" y="499"/>
                  </a:cubicBezTo>
                  <a:cubicBezTo>
                    <a:pt x="340" y="499"/>
                    <a:pt x="154" y="437"/>
                    <a:pt x="0" y="332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327" y="56"/>
                    <a:pt x="430" y="88"/>
                    <a:pt x="540" y="88"/>
                  </a:cubicBezTo>
                  <a:cubicBezTo>
                    <a:pt x="650" y="88"/>
                    <a:pt x="753" y="56"/>
                    <a:pt x="839" y="0"/>
                  </a:cubicBezTo>
                  <a:cubicBezTo>
                    <a:pt x="839" y="0"/>
                    <a:pt x="839" y="0"/>
                    <a:pt x="839" y="0"/>
                  </a:cubicBezTo>
                  <a:cubicBezTo>
                    <a:pt x="961" y="168"/>
                    <a:pt x="961" y="168"/>
                    <a:pt x="961" y="168"/>
                  </a:cubicBezTo>
                  <a:cubicBezTo>
                    <a:pt x="911" y="205"/>
                    <a:pt x="878" y="265"/>
                    <a:pt x="878" y="33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en-US" sz="900">
                <a:solidFill>
                  <a:srgbClr val="172144"/>
                </a:solidFill>
                <a:latin typeface="+mj-lt"/>
              </a:endParaRPr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AFDB096D-8F12-4B01-B412-189E00ED41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31099" y="8526483"/>
              <a:ext cx="2531329" cy="593743"/>
            </a:xfrm>
            <a:custGeom>
              <a:avLst/>
              <a:gdLst>
                <a:gd name="T0" fmla="*/ 598 w 598"/>
                <a:gd name="T1" fmla="*/ 52 h 140"/>
                <a:gd name="T2" fmla="*/ 299 w 598"/>
                <a:gd name="T3" fmla="*/ 140 h 140"/>
                <a:gd name="T4" fmla="*/ 0 w 598"/>
                <a:gd name="T5" fmla="*/ 52 h 140"/>
                <a:gd name="T6" fmla="*/ 38 w 598"/>
                <a:gd name="T7" fmla="*/ 0 h 140"/>
                <a:gd name="T8" fmla="*/ 299 w 598"/>
                <a:gd name="T9" fmla="*/ 76 h 140"/>
                <a:gd name="T10" fmla="*/ 560 w 598"/>
                <a:gd name="T11" fmla="*/ 0 h 140"/>
                <a:gd name="T12" fmla="*/ 598 w 598"/>
                <a:gd name="T13" fmla="*/ 5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8" h="140">
                  <a:moveTo>
                    <a:pt x="598" y="52"/>
                  </a:moveTo>
                  <a:cubicBezTo>
                    <a:pt x="512" y="108"/>
                    <a:pt x="409" y="140"/>
                    <a:pt x="299" y="140"/>
                  </a:cubicBezTo>
                  <a:cubicBezTo>
                    <a:pt x="189" y="140"/>
                    <a:pt x="86" y="108"/>
                    <a:pt x="0" y="52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113" y="48"/>
                    <a:pt x="203" y="76"/>
                    <a:pt x="299" y="76"/>
                  </a:cubicBezTo>
                  <a:cubicBezTo>
                    <a:pt x="395" y="76"/>
                    <a:pt x="485" y="48"/>
                    <a:pt x="560" y="0"/>
                  </a:cubicBezTo>
                  <a:lnTo>
                    <a:pt x="598" y="52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en-US" sz="900">
                <a:solidFill>
                  <a:srgbClr val="172144"/>
                </a:solidFill>
                <a:latin typeface="+mj-lt"/>
              </a:endParaRPr>
            </a:p>
          </p:txBody>
        </p:sp>
        <p:sp>
          <p:nvSpPr>
            <p:cNvPr id="26" name="Freeform 23">
              <a:extLst>
                <a:ext uri="{FF2B5EF4-FFF2-40B4-BE49-F238E27FC236}">
                  <a16:creationId xmlns:a16="http://schemas.microsoft.com/office/drawing/2014/main" id="{EFB84EC1-5B18-47F3-9375-DF286207C5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7239" y="9458300"/>
              <a:ext cx="1001544" cy="1307925"/>
            </a:xfrm>
            <a:custGeom>
              <a:avLst/>
              <a:gdLst>
                <a:gd name="T0" fmla="*/ 237 w 237"/>
                <a:gd name="T1" fmla="*/ 212 h 309"/>
                <a:gd name="T2" fmla="*/ 61 w 237"/>
                <a:gd name="T3" fmla="*/ 309 h 309"/>
                <a:gd name="T4" fmla="*/ 24 w 237"/>
                <a:gd name="T5" fmla="*/ 260 h 309"/>
                <a:gd name="T6" fmla="*/ 0 w 237"/>
                <a:gd name="T7" fmla="*/ 164 h 309"/>
                <a:gd name="T8" fmla="*/ 83 w 237"/>
                <a:gd name="T9" fmla="*/ 0 h 309"/>
                <a:gd name="T10" fmla="*/ 202 w 237"/>
                <a:gd name="T11" fmla="*/ 164 h 309"/>
                <a:gd name="T12" fmla="*/ 237 w 237"/>
                <a:gd name="T13" fmla="*/ 212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7" h="309">
                  <a:moveTo>
                    <a:pt x="237" y="212"/>
                  </a:moveTo>
                  <a:cubicBezTo>
                    <a:pt x="182" y="250"/>
                    <a:pt x="123" y="283"/>
                    <a:pt x="61" y="309"/>
                  </a:cubicBezTo>
                  <a:cubicBezTo>
                    <a:pt x="46" y="295"/>
                    <a:pt x="33" y="278"/>
                    <a:pt x="24" y="260"/>
                  </a:cubicBezTo>
                  <a:cubicBezTo>
                    <a:pt x="8" y="232"/>
                    <a:pt x="0" y="199"/>
                    <a:pt x="0" y="164"/>
                  </a:cubicBezTo>
                  <a:cubicBezTo>
                    <a:pt x="0" y="97"/>
                    <a:pt x="33" y="37"/>
                    <a:pt x="83" y="0"/>
                  </a:cubicBezTo>
                  <a:cubicBezTo>
                    <a:pt x="202" y="164"/>
                    <a:pt x="202" y="164"/>
                    <a:pt x="202" y="164"/>
                  </a:cubicBezTo>
                  <a:lnTo>
                    <a:pt x="237" y="212"/>
                  </a:ln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en-US" sz="900">
                <a:solidFill>
                  <a:srgbClr val="172144"/>
                </a:solidFill>
                <a:latin typeface="+mj-lt"/>
              </a:endParaRPr>
            </a:p>
          </p:txBody>
        </p: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F46BB284-65E7-4568-9CDA-D88CA2978AC3}"/>
              </a:ext>
            </a:extLst>
          </p:cNvPr>
          <p:cNvSpPr txBox="1"/>
          <p:nvPr/>
        </p:nvSpPr>
        <p:spPr>
          <a:xfrm>
            <a:off x="6878943" y="4988325"/>
            <a:ext cx="25968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228554">
              <a:defRPr/>
            </a:pPr>
            <a:r>
              <a:rPr lang="en-US" sz="1400" b="1" dirty="0">
                <a:solidFill>
                  <a:srgbClr val="172144"/>
                </a:solidFill>
                <a:latin typeface="+mj-lt"/>
              </a:rPr>
              <a:t>04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AFB3966-4D29-4FC1-B6A6-0DB12EEA2D53}"/>
              </a:ext>
            </a:extLst>
          </p:cNvPr>
          <p:cNvGrpSpPr/>
          <p:nvPr/>
        </p:nvGrpSpPr>
        <p:grpSpPr>
          <a:xfrm>
            <a:off x="3940534" y="2788477"/>
            <a:ext cx="1503178" cy="2314450"/>
            <a:chOff x="7882093" y="5576787"/>
            <a:chExt cx="3006747" cy="4629502"/>
          </a:xfrm>
        </p:grpSpPr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3081D08A-E696-4E18-858E-797E898FD0C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2093" y="5576787"/>
              <a:ext cx="1206502" cy="4046324"/>
            </a:xfrm>
            <a:custGeom>
              <a:avLst/>
              <a:gdLst>
                <a:gd name="T0" fmla="*/ 285 w 285"/>
                <a:gd name="T1" fmla="*/ 906 h 956"/>
                <a:gd name="T2" fmla="*/ 250 w 285"/>
                <a:gd name="T3" fmla="*/ 956 h 956"/>
                <a:gd name="T4" fmla="*/ 0 w 285"/>
                <a:gd name="T5" fmla="*/ 287 h 956"/>
                <a:gd name="T6" fmla="*/ 41 w 285"/>
                <a:gd name="T7" fmla="*/ 0 h 956"/>
                <a:gd name="T8" fmla="*/ 97 w 285"/>
                <a:gd name="T9" fmla="*/ 19 h 956"/>
                <a:gd name="T10" fmla="*/ 59 w 285"/>
                <a:gd name="T11" fmla="*/ 287 h 956"/>
                <a:gd name="T12" fmla="*/ 285 w 285"/>
                <a:gd name="T13" fmla="*/ 906 h 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5" h="956">
                  <a:moveTo>
                    <a:pt x="285" y="906"/>
                  </a:moveTo>
                  <a:cubicBezTo>
                    <a:pt x="271" y="920"/>
                    <a:pt x="259" y="937"/>
                    <a:pt x="250" y="956"/>
                  </a:cubicBezTo>
                  <a:cubicBezTo>
                    <a:pt x="94" y="777"/>
                    <a:pt x="0" y="543"/>
                    <a:pt x="0" y="287"/>
                  </a:cubicBezTo>
                  <a:cubicBezTo>
                    <a:pt x="0" y="187"/>
                    <a:pt x="14" y="91"/>
                    <a:pt x="41" y="0"/>
                  </a:cubicBezTo>
                  <a:cubicBezTo>
                    <a:pt x="97" y="19"/>
                    <a:pt x="97" y="19"/>
                    <a:pt x="97" y="19"/>
                  </a:cubicBezTo>
                  <a:cubicBezTo>
                    <a:pt x="73" y="104"/>
                    <a:pt x="59" y="194"/>
                    <a:pt x="59" y="287"/>
                  </a:cubicBezTo>
                  <a:cubicBezTo>
                    <a:pt x="59" y="523"/>
                    <a:pt x="144" y="738"/>
                    <a:pt x="285" y="906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en-US" sz="900">
                <a:solidFill>
                  <a:srgbClr val="172144"/>
                </a:solidFill>
                <a:latin typeface="+mj-lt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91AE5732-9921-4550-877A-8C2817E071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1423" y="5657080"/>
              <a:ext cx="2592606" cy="3754735"/>
            </a:xfrm>
            <a:custGeom>
              <a:avLst/>
              <a:gdLst>
                <a:gd name="T0" fmla="*/ 613 w 613"/>
                <a:gd name="T1" fmla="*/ 695 h 887"/>
                <a:gd name="T2" fmla="*/ 491 w 613"/>
                <a:gd name="T3" fmla="*/ 863 h 887"/>
                <a:gd name="T4" fmla="*/ 372 w 613"/>
                <a:gd name="T5" fmla="*/ 824 h 887"/>
                <a:gd name="T6" fmla="*/ 226 w 613"/>
                <a:gd name="T7" fmla="*/ 887 h 887"/>
                <a:gd name="T8" fmla="*/ 0 w 613"/>
                <a:gd name="T9" fmla="*/ 268 h 887"/>
                <a:gd name="T10" fmla="*/ 38 w 613"/>
                <a:gd name="T11" fmla="*/ 0 h 887"/>
                <a:gd name="T12" fmla="*/ 429 w 613"/>
                <a:gd name="T13" fmla="*/ 127 h 887"/>
                <a:gd name="T14" fmla="*/ 410 w 613"/>
                <a:gd name="T15" fmla="*/ 268 h 887"/>
                <a:gd name="T16" fmla="*/ 613 w 613"/>
                <a:gd name="T17" fmla="*/ 695 h 8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3" h="887">
                  <a:moveTo>
                    <a:pt x="613" y="695"/>
                  </a:moveTo>
                  <a:cubicBezTo>
                    <a:pt x="491" y="863"/>
                    <a:pt x="491" y="863"/>
                    <a:pt x="491" y="863"/>
                  </a:cubicBezTo>
                  <a:cubicBezTo>
                    <a:pt x="458" y="839"/>
                    <a:pt x="417" y="824"/>
                    <a:pt x="372" y="824"/>
                  </a:cubicBezTo>
                  <a:cubicBezTo>
                    <a:pt x="315" y="824"/>
                    <a:pt x="263" y="848"/>
                    <a:pt x="226" y="887"/>
                  </a:cubicBezTo>
                  <a:cubicBezTo>
                    <a:pt x="85" y="719"/>
                    <a:pt x="0" y="504"/>
                    <a:pt x="0" y="268"/>
                  </a:cubicBezTo>
                  <a:cubicBezTo>
                    <a:pt x="0" y="175"/>
                    <a:pt x="14" y="85"/>
                    <a:pt x="38" y="0"/>
                  </a:cubicBezTo>
                  <a:cubicBezTo>
                    <a:pt x="429" y="127"/>
                    <a:pt x="429" y="127"/>
                    <a:pt x="429" y="127"/>
                  </a:cubicBezTo>
                  <a:cubicBezTo>
                    <a:pt x="417" y="172"/>
                    <a:pt x="410" y="219"/>
                    <a:pt x="410" y="268"/>
                  </a:cubicBezTo>
                  <a:cubicBezTo>
                    <a:pt x="410" y="440"/>
                    <a:pt x="490" y="594"/>
                    <a:pt x="613" y="695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en-US" sz="900">
                <a:solidFill>
                  <a:srgbClr val="172144"/>
                </a:solidFill>
                <a:latin typeface="+mj-lt"/>
              </a:endParaRPr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FD166CCD-EF77-409D-B303-45C37B7C7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66166" y="6195886"/>
              <a:ext cx="1022674" cy="2402439"/>
            </a:xfrm>
            <a:custGeom>
              <a:avLst/>
              <a:gdLst>
                <a:gd name="T0" fmla="*/ 242 w 242"/>
                <a:gd name="T1" fmla="*/ 515 h 568"/>
                <a:gd name="T2" fmla="*/ 203 w 242"/>
                <a:gd name="T3" fmla="*/ 568 h 568"/>
                <a:gd name="T4" fmla="*/ 0 w 242"/>
                <a:gd name="T5" fmla="*/ 141 h 568"/>
                <a:gd name="T6" fmla="*/ 19 w 242"/>
                <a:gd name="T7" fmla="*/ 0 h 568"/>
                <a:gd name="T8" fmla="*/ 81 w 242"/>
                <a:gd name="T9" fmla="*/ 20 h 568"/>
                <a:gd name="T10" fmla="*/ 65 w 242"/>
                <a:gd name="T11" fmla="*/ 141 h 568"/>
                <a:gd name="T12" fmla="*/ 242 w 242"/>
                <a:gd name="T13" fmla="*/ 515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2" h="568">
                  <a:moveTo>
                    <a:pt x="242" y="515"/>
                  </a:moveTo>
                  <a:cubicBezTo>
                    <a:pt x="203" y="568"/>
                    <a:pt x="203" y="568"/>
                    <a:pt x="203" y="568"/>
                  </a:cubicBezTo>
                  <a:cubicBezTo>
                    <a:pt x="80" y="467"/>
                    <a:pt x="0" y="313"/>
                    <a:pt x="0" y="141"/>
                  </a:cubicBezTo>
                  <a:cubicBezTo>
                    <a:pt x="0" y="92"/>
                    <a:pt x="7" y="45"/>
                    <a:pt x="19" y="0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71" y="59"/>
                    <a:pt x="65" y="99"/>
                    <a:pt x="65" y="141"/>
                  </a:cubicBezTo>
                  <a:cubicBezTo>
                    <a:pt x="65" y="292"/>
                    <a:pt x="134" y="426"/>
                    <a:pt x="242" y="515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en-US" sz="900">
                <a:solidFill>
                  <a:srgbClr val="172144"/>
                </a:solidFill>
                <a:latin typeface="+mj-lt"/>
              </a:endParaRPr>
            </a:p>
          </p:txBody>
        </p:sp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D8F156EC-4E58-4316-8B00-44F553DB9E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40688" y="9145582"/>
              <a:ext cx="1267778" cy="1060707"/>
            </a:xfrm>
            <a:custGeom>
              <a:avLst/>
              <a:gdLst>
                <a:gd name="T0" fmla="*/ 300 w 300"/>
                <a:gd name="T1" fmla="*/ 39 h 251"/>
                <a:gd name="T2" fmla="*/ 181 w 300"/>
                <a:gd name="T3" fmla="*/ 203 h 251"/>
                <a:gd name="T4" fmla="*/ 146 w 300"/>
                <a:gd name="T5" fmla="*/ 251 h 251"/>
                <a:gd name="T6" fmla="*/ 0 w 300"/>
                <a:gd name="T7" fmla="*/ 113 h 251"/>
                <a:gd name="T8" fmla="*/ 35 w 300"/>
                <a:gd name="T9" fmla="*/ 63 h 251"/>
                <a:gd name="T10" fmla="*/ 181 w 300"/>
                <a:gd name="T11" fmla="*/ 0 h 251"/>
                <a:gd name="T12" fmla="*/ 300 w 300"/>
                <a:gd name="T13" fmla="*/ 39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0" h="251">
                  <a:moveTo>
                    <a:pt x="300" y="39"/>
                  </a:moveTo>
                  <a:cubicBezTo>
                    <a:pt x="181" y="203"/>
                    <a:pt x="181" y="203"/>
                    <a:pt x="181" y="203"/>
                  </a:cubicBezTo>
                  <a:cubicBezTo>
                    <a:pt x="146" y="251"/>
                    <a:pt x="146" y="251"/>
                    <a:pt x="146" y="251"/>
                  </a:cubicBezTo>
                  <a:cubicBezTo>
                    <a:pt x="93" y="210"/>
                    <a:pt x="44" y="163"/>
                    <a:pt x="0" y="113"/>
                  </a:cubicBezTo>
                  <a:cubicBezTo>
                    <a:pt x="9" y="94"/>
                    <a:pt x="21" y="77"/>
                    <a:pt x="35" y="63"/>
                  </a:cubicBezTo>
                  <a:cubicBezTo>
                    <a:pt x="72" y="24"/>
                    <a:pt x="124" y="0"/>
                    <a:pt x="181" y="0"/>
                  </a:cubicBezTo>
                  <a:cubicBezTo>
                    <a:pt x="226" y="0"/>
                    <a:pt x="267" y="15"/>
                    <a:pt x="300" y="39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45714" tIns="22857" rIns="45714" bIns="22857" numCol="1" anchor="t" anchorCtr="0" compatLnSpc="1">
              <a:prstTxWarp prst="textNoShape">
                <a:avLst/>
              </a:prstTxWarp>
            </a:bodyPr>
            <a:lstStyle/>
            <a:p>
              <a:pPr defTabSz="228554">
                <a:defRPr/>
              </a:pPr>
              <a:endParaRPr lang="en-US" sz="900">
                <a:solidFill>
                  <a:srgbClr val="172144"/>
                </a:solidFill>
                <a:latin typeface="+mj-lt"/>
              </a:endParaRPr>
            </a:p>
          </p:txBody>
        </p:sp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A479C370-994E-4836-9B0D-1D93BB6471AC}"/>
              </a:ext>
            </a:extLst>
          </p:cNvPr>
          <p:cNvSpPr txBox="1"/>
          <p:nvPr/>
        </p:nvSpPr>
        <p:spPr>
          <a:xfrm>
            <a:off x="4606238" y="4698044"/>
            <a:ext cx="25487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228554">
              <a:defRPr/>
            </a:pPr>
            <a:r>
              <a:rPr lang="en-US" sz="1400" b="1" dirty="0">
                <a:solidFill>
                  <a:srgbClr val="172144"/>
                </a:solidFill>
                <a:latin typeface="+mj-lt"/>
              </a:rPr>
              <a:t>05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34291AB-804C-AEC0-BEC9-3E6ACA8C424C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Circle infographic </a:t>
            </a:r>
            <a:endParaRPr lang="en-C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22692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AB5FBA89-201C-48C5-A38D-AB2142D66272}"/>
              </a:ext>
            </a:extLst>
          </p:cNvPr>
          <p:cNvSpPr txBox="1"/>
          <p:nvPr/>
        </p:nvSpPr>
        <p:spPr>
          <a:xfrm>
            <a:off x="2333088" y="5526320"/>
            <a:ext cx="981529" cy="2755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0%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09D4F76-E353-4A0C-A353-FF9A10B22EE2}"/>
              </a:ext>
            </a:extLst>
          </p:cNvPr>
          <p:cNvSpPr txBox="1"/>
          <p:nvPr/>
        </p:nvSpPr>
        <p:spPr>
          <a:xfrm>
            <a:off x="3969163" y="5526320"/>
            <a:ext cx="981529" cy="2755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%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FE3F0B4-ADAB-4D26-8F86-4C630570DE27}"/>
              </a:ext>
            </a:extLst>
          </p:cNvPr>
          <p:cNvSpPr txBox="1"/>
          <p:nvPr/>
        </p:nvSpPr>
        <p:spPr>
          <a:xfrm>
            <a:off x="5605238" y="5526320"/>
            <a:ext cx="981529" cy="2755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40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2B4AE45-17CA-4497-8105-D459CA53CCC9}"/>
              </a:ext>
            </a:extLst>
          </p:cNvPr>
          <p:cNvSpPr txBox="1"/>
          <p:nvPr/>
        </p:nvSpPr>
        <p:spPr>
          <a:xfrm>
            <a:off x="7241313" y="5526320"/>
            <a:ext cx="981529" cy="2755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60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165FA6C-95A8-497E-9838-F1BFF1ADD655}"/>
              </a:ext>
            </a:extLst>
          </p:cNvPr>
          <p:cNvSpPr txBox="1"/>
          <p:nvPr/>
        </p:nvSpPr>
        <p:spPr>
          <a:xfrm>
            <a:off x="8877388" y="5526320"/>
            <a:ext cx="981529" cy="2755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80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AE0CE5D-9FEE-47C3-97AF-55E4DE9751B4}"/>
              </a:ext>
            </a:extLst>
          </p:cNvPr>
          <p:cNvSpPr txBox="1"/>
          <p:nvPr/>
        </p:nvSpPr>
        <p:spPr>
          <a:xfrm>
            <a:off x="10513458" y="5526320"/>
            <a:ext cx="981529" cy="2755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00%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BDF57FE-90EB-4860-B738-10BA7439DC03}"/>
              </a:ext>
            </a:extLst>
          </p:cNvPr>
          <p:cNvSpPr txBox="1"/>
          <p:nvPr/>
        </p:nvSpPr>
        <p:spPr>
          <a:xfrm>
            <a:off x="697013" y="5526320"/>
            <a:ext cx="981529" cy="2755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20%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439EB25-9A13-48FC-B983-855C2AFC1BB4}"/>
              </a:ext>
            </a:extLst>
          </p:cNvPr>
          <p:cNvSpPr txBox="1"/>
          <p:nvPr/>
        </p:nvSpPr>
        <p:spPr>
          <a:xfrm>
            <a:off x="1517021" y="2201156"/>
            <a:ext cx="981529" cy="2755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10k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196B63E-106A-4A6A-A090-686B4298DEE6}"/>
              </a:ext>
            </a:extLst>
          </p:cNvPr>
          <p:cNvSpPr txBox="1"/>
          <p:nvPr/>
        </p:nvSpPr>
        <p:spPr>
          <a:xfrm>
            <a:off x="3152701" y="2201156"/>
            <a:ext cx="981529" cy="2755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45k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D2717C5-A36D-480F-9BF7-9FBCEA755402}"/>
              </a:ext>
            </a:extLst>
          </p:cNvPr>
          <p:cNvSpPr txBox="1"/>
          <p:nvPr/>
        </p:nvSpPr>
        <p:spPr>
          <a:xfrm>
            <a:off x="4788381" y="2201156"/>
            <a:ext cx="981529" cy="2755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72k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3AA5508-F892-41B7-BB78-00B4B9312195}"/>
              </a:ext>
            </a:extLst>
          </p:cNvPr>
          <p:cNvSpPr txBox="1"/>
          <p:nvPr/>
        </p:nvSpPr>
        <p:spPr>
          <a:xfrm>
            <a:off x="6424061" y="2201156"/>
            <a:ext cx="981529" cy="2755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110k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C8DA647-67F7-4294-ACA4-3238B5C82FCC}"/>
              </a:ext>
            </a:extLst>
          </p:cNvPr>
          <p:cNvSpPr txBox="1"/>
          <p:nvPr/>
        </p:nvSpPr>
        <p:spPr>
          <a:xfrm>
            <a:off x="8059741" y="2201156"/>
            <a:ext cx="981529" cy="2755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150k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CEA491E-7582-4B08-8B05-9F165FBE46F6}"/>
              </a:ext>
            </a:extLst>
          </p:cNvPr>
          <p:cNvSpPr txBox="1"/>
          <p:nvPr/>
        </p:nvSpPr>
        <p:spPr>
          <a:xfrm>
            <a:off x="9695423" y="2201156"/>
            <a:ext cx="981529" cy="2755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225k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0BF5EAB-4D79-4307-B997-86361CF2ED09}"/>
              </a:ext>
            </a:extLst>
          </p:cNvPr>
          <p:cNvGrpSpPr/>
          <p:nvPr/>
        </p:nvGrpSpPr>
        <p:grpSpPr>
          <a:xfrm>
            <a:off x="1187779" y="2176132"/>
            <a:ext cx="9816445" cy="3201468"/>
            <a:chOff x="1187779" y="2176132"/>
            <a:chExt cx="9816445" cy="3201468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3E14E389-9D2B-4DAD-B2A8-6E9AFD9D907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004224" y="2176132"/>
              <a:ext cx="0" cy="3201468"/>
            </a:xfrm>
            <a:prstGeom prst="line">
              <a:avLst/>
            </a:prstGeom>
            <a:ln w="6350">
              <a:gradFill flip="none" rotWithShape="1">
                <a:gsLst>
                  <a:gs pos="39000">
                    <a:srgbClr val="D9D9D9"/>
                  </a:gs>
                  <a:gs pos="0">
                    <a:schemeClr val="bg1">
                      <a:lumMod val="85000"/>
                      <a:alpha val="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998B9103-84A3-4AA1-B88C-1F528377C5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368150" y="2176132"/>
              <a:ext cx="0" cy="3201468"/>
            </a:xfrm>
            <a:prstGeom prst="line">
              <a:avLst/>
            </a:prstGeom>
            <a:ln w="6350">
              <a:gradFill flip="none" rotWithShape="1">
                <a:gsLst>
                  <a:gs pos="39000">
                    <a:srgbClr val="D9D9D9"/>
                  </a:gs>
                  <a:gs pos="0">
                    <a:schemeClr val="bg1">
                      <a:lumMod val="85000"/>
                      <a:alpha val="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09DC53E8-D5B6-4F2A-B480-2880E790C4E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32076" y="2176132"/>
              <a:ext cx="0" cy="3201468"/>
            </a:xfrm>
            <a:prstGeom prst="line">
              <a:avLst/>
            </a:prstGeom>
            <a:ln w="6350">
              <a:gradFill flip="none" rotWithShape="1">
                <a:gsLst>
                  <a:gs pos="39000">
                    <a:srgbClr val="D9D9D9"/>
                  </a:gs>
                  <a:gs pos="0">
                    <a:schemeClr val="bg1">
                      <a:lumMod val="85000"/>
                      <a:alpha val="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DC95410B-B1D8-464B-9AD4-9A3C73609A1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96002" y="2176132"/>
              <a:ext cx="0" cy="3201468"/>
            </a:xfrm>
            <a:prstGeom prst="line">
              <a:avLst/>
            </a:prstGeom>
            <a:ln w="6350">
              <a:gradFill flip="none" rotWithShape="1">
                <a:gsLst>
                  <a:gs pos="39000">
                    <a:srgbClr val="D9D9D9"/>
                  </a:gs>
                  <a:gs pos="0">
                    <a:schemeClr val="bg1">
                      <a:lumMod val="85000"/>
                      <a:alpha val="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0F2499ED-0719-4213-8A03-4FF2FB6945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459928" y="2176132"/>
              <a:ext cx="0" cy="3201468"/>
            </a:xfrm>
            <a:prstGeom prst="line">
              <a:avLst/>
            </a:prstGeom>
            <a:ln w="6350">
              <a:gradFill flip="none" rotWithShape="1">
                <a:gsLst>
                  <a:gs pos="39000">
                    <a:srgbClr val="D9D9D9"/>
                  </a:gs>
                  <a:gs pos="0">
                    <a:schemeClr val="bg1">
                      <a:lumMod val="85000"/>
                      <a:alpha val="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15F7551-B6D4-4F1A-B9A1-7FA4D2114E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23853" y="2176132"/>
              <a:ext cx="0" cy="3201468"/>
            </a:xfrm>
            <a:prstGeom prst="line">
              <a:avLst/>
            </a:prstGeom>
            <a:ln w="6350">
              <a:gradFill flip="none" rotWithShape="1">
                <a:gsLst>
                  <a:gs pos="39000">
                    <a:srgbClr val="D9D9D9"/>
                  </a:gs>
                  <a:gs pos="0">
                    <a:schemeClr val="bg1">
                      <a:lumMod val="85000"/>
                      <a:alpha val="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0CFC239-46D7-4FBC-8A07-9E09528A5C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87779" y="2176132"/>
              <a:ext cx="0" cy="3201468"/>
            </a:xfrm>
            <a:prstGeom prst="line">
              <a:avLst/>
            </a:prstGeom>
            <a:ln w="6350">
              <a:gradFill flip="none" rotWithShape="1">
                <a:gsLst>
                  <a:gs pos="39000">
                    <a:srgbClr val="D9D9D9"/>
                  </a:gs>
                  <a:gs pos="0">
                    <a:schemeClr val="bg1">
                      <a:lumMod val="85000"/>
                      <a:alpha val="0"/>
                    </a:schemeClr>
                  </a:gs>
                  <a:gs pos="100000">
                    <a:schemeClr val="bg1">
                      <a:lumMod val="85000"/>
                    </a:schemeClr>
                  </a:gs>
                </a:gsLst>
                <a:lin ang="162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BD8A026F-DCE7-41BD-A18B-DF62104101A2}"/>
              </a:ext>
            </a:extLst>
          </p:cNvPr>
          <p:cNvSpPr/>
          <p:nvPr/>
        </p:nvSpPr>
        <p:spPr>
          <a:xfrm>
            <a:off x="1187778" y="2527485"/>
            <a:ext cx="9816446" cy="2850116"/>
          </a:xfrm>
          <a:custGeom>
            <a:avLst/>
            <a:gdLst>
              <a:gd name="connsiteX0" fmla="*/ 0 w 7866743"/>
              <a:gd name="connsiteY0" fmla="*/ 0 h 2598057"/>
              <a:gd name="connsiteX1" fmla="*/ 0 w 7866743"/>
              <a:gd name="connsiteY1" fmla="*/ 2598057 h 2598057"/>
              <a:gd name="connsiteX2" fmla="*/ 7866743 w 7866743"/>
              <a:gd name="connsiteY2" fmla="*/ 2598057 h 2598057"/>
              <a:gd name="connsiteX3" fmla="*/ 5239657 w 7866743"/>
              <a:gd name="connsiteY3" fmla="*/ 2540000 h 2598057"/>
              <a:gd name="connsiteX4" fmla="*/ 3918857 w 7866743"/>
              <a:gd name="connsiteY4" fmla="*/ 2496457 h 2598057"/>
              <a:gd name="connsiteX5" fmla="*/ 2569029 w 7866743"/>
              <a:gd name="connsiteY5" fmla="*/ 2467428 h 2598057"/>
              <a:gd name="connsiteX6" fmla="*/ 2322286 w 7866743"/>
              <a:gd name="connsiteY6" fmla="*/ 2423885 h 2598057"/>
              <a:gd name="connsiteX7" fmla="*/ 2133600 w 7866743"/>
              <a:gd name="connsiteY7" fmla="*/ 2423885 h 2598057"/>
              <a:gd name="connsiteX8" fmla="*/ 1901372 w 7866743"/>
              <a:gd name="connsiteY8" fmla="*/ 2322285 h 2598057"/>
              <a:gd name="connsiteX9" fmla="*/ 1698172 w 7866743"/>
              <a:gd name="connsiteY9" fmla="*/ 2322285 h 2598057"/>
              <a:gd name="connsiteX10" fmla="*/ 1436914 w 7866743"/>
              <a:gd name="connsiteY10" fmla="*/ 2046514 h 2598057"/>
              <a:gd name="connsiteX11" fmla="*/ 1248229 w 7866743"/>
              <a:gd name="connsiteY11" fmla="*/ 2075542 h 2598057"/>
              <a:gd name="connsiteX12" fmla="*/ 1074057 w 7866743"/>
              <a:gd name="connsiteY12" fmla="*/ 2032000 h 2598057"/>
              <a:gd name="connsiteX13" fmla="*/ 928914 w 7866743"/>
              <a:gd name="connsiteY13" fmla="*/ 2032000 h 2598057"/>
              <a:gd name="connsiteX14" fmla="*/ 609600 w 7866743"/>
              <a:gd name="connsiteY14" fmla="*/ 1741714 h 2598057"/>
              <a:gd name="connsiteX15" fmla="*/ 478972 w 7866743"/>
              <a:gd name="connsiteY15" fmla="*/ 1727200 h 2598057"/>
              <a:gd name="connsiteX16" fmla="*/ 275772 w 7866743"/>
              <a:gd name="connsiteY16" fmla="*/ 1407885 h 2598057"/>
              <a:gd name="connsiteX17" fmla="*/ 145143 w 7866743"/>
              <a:gd name="connsiteY17" fmla="*/ 1349828 h 2598057"/>
              <a:gd name="connsiteX18" fmla="*/ 0 w 7866743"/>
              <a:gd name="connsiteY18" fmla="*/ 0 h 2598057"/>
              <a:gd name="connsiteX0" fmla="*/ 0 w 7866743"/>
              <a:gd name="connsiteY0" fmla="*/ 0 h 2598057"/>
              <a:gd name="connsiteX1" fmla="*/ 0 w 7866743"/>
              <a:gd name="connsiteY1" fmla="*/ 2598057 h 2598057"/>
              <a:gd name="connsiteX2" fmla="*/ 7866743 w 7866743"/>
              <a:gd name="connsiteY2" fmla="*/ 2598057 h 2598057"/>
              <a:gd name="connsiteX3" fmla="*/ 5230087 w 7866743"/>
              <a:gd name="connsiteY3" fmla="*/ 2348983 h 2598057"/>
              <a:gd name="connsiteX4" fmla="*/ 3918857 w 7866743"/>
              <a:gd name="connsiteY4" fmla="*/ 2496457 h 2598057"/>
              <a:gd name="connsiteX5" fmla="*/ 2569029 w 7866743"/>
              <a:gd name="connsiteY5" fmla="*/ 2467428 h 2598057"/>
              <a:gd name="connsiteX6" fmla="*/ 2322286 w 7866743"/>
              <a:gd name="connsiteY6" fmla="*/ 2423885 h 2598057"/>
              <a:gd name="connsiteX7" fmla="*/ 2133600 w 7866743"/>
              <a:gd name="connsiteY7" fmla="*/ 2423885 h 2598057"/>
              <a:gd name="connsiteX8" fmla="*/ 1901372 w 7866743"/>
              <a:gd name="connsiteY8" fmla="*/ 2322285 h 2598057"/>
              <a:gd name="connsiteX9" fmla="*/ 1698172 w 7866743"/>
              <a:gd name="connsiteY9" fmla="*/ 2322285 h 2598057"/>
              <a:gd name="connsiteX10" fmla="*/ 1436914 w 7866743"/>
              <a:gd name="connsiteY10" fmla="*/ 2046514 h 2598057"/>
              <a:gd name="connsiteX11" fmla="*/ 1248229 w 7866743"/>
              <a:gd name="connsiteY11" fmla="*/ 2075542 h 2598057"/>
              <a:gd name="connsiteX12" fmla="*/ 1074057 w 7866743"/>
              <a:gd name="connsiteY12" fmla="*/ 2032000 h 2598057"/>
              <a:gd name="connsiteX13" fmla="*/ 928914 w 7866743"/>
              <a:gd name="connsiteY13" fmla="*/ 2032000 h 2598057"/>
              <a:gd name="connsiteX14" fmla="*/ 609600 w 7866743"/>
              <a:gd name="connsiteY14" fmla="*/ 1741714 h 2598057"/>
              <a:gd name="connsiteX15" fmla="*/ 478972 w 7866743"/>
              <a:gd name="connsiteY15" fmla="*/ 1727200 h 2598057"/>
              <a:gd name="connsiteX16" fmla="*/ 275772 w 7866743"/>
              <a:gd name="connsiteY16" fmla="*/ 1407885 h 2598057"/>
              <a:gd name="connsiteX17" fmla="*/ 145143 w 7866743"/>
              <a:gd name="connsiteY17" fmla="*/ 1349828 h 2598057"/>
              <a:gd name="connsiteX18" fmla="*/ 0 w 7866743"/>
              <a:gd name="connsiteY18" fmla="*/ 0 h 2598057"/>
              <a:gd name="connsiteX0" fmla="*/ 0 w 7866743"/>
              <a:gd name="connsiteY0" fmla="*/ 0 h 2598057"/>
              <a:gd name="connsiteX1" fmla="*/ 0 w 7866743"/>
              <a:gd name="connsiteY1" fmla="*/ 2598057 h 2598057"/>
              <a:gd name="connsiteX2" fmla="*/ 7866743 w 7866743"/>
              <a:gd name="connsiteY2" fmla="*/ 2598057 h 2598057"/>
              <a:gd name="connsiteX3" fmla="*/ 5236468 w 7866743"/>
              <a:gd name="connsiteY3" fmla="*/ 2343194 h 2598057"/>
              <a:gd name="connsiteX4" fmla="*/ 3918857 w 7866743"/>
              <a:gd name="connsiteY4" fmla="*/ 2496457 h 2598057"/>
              <a:gd name="connsiteX5" fmla="*/ 2569029 w 7866743"/>
              <a:gd name="connsiteY5" fmla="*/ 2467428 h 2598057"/>
              <a:gd name="connsiteX6" fmla="*/ 2322286 w 7866743"/>
              <a:gd name="connsiteY6" fmla="*/ 2423885 h 2598057"/>
              <a:gd name="connsiteX7" fmla="*/ 2133600 w 7866743"/>
              <a:gd name="connsiteY7" fmla="*/ 2423885 h 2598057"/>
              <a:gd name="connsiteX8" fmla="*/ 1901372 w 7866743"/>
              <a:gd name="connsiteY8" fmla="*/ 2322285 h 2598057"/>
              <a:gd name="connsiteX9" fmla="*/ 1698172 w 7866743"/>
              <a:gd name="connsiteY9" fmla="*/ 2322285 h 2598057"/>
              <a:gd name="connsiteX10" fmla="*/ 1436914 w 7866743"/>
              <a:gd name="connsiteY10" fmla="*/ 2046514 h 2598057"/>
              <a:gd name="connsiteX11" fmla="*/ 1248229 w 7866743"/>
              <a:gd name="connsiteY11" fmla="*/ 2075542 h 2598057"/>
              <a:gd name="connsiteX12" fmla="*/ 1074057 w 7866743"/>
              <a:gd name="connsiteY12" fmla="*/ 2032000 h 2598057"/>
              <a:gd name="connsiteX13" fmla="*/ 928914 w 7866743"/>
              <a:gd name="connsiteY13" fmla="*/ 2032000 h 2598057"/>
              <a:gd name="connsiteX14" fmla="*/ 609600 w 7866743"/>
              <a:gd name="connsiteY14" fmla="*/ 1741714 h 2598057"/>
              <a:gd name="connsiteX15" fmla="*/ 478972 w 7866743"/>
              <a:gd name="connsiteY15" fmla="*/ 1727200 h 2598057"/>
              <a:gd name="connsiteX16" fmla="*/ 275772 w 7866743"/>
              <a:gd name="connsiteY16" fmla="*/ 1407885 h 2598057"/>
              <a:gd name="connsiteX17" fmla="*/ 145143 w 7866743"/>
              <a:gd name="connsiteY17" fmla="*/ 1349828 h 2598057"/>
              <a:gd name="connsiteX18" fmla="*/ 0 w 7866743"/>
              <a:gd name="connsiteY18" fmla="*/ 0 h 2598057"/>
              <a:gd name="connsiteX0" fmla="*/ 0 w 7866743"/>
              <a:gd name="connsiteY0" fmla="*/ 0 h 2598057"/>
              <a:gd name="connsiteX1" fmla="*/ 0 w 7866743"/>
              <a:gd name="connsiteY1" fmla="*/ 2598057 h 2598057"/>
              <a:gd name="connsiteX2" fmla="*/ 7866743 w 7866743"/>
              <a:gd name="connsiteY2" fmla="*/ 2598057 h 2598057"/>
              <a:gd name="connsiteX3" fmla="*/ 5236468 w 7866743"/>
              <a:gd name="connsiteY3" fmla="*/ 2343194 h 2598057"/>
              <a:gd name="connsiteX4" fmla="*/ 3995419 w 7866743"/>
              <a:gd name="connsiteY4" fmla="*/ 2415419 h 2598057"/>
              <a:gd name="connsiteX5" fmla="*/ 2569029 w 7866743"/>
              <a:gd name="connsiteY5" fmla="*/ 2467428 h 2598057"/>
              <a:gd name="connsiteX6" fmla="*/ 2322286 w 7866743"/>
              <a:gd name="connsiteY6" fmla="*/ 2423885 h 2598057"/>
              <a:gd name="connsiteX7" fmla="*/ 2133600 w 7866743"/>
              <a:gd name="connsiteY7" fmla="*/ 2423885 h 2598057"/>
              <a:gd name="connsiteX8" fmla="*/ 1901372 w 7866743"/>
              <a:gd name="connsiteY8" fmla="*/ 2322285 h 2598057"/>
              <a:gd name="connsiteX9" fmla="*/ 1698172 w 7866743"/>
              <a:gd name="connsiteY9" fmla="*/ 2322285 h 2598057"/>
              <a:gd name="connsiteX10" fmla="*/ 1436914 w 7866743"/>
              <a:gd name="connsiteY10" fmla="*/ 2046514 h 2598057"/>
              <a:gd name="connsiteX11" fmla="*/ 1248229 w 7866743"/>
              <a:gd name="connsiteY11" fmla="*/ 2075542 h 2598057"/>
              <a:gd name="connsiteX12" fmla="*/ 1074057 w 7866743"/>
              <a:gd name="connsiteY12" fmla="*/ 2032000 h 2598057"/>
              <a:gd name="connsiteX13" fmla="*/ 928914 w 7866743"/>
              <a:gd name="connsiteY13" fmla="*/ 2032000 h 2598057"/>
              <a:gd name="connsiteX14" fmla="*/ 609600 w 7866743"/>
              <a:gd name="connsiteY14" fmla="*/ 1741714 h 2598057"/>
              <a:gd name="connsiteX15" fmla="*/ 478972 w 7866743"/>
              <a:gd name="connsiteY15" fmla="*/ 1727200 h 2598057"/>
              <a:gd name="connsiteX16" fmla="*/ 275772 w 7866743"/>
              <a:gd name="connsiteY16" fmla="*/ 1407885 h 2598057"/>
              <a:gd name="connsiteX17" fmla="*/ 145143 w 7866743"/>
              <a:gd name="connsiteY17" fmla="*/ 1349828 h 2598057"/>
              <a:gd name="connsiteX18" fmla="*/ 0 w 7866743"/>
              <a:gd name="connsiteY18" fmla="*/ 0 h 2598057"/>
              <a:gd name="connsiteX0" fmla="*/ 0 w 7866743"/>
              <a:gd name="connsiteY0" fmla="*/ 0 h 2598057"/>
              <a:gd name="connsiteX1" fmla="*/ 0 w 7866743"/>
              <a:gd name="connsiteY1" fmla="*/ 2598057 h 2598057"/>
              <a:gd name="connsiteX2" fmla="*/ 7866743 w 7866743"/>
              <a:gd name="connsiteY2" fmla="*/ 2598057 h 2598057"/>
              <a:gd name="connsiteX3" fmla="*/ 5236468 w 7866743"/>
              <a:gd name="connsiteY3" fmla="*/ 2343194 h 2598057"/>
              <a:gd name="connsiteX4" fmla="*/ 3995419 w 7866743"/>
              <a:gd name="connsiteY4" fmla="*/ 2415419 h 2598057"/>
              <a:gd name="connsiteX5" fmla="*/ 2569029 w 7866743"/>
              <a:gd name="connsiteY5" fmla="*/ 2270622 h 2598057"/>
              <a:gd name="connsiteX6" fmla="*/ 2322286 w 7866743"/>
              <a:gd name="connsiteY6" fmla="*/ 2423885 h 2598057"/>
              <a:gd name="connsiteX7" fmla="*/ 2133600 w 7866743"/>
              <a:gd name="connsiteY7" fmla="*/ 2423885 h 2598057"/>
              <a:gd name="connsiteX8" fmla="*/ 1901372 w 7866743"/>
              <a:gd name="connsiteY8" fmla="*/ 2322285 h 2598057"/>
              <a:gd name="connsiteX9" fmla="*/ 1698172 w 7866743"/>
              <a:gd name="connsiteY9" fmla="*/ 2322285 h 2598057"/>
              <a:gd name="connsiteX10" fmla="*/ 1436914 w 7866743"/>
              <a:gd name="connsiteY10" fmla="*/ 2046514 h 2598057"/>
              <a:gd name="connsiteX11" fmla="*/ 1248229 w 7866743"/>
              <a:gd name="connsiteY11" fmla="*/ 2075542 h 2598057"/>
              <a:gd name="connsiteX12" fmla="*/ 1074057 w 7866743"/>
              <a:gd name="connsiteY12" fmla="*/ 2032000 h 2598057"/>
              <a:gd name="connsiteX13" fmla="*/ 928914 w 7866743"/>
              <a:gd name="connsiteY13" fmla="*/ 2032000 h 2598057"/>
              <a:gd name="connsiteX14" fmla="*/ 609600 w 7866743"/>
              <a:gd name="connsiteY14" fmla="*/ 1741714 h 2598057"/>
              <a:gd name="connsiteX15" fmla="*/ 478972 w 7866743"/>
              <a:gd name="connsiteY15" fmla="*/ 1727200 h 2598057"/>
              <a:gd name="connsiteX16" fmla="*/ 275772 w 7866743"/>
              <a:gd name="connsiteY16" fmla="*/ 1407885 h 2598057"/>
              <a:gd name="connsiteX17" fmla="*/ 145143 w 7866743"/>
              <a:gd name="connsiteY17" fmla="*/ 1349828 h 2598057"/>
              <a:gd name="connsiteX18" fmla="*/ 0 w 7866743"/>
              <a:gd name="connsiteY18" fmla="*/ 0 h 2598057"/>
              <a:gd name="connsiteX0" fmla="*/ 0 w 7866743"/>
              <a:gd name="connsiteY0" fmla="*/ 0 h 2598057"/>
              <a:gd name="connsiteX1" fmla="*/ 0 w 7866743"/>
              <a:gd name="connsiteY1" fmla="*/ 2598057 h 2598057"/>
              <a:gd name="connsiteX2" fmla="*/ 7866743 w 7866743"/>
              <a:gd name="connsiteY2" fmla="*/ 2598057 h 2598057"/>
              <a:gd name="connsiteX3" fmla="*/ 5236468 w 7866743"/>
              <a:gd name="connsiteY3" fmla="*/ 2343194 h 2598057"/>
              <a:gd name="connsiteX4" fmla="*/ 3995419 w 7866743"/>
              <a:gd name="connsiteY4" fmla="*/ 2415419 h 2598057"/>
              <a:gd name="connsiteX5" fmla="*/ 2569029 w 7866743"/>
              <a:gd name="connsiteY5" fmla="*/ 2270622 h 2598057"/>
              <a:gd name="connsiteX6" fmla="*/ 2315906 w 7866743"/>
              <a:gd name="connsiteY6" fmla="*/ 2325482 h 2598057"/>
              <a:gd name="connsiteX7" fmla="*/ 2133600 w 7866743"/>
              <a:gd name="connsiteY7" fmla="*/ 2423885 h 2598057"/>
              <a:gd name="connsiteX8" fmla="*/ 1901372 w 7866743"/>
              <a:gd name="connsiteY8" fmla="*/ 2322285 h 2598057"/>
              <a:gd name="connsiteX9" fmla="*/ 1698172 w 7866743"/>
              <a:gd name="connsiteY9" fmla="*/ 2322285 h 2598057"/>
              <a:gd name="connsiteX10" fmla="*/ 1436914 w 7866743"/>
              <a:gd name="connsiteY10" fmla="*/ 2046514 h 2598057"/>
              <a:gd name="connsiteX11" fmla="*/ 1248229 w 7866743"/>
              <a:gd name="connsiteY11" fmla="*/ 2075542 h 2598057"/>
              <a:gd name="connsiteX12" fmla="*/ 1074057 w 7866743"/>
              <a:gd name="connsiteY12" fmla="*/ 2032000 h 2598057"/>
              <a:gd name="connsiteX13" fmla="*/ 928914 w 7866743"/>
              <a:gd name="connsiteY13" fmla="*/ 2032000 h 2598057"/>
              <a:gd name="connsiteX14" fmla="*/ 609600 w 7866743"/>
              <a:gd name="connsiteY14" fmla="*/ 1741714 h 2598057"/>
              <a:gd name="connsiteX15" fmla="*/ 478972 w 7866743"/>
              <a:gd name="connsiteY15" fmla="*/ 1727200 h 2598057"/>
              <a:gd name="connsiteX16" fmla="*/ 275772 w 7866743"/>
              <a:gd name="connsiteY16" fmla="*/ 1407885 h 2598057"/>
              <a:gd name="connsiteX17" fmla="*/ 145143 w 7866743"/>
              <a:gd name="connsiteY17" fmla="*/ 1349828 h 2598057"/>
              <a:gd name="connsiteX18" fmla="*/ 0 w 7866743"/>
              <a:gd name="connsiteY18" fmla="*/ 0 h 2598057"/>
              <a:gd name="connsiteX0" fmla="*/ 0 w 7866743"/>
              <a:gd name="connsiteY0" fmla="*/ 0 h 2598057"/>
              <a:gd name="connsiteX1" fmla="*/ 0 w 7866743"/>
              <a:gd name="connsiteY1" fmla="*/ 2598057 h 2598057"/>
              <a:gd name="connsiteX2" fmla="*/ 7866743 w 7866743"/>
              <a:gd name="connsiteY2" fmla="*/ 2598057 h 2598057"/>
              <a:gd name="connsiteX3" fmla="*/ 5236468 w 7866743"/>
              <a:gd name="connsiteY3" fmla="*/ 2343194 h 2598057"/>
              <a:gd name="connsiteX4" fmla="*/ 3995419 w 7866743"/>
              <a:gd name="connsiteY4" fmla="*/ 2415419 h 2598057"/>
              <a:gd name="connsiteX5" fmla="*/ 2569029 w 7866743"/>
              <a:gd name="connsiteY5" fmla="*/ 2270622 h 2598057"/>
              <a:gd name="connsiteX6" fmla="*/ 2315906 w 7866743"/>
              <a:gd name="connsiteY6" fmla="*/ 2325482 h 2598057"/>
              <a:gd name="connsiteX7" fmla="*/ 2146360 w 7866743"/>
              <a:gd name="connsiteY7" fmla="*/ 2099733 h 2598057"/>
              <a:gd name="connsiteX8" fmla="*/ 1901372 w 7866743"/>
              <a:gd name="connsiteY8" fmla="*/ 2322285 h 2598057"/>
              <a:gd name="connsiteX9" fmla="*/ 1698172 w 7866743"/>
              <a:gd name="connsiteY9" fmla="*/ 2322285 h 2598057"/>
              <a:gd name="connsiteX10" fmla="*/ 1436914 w 7866743"/>
              <a:gd name="connsiteY10" fmla="*/ 2046514 h 2598057"/>
              <a:gd name="connsiteX11" fmla="*/ 1248229 w 7866743"/>
              <a:gd name="connsiteY11" fmla="*/ 2075542 h 2598057"/>
              <a:gd name="connsiteX12" fmla="*/ 1074057 w 7866743"/>
              <a:gd name="connsiteY12" fmla="*/ 2032000 h 2598057"/>
              <a:gd name="connsiteX13" fmla="*/ 928914 w 7866743"/>
              <a:gd name="connsiteY13" fmla="*/ 2032000 h 2598057"/>
              <a:gd name="connsiteX14" fmla="*/ 609600 w 7866743"/>
              <a:gd name="connsiteY14" fmla="*/ 1741714 h 2598057"/>
              <a:gd name="connsiteX15" fmla="*/ 478972 w 7866743"/>
              <a:gd name="connsiteY15" fmla="*/ 1727200 h 2598057"/>
              <a:gd name="connsiteX16" fmla="*/ 275772 w 7866743"/>
              <a:gd name="connsiteY16" fmla="*/ 1407885 h 2598057"/>
              <a:gd name="connsiteX17" fmla="*/ 145143 w 7866743"/>
              <a:gd name="connsiteY17" fmla="*/ 1349828 h 2598057"/>
              <a:gd name="connsiteX18" fmla="*/ 0 w 7866743"/>
              <a:gd name="connsiteY18" fmla="*/ 0 h 2598057"/>
              <a:gd name="connsiteX0" fmla="*/ 0 w 7866743"/>
              <a:gd name="connsiteY0" fmla="*/ 0 h 2598057"/>
              <a:gd name="connsiteX1" fmla="*/ 0 w 7866743"/>
              <a:gd name="connsiteY1" fmla="*/ 2598057 h 2598057"/>
              <a:gd name="connsiteX2" fmla="*/ 7866743 w 7866743"/>
              <a:gd name="connsiteY2" fmla="*/ 2598057 h 2598057"/>
              <a:gd name="connsiteX3" fmla="*/ 5236468 w 7866743"/>
              <a:gd name="connsiteY3" fmla="*/ 2343194 h 2598057"/>
              <a:gd name="connsiteX4" fmla="*/ 3995419 w 7866743"/>
              <a:gd name="connsiteY4" fmla="*/ 2415419 h 2598057"/>
              <a:gd name="connsiteX5" fmla="*/ 2569029 w 7866743"/>
              <a:gd name="connsiteY5" fmla="*/ 2270622 h 2598057"/>
              <a:gd name="connsiteX6" fmla="*/ 2315906 w 7866743"/>
              <a:gd name="connsiteY6" fmla="*/ 2325482 h 2598057"/>
              <a:gd name="connsiteX7" fmla="*/ 2146360 w 7866743"/>
              <a:gd name="connsiteY7" fmla="*/ 2099733 h 2598057"/>
              <a:gd name="connsiteX8" fmla="*/ 1901372 w 7866743"/>
              <a:gd name="connsiteY8" fmla="*/ 2322285 h 2598057"/>
              <a:gd name="connsiteX9" fmla="*/ 1698172 w 7866743"/>
              <a:gd name="connsiteY9" fmla="*/ 2322285 h 2598057"/>
              <a:gd name="connsiteX10" fmla="*/ 1436914 w 7866743"/>
              <a:gd name="connsiteY10" fmla="*/ 1629748 h 2598057"/>
              <a:gd name="connsiteX11" fmla="*/ 1248229 w 7866743"/>
              <a:gd name="connsiteY11" fmla="*/ 2075542 h 2598057"/>
              <a:gd name="connsiteX12" fmla="*/ 1074057 w 7866743"/>
              <a:gd name="connsiteY12" fmla="*/ 2032000 h 2598057"/>
              <a:gd name="connsiteX13" fmla="*/ 928914 w 7866743"/>
              <a:gd name="connsiteY13" fmla="*/ 2032000 h 2598057"/>
              <a:gd name="connsiteX14" fmla="*/ 609600 w 7866743"/>
              <a:gd name="connsiteY14" fmla="*/ 1741714 h 2598057"/>
              <a:gd name="connsiteX15" fmla="*/ 478972 w 7866743"/>
              <a:gd name="connsiteY15" fmla="*/ 1727200 h 2598057"/>
              <a:gd name="connsiteX16" fmla="*/ 275772 w 7866743"/>
              <a:gd name="connsiteY16" fmla="*/ 1407885 h 2598057"/>
              <a:gd name="connsiteX17" fmla="*/ 145143 w 7866743"/>
              <a:gd name="connsiteY17" fmla="*/ 1349828 h 2598057"/>
              <a:gd name="connsiteX18" fmla="*/ 0 w 7866743"/>
              <a:gd name="connsiteY18" fmla="*/ 0 h 2598057"/>
              <a:gd name="connsiteX0" fmla="*/ 0 w 7866743"/>
              <a:gd name="connsiteY0" fmla="*/ 0 h 2598057"/>
              <a:gd name="connsiteX1" fmla="*/ 0 w 7866743"/>
              <a:gd name="connsiteY1" fmla="*/ 2598057 h 2598057"/>
              <a:gd name="connsiteX2" fmla="*/ 7866743 w 7866743"/>
              <a:gd name="connsiteY2" fmla="*/ 2598057 h 2598057"/>
              <a:gd name="connsiteX3" fmla="*/ 5236468 w 7866743"/>
              <a:gd name="connsiteY3" fmla="*/ 2343194 h 2598057"/>
              <a:gd name="connsiteX4" fmla="*/ 3995419 w 7866743"/>
              <a:gd name="connsiteY4" fmla="*/ 2415419 h 2598057"/>
              <a:gd name="connsiteX5" fmla="*/ 2569029 w 7866743"/>
              <a:gd name="connsiteY5" fmla="*/ 2270622 h 2598057"/>
              <a:gd name="connsiteX6" fmla="*/ 2315906 w 7866743"/>
              <a:gd name="connsiteY6" fmla="*/ 2325482 h 2598057"/>
              <a:gd name="connsiteX7" fmla="*/ 2146360 w 7866743"/>
              <a:gd name="connsiteY7" fmla="*/ 2099733 h 2598057"/>
              <a:gd name="connsiteX8" fmla="*/ 1901372 w 7866743"/>
              <a:gd name="connsiteY8" fmla="*/ 2322285 h 2598057"/>
              <a:gd name="connsiteX9" fmla="*/ 1698172 w 7866743"/>
              <a:gd name="connsiteY9" fmla="*/ 2322285 h 2598057"/>
              <a:gd name="connsiteX10" fmla="*/ 1436914 w 7866743"/>
              <a:gd name="connsiteY10" fmla="*/ 1629748 h 2598057"/>
              <a:gd name="connsiteX11" fmla="*/ 1248229 w 7866743"/>
              <a:gd name="connsiteY11" fmla="*/ 2075542 h 2598057"/>
              <a:gd name="connsiteX12" fmla="*/ 1074057 w 7866743"/>
              <a:gd name="connsiteY12" fmla="*/ 2032000 h 2598057"/>
              <a:gd name="connsiteX13" fmla="*/ 928914 w 7866743"/>
              <a:gd name="connsiteY13" fmla="*/ 2032000 h 2598057"/>
              <a:gd name="connsiteX14" fmla="*/ 718063 w 7866743"/>
              <a:gd name="connsiteY14" fmla="*/ 1284429 h 2598057"/>
              <a:gd name="connsiteX15" fmla="*/ 478972 w 7866743"/>
              <a:gd name="connsiteY15" fmla="*/ 1727200 h 2598057"/>
              <a:gd name="connsiteX16" fmla="*/ 275772 w 7866743"/>
              <a:gd name="connsiteY16" fmla="*/ 1407885 h 2598057"/>
              <a:gd name="connsiteX17" fmla="*/ 145143 w 7866743"/>
              <a:gd name="connsiteY17" fmla="*/ 1349828 h 2598057"/>
              <a:gd name="connsiteX18" fmla="*/ 0 w 7866743"/>
              <a:gd name="connsiteY18" fmla="*/ 0 h 2598057"/>
              <a:gd name="connsiteX0" fmla="*/ 0 w 7866743"/>
              <a:gd name="connsiteY0" fmla="*/ 0 h 2598057"/>
              <a:gd name="connsiteX1" fmla="*/ 0 w 7866743"/>
              <a:gd name="connsiteY1" fmla="*/ 2598057 h 2598057"/>
              <a:gd name="connsiteX2" fmla="*/ 7866743 w 7866743"/>
              <a:gd name="connsiteY2" fmla="*/ 2598057 h 2598057"/>
              <a:gd name="connsiteX3" fmla="*/ 5236468 w 7866743"/>
              <a:gd name="connsiteY3" fmla="*/ 2343194 h 2598057"/>
              <a:gd name="connsiteX4" fmla="*/ 3995419 w 7866743"/>
              <a:gd name="connsiteY4" fmla="*/ 2415419 h 2598057"/>
              <a:gd name="connsiteX5" fmla="*/ 2569029 w 7866743"/>
              <a:gd name="connsiteY5" fmla="*/ 2270622 h 2598057"/>
              <a:gd name="connsiteX6" fmla="*/ 2315906 w 7866743"/>
              <a:gd name="connsiteY6" fmla="*/ 2325482 h 2598057"/>
              <a:gd name="connsiteX7" fmla="*/ 2146360 w 7866743"/>
              <a:gd name="connsiteY7" fmla="*/ 2099733 h 2598057"/>
              <a:gd name="connsiteX8" fmla="*/ 1901372 w 7866743"/>
              <a:gd name="connsiteY8" fmla="*/ 2322285 h 2598057"/>
              <a:gd name="connsiteX9" fmla="*/ 1698172 w 7866743"/>
              <a:gd name="connsiteY9" fmla="*/ 2322285 h 2598057"/>
              <a:gd name="connsiteX10" fmla="*/ 1436914 w 7866743"/>
              <a:gd name="connsiteY10" fmla="*/ 1629748 h 2598057"/>
              <a:gd name="connsiteX11" fmla="*/ 1248229 w 7866743"/>
              <a:gd name="connsiteY11" fmla="*/ 2075542 h 2598057"/>
              <a:gd name="connsiteX12" fmla="*/ 1074057 w 7866743"/>
              <a:gd name="connsiteY12" fmla="*/ 2032000 h 2598057"/>
              <a:gd name="connsiteX13" fmla="*/ 928914 w 7866743"/>
              <a:gd name="connsiteY13" fmla="*/ 2032000 h 2598057"/>
              <a:gd name="connsiteX14" fmla="*/ 718063 w 7866743"/>
              <a:gd name="connsiteY14" fmla="*/ 1284429 h 2598057"/>
              <a:gd name="connsiteX15" fmla="*/ 478972 w 7866743"/>
              <a:gd name="connsiteY15" fmla="*/ 1727200 h 2598057"/>
              <a:gd name="connsiteX16" fmla="*/ 275772 w 7866743"/>
              <a:gd name="connsiteY16" fmla="*/ 1407885 h 2598057"/>
              <a:gd name="connsiteX17" fmla="*/ 177044 w 7866743"/>
              <a:gd name="connsiteY17" fmla="*/ 1019888 h 2598057"/>
              <a:gd name="connsiteX18" fmla="*/ 0 w 7866743"/>
              <a:gd name="connsiteY18" fmla="*/ 0 h 2598057"/>
              <a:gd name="connsiteX0" fmla="*/ 0 w 7866743"/>
              <a:gd name="connsiteY0" fmla="*/ 0 h 2598057"/>
              <a:gd name="connsiteX1" fmla="*/ 0 w 7866743"/>
              <a:gd name="connsiteY1" fmla="*/ 2598057 h 2598057"/>
              <a:gd name="connsiteX2" fmla="*/ 7866743 w 7866743"/>
              <a:gd name="connsiteY2" fmla="*/ 2598057 h 2598057"/>
              <a:gd name="connsiteX3" fmla="*/ 5236468 w 7866743"/>
              <a:gd name="connsiteY3" fmla="*/ 2343194 h 2598057"/>
              <a:gd name="connsiteX4" fmla="*/ 3995419 w 7866743"/>
              <a:gd name="connsiteY4" fmla="*/ 2415419 h 2598057"/>
              <a:gd name="connsiteX5" fmla="*/ 2569029 w 7866743"/>
              <a:gd name="connsiteY5" fmla="*/ 2270622 h 2598057"/>
              <a:gd name="connsiteX6" fmla="*/ 2315906 w 7866743"/>
              <a:gd name="connsiteY6" fmla="*/ 2325482 h 2598057"/>
              <a:gd name="connsiteX7" fmla="*/ 2146360 w 7866743"/>
              <a:gd name="connsiteY7" fmla="*/ 2099733 h 2598057"/>
              <a:gd name="connsiteX8" fmla="*/ 1901372 w 7866743"/>
              <a:gd name="connsiteY8" fmla="*/ 2322285 h 2598057"/>
              <a:gd name="connsiteX9" fmla="*/ 1698172 w 7866743"/>
              <a:gd name="connsiteY9" fmla="*/ 2322285 h 2598057"/>
              <a:gd name="connsiteX10" fmla="*/ 1436914 w 7866743"/>
              <a:gd name="connsiteY10" fmla="*/ 1629748 h 2598057"/>
              <a:gd name="connsiteX11" fmla="*/ 1248229 w 7866743"/>
              <a:gd name="connsiteY11" fmla="*/ 2075542 h 2598057"/>
              <a:gd name="connsiteX12" fmla="*/ 1074057 w 7866743"/>
              <a:gd name="connsiteY12" fmla="*/ 2032000 h 2598057"/>
              <a:gd name="connsiteX13" fmla="*/ 928914 w 7866743"/>
              <a:gd name="connsiteY13" fmla="*/ 2032000 h 2598057"/>
              <a:gd name="connsiteX14" fmla="*/ 718063 w 7866743"/>
              <a:gd name="connsiteY14" fmla="*/ 1284429 h 2598057"/>
              <a:gd name="connsiteX15" fmla="*/ 478972 w 7866743"/>
              <a:gd name="connsiteY15" fmla="*/ 1727200 h 2598057"/>
              <a:gd name="connsiteX16" fmla="*/ 333193 w 7866743"/>
              <a:gd name="connsiteY16" fmla="*/ 1158983 h 2598057"/>
              <a:gd name="connsiteX17" fmla="*/ 177044 w 7866743"/>
              <a:gd name="connsiteY17" fmla="*/ 1019888 h 2598057"/>
              <a:gd name="connsiteX18" fmla="*/ 0 w 7866743"/>
              <a:gd name="connsiteY18" fmla="*/ 0 h 2598057"/>
              <a:gd name="connsiteX0" fmla="*/ 0 w 7866743"/>
              <a:gd name="connsiteY0" fmla="*/ 0 h 2598057"/>
              <a:gd name="connsiteX1" fmla="*/ 0 w 7866743"/>
              <a:gd name="connsiteY1" fmla="*/ 2598057 h 2598057"/>
              <a:gd name="connsiteX2" fmla="*/ 7866743 w 7866743"/>
              <a:gd name="connsiteY2" fmla="*/ 2598057 h 2598057"/>
              <a:gd name="connsiteX3" fmla="*/ 5236468 w 7866743"/>
              <a:gd name="connsiteY3" fmla="*/ 2343194 h 2598057"/>
              <a:gd name="connsiteX4" fmla="*/ 3995419 w 7866743"/>
              <a:gd name="connsiteY4" fmla="*/ 2415419 h 2598057"/>
              <a:gd name="connsiteX5" fmla="*/ 2569029 w 7866743"/>
              <a:gd name="connsiteY5" fmla="*/ 2270622 h 2598057"/>
              <a:gd name="connsiteX6" fmla="*/ 2315906 w 7866743"/>
              <a:gd name="connsiteY6" fmla="*/ 2325482 h 2598057"/>
              <a:gd name="connsiteX7" fmla="*/ 2146360 w 7866743"/>
              <a:gd name="connsiteY7" fmla="*/ 2099733 h 2598057"/>
              <a:gd name="connsiteX8" fmla="*/ 1901372 w 7866743"/>
              <a:gd name="connsiteY8" fmla="*/ 2322285 h 2598057"/>
              <a:gd name="connsiteX9" fmla="*/ 1698172 w 7866743"/>
              <a:gd name="connsiteY9" fmla="*/ 2322285 h 2598057"/>
              <a:gd name="connsiteX10" fmla="*/ 1436914 w 7866743"/>
              <a:gd name="connsiteY10" fmla="*/ 1629748 h 2598057"/>
              <a:gd name="connsiteX11" fmla="*/ 1248229 w 7866743"/>
              <a:gd name="connsiteY11" fmla="*/ 2075542 h 2598057"/>
              <a:gd name="connsiteX12" fmla="*/ 1074057 w 7866743"/>
              <a:gd name="connsiteY12" fmla="*/ 2032000 h 2598057"/>
              <a:gd name="connsiteX13" fmla="*/ 928914 w 7866743"/>
              <a:gd name="connsiteY13" fmla="*/ 2032000 h 2598057"/>
              <a:gd name="connsiteX14" fmla="*/ 718063 w 7866743"/>
              <a:gd name="connsiteY14" fmla="*/ 1284429 h 2598057"/>
              <a:gd name="connsiteX15" fmla="*/ 491733 w 7866743"/>
              <a:gd name="connsiteY15" fmla="*/ 1333588 h 2598057"/>
              <a:gd name="connsiteX16" fmla="*/ 333193 w 7866743"/>
              <a:gd name="connsiteY16" fmla="*/ 1158983 h 2598057"/>
              <a:gd name="connsiteX17" fmla="*/ 177044 w 7866743"/>
              <a:gd name="connsiteY17" fmla="*/ 1019888 h 2598057"/>
              <a:gd name="connsiteX18" fmla="*/ 0 w 7866743"/>
              <a:gd name="connsiteY18" fmla="*/ 0 h 2598057"/>
              <a:gd name="connsiteX0" fmla="*/ 0 w 7866743"/>
              <a:gd name="connsiteY0" fmla="*/ 0 h 2598057"/>
              <a:gd name="connsiteX1" fmla="*/ 0 w 7866743"/>
              <a:gd name="connsiteY1" fmla="*/ 2598057 h 2598057"/>
              <a:gd name="connsiteX2" fmla="*/ 7866743 w 7866743"/>
              <a:gd name="connsiteY2" fmla="*/ 2598057 h 2598057"/>
              <a:gd name="connsiteX3" fmla="*/ 5236468 w 7866743"/>
              <a:gd name="connsiteY3" fmla="*/ 2343194 h 2598057"/>
              <a:gd name="connsiteX4" fmla="*/ 3995419 w 7866743"/>
              <a:gd name="connsiteY4" fmla="*/ 2415419 h 2598057"/>
              <a:gd name="connsiteX5" fmla="*/ 2569029 w 7866743"/>
              <a:gd name="connsiteY5" fmla="*/ 2270622 h 2598057"/>
              <a:gd name="connsiteX6" fmla="*/ 2315906 w 7866743"/>
              <a:gd name="connsiteY6" fmla="*/ 2325482 h 2598057"/>
              <a:gd name="connsiteX7" fmla="*/ 2146360 w 7866743"/>
              <a:gd name="connsiteY7" fmla="*/ 2099733 h 2598057"/>
              <a:gd name="connsiteX8" fmla="*/ 1901372 w 7866743"/>
              <a:gd name="connsiteY8" fmla="*/ 2322285 h 2598057"/>
              <a:gd name="connsiteX9" fmla="*/ 1698172 w 7866743"/>
              <a:gd name="connsiteY9" fmla="*/ 2322285 h 2598057"/>
              <a:gd name="connsiteX10" fmla="*/ 1436914 w 7866743"/>
              <a:gd name="connsiteY10" fmla="*/ 1629748 h 2598057"/>
              <a:gd name="connsiteX11" fmla="*/ 1248229 w 7866743"/>
              <a:gd name="connsiteY11" fmla="*/ 2075542 h 2598057"/>
              <a:gd name="connsiteX12" fmla="*/ 1074057 w 7866743"/>
              <a:gd name="connsiteY12" fmla="*/ 2032000 h 2598057"/>
              <a:gd name="connsiteX13" fmla="*/ 928914 w 7866743"/>
              <a:gd name="connsiteY13" fmla="*/ 1881501 h 2598057"/>
              <a:gd name="connsiteX14" fmla="*/ 718063 w 7866743"/>
              <a:gd name="connsiteY14" fmla="*/ 1284429 h 2598057"/>
              <a:gd name="connsiteX15" fmla="*/ 491733 w 7866743"/>
              <a:gd name="connsiteY15" fmla="*/ 1333588 h 2598057"/>
              <a:gd name="connsiteX16" fmla="*/ 333193 w 7866743"/>
              <a:gd name="connsiteY16" fmla="*/ 1158983 h 2598057"/>
              <a:gd name="connsiteX17" fmla="*/ 177044 w 7866743"/>
              <a:gd name="connsiteY17" fmla="*/ 1019888 h 2598057"/>
              <a:gd name="connsiteX18" fmla="*/ 0 w 7866743"/>
              <a:gd name="connsiteY18" fmla="*/ 0 h 2598057"/>
              <a:gd name="connsiteX0" fmla="*/ 0 w 7866743"/>
              <a:gd name="connsiteY0" fmla="*/ 0 h 2598057"/>
              <a:gd name="connsiteX1" fmla="*/ 0 w 7866743"/>
              <a:gd name="connsiteY1" fmla="*/ 2598057 h 2598057"/>
              <a:gd name="connsiteX2" fmla="*/ 7866743 w 7866743"/>
              <a:gd name="connsiteY2" fmla="*/ 2598057 h 2598057"/>
              <a:gd name="connsiteX3" fmla="*/ 5236468 w 7866743"/>
              <a:gd name="connsiteY3" fmla="*/ 2343194 h 2598057"/>
              <a:gd name="connsiteX4" fmla="*/ 3995419 w 7866743"/>
              <a:gd name="connsiteY4" fmla="*/ 2415419 h 2598057"/>
              <a:gd name="connsiteX5" fmla="*/ 2569029 w 7866743"/>
              <a:gd name="connsiteY5" fmla="*/ 2270622 h 2598057"/>
              <a:gd name="connsiteX6" fmla="*/ 2315906 w 7866743"/>
              <a:gd name="connsiteY6" fmla="*/ 2325482 h 2598057"/>
              <a:gd name="connsiteX7" fmla="*/ 2146360 w 7866743"/>
              <a:gd name="connsiteY7" fmla="*/ 2099733 h 2598057"/>
              <a:gd name="connsiteX8" fmla="*/ 1901372 w 7866743"/>
              <a:gd name="connsiteY8" fmla="*/ 2322285 h 2598057"/>
              <a:gd name="connsiteX9" fmla="*/ 1698172 w 7866743"/>
              <a:gd name="connsiteY9" fmla="*/ 2322285 h 2598057"/>
              <a:gd name="connsiteX10" fmla="*/ 1436914 w 7866743"/>
              <a:gd name="connsiteY10" fmla="*/ 1629748 h 2598057"/>
              <a:gd name="connsiteX11" fmla="*/ 1248229 w 7866743"/>
              <a:gd name="connsiteY11" fmla="*/ 2075542 h 2598057"/>
              <a:gd name="connsiteX12" fmla="*/ 1099578 w 7866743"/>
              <a:gd name="connsiteY12" fmla="*/ 1777310 h 2598057"/>
              <a:gd name="connsiteX13" fmla="*/ 928914 w 7866743"/>
              <a:gd name="connsiteY13" fmla="*/ 1881501 h 2598057"/>
              <a:gd name="connsiteX14" fmla="*/ 718063 w 7866743"/>
              <a:gd name="connsiteY14" fmla="*/ 1284429 h 2598057"/>
              <a:gd name="connsiteX15" fmla="*/ 491733 w 7866743"/>
              <a:gd name="connsiteY15" fmla="*/ 1333588 h 2598057"/>
              <a:gd name="connsiteX16" fmla="*/ 333193 w 7866743"/>
              <a:gd name="connsiteY16" fmla="*/ 1158983 h 2598057"/>
              <a:gd name="connsiteX17" fmla="*/ 177044 w 7866743"/>
              <a:gd name="connsiteY17" fmla="*/ 1019888 h 2598057"/>
              <a:gd name="connsiteX18" fmla="*/ 0 w 7866743"/>
              <a:gd name="connsiteY18" fmla="*/ 0 h 2598057"/>
              <a:gd name="connsiteX0" fmla="*/ 0 w 7866743"/>
              <a:gd name="connsiteY0" fmla="*/ 0 h 2598057"/>
              <a:gd name="connsiteX1" fmla="*/ 0 w 7866743"/>
              <a:gd name="connsiteY1" fmla="*/ 2598057 h 2598057"/>
              <a:gd name="connsiteX2" fmla="*/ 7866743 w 7866743"/>
              <a:gd name="connsiteY2" fmla="*/ 2598057 h 2598057"/>
              <a:gd name="connsiteX3" fmla="*/ 5236468 w 7866743"/>
              <a:gd name="connsiteY3" fmla="*/ 2343194 h 2598057"/>
              <a:gd name="connsiteX4" fmla="*/ 3995419 w 7866743"/>
              <a:gd name="connsiteY4" fmla="*/ 2415419 h 2598057"/>
              <a:gd name="connsiteX5" fmla="*/ 2569029 w 7866743"/>
              <a:gd name="connsiteY5" fmla="*/ 2270622 h 2598057"/>
              <a:gd name="connsiteX6" fmla="*/ 2315906 w 7866743"/>
              <a:gd name="connsiteY6" fmla="*/ 2325482 h 2598057"/>
              <a:gd name="connsiteX7" fmla="*/ 2146360 w 7866743"/>
              <a:gd name="connsiteY7" fmla="*/ 2099733 h 2598057"/>
              <a:gd name="connsiteX8" fmla="*/ 1901372 w 7866743"/>
              <a:gd name="connsiteY8" fmla="*/ 2322285 h 2598057"/>
              <a:gd name="connsiteX9" fmla="*/ 1698172 w 7866743"/>
              <a:gd name="connsiteY9" fmla="*/ 2322285 h 2598057"/>
              <a:gd name="connsiteX10" fmla="*/ 1436914 w 7866743"/>
              <a:gd name="connsiteY10" fmla="*/ 1629748 h 2598057"/>
              <a:gd name="connsiteX11" fmla="*/ 1248229 w 7866743"/>
              <a:gd name="connsiteY11" fmla="*/ 1844006 h 2598057"/>
              <a:gd name="connsiteX12" fmla="*/ 1099578 w 7866743"/>
              <a:gd name="connsiteY12" fmla="*/ 1777310 h 2598057"/>
              <a:gd name="connsiteX13" fmla="*/ 928914 w 7866743"/>
              <a:gd name="connsiteY13" fmla="*/ 1881501 h 2598057"/>
              <a:gd name="connsiteX14" fmla="*/ 718063 w 7866743"/>
              <a:gd name="connsiteY14" fmla="*/ 1284429 h 2598057"/>
              <a:gd name="connsiteX15" fmla="*/ 491733 w 7866743"/>
              <a:gd name="connsiteY15" fmla="*/ 1333588 h 2598057"/>
              <a:gd name="connsiteX16" fmla="*/ 333193 w 7866743"/>
              <a:gd name="connsiteY16" fmla="*/ 1158983 h 2598057"/>
              <a:gd name="connsiteX17" fmla="*/ 177044 w 7866743"/>
              <a:gd name="connsiteY17" fmla="*/ 1019888 h 2598057"/>
              <a:gd name="connsiteX18" fmla="*/ 0 w 7866743"/>
              <a:gd name="connsiteY18" fmla="*/ 0 h 2598057"/>
              <a:gd name="connsiteX0" fmla="*/ 0 w 7866743"/>
              <a:gd name="connsiteY0" fmla="*/ 0 h 2598057"/>
              <a:gd name="connsiteX1" fmla="*/ 0 w 7866743"/>
              <a:gd name="connsiteY1" fmla="*/ 2598057 h 2598057"/>
              <a:gd name="connsiteX2" fmla="*/ 7866743 w 7866743"/>
              <a:gd name="connsiteY2" fmla="*/ 2598057 h 2598057"/>
              <a:gd name="connsiteX3" fmla="*/ 5236468 w 7866743"/>
              <a:gd name="connsiteY3" fmla="*/ 2343194 h 2598057"/>
              <a:gd name="connsiteX4" fmla="*/ 3995419 w 7866743"/>
              <a:gd name="connsiteY4" fmla="*/ 2415419 h 2598057"/>
              <a:gd name="connsiteX5" fmla="*/ 2569029 w 7866743"/>
              <a:gd name="connsiteY5" fmla="*/ 2270622 h 2598057"/>
              <a:gd name="connsiteX6" fmla="*/ 2315906 w 7866743"/>
              <a:gd name="connsiteY6" fmla="*/ 2325482 h 2598057"/>
              <a:gd name="connsiteX7" fmla="*/ 2146360 w 7866743"/>
              <a:gd name="connsiteY7" fmla="*/ 2099733 h 2598057"/>
              <a:gd name="connsiteX8" fmla="*/ 1901372 w 7866743"/>
              <a:gd name="connsiteY8" fmla="*/ 2322285 h 2598057"/>
              <a:gd name="connsiteX9" fmla="*/ 1704553 w 7866743"/>
              <a:gd name="connsiteY9" fmla="*/ 1870788 h 2598057"/>
              <a:gd name="connsiteX10" fmla="*/ 1436914 w 7866743"/>
              <a:gd name="connsiteY10" fmla="*/ 1629748 h 2598057"/>
              <a:gd name="connsiteX11" fmla="*/ 1248229 w 7866743"/>
              <a:gd name="connsiteY11" fmla="*/ 1844006 h 2598057"/>
              <a:gd name="connsiteX12" fmla="*/ 1099578 w 7866743"/>
              <a:gd name="connsiteY12" fmla="*/ 1777310 h 2598057"/>
              <a:gd name="connsiteX13" fmla="*/ 928914 w 7866743"/>
              <a:gd name="connsiteY13" fmla="*/ 1881501 h 2598057"/>
              <a:gd name="connsiteX14" fmla="*/ 718063 w 7866743"/>
              <a:gd name="connsiteY14" fmla="*/ 1284429 h 2598057"/>
              <a:gd name="connsiteX15" fmla="*/ 491733 w 7866743"/>
              <a:gd name="connsiteY15" fmla="*/ 1333588 h 2598057"/>
              <a:gd name="connsiteX16" fmla="*/ 333193 w 7866743"/>
              <a:gd name="connsiteY16" fmla="*/ 1158983 h 2598057"/>
              <a:gd name="connsiteX17" fmla="*/ 177044 w 7866743"/>
              <a:gd name="connsiteY17" fmla="*/ 1019888 h 2598057"/>
              <a:gd name="connsiteX18" fmla="*/ 0 w 7866743"/>
              <a:gd name="connsiteY18" fmla="*/ 0 h 2598057"/>
              <a:gd name="connsiteX0" fmla="*/ 0 w 7866743"/>
              <a:gd name="connsiteY0" fmla="*/ 0 h 2598057"/>
              <a:gd name="connsiteX1" fmla="*/ 0 w 7866743"/>
              <a:gd name="connsiteY1" fmla="*/ 2598057 h 2598057"/>
              <a:gd name="connsiteX2" fmla="*/ 7866743 w 7866743"/>
              <a:gd name="connsiteY2" fmla="*/ 2598057 h 2598057"/>
              <a:gd name="connsiteX3" fmla="*/ 5236468 w 7866743"/>
              <a:gd name="connsiteY3" fmla="*/ 2343194 h 2598057"/>
              <a:gd name="connsiteX4" fmla="*/ 3995419 w 7866743"/>
              <a:gd name="connsiteY4" fmla="*/ 2415419 h 2598057"/>
              <a:gd name="connsiteX5" fmla="*/ 2569029 w 7866743"/>
              <a:gd name="connsiteY5" fmla="*/ 2270622 h 2598057"/>
              <a:gd name="connsiteX6" fmla="*/ 2315906 w 7866743"/>
              <a:gd name="connsiteY6" fmla="*/ 2325482 h 2598057"/>
              <a:gd name="connsiteX7" fmla="*/ 2146360 w 7866743"/>
              <a:gd name="connsiteY7" fmla="*/ 2099733 h 2598057"/>
              <a:gd name="connsiteX8" fmla="*/ 1952414 w 7866743"/>
              <a:gd name="connsiteY8" fmla="*/ 1893942 h 2598057"/>
              <a:gd name="connsiteX9" fmla="*/ 1704553 w 7866743"/>
              <a:gd name="connsiteY9" fmla="*/ 1870788 h 2598057"/>
              <a:gd name="connsiteX10" fmla="*/ 1436914 w 7866743"/>
              <a:gd name="connsiteY10" fmla="*/ 1629748 h 2598057"/>
              <a:gd name="connsiteX11" fmla="*/ 1248229 w 7866743"/>
              <a:gd name="connsiteY11" fmla="*/ 1844006 h 2598057"/>
              <a:gd name="connsiteX12" fmla="*/ 1099578 w 7866743"/>
              <a:gd name="connsiteY12" fmla="*/ 1777310 h 2598057"/>
              <a:gd name="connsiteX13" fmla="*/ 928914 w 7866743"/>
              <a:gd name="connsiteY13" fmla="*/ 1881501 h 2598057"/>
              <a:gd name="connsiteX14" fmla="*/ 718063 w 7866743"/>
              <a:gd name="connsiteY14" fmla="*/ 1284429 h 2598057"/>
              <a:gd name="connsiteX15" fmla="*/ 491733 w 7866743"/>
              <a:gd name="connsiteY15" fmla="*/ 1333588 h 2598057"/>
              <a:gd name="connsiteX16" fmla="*/ 333193 w 7866743"/>
              <a:gd name="connsiteY16" fmla="*/ 1158983 h 2598057"/>
              <a:gd name="connsiteX17" fmla="*/ 177044 w 7866743"/>
              <a:gd name="connsiteY17" fmla="*/ 1019888 h 2598057"/>
              <a:gd name="connsiteX18" fmla="*/ 0 w 7866743"/>
              <a:gd name="connsiteY18" fmla="*/ 0 h 2598057"/>
              <a:gd name="connsiteX0" fmla="*/ 0 w 7866743"/>
              <a:gd name="connsiteY0" fmla="*/ 0 h 2598057"/>
              <a:gd name="connsiteX1" fmla="*/ 0 w 7866743"/>
              <a:gd name="connsiteY1" fmla="*/ 2598057 h 2598057"/>
              <a:gd name="connsiteX2" fmla="*/ 7866743 w 7866743"/>
              <a:gd name="connsiteY2" fmla="*/ 2598057 h 2598057"/>
              <a:gd name="connsiteX3" fmla="*/ 5236468 w 7866743"/>
              <a:gd name="connsiteY3" fmla="*/ 2343194 h 2598057"/>
              <a:gd name="connsiteX4" fmla="*/ 3995419 w 7866743"/>
              <a:gd name="connsiteY4" fmla="*/ 2415419 h 2598057"/>
              <a:gd name="connsiteX5" fmla="*/ 2569029 w 7866743"/>
              <a:gd name="connsiteY5" fmla="*/ 2270622 h 2598057"/>
              <a:gd name="connsiteX6" fmla="*/ 2328666 w 7866743"/>
              <a:gd name="connsiteY6" fmla="*/ 2227079 h 2598057"/>
              <a:gd name="connsiteX7" fmla="*/ 2146360 w 7866743"/>
              <a:gd name="connsiteY7" fmla="*/ 2099733 h 2598057"/>
              <a:gd name="connsiteX8" fmla="*/ 1952414 w 7866743"/>
              <a:gd name="connsiteY8" fmla="*/ 1893942 h 2598057"/>
              <a:gd name="connsiteX9" fmla="*/ 1704553 w 7866743"/>
              <a:gd name="connsiteY9" fmla="*/ 1870788 h 2598057"/>
              <a:gd name="connsiteX10" fmla="*/ 1436914 w 7866743"/>
              <a:gd name="connsiteY10" fmla="*/ 1629748 h 2598057"/>
              <a:gd name="connsiteX11" fmla="*/ 1248229 w 7866743"/>
              <a:gd name="connsiteY11" fmla="*/ 1844006 h 2598057"/>
              <a:gd name="connsiteX12" fmla="*/ 1099578 w 7866743"/>
              <a:gd name="connsiteY12" fmla="*/ 1777310 h 2598057"/>
              <a:gd name="connsiteX13" fmla="*/ 928914 w 7866743"/>
              <a:gd name="connsiteY13" fmla="*/ 1881501 h 2598057"/>
              <a:gd name="connsiteX14" fmla="*/ 718063 w 7866743"/>
              <a:gd name="connsiteY14" fmla="*/ 1284429 h 2598057"/>
              <a:gd name="connsiteX15" fmla="*/ 491733 w 7866743"/>
              <a:gd name="connsiteY15" fmla="*/ 1333588 h 2598057"/>
              <a:gd name="connsiteX16" fmla="*/ 333193 w 7866743"/>
              <a:gd name="connsiteY16" fmla="*/ 1158983 h 2598057"/>
              <a:gd name="connsiteX17" fmla="*/ 177044 w 7866743"/>
              <a:gd name="connsiteY17" fmla="*/ 1019888 h 2598057"/>
              <a:gd name="connsiteX18" fmla="*/ 0 w 7866743"/>
              <a:gd name="connsiteY18" fmla="*/ 0 h 2598057"/>
              <a:gd name="connsiteX0" fmla="*/ 0 w 7866743"/>
              <a:gd name="connsiteY0" fmla="*/ 0 h 2598057"/>
              <a:gd name="connsiteX1" fmla="*/ 0 w 7866743"/>
              <a:gd name="connsiteY1" fmla="*/ 2598057 h 2598057"/>
              <a:gd name="connsiteX2" fmla="*/ 7866743 w 7866743"/>
              <a:gd name="connsiteY2" fmla="*/ 2598057 h 2598057"/>
              <a:gd name="connsiteX3" fmla="*/ 5746882 w 7866743"/>
              <a:gd name="connsiteY3" fmla="*/ 2412655 h 2598057"/>
              <a:gd name="connsiteX4" fmla="*/ 3995419 w 7866743"/>
              <a:gd name="connsiteY4" fmla="*/ 2415419 h 2598057"/>
              <a:gd name="connsiteX5" fmla="*/ 2569029 w 7866743"/>
              <a:gd name="connsiteY5" fmla="*/ 2270622 h 2598057"/>
              <a:gd name="connsiteX6" fmla="*/ 2328666 w 7866743"/>
              <a:gd name="connsiteY6" fmla="*/ 2227079 h 2598057"/>
              <a:gd name="connsiteX7" fmla="*/ 2146360 w 7866743"/>
              <a:gd name="connsiteY7" fmla="*/ 2099733 h 2598057"/>
              <a:gd name="connsiteX8" fmla="*/ 1952414 w 7866743"/>
              <a:gd name="connsiteY8" fmla="*/ 1893942 h 2598057"/>
              <a:gd name="connsiteX9" fmla="*/ 1704553 w 7866743"/>
              <a:gd name="connsiteY9" fmla="*/ 1870788 h 2598057"/>
              <a:gd name="connsiteX10" fmla="*/ 1436914 w 7866743"/>
              <a:gd name="connsiteY10" fmla="*/ 1629748 h 2598057"/>
              <a:gd name="connsiteX11" fmla="*/ 1248229 w 7866743"/>
              <a:gd name="connsiteY11" fmla="*/ 1844006 h 2598057"/>
              <a:gd name="connsiteX12" fmla="*/ 1099578 w 7866743"/>
              <a:gd name="connsiteY12" fmla="*/ 1777310 h 2598057"/>
              <a:gd name="connsiteX13" fmla="*/ 928914 w 7866743"/>
              <a:gd name="connsiteY13" fmla="*/ 1881501 h 2598057"/>
              <a:gd name="connsiteX14" fmla="*/ 718063 w 7866743"/>
              <a:gd name="connsiteY14" fmla="*/ 1284429 h 2598057"/>
              <a:gd name="connsiteX15" fmla="*/ 491733 w 7866743"/>
              <a:gd name="connsiteY15" fmla="*/ 1333588 h 2598057"/>
              <a:gd name="connsiteX16" fmla="*/ 333193 w 7866743"/>
              <a:gd name="connsiteY16" fmla="*/ 1158983 h 2598057"/>
              <a:gd name="connsiteX17" fmla="*/ 177044 w 7866743"/>
              <a:gd name="connsiteY17" fmla="*/ 1019888 h 2598057"/>
              <a:gd name="connsiteX18" fmla="*/ 0 w 7866743"/>
              <a:gd name="connsiteY18" fmla="*/ 0 h 2598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7866743" h="2598057">
                <a:moveTo>
                  <a:pt x="0" y="0"/>
                </a:moveTo>
                <a:lnTo>
                  <a:pt x="0" y="2598057"/>
                </a:lnTo>
                <a:lnTo>
                  <a:pt x="7866743" y="2598057"/>
                </a:lnTo>
                <a:lnTo>
                  <a:pt x="5746882" y="2412655"/>
                </a:lnTo>
                <a:lnTo>
                  <a:pt x="3995419" y="2415419"/>
                </a:lnTo>
                <a:lnTo>
                  <a:pt x="2569029" y="2270622"/>
                </a:lnTo>
                <a:lnTo>
                  <a:pt x="2328666" y="2227079"/>
                </a:lnTo>
                <a:lnTo>
                  <a:pt x="2146360" y="2099733"/>
                </a:lnTo>
                <a:lnTo>
                  <a:pt x="1952414" y="1893942"/>
                </a:lnTo>
                <a:lnTo>
                  <a:pt x="1704553" y="1870788"/>
                </a:lnTo>
                <a:lnTo>
                  <a:pt x="1436914" y="1629748"/>
                </a:lnTo>
                <a:lnTo>
                  <a:pt x="1248229" y="1844006"/>
                </a:lnTo>
                <a:lnTo>
                  <a:pt x="1099578" y="1777310"/>
                </a:lnTo>
                <a:lnTo>
                  <a:pt x="928914" y="1881501"/>
                </a:lnTo>
                <a:lnTo>
                  <a:pt x="718063" y="1284429"/>
                </a:lnTo>
                <a:lnTo>
                  <a:pt x="491733" y="1333588"/>
                </a:lnTo>
                <a:lnTo>
                  <a:pt x="333193" y="1158983"/>
                </a:lnTo>
                <a:lnTo>
                  <a:pt x="177044" y="101988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43E35E76-DB63-4F29-814B-4B14B6F75525}"/>
              </a:ext>
            </a:extLst>
          </p:cNvPr>
          <p:cNvSpPr/>
          <p:nvPr/>
        </p:nvSpPr>
        <p:spPr>
          <a:xfrm>
            <a:off x="1187778" y="2794373"/>
            <a:ext cx="9816446" cy="2583227"/>
          </a:xfrm>
          <a:custGeom>
            <a:avLst/>
            <a:gdLst>
              <a:gd name="connsiteX0" fmla="*/ 0 w 7866743"/>
              <a:gd name="connsiteY0" fmla="*/ 0 h 2598057"/>
              <a:gd name="connsiteX1" fmla="*/ 0 w 7866743"/>
              <a:gd name="connsiteY1" fmla="*/ 2598057 h 2598057"/>
              <a:gd name="connsiteX2" fmla="*/ 7866743 w 7866743"/>
              <a:gd name="connsiteY2" fmla="*/ 2598057 h 2598057"/>
              <a:gd name="connsiteX3" fmla="*/ 5239657 w 7866743"/>
              <a:gd name="connsiteY3" fmla="*/ 2540000 h 2598057"/>
              <a:gd name="connsiteX4" fmla="*/ 3918857 w 7866743"/>
              <a:gd name="connsiteY4" fmla="*/ 2496457 h 2598057"/>
              <a:gd name="connsiteX5" fmla="*/ 2569029 w 7866743"/>
              <a:gd name="connsiteY5" fmla="*/ 2467428 h 2598057"/>
              <a:gd name="connsiteX6" fmla="*/ 2322286 w 7866743"/>
              <a:gd name="connsiteY6" fmla="*/ 2423885 h 2598057"/>
              <a:gd name="connsiteX7" fmla="*/ 2133600 w 7866743"/>
              <a:gd name="connsiteY7" fmla="*/ 2423885 h 2598057"/>
              <a:gd name="connsiteX8" fmla="*/ 1901372 w 7866743"/>
              <a:gd name="connsiteY8" fmla="*/ 2322285 h 2598057"/>
              <a:gd name="connsiteX9" fmla="*/ 1698172 w 7866743"/>
              <a:gd name="connsiteY9" fmla="*/ 2322285 h 2598057"/>
              <a:gd name="connsiteX10" fmla="*/ 1436914 w 7866743"/>
              <a:gd name="connsiteY10" fmla="*/ 2046514 h 2598057"/>
              <a:gd name="connsiteX11" fmla="*/ 1248229 w 7866743"/>
              <a:gd name="connsiteY11" fmla="*/ 2075542 h 2598057"/>
              <a:gd name="connsiteX12" fmla="*/ 1074057 w 7866743"/>
              <a:gd name="connsiteY12" fmla="*/ 2032000 h 2598057"/>
              <a:gd name="connsiteX13" fmla="*/ 928914 w 7866743"/>
              <a:gd name="connsiteY13" fmla="*/ 2032000 h 2598057"/>
              <a:gd name="connsiteX14" fmla="*/ 609600 w 7866743"/>
              <a:gd name="connsiteY14" fmla="*/ 1741714 h 2598057"/>
              <a:gd name="connsiteX15" fmla="*/ 478972 w 7866743"/>
              <a:gd name="connsiteY15" fmla="*/ 1727200 h 2598057"/>
              <a:gd name="connsiteX16" fmla="*/ 275772 w 7866743"/>
              <a:gd name="connsiteY16" fmla="*/ 1407885 h 2598057"/>
              <a:gd name="connsiteX17" fmla="*/ 145143 w 7866743"/>
              <a:gd name="connsiteY17" fmla="*/ 1349828 h 2598057"/>
              <a:gd name="connsiteX18" fmla="*/ 0 w 7866743"/>
              <a:gd name="connsiteY18" fmla="*/ 0 h 2598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7866743" h="2598057">
                <a:moveTo>
                  <a:pt x="0" y="0"/>
                </a:moveTo>
                <a:lnTo>
                  <a:pt x="0" y="2598057"/>
                </a:lnTo>
                <a:lnTo>
                  <a:pt x="7866743" y="2598057"/>
                </a:lnTo>
                <a:lnTo>
                  <a:pt x="5239657" y="2540000"/>
                </a:lnTo>
                <a:lnTo>
                  <a:pt x="3918857" y="2496457"/>
                </a:lnTo>
                <a:lnTo>
                  <a:pt x="2569029" y="2467428"/>
                </a:lnTo>
                <a:lnTo>
                  <a:pt x="2322286" y="2423885"/>
                </a:lnTo>
                <a:lnTo>
                  <a:pt x="2133600" y="2423885"/>
                </a:lnTo>
                <a:lnTo>
                  <a:pt x="1901372" y="2322285"/>
                </a:lnTo>
                <a:lnTo>
                  <a:pt x="1698172" y="2322285"/>
                </a:lnTo>
                <a:lnTo>
                  <a:pt x="1436914" y="2046514"/>
                </a:lnTo>
                <a:lnTo>
                  <a:pt x="1248229" y="2075542"/>
                </a:lnTo>
                <a:lnTo>
                  <a:pt x="1074057" y="2032000"/>
                </a:lnTo>
                <a:lnTo>
                  <a:pt x="928914" y="2032000"/>
                </a:lnTo>
                <a:lnTo>
                  <a:pt x="609600" y="1741714"/>
                </a:lnTo>
                <a:lnTo>
                  <a:pt x="478972" y="1727200"/>
                </a:lnTo>
                <a:lnTo>
                  <a:pt x="275772" y="1407885"/>
                </a:lnTo>
                <a:lnTo>
                  <a:pt x="145143" y="1349828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>
            <a:outerShdw blurRad="381000" dist="127000" dir="18900000" algn="b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692A9801-C4AB-423C-B189-B556FB238735}"/>
              </a:ext>
            </a:extLst>
          </p:cNvPr>
          <p:cNvSpPr/>
          <p:nvPr/>
        </p:nvSpPr>
        <p:spPr>
          <a:xfrm>
            <a:off x="8236085" y="2553381"/>
            <a:ext cx="2264123" cy="226412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220D7A26-23E7-40F5-8B61-25148A1B4B38}"/>
              </a:ext>
            </a:extLst>
          </p:cNvPr>
          <p:cNvSpPr/>
          <p:nvPr/>
        </p:nvSpPr>
        <p:spPr>
          <a:xfrm>
            <a:off x="8473241" y="2553381"/>
            <a:ext cx="1789811" cy="178981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5EB05F30-1BB8-4166-8363-896CEB11199B}"/>
              </a:ext>
            </a:extLst>
          </p:cNvPr>
          <p:cNvSpPr/>
          <p:nvPr/>
        </p:nvSpPr>
        <p:spPr>
          <a:xfrm>
            <a:off x="8683182" y="2553381"/>
            <a:ext cx="1369928" cy="136992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D57F5F7E-7D2A-447D-8C6E-6D1A1E80E1DA}"/>
              </a:ext>
            </a:extLst>
          </p:cNvPr>
          <p:cNvSpPr/>
          <p:nvPr/>
        </p:nvSpPr>
        <p:spPr>
          <a:xfrm>
            <a:off x="8844597" y="2553381"/>
            <a:ext cx="1047098" cy="104709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B997890D-5369-4596-BEEB-C1D8B9FBD0F4}"/>
              </a:ext>
            </a:extLst>
          </p:cNvPr>
          <p:cNvSpPr/>
          <p:nvPr/>
        </p:nvSpPr>
        <p:spPr>
          <a:xfrm>
            <a:off x="9261056" y="3504924"/>
            <a:ext cx="214180" cy="2141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A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A13C74CF-9D6D-472D-9AB8-B9A92BC0E339}"/>
              </a:ext>
            </a:extLst>
          </p:cNvPr>
          <p:cNvSpPr/>
          <p:nvPr/>
        </p:nvSpPr>
        <p:spPr>
          <a:xfrm>
            <a:off x="9261056" y="3811857"/>
            <a:ext cx="214180" cy="2141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B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6C52FC25-60B4-4F66-872B-1FC9D9CA7362}"/>
              </a:ext>
            </a:extLst>
          </p:cNvPr>
          <p:cNvSpPr/>
          <p:nvPr/>
        </p:nvSpPr>
        <p:spPr>
          <a:xfrm>
            <a:off x="9261056" y="4241971"/>
            <a:ext cx="214180" cy="2141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C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B24FD97F-BC8C-46D0-BBDD-45C6D1DF8A2C}"/>
              </a:ext>
            </a:extLst>
          </p:cNvPr>
          <p:cNvSpPr/>
          <p:nvPr/>
        </p:nvSpPr>
        <p:spPr>
          <a:xfrm>
            <a:off x="9261056" y="4706175"/>
            <a:ext cx="214180" cy="2141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D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08585F2-B9AD-4DA5-8F6E-F7613D3D41A6}"/>
              </a:ext>
            </a:extLst>
          </p:cNvPr>
          <p:cNvSpPr txBox="1"/>
          <p:nvPr/>
        </p:nvSpPr>
        <p:spPr>
          <a:xfrm>
            <a:off x="8910849" y="2928010"/>
            <a:ext cx="914596" cy="335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400" dirty="0">
                <a:solidFill>
                  <a:schemeClr val="bg1"/>
                </a:solidFill>
                <a:latin typeface="+mj-lt"/>
                <a:cs typeface="Sora ExtraBold" pitchFamily="2" charset="0"/>
              </a:rPr>
              <a:t>Titl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5DD97C7-1D6D-4689-914D-4C903319FE99}"/>
              </a:ext>
            </a:extLst>
          </p:cNvPr>
          <p:cNvSpPr txBox="1"/>
          <p:nvPr/>
        </p:nvSpPr>
        <p:spPr>
          <a:xfrm>
            <a:off x="3611563" y="1299343"/>
            <a:ext cx="49688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cs typeface="Sora ExtraBold" pitchFamily="2" charset="0"/>
              </a:defRPr>
            </a:lvl1pPr>
          </a:lstStyle>
          <a:p>
            <a:r>
              <a:rPr lang="en-US" dirty="0"/>
              <a:t>Subtitle text he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D340AE9-EE41-D266-F4D1-78912F328B02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inimal Data Chart</a:t>
            </a:r>
          </a:p>
        </p:txBody>
      </p:sp>
    </p:spTree>
    <p:extLst>
      <p:ext uri="{BB962C8B-B14F-4D97-AF65-F5344CB8AC3E}">
        <p14:creationId xmlns:p14="http://schemas.microsoft.com/office/powerpoint/2010/main" val="2804216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reveal/>
      </p:transition>
    </mc:Choice>
    <mc:Fallback xmlns=""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w: U-Turn 3">
            <a:extLst>
              <a:ext uri="{FF2B5EF4-FFF2-40B4-BE49-F238E27FC236}">
                <a16:creationId xmlns:a16="http://schemas.microsoft.com/office/drawing/2014/main" id="{170A5E48-70B3-4BB9-86A3-92E5A921BAC9}"/>
              </a:ext>
            </a:extLst>
          </p:cNvPr>
          <p:cNvSpPr/>
          <p:nvPr/>
        </p:nvSpPr>
        <p:spPr>
          <a:xfrm flipV="1">
            <a:off x="7117144" y="2919733"/>
            <a:ext cx="2058288" cy="3388992"/>
          </a:xfrm>
          <a:prstGeom prst="uturnArrow">
            <a:avLst/>
          </a:prstGeom>
          <a:gradFill>
            <a:gsLst>
              <a:gs pos="1500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path path="circle">
              <a:fillToRect r="100000" b="100000"/>
            </a:path>
          </a:gradFill>
          <a:ln>
            <a:noFill/>
          </a:ln>
          <a:effectLst>
            <a:outerShdw blurRad="800100" dist="546100" dir="2700000" sx="90000" sy="9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+mj-lt"/>
            </a:endParaRPr>
          </a:p>
        </p:txBody>
      </p:sp>
      <p:sp>
        <p:nvSpPr>
          <p:cNvPr id="5" name="Arrow: U-Turn 4">
            <a:extLst>
              <a:ext uri="{FF2B5EF4-FFF2-40B4-BE49-F238E27FC236}">
                <a16:creationId xmlns:a16="http://schemas.microsoft.com/office/drawing/2014/main" id="{6B8230C5-35A0-4DC3-A4B1-C3C1AFA717B5}"/>
              </a:ext>
            </a:extLst>
          </p:cNvPr>
          <p:cNvSpPr/>
          <p:nvPr/>
        </p:nvSpPr>
        <p:spPr>
          <a:xfrm>
            <a:off x="5821922" y="1901199"/>
            <a:ext cx="2058288" cy="2037068"/>
          </a:xfrm>
          <a:prstGeom prst="uturnArrow">
            <a:avLst/>
          </a:prstGeom>
          <a:gradFill>
            <a:gsLst>
              <a:gs pos="1500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path path="circle">
              <a:fillToRect r="100000" b="100000"/>
            </a:path>
          </a:gradFill>
          <a:ln>
            <a:noFill/>
          </a:ln>
          <a:effectLst>
            <a:outerShdw blurRad="800100" dist="546100" dir="2700000" sx="90000" sy="9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+mj-lt"/>
            </a:endParaRPr>
          </a:p>
        </p:txBody>
      </p:sp>
      <p:sp>
        <p:nvSpPr>
          <p:cNvPr id="6" name="Arrow: U-Turn 5">
            <a:extLst>
              <a:ext uri="{FF2B5EF4-FFF2-40B4-BE49-F238E27FC236}">
                <a16:creationId xmlns:a16="http://schemas.microsoft.com/office/drawing/2014/main" id="{80B5F204-5691-4F3D-9A32-21B115B5AB18}"/>
              </a:ext>
            </a:extLst>
          </p:cNvPr>
          <p:cNvSpPr/>
          <p:nvPr/>
        </p:nvSpPr>
        <p:spPr>
          <a:xfrm flipV="1">
            <a:off x="4526699" y="2919733"/>
            <a:ext cx="2058288" cy="2037068"/>
          </a:xfrm>
          <a:prstGeom prst="uturnArrow">
            <a:avLst/>
          </a:prstGeom>
          <a:gradFill>
            <a:gsLst>
              <a:gs pos="1500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path path="circle">
              <a:fillToRect r="100000" b="100000"/>
            </a:path>
          </a:gradFill>
          <a:ln>
            <a:noFill/>
          </a:ln>
          <a:effectLst>
            <a:outerShdw blurRad="800100" dist="546100" dir="2700000" sx="90000" sy="9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+mj-lt"/>
            </a:endParaRPr>
          </a:p>
        </p:txBody>
      </p:sp>
      <p:sp>
        <p:nvSpPr>
          <p:cNvPr id="7" name="Arrow: U-Turn 6">
            <a:extLst>
              <a:ext uri="{FF2B5EF4-FFF2-40B4-BE49-F238E27FC236}">
                <a16:creationId xmlns:a16="http://schemas.microsoft.com/office/drawing/2014/main" id="{C6529B87-1A00-4A3F-9ADB-614DDF57C050}"/>
              </a:ext>
            </a:extLst>
          </p:cNvPr>
          <p:cNvSpPr/>
          <p:nvPr/>
        </p:nvSpPr>
        <p:spPr>
          <a:xfrm>
            <a:off x="3231477" y="1901199"/>
            <a:ext cx="2058288" cy="4956801"/>
          </a:xfrm>
          <a:prstGeom prst="uturnArrow">
            <a:avLst>
              <a:gd name="adj1" fmla="val 25000"/>
              <a:gd name="adj2" fmla="val 25000"/>
              <a:gd name="adj3" fmla="val 25000"/>
              <a:gd name="adj4" fmla="val 43750"/>
              <a:gd name="adj5" fmla="val 30803"/>
            </a:avLst>
          </a:prstGeom>
          <a:gradFill>
            <a:gsLst>
              <a:gs pos="1500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path path="circle">
              <a:fillToRect r="100000" b="100000"/>
            </a:path>
          </a:gradFill>
          <a:ln>
            <a:noFill/>
          </a:ln>
          <a:effectLst>
            <a:outerShdw blurRad="800100" dist="546100" dir="2700000" sx="90000" sy="9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D056E17-C123-4877-9330-27538561A1D1}"/>
              </a:ext>
            </a:extLst>
          </p:cNvPr>
          <p:cNvSpPr txBox="1"/>
          <p:nvPr/>
        </p:nvSpPr>
        <p:spPr>
          <a:xfrm>
            <a:off x="3445639" y="1168536"/>
            <a:ext cx="1844126" cy="486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amet. Qui sint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59D8158-BD7B-4236-9A16-B256D2ECF471}"/>
              </a:ext>
            </a:extLst>
          </p:cNvPr>
          <p:cNvSpPr txBox="1"/>
          <p:nvPr/>
        </p:nvSpPr>
        <p:spPr>
          <a:xfrm>
            <a:off x="3445639" y="936662"/>
            <a:ext cx="18441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tx1">
                    <a:lumMod val="95000"/>
                    <a:lumOff val="5000"/>
                  </a:schemeClr>
                </a:solidFill>
                <a:cs typeface="Sora ExtraBold" pitchFamily="2" charset="0"/>
              </a:rPr>
              <a:t>Step On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B011541-7576-4B57-B175-43990B74EDA9}"/>
              </a:ext>
            </a:extLst>
          </p:cNvPr>
          <p:cNvSpPr txBox="1"/>
          <p:nvPr/>
        </p:nvSpPr>
        <p:spPr>
          <a:xfrm>
            <a:off x="4740861" y="5557724"/>
            <a:ext cx="1844126" cy="486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amet. Qui sint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D32641-29D8-4574-8745-E5D5B92BB6B1}"/>
              </a:ext>
            </a:extLst>
          </p:cNvPr>
          <p:cNvSpPr txBox="1"/>
          <p:nvPr/>
        </p:nvSpPr>
        <p:spPr>
          <a:xfrm>
            <a:off x="4740861" y="5341090"/>
            <a:ext cx="18441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chemeClr val="tx1">
                    <a:lumMod val="95000"/>
                    <a:lumOff val="5000"/>
                  </a:schemeClr>
                </a:solidFill>
                <a:cs typeface="Sora ExtraBold" pitchFamily="2" charset="0"/>
              </a:rPr>
              <a:t>Step Two</a:t>
            </a:r>
            <a:endParaRPr lang="en-US" sz="1200" b="1" dirty="0">
              <a:solidFill>
                <a:schemeClr val="tx1">
                  <a:lumMod val="95000"/>
                  <a:lumOff val="5000"/>
                </a:schemeClr>
              </a:solidFill>
              <a:cs typeface="Sora ExtraBold" pitchFamily="2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748B9E5-55DC-48B7-B42B-9A56A2E17125}"/>
              </a:ext>
            </a:extLst>
          </p:cNvPr>
          <p:cNvSpPr txBox="1"/>
          <p:nvPr/>
        </p:nvSpPr>
        <p:spPr>
          <a:xfrm>
            <a:off x="6036084" y="1168536"/>
            <a:ext cx="1844126" cy="486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amet. Qui sint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3B2DB10-84B5-427E-B0E3-DCF1A81CAC72}"/>
              </a:ext>
            </a:extLst>
          </p:cNvPr>
          <p:cNvSpPr txBox="1"/>
          <p:nvPr/>
        </p:nvSpPr>
        <p:spPr>
          <a:xfrm>
            <a:off x="6036084" y="936662"/>
            <a:ext cx="18441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chemeClr val="tx1">
                    <a:lumMod val="95000"/>
                    <a:lumOff val="5000"/>
                  </a:schemeClr>
                </a:solidFill>
                <a:cs typeface="Sora ExtraBold" pitchFamily="2" charset="0"/>
              </a:rPr>
              <a:t>Step Three</a:t>
            </a:r>
            <a:endParaRPr lang="en-US" sz="1200" b="1" dirty="0">
              <a:solidFill>
                <a:schemeClr val="tx1">
                  <a:lumMod val="95000"/>
                  <a:lumOff val="5000"/>
                </a:schemeClr>
              </a:solidFill>
              <a:cs typeface="Sora ExtraBold" pitchFamily="2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F79CAB7-925E-42CF-BC94-43FFE43A52A5}"/>
              </a:ext>
            </a:extLst>
          </p:cNvPr>
          <p:cNvSpPr txBox="1"/>
          <p:nvPr/>
        </p:nvSpPr>
        <p:spPr>
          <a:xfrm>
            <a:off x="8146288" y="3019899"/>
            <a:ext cx="1844126" cy="486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0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amet. Qui sint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DB41D11-2362-4EE5-8283-AAA10C760141}"/>
              </a:ext>
            </a:extLst>
          </p:cNvPr>
          <p:cNvSpPr txBox="1"/>
          <p:nvPr/>
        </p:nvSpPr>
        <p:spPr>
          <a:xfrm>
            <a:off x="8146288" y="2803265"/>
            <a:ext cx="18441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chemeClr val="tx1">
                    <a:lumMod val="95000"/>
                    <a:lumOff val="5000"/>
                  </a:schemeClr>
                </a:solidFill>
                <a:cs typeface="Sora ExtraBold" pitchFamily="2" charset="0"/>
              </a:rPr>
              <a:t>Step Four</a:t>
            </a:r>
            <a:endParaRPr lang="en-US" sz="1200" b="1" dirty="0">
              <a:solidFill>
                <a:schemeClr val="tx1">
                  <a:lumMod val="95000"/>
                  <a:lumOff val="5000"/>
                </a:schemeClr>
              </a:solidFill>
              <a:cs typeface="Sora ExtraBold" pitchFamily="2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748E0ED-5DF1-467D-B61D-2037C645108E}"/>
              </a:ext>
            </a:extLst>
          </p:cNvPr>
          <p:cNvSpPr/>
          <p:nvPr/>
        </p:nvSpPr>
        <p:spPr>
          <a:xfrm>
            <a:off x="4586036" y="2764908"/>
            <a:ext cx="309650" cy="30965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44AD4BE-85A7-4CF0-A44B-3286E141F66C}"/>
              </a:ext>
            </a:extLst>
          </p:cNvPr>
          <p:cNvSpPr/>
          <p:nvPr/>
        </p:nvSpPr>
        <p:spPr>
          <a:xfrm>
            <a:off x="5920640" y="3786425"/>
            <a:ext cx="309650" cy="309650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B6DB313-8914-4907-9B97-A8164A347328}"/>
              </a:ext>
            </a:extLst>
          </p:cNvPr>
          <p:cNvSpPr/>
          <p:nvPr/>
        </p:nvSpPr>
        <p:spPr>
          <a:xfrm>
            <a:off x="7213061" y="2764908"/>
            <a:ext cx="309650" cy="309650"/>
          </a:xfrm>
          <a:prstGeom prst="rect">
            <a:avLst/>
          </a:pr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9722F42-6DB6-44FC-B42B-36F7F1A738EA}"/>
              </a:ext>
            </a:extLst>
          </p:cNvPr>
          <p:cNvSpPr/>
          <p:nvPr/>
        </p:nvSpPr>
        <p:spPr>
          <a:xfrm>
            <a:off x="8506874" y="4131321"/>
            <a:ext cx="309650" cy="309650"/>
          </a:xfrm>
          <a:prstGeom prst="rect">
            <a:avLst/>
          </a:pr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0C64AB0-F4A0-993D-0156-E133A350C93D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Data infographic </a:t>
            </a:r>
            <a:endParaRPr lang="en-C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3233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reveal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lock Arc 11">
            <a:extLst>
              <a:ext uri="{FF2B5EF4-FFF2-40B4-BE49-F238E27FC236}">
                <a16:creationId xmlns:a16="http://schemas.microsoft.com/office/drawing/2014/main" id="{84F7616C-1D6B-4CB6-A3EC-41AEE74385EF}"/>
              </a:ext>
            </a:extLst>
          </p:cNvPr>
          <p:cNvSpPr/>
          <p:nvPr/>
        </p:nvSpPr>
        <p:spPr>
          <a:xfrm>
            <a:off x="4098360" y="1752906"/>
            <a:ext cx="5017269" cy="5017268"/>
          </a:xfrm>
          <a:prstGeom prst="blockArc">
            <a:avLst/>
          </a:prstGeom>
          <a:gradFill>
            <a:gsLst>
              <a:gs pos="1500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path path="circle">
              <a:fillToRect r="100000" b="100000"/>
            </a:path>
          </a:gradFill>
          <a:ln>
            <a:noFill/>
          </a:ln>
          <a:scene3d>
            <a:camera prst="isometricOffAxis1Left"/>
            <a:lightRig rig="balanced" dir="t"/>
          </a:scene3d>
          <a:sp3d extrusionH="254000"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Block Arc 10">
            <a:extLst>
              <a:ext uri="{FF2B5EF4-FFF2-40B4-BE49-F238E27FC236}">
                <a16:creationId xmlns:a16="http://schemas.microsoft.com/office/drawing/2014/main" id="{F2FFE374-5FB8-4490-8994-740077CE4556}"/>
              </a:ext>
            </a:extLst>
          </p:cNvPr>
          <p:cNvSpPr/>
          <p:nvPr/>
        </p:nvSpPr>
        <p:spPr>
          <a:xfrm>
            <a:off x="3778981" y="1988723"/>
            <a:ext cx="4627333" cy="4627332"/>
          </a:xfrm>
          <a:prstGeom prst="blockArc">
            <a:avLst/>
          </a:prstGeom>
          <a:gradFill>
            <a:gsLst>
              <a:gs pos="1500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path path="circle">
              <a:fillToRect r="100000" b="100000"/>
            </a:path>
          </a:gradFill>
          <a:ln>
            <a:noFill/>
          </a:ln>
          <a:scene3d>
            <a:camera prst="isometricOffAxis1Left"/>
            <a:lightRig rig="balanced" dir="t"/>
          </a:scene3d>
          <a:sp3d extrusionH="254000"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B54B42D3-7835-43F0-9A2B-9D421F1E6E7D}"/>
              </a:ext>
            </a:extLst>
          </p:cNvPr>
          <p:cNvSpPr/>
          <p:nvPr/>
        </p:nvSpPr>
        <p:spPr>
          <a:xfrm>
            <a:off x="3435461" y="2228264"/>
            <a:ext cx="4224388" cy="4224387"/>
          </a:xfrm>
          <a:prstGeom prst="blockArc">
            <a:avLst/>
          </a:prstGeom>
          <a:gradFill>
            <a:gsLst>
              <a:gs pos="1500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path path="circle">
              <a:fillToRect r="100000" b="100000"/>
            </a:path>
          </a:gradFill>
          <a:ln>
            <a:noFill/>
          </a:ln>
          <a:scene3d>
            <a:camera prst="isometricOffAxis1Left"/>
            <a:lightRig rig="balanced" dir="t"/>
          </a:scene3d>
          <a:sp3d extrusionH="254000"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Block Arc 1">
            <a:extLst>
              <a:ext uri="{FF2B5EF4-FFF2-40B4-BE49-F238E27FC236}">
                <a16:creationId xmlns:a16="http://schemas.microsoft.com/office/drawing/2014/main" id="{570C9500-2742-4207-B9D2-CB1EFC168F0B}"/>
              </a:ext>
            </a:extLst>
          </p:cNvPr>
          <p:cNvSpPr/>
          <p:nvPr/>
        </p:nvSpPr>
        <p:spPr>
          <a:xfrm>
            <a:off x="3270201" y="2546719"/>
            <a:ext cx="3587479" cy="3587478"/>
          </a:xfrm>
          <a:prstGeom prst="blockArc">
            <a:avLst/>
          </a:prstGeom>
          <a:gradFill>
            <a:gsLst>
              <a:gs pos="1500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path path="circle">
              <a:fillToRect r="100000" b="100000"/>
            </a:path>
          </a:gradFill>
          <a:ln>
            <a:noFill/>
          </a:ln>
          <a:scene3d>
            <a:camera prst="isometricOffAxis1Left"/>
            <a:lightRig rig="balanced" dir="t"/>
          </a:scene3d>
          <a:sp3d extrusionH="254000"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67754EDF-AA96-44BD-AD1D-41E1AF4D0F4D}"/>
              </a:ext>
            </a:extLst>
          </p:cNvPr>
          <p:cNvSpPr txBox="1"/>
          <p:nvPr/>
        </p:nvSpPr>
        <p:spPr>
          <a:xfrm>
            <a:off x="8468051" y="1757748"/>
            <a:ext cx="129515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200" b="1">
                <a:gradFill>
                  <a:gsLst>
                    <a:gs pos="100000">
                      <a:schemeClr val="accent3"/>
                    </a:gs>
                    <a:gs pos="60000">
                      <a:schemeClr val="accent2"/>
                    </a:gs>
                    <a:gs pos="5000">
                      <a:schemeClr val="accent1"/>
                    </a:gs>
                  </a:gsLst>
                  <a:path path="circle">
                    <a:fillToRect r="100000" b="100000"/>
                  </a:path>
                </a:gradFill>
                <a:latin typeface="+mj-lt"/>
                <a:cs typeface="Sora ExtraBold" pitchFamily="2" charset="0"/>
              </a:defRPr>
            </a:lvl1pPr>
          </a:lstStyle>
          <a:p>
            <a:r>
              <a:rPr lang="en-US" sz="4400" dirty="0">
                <a:solidFill>
                  <a:schemeClr val="accent2"/>
                </a:solidFill>
              </a:rPr>
              <a:t>15</a:t>
            </a:r>
          </a:p>
        </p:txBody>
      </p: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440DA0CD-3772-4183-B8AF-09B52B25A8B3}"/>
              </a:ext>
            </a:extLst>
          </p:cNvPr>
          <p:cNvGrpSpPr/>
          <p:nvPr/>
        </p:nvGrpSpPr>
        <p:grpSpPr>
          <a:xfrm>
            <a:off x="8468051" y="2397130"/>
            <a:ext cx="3007670" cy="853503"/>
            <a:chOff x="6096000" y="4339587"/>
            <a:chExt cx="3007670" cy="853503"/>
          </a:xfrm>
        </p:grpSpPr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E948DF73-3BE5-41A5-AA05-AFF1483E2CEA}"/>
                </a:ext>
              </a:extLst>
            </p:cNvPr>
            <p:cNvSpPr txBox="1"/>
            <p:nvPr/>
          </p:nvSpPr>
          <p:spPr>
            <a:xfrm>
              <a:off x="6096000" y="4678141"/>
              <a:ext cx="3007670" cy="5149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orem ipsum dolor sit amet. Qui sint neque a velit modi quo numquam.</a:t>
              </a:r>
            </a:p>
          </p:txBody>
        </p:sp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935456D8-CFBA-4A0F-8B37-924A67232DC5}"/>
                </a:ext>
              </a:extLst>
            </p:cNvPr>
            <p:cNvSpPr txBox="1"/>
            <p:nvPr/>
          </p:nvSpPr>
          <p:spPr>
            <a:xfrm>
              <a:off x="6096000" y="4339587"/>
              <a:ext cx="22685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  <a:cs typeface="Sora ExtraBold" pitchFamily="2" charset="0"/>
                </a:rPr>
                <a:t>Your text here</a:t>
              </a:r>
            </a:p>
          </p:txBody>
        </p:sp>
      </p:grpSp>
      <p:sp>
        <p:nvSpPr>
          <p:cNvPr id="198" name="TextBox 197">
            <a:extLst>
              <a:ext uri="{FF2B5EF4-FFF2-40B4-BE49-F238E27FC236}">
                <a16:creationId xmlns:a16="http://schemas.microsoft.com/office/drawing/2014/main" id="{A9817BC3-66CA-4379-B3B7-3F63F58CF8EC}"/>
              </a:ext>
            </a:extLst>
          </p:cNvPr>
          <p:cNvSpPr txBox="1"/>
          <p:nvPr/>
        </p:nvSpPr>
        <p:spPr>
          <a:xfrm>
            <a:off x="8468051" y="3593322"/>
            <a:ext cx="129515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200" b="1">
                <a:gradFill>
                  <a:gsLst>
                    <a:gs pos="100000">
                      <a:schemeClr val="accent3"/>
                    </a:gs>
                    <a:gs pos="60000">
                      <a:schemeClr val="accent2"/>
                    </a:gs>
                    <a:gs pos="5000">
                      <a:schemeClr val="accent1"/>
                    </a:gs>
                  </a:gsLst>
                  <a:path path="circle">
                    <a:fillToRect r="100000" b="100000"/>
                  </a:path>
                </a:gradFill>
                <a:latin typeface="+mj-lt"/>
                <a:cs typeface="Sora ExtraBold" pitchFamily="2" charset="0"/>
              </a:defRPr>
            </a:lvl1pPr>
          </a:lstStyle>
          <a:p>
            <a:r>
              <a:rPr lang="en-US" sz="4400" dirty="0">
                <a:solidFill>
                  <a:schemeClr val="accent4"/>
                </a:solidFill>
              </a:rPr>
              <a:t>22</a:t>
            </a:r>
          </a:p>
        </p:txBody>
      </p: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BCB6A9A1-4F44-4CC6-9ACD-14D6E85D9F31}"/>
              </a:ext>
            </a:extLst>
          </p:cNvPr>
          <p:cNvGrpSpPr/>
          <p:nvPr/>
        </p:nvGrpSpPr>
        <p:grpSpPr>
          <a:xfrm>
            <a:off x="8468051" y="4232704"/>
            <a:ext cx="3007670" cy="853503"/>
            <a:chOff x="6096000" y="4339587"/>
            <a:chExt cx="3007670" cy="853503"/>
          </a:xfrm>
        </p:grpSpPr>
        <p:sp>
          <p:nvSpPr>
            <p:cNvPr id="200" name="TextBox 199">
              <a:extLst>
                <a:ext uri="{FF2B5EF4-FFF2-40B4-BE49-F238E27FC236}">
                  <a16:creationId xmlns:a16="http://schemas.microsoft.com/office/drawing/2014/main" id="{7ED649FC-0D3F-476D-82AD-9401D30202E6}"/>
                </a:ext>
              </a:extLst>
            </p:cNvPr>
            <p:cNvSpPr txBox="1"/>
            <p:nvPr/>
          </p:nvSpPr>
          <p:spPr>
            <a:xfrm>
              <a:off x="6096000" y="4678141"/>
              <a:ext cx="3007670" cy="5149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orem ipsum dolor sit amet. Qui sint neque a velit modi quo numquam.</a:t>
              </a:r>
            </a:p>
          </p:txBody>
        </p: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4965E225-3C0C-4056-AD3B-6DFB458CD090}"/>
                </a:ext>
              </a:extLst>
            </p:cNvPr>
            <p:cNvSpPr txBox="1"/>
            <p:nvPr/>
          </p:nvSpPr>
          <p:spPr>
            <a:xfrm>
              <a:off x="6096000" y="4339587"/>
              <a:ext cx="22685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  <a:cs typeface="Sora ExtraBold" pitchFamily="2" charset="0"/>
                </a:rPr>
                <a:t>Your text here</a:t>
              </a:r>
            </a:p>
          </p:txBody>
        </p:sp>
      </p:grpSp>
      <p:sp>
        <p:nvSpPr>
          <p:cNvPr id="202" name="TextBox 201">
            <a:extLst>
              <a:ext uri="{FF2B5EF4-FFF2-40B4-BE49-F238E27FC236}">
                <a16:creationId xmlns:a16="http://schemas.microsoft.com/office/drawing/2014/main" id="{FC0BE9AC-1FB9-4C69-B2AE-2D59F0A35785}"/>
              </a:ext>
            </a:extLst>
          </p:cNvPr>
          <p:cNvSpPr txBox="1"/>
          <p:nvPr/>
        </p:nvSpPr>
        <p:spPr>
          <a:xfrm>
            <a:off x="2428794" y="1763426"/>
            <a:ext cx="129515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200" b="1">
                <a:gradFill>
                  <a:gsLst>
                    <a:gs pos="100000">
                      <a:schemeClr val="accent3"/>
                    </a:gs>
                    <a:gs pos="60000">
                      <a:schemeClr val="accent2"/>
                    </a:gs>
                    <a:gs pos="5000">
                      <a:schemeClr val="accent1"/>
                    </a:gs>
                  </a:gsLst>
                  <a:path path="circle">
                    <a:fillToRect r="100000" b="100000"/>
                  </a:path>
                </a:gradFill>
                <a:latin typeface="+mj-lt"/>
                <a:cs typeface="Sora ExtraBold" pitchFamily="2" charset="0"/>
              </a:defRPr>
            </a:lvl1pPr>
          </a:lstStyle>
          <a:p>
            <a:pPr algn="r"/>
            <a:r>
              <a:rPr lang="en-US" sz="4400" dirty="0">
                <a:solidFill>
                  <a:schemeClr val="accent1"/>
                </a:solidFill>
              </a:rPr>
              <a:t>10</a:t>
            </a:r>
          </a:p>
        </p:txBody>
      </p: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8C560696-E06A-4A43-BA82-5091C3EF85C6}"/>
              </a:ext>
            </a:extLst>
          </p:cNvPr>
          <p:cNvGrpSpPr/>
          <p:nvPr/>
        </p:nvGrpSpPr>
        <p:grpSpPr>
          <a:xfrm>
            <a:off x="716281" y="2402808"/>
            <a:ext cx="3007670" cy="853503"/>
            <a:chOff x="6096000" y="4339587"/>
            <a:chExt cx="3007670" cy="853503"/>
          </a:xfrm>
        </p:grpSpPr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01C4ECF4-87FF-481D-B972-A0528D0AF693}"/>
                </a:ext>
              </a:extLst>
            </p:cNvPr>
            <p:cNvSpPr txBox="1"/>
            <p:nvPr/>
          </p:nvSpPr>
          <p:spPr>
            <a:xfrm>
              <a:off x="6096000" y="4678141"/>
              <a:ext cx="3007670" cy="5149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orem ipsum dolor sit amet. Qui sint neque a velit modi quo numquam.</a:t>
              </a:r>
            </a:p>
          </p:txBody>
        </p:sp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873D8A88-90CF-4175-AEE4-FAAB1827A2CE}"/>
                </a:ext>
              </a:extLst>
            </p:cNvPr>
            <p:cNvSpPr txBox="1"/>
            <p:nvPr/>
          </p:nvSpPr>
          <p:spPr>
            <a:xfrm>
              <a:off x="6835132" y="4339587"/>
              <a:ext cx="22685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  <a:cs typeface="Sora ExtraBold" pitchFamily="2" charset="0"/>
                </a:rPr>
                <a:t>Your text here</a:t>
              </a:r>
            </a:p>
          </p:txBody>
        </p:sp>
      </p:grpSp>
      <p:sp>
        <p:nvSpPr>
          <p:cNvPr id="206" name="TextBox 205">
            <a:extLst>
              <a:ext uri="{FF2B5EF4-FFF2-40B4-BE49-F238E27FC236}">
                <a16:creationId xmlns:a16="http://schemas.microsoft.com/office/drawing/2014/main" id="{6C67D115-64EF-49E8-A0C6-FB1E49782A0F}"/>
              </a:ext>
            </a:extLst>
          </p:cNvPr>
          <p:cNvSpPr txBox="1"/>
          <p:nvPr/>
        </p:nvSpPr>
        <p:spPr>
          <a:xfrm>
            <a:off x="2428794" y="3599000"/>
            <a:ext cx="129515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200" b="1">
                <a:gradFill>
                  <a:gsLst>
                    <a:gs pos="100000">
                      <a:schemeClr val="accent3"/>
                    </a:gs>
                    <a:gs pos="60000">
                      <a:schemeClr val="accent2"/>
                    </a:gs>
                    <a:gs pos="5000">
                      <a:schemeClr val="accent1"/>
                    </a:gs>
                  </a:gsLst>
                  <a:path path="circle">
                    <a:fillToRect r="100000" b="100000"/>
                  </a:path>
                </a:gradFill>
                <a:latin typeface="+mj-lt"/>
                <a:cs typeface="Sora ExtraBold" pitchFamily="2" charset="0"/>
              </a:defRPr>
            </a:lvl1pPr>
          </a:lstStyle>
          <a:p>
            <a:pPr algn="r"/>
            <a:r>
              <a:rPr lang="en-US" sz="4400" dirty="0">
                <a:solidFill>
                  <a:schemeClr val="accent3"/>
                </a:solidFill>
              </a:rPr>
              <a:t>30</a:t>
            </a:r>
          </a:p>
        </p:txBody>
      </p:sp>
      <p:grpSp>
        <p:nvGrpSpPr>
          <p:cNvPr id="207" name="Group 206">
            <a:extLst>
              <a:ext uri="{FF2B5EF4-FFF2-40B4-BE49-F238E27FC236}">
                <a16:creationId xmlns:a16="http://schemas.microsoft.com/office/drawing/2014/main" id="{1F4EEADB-193A-4184-AEF5-793687850CFC}"/>
              </a:ext>
            </a:extLst>
          </p:cNvPr>
          <p:cNvGrpSpPr/>
          <p:nvPr/>
        </p:nvGrpSpPr>
        <p:grpSpPr>
          <a:xfrm>
            <a:off x="716281" y="4238382"/>
            <a:ext cx="3007670" cy="853503"/>
            <a:chOff x="6096000" y="4339587"/>
            <a:chExt cx="3007670" cy="853503"/>
          </a:xfrm>
        </p:grpSpPr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3ABE942A-BD6B-4EB9-9C76-4B8CBE2C196D}"/>
                </a:ext>
              </a:extLst>
            </p:cNvPr>
            <p:cNvSpPr txBox="1"/>
            <p:nvPr/>
          </p:nvSpPr>
          <p:spPr>
            <a:xfrm>
              <a:off x="6096000" y="4678141"/>
              <a:ext cx="3007670" cy="5149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Lorem ipsum dolor sit amet. Qui sint neque a velit modi quo numquam.</a:t>
              </a:r>
            </a:p>
          </p:txBody>
        </p:sp>
        <p:sp>
          <p:nvSpPr>
            <p:cNvPr id="209" name="TextBox 208">
              <a:extLst>
                <a:ext uri="{FF2B5EF4-FFF2-40B4-BE49-F238E27FC236}">
                  <a16:creationId xmlns:a16="http://schemas.microsoft.com/office/drawing/2014/main" id="{3F240F05-3F04-4834-9C28-283371B8E6C9}"/>
                </a:ext>
              </a:extLst>
            </p:cNvPr>
            <p:cNvSpPr txBox="1"/>
            <p:nvPr/>
          </p:nvSpPr>
          <p:spPr>
            <a:xfrm>
              <a:off x="6835132" y="4339587"/>
              <a:ext cx="22685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+mj-lt"/>
                  <a:cs typeface="Sora ExtraBold" pitchFamily="2" charset="0"/>
                </a:rPr>
                <a:t>Your text here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D4ACC9CE-9AF8-A68C-58FB-BA43F2301B73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3D Shaped  infographic </a:t>
            </a:r>
            <a:endParaRPr lang="en-C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91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reveal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1A49CDCF-3C44-4A19-8277-431372B8045E}"/>
              </a:ext>
            </a:extLst>
          </p:cNvPr>
          <p:cNvSpPr/>
          <p:nvPr/>
        </p:nvSpPr>
        <p:spPr>
          <a:xfrm>
            <a:off x="2249134" y="854108"/>
            <a:ext cx="3208364" cy="3690744"/>
          </a:xfrm>
          <a:custGeom>
            <a:avLst/>
            <a:gdLst>
              <a:gd name="connsiteX0" fmla="*/ 2014443 w 4028887"/>
              <a:gd name="connsiteY0" fmla="*/ 0 h 4634634"/>
              <a:gd name="connsiteX1" fmla="*/ 4028887 w 4028887"/>
              <a:gd name="connsiteY1" fmla="*/ 1179699 h 4634634"/>
              <a:gd name="connsiteX2" fmla="*/ 4028887 w 4028887"/>
              <a:gd name="connsiteY2" fmla="*/ 3454935 h 4634634"/>
              <a:gd name="connsiteX3" fmla="*/ 2014443 w 4028887"/>
              <a:gd name="connsiteY3" fmla="*/ 4634634 h 4634634"/>
              <a:gd name="connsiteX4" fmla="*/ 0 w 4028887"/>
              <a:gd name="connsiteY4" fmla="*/ 3454935 h 4634634"/>
              <a:gd name="connsiteX5" fmla="*/ 0 w 4028887"/>
              <a:gd name="connsiteY5" fmla="*/ 1179699 h 46346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8887" h="4634634">
                <a:moveTo>
                  <a:pt x="2014443" y="0"/>
                </a:moveTo>
                <a:lnTo>
                  <a:pt x="4028887" y="1179699"/>
                </a:lnTo>
                <a:lnTo>
                  <a:pt x="4028887" y="3454935"/>
                </a:lnTo>
                <a:lnTo>
                  <a:pt x="2014443" y="4634634"/>
                </a:lnTo>
                <a:lnTo>
                  <a:pt x="0" y="3454935"/>
                </a:lnTo>
                <a:lnTo>
                  <a:pt x="0" y="1179699"/>
                </a:lnTo>
                <a:close/>
              </a:path>
            </a:pathLst>
          </a:custGeom>
          <a:gradFill>
            <a:gsLst>
              <a:gs pos="1500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path path="circle">
              <a:fillToRect r="100000" b="100000"/>
            </a:path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D" dirty="0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11495D5-DB48-4D8B-B3AD-E6549CEDF1E6}"/>
              </a:ext>
            </a:extLst>
          </p:cNvPr>
          <p:cNvSpPr/>
          <p:nvPr/>
        </p:nvSpPr>
        <p:spPr>
          <a:xfrm>
            <a:off x="3019856" y="1572427"/>
            <a:ext cx="1692724" cy="658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600" dirty="0">
                <a:solidFill>
                  <a:schemeClr val="bg1"/>
                </a:solidFill>
                <a:ea typeface="+mj-ea"/>
                <a:cs typeface="+mj-cs"/>
              </a:rPr>
              <a:t>Far </a:t>
            </a:r>
            <a:r>
              <a:rPr lang="en-US" sz="1600" dirty="0" err="1">
                <a:solidFill>
                  <a:schemeClr val="bg1"/>
                </a:solidFill>
                <a:ea typeface="+mj-ea"/>
                <a:cs typeface="+mj-cs"/>
              </a:rPr>
              <a:t>far</a:t>
            </a:r>
            <a:r>
              <a:rPr lang="en-US" sz="1600" dirty="0">
                <a:solidFill>
                  <a:schemeClr val="bg1"/>
                </a:solidFill>
                <a:ea typeface="+mj-ea"/>
                <a:cs typeface="+mj-cs"/>
              </a:rPr>
              <a:t> away behind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B62ED96-5485-1A3A-25FA-B50FA58848C9}"/>
              </a:ext>
            </a:extLst>
          </p:cNvPr>
          <p:cNvGrpSpPr/>
          <p:nvPr/>
        </p:nvGrpSpPr>
        <p:grpSpPr>
          <a:xfrm>
            <a:off x="7512009" y="4596746"/>
            <a:ext cx="3158915" cy="853503"/>
            <a:chOff x="7004009" y="5009524"/>
            <a:chExt cx="3158915" cy="853503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911894D8-1D60-4883-97ED-3DD0B3FD5B0E}"/>
                </a:ext>
              </a:extLst>
            </p:cNvPr>
            <p:cNvGrpSpPr/>
            <p:nvPr/>
          </p:nvGrpSpPr>
          <p:grpSpPr>
            <a:xfrm>
              <a:off x="7710179" y="5009524"/>
              <a:ext cx="2452745" cy="853503"/>
              <a:chOff x="8696325" y="4339587"/>
              <a:chExt cx="2452745" cy="853503"/>
            </a:xfrm>
          </p:grpSpPr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5AA5226C-B3BA-4E2D-9CC1-B819D84169E0}"/>
                  </a:ext>
                </a:extLst>
              </p:cNvPr>
              <p:cNvSpPr txBox="1"/>
              <p:nvPr/>
            </p:nvSpPr>
            <p:spPr>
              <a:xfrm>
                <a:off x="8696325" y="4678141"/>
                <a:ext cx="2452745" cy="514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Lorem ipsum dolor sit amet. Qui sint neque a velit modi.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9E76D765-F5D3-4523-9C3C-01205130D23B}"/>
                  </a:ext>
                </a:extLst>
              </p:cNvPr>
              <p:cNvSpPr txBox="1"/>
              <p:nvPr/>
            </p:nvSpPr>
            <p:spPr>
              <a:xfrm>
                <a:off x="8696325" y="4339587"/>
                <a:ext cx="245274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j-lt"/>
                    <a:cs typeface="Sora ExtraBold" pitchFamily="2" charset="0"/>
                  </a:rPr>
                  <a:t>Content Three</a:t>
                </a: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F7F78FBA-6D5B-483B-9676-9BF809CFD1AB}"/>
                </a:ext>
              </a:extLst>
            </p:cNvPr>
            <p:cNvGrpSpPr/>
            <p:nvPr/>
          </p:nvGrpSpPr>
          <p:grpSpPr>
            <a:xfrm>
              <a:off x="7004009" y="5009524"/>
              <a:ext cx="583941" cy="583941"/>
              <a:chOff x="7230880" y="4137455"/>
              <a:chExt cx="583941" cy="583941"/>
            </a:xfrm>
          </p:grpSpPr>
          <p:sp>
            <p:nvSpPr>
              <p:cNvPr id="41" name="Rectangle: Rounded Corners 40">
                <a:extLst>
                  <a:ext uri="{FF2B5EF4-FFF2-40B4-BE49-F238E27FC236}">
                    <a16:creationId xmlns:a16="http://schemas.microsoft.com/office/drawing/2014/main" id="{CB9B9D8C-3B4A-43D9-A46A-6E88C9C9EB39}"/>
                  </a:ext>
                </a:extLst>
              </p:cNvPr>
              <p:cNvSpPr/>
              <p:nvPr/>
            </p:nvSpPr>
            <p:spPr>
              <a:xfrm>
                <a:off x="7230880" y="4137455"/>
                <a:ext cx="583941" cy="583941"/>
              </a:xfrm>
              <a:prstGeom prst="roundRect">
                <a:avLst>
                  <a:gd name="adj" fmla="val 40319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495300" dist="368300" dir="2700000" sx="82000" sy="82000" algn="tl" rotWithShape="0">
                  <a:prstClr val="black">
                    <a:alpha val="1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1FB0915-1331-401F-8DED-1172DA0E0C55}"/>
                  </a:ext>
                </a:extLst>
              </p:cNvPr>
              <p:cNvSpPr/>
              <p:nvPr/>
            </p:nvSpPr>
            <p:spPr>
              <a:xfrm>
                <a:off x="7346211" y="4252786"/>
                <a:ext cx="353280" cy="353280"/>
              </a:xfrm>
              <a:prstGeom prst="rect">
                <a:avLst/>
              </a:prstGeom>
              <a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1EEA14A9-E0B0-A08D-BBFC-03C55EE172B2}"/>
              </a:ext>
            </a:extLst>
          </p:cNvPr>
          <p:cNvGrpSpPr/>
          <p:nvPr/>
        </p:nvGrpSpPr>
        <p:grpSpPr>
          <a:xfrm>
            <a:off x="7512009" y="2967809"/>
            <a:ext cx="3158915" cy="853503"/>
            <a:chOff x="7004009" y="3929227"/>
            <a:chExt cx="3158915" cy="853503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6CD4BB98-8EEF-4F30-8CE0-31895B585642}"/>
                </a:ext>
              </a:extLst>
            </p:cNvPr>
            <p:cNvGrpSpPr/>
            <p:nvPr/>
          </p:nvGrpSpPr>
          <p:grpSpPr>
            <a:xfrm>
              <a:off x="7710179" y="3929227"/>
              <a:ext cx="2452745" cy="853503"/>
              <a:chOff x="8696325" y="4339587"/>
              <a:chExt cx="2452745" cy="853503"/>
            </a:xfrm>
          </p:grpSpPr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3AD66B4C-EBAD-446B-B14A-A8483A97197D}"/>
                  </a:ext>
                </a:extLst>
              </p:cNvPr>
              <p:cNvSpPr txBox="1"/>
              <p:nvPr/>
            </p:nvSpPr>
            <p:spPr>
              <a:xfrm>
                <a:off x="8696325" y="4678141"/>
                <a:ext cx="2452745" cy="514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Lorem ipsum dolor sit amet. Qui sint neque a velit modi.</a:t>
                </a: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9DFCB8C6-A5F2-49BC-82A6-12B09896EF77}"/>
                  </a:ext>
                </a:extLst>
              </p:cNvPr>
              <p:cNvSpPr txBox="1"/>
              <p:nvPr/>
            </p:nvSpPr>
            <p:spPr>
              <a:xfrm>
                <a:off x="8696325" y="4339587"/>
                <a:ext cx="245274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j-lt"/>
                    <a:cs typeface="Sora ExtraBold" pitchFamily="2" charset="0"/>
                  </a:rPr>
                  <a:t>Content Two</a:t>
                </a:r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EAFF6DA5-AD54-47FA-96D4-E1506F26A8AB}"/>
                </a:ext>
              </a:extLst>
            </p:cNvPr>
            <p:cNvGrpSpPr/>
            <p:nvPr/>
          </p:nvGrpSpPr>
          <p:grpSpPr>
            <a:xfrm>
              <a:off x="7004009" y="3929227"/>
              <a:ext cx="583941" cy="583941"/>
              <a:chOff x="7230880" y="4137455"/>
              <a:chExt cx="583941" cy="583941"/>
            </a:xfrm>
          </p:grpSpPr>
          <p:sp>
            <p:nvSpPr>
              <p:cNvPr id="47" name="Rectangle: Rounded Corners 46">
                <a:extLst>
                  <a:ext uri="{FF2B5EF4-FFF2-40B4-BE49-F238E27FC236}">
                    <a16:creationId xmlns:a16="http://schemas.microsoft.com/office/drawing/2014/main" id="{6753515A-062B-4938-A33B-31A323D97933}"/>
                  </a:ext>
                </a:extLst>
              </p:cNvPr>
              <p:cNvSpPr/>
              <p:nvPr/>
            </p:nvSpPr>
            <p:spPr>
              <a:xfrm>
                <a:off x="7230880" y="4137455"/>
                <a:ext cx="583941" cy="583941"/>
              </a:xfrm>
              <a:prstGeom prst="roundRect">
                <a:avLst>
                  <a:gd name="adj" fmla="val 40319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495300" dist="368300" dir="2700000" sx="82000" sy="82000" algn="tl" rotWithShape="0">
                  <a:prstClr val="black">
                    <a:alpha val="1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BB0849AD-83D7-4889-AE00-2E090EE611B7}"/>
                  </a:ext>
                </a:extLst>
              </p:cNvPr>
              <p:cNvSpPr/>
              <p:nvPr/>
            </p:nvSpPr>
            <p:spPr>
              <a:xfrm>
                <a:off x="7346211" y="4252786"/>
                <a:ext cx="353280" cy="353280"/>
              </a:xfrm>
              <a:prstGeom prst="rect">
                <a:avLst/>
              </a:prstGeom>
              <a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FD5F0B2-B8AF-2879-8DCB-8FDA30769D89}"/>
              </a:ext>
            </a:extLst>
          </p:cNvPr>
          <p:cNvGrpSpPr/>
          <p:nvPr/>
        </p:nvGrpSpPr>
        <p:grpSpPr>
          <a:xfrm>
            <a:off x="7512009" y="1338872"/>
            <a:ext cx="3221457" cy="853503"/>
            <a:chOff x="7004009" y="1751650"/>
            <a:chExt cx="3221457" cy="853503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158AA199-D5FC-45F7-8017-F3149FB08BEC}"/>
                </a:ext>
              </a:extLst>
            </p:cNvPr>
            <p:cNvGrpSpPr/>
            <p:nvPr/>
          </p:nvGrpSpPr>
          <p:grpSpPr>
            <a:xfrm>
              <a:off x="7710179" y="1751650"/>
              <a:ext cx="2515287" cy="853503"/>
              <a:chOff x="8696325" y="4339587"/>
              <a:chExt cx="2515287" cy="853503"/>
            </a:xfrm>
          </p:grpSpPr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47A6F95A-ECFF-4F3B-8CAB-94A86F526EAF}"/>
                  </a:ext>
                </a:extLst>
              </p:cNvPr>
              <p:cNvSpPr txBox="1"/>
              <p:nvPr/>
            </p:nvSpPr>
            <p:spPr>
              <a:xfrm>
                <a:off x="8696325" y="4678141"/>
                <a:ext cx="2515287" cy="514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Lorem ipsum dolor sit amet. Qui sint neque a velit modi.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8B0D0408-5503-4168-B004-BBA9177A23DE}"/>
                  </a:ext>
                </a:extLst>
              </p:cNvPr>
              <p:cNvSpPr txBox="1"/>
              <p:nvPr/>
            </p:nvSpPr>
            <p:spPr>
              <a:xfrm>
                <a:off x="8696326" y="4339587"/>
                <a:ext cx="2452744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j-lt"/>
                    <a:cs typeface="Sora ExtraBold" pitchFamily="2" charset="0"/>
                  </a:rPr>
                  <a:t>Content One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0DDFB252-D593-4770-A90B-A190DED47ED7}"/>
                </a:ext>
              </a:extLst>
            </p:cNvPr>
            <p:cNvGrpSpPr/>
            <p:nvPr/>
          </p:nvGrpSpPr>
          <p:grpSpPr>
            <a:xfrm>
              <a:off x="7004009" y="1751650"/>
              <a:ext cx="583941" cy="583941"/>
              <a:chOff x="7230880" y="4137455"/>
              <a:chExt cx="583941" cy="583941"/>
            </a:xfrm>
          </p:grpSpPr>
          <p:sp>
            <p:nvSpPr>
              <p:cNvPr id="53" name="Rectangle: Rounded Corners 52">
                <a:extLst>
                  <a:ext uri="{FF2B5EF4-FFF2-40B4-BE49-F238E27FC236}">
                    <a16:creationId xmlns:a16="http://schemas.microsoft.com/office/drawing/2014/main" id="{5256E9A3-F2D3-4A69-B57A-9F8969230B30}"/>
                  </a:ext>
                </a:extLst>
              </p:cNvPr>
              <p:cNvSpPr/>
              <p:nvPr/>
            </p:nvSpPr>
            <p:spPr>
              <a:xfrm>
                <a:off x="7230880" y="4137455"/>
                <a:ext cx="583941" cy="583941"/>
              </a:xfrm>
              <a:prstGeom prst="roundRect">
                <a:avLst>
                  <a:gd name="adj" fmla="val 40319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495300" dist="368300" dir="2700000" sx="82000" sy="82000" algn="tl" rotWithShape="0">
                  <a:prstClr val="black">
                    <a:alpha val="1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17C6CD94-205E-48A7-871B-7CACA39A5450}"/>
                  </a:ext>
                </a:extLst>
              </p:cNvPr>
              <p:cNvSpPr/>
              <p:nvPr/>
            </p:nvSpPr>
            <p:spPr>
              <a:xfrm>
                <a:off x="7346211" y="4252786"/>
                <a:ext cx="353280" cy="353280"/>
              </a:xfrm>
              <a:prstGeom prst="rect">
                <a:avLst/>
              </a:prstGeom>
              <a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FE3F3A6E-B25A-4ACD-920A-B295CE41032E}"/>
              </a:ext>
            </a:extLst>
          </p:cNvPr>
          <p:cNvSpPr/>
          <p:nvPr/>
        </p:nvSpPr>
        <p:spPr>
          <a:xfrm>
            <a:off x="1335848" y="2378735"/>
            <a:ext cx="3208364" cy="3690744"/>
          </a:xfrm>
          <a:custGeom>
            <a:avLst/>
            <a:gdLst>
              <a:gd name="connsiteX0" fmla="*/ 2014443 w 4028887"/>
              <a:gd name="connsiteY0" fmla="*/ 0 h 4634634"/>
              <a:gd name="connsiteX1" fmla="*/ 4028887 w 4028887"/>
              <a:gd name="connsiteY1" fmla="*/ 1179699 h 4634634"/>
              <a:gd name="connsiteX2" fmla="*/ 4028887 w 4028887"/>
              <a:gd name="connsiteY2" fmla="*/ 3454935 h 4634634"/>
              <a:gd name="connsiteX3" fmla="*/ 2014443 w 4028887"/>
              <a:gd name="connsiteY3" fmla="*/ 4634634 h 4634634"/>
              <a:gd name="connsiteX4" fmla="*/ 0 w 4028887"/>
              <a:gd name="connsiteY4" fmla="*/ 3454935 h 4634634"/>
              <a:gd name="connsiteX5" fmla="*/ 0 w 4028887"/>
              <a:gd name="connsiteY5" fmla="*/ 1179699 h 46346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8887" h="4634634">
                <a:moveTo>
                  <a:pt x="2014443" y="0"/>
                </a:moveTo>
                <a:lnTo>
                  <a:pt x="4028887" y="1179699"/>
                </a:lnTo>
                <a:lnTo>
                  <a:pt x="4028887" y="3454935"/>
                </a:lnTo>
                <a:lnTo>
                  <a:pt x="2014443" y="4634634"/>
                </a:lnTo>
                <a:lnTo>
                  <a:pt x="0" y="3454935"/>
                </a:lnTo>
                <a:lnTo>
                  <a:pt x="0" y="1179699"/>
                </a:lnTo>
                <a:close/>
              </a:path>
            </a:pathLst>
          </a:custGeom>
          <a:gradFill>
            <a:gsLst>
              <a:gs pos="1500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path path="circle">
              <a:fillToRect r="100000" b="100000"/>
            </a:path>
          </a:gradFill>
          <a:ln w="38100">
            <a:noFill/>
          </a:ln>
          <a:effectLst>
            <a:outerShdw blurRad="800100" dist="546100" dir="2700000" sx="90000" sy="9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dirty="0">
              <a:latin typeface="+mj-lt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3BAE5A07-87F1-477E-96B7-FFE4513BF2FF}"/>
              </a:ext>
            </a:extLst>
          </p:cNvPr>
          <p:cNvSpPr/>
          <p:nvPr/>
        </p:nvSpPr>
        <p:spPr>
          <a:xfrm>
            <a:off x="1343029" y="4446264"/>
            <a:ext cx="1692724" cy="658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600" dirty="0">
                <a:solidFill>
                  <a:schemeClr val="bg1"/>
                </a:solidFill>
                <a:ea typeface="+mj-ea"/>
                <a:cs typeface="+mj-cs"/>
              </a:rPr>
              <a:t>Far </a:t>
            </a:r>
            <a:r>
              <a:rPr lang="en-US" sz="1600" dirty="0" err="1">
                <a:solidFill>
                  <a:schemeClr val="bg1"/>
                </a:solidFill>
                <a:ea typeface="+mj-ea"/>
                <a:cs typeface="+mj-cs"/>
              </a:rPr>
              <a:t>far</a:t>
            </a:r>
            <a:r>
              <a:rPr lang="en-US" sz="1600" dirty="0">
                <a:solidFill>
                  <a:schemeClr val="bg1"/>
                </a:solidFill>
                <a:ea typeface="+mj-ea"/>
                <a:cs typeface="+mj-cs"/>
              </a:rPr>
              <a:t> away behind</a:t>
            </a:r>
          </a:p>
        </p:txBody>
      </p: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18DF12D1-757F-4D1E-AED2-6AFCC0174C5F}"/>
              </a:ext>
            </a:extLst>
          </p:cNvPr>
          <p:cNvSpPr/>
          <p:nvPr/>
        </p:nvSpPr>
        <p:spPr>
          <a:xfrm>
            <a:off x="3123101" y="2378735"/>
            <a:ext cx="3208364" cy="3690744"/>
          </a:xfrm>
          <a:custGeom>
            <a:avLst/>
            <a:gdLst>
              <a:gd name="connsiteX0" fmla="*/ 2014443 w 4028887"/>
              <a:gd name="connsiteY0" fmla="*/ 0 h 4634634"/>
              <a:gd name="connsiteX1" fmla="*/ 4028887 w 4028887"/>
              <a:gd name="connsiteY1" fmla="*/ 1179699 h 4634634"/>
              <a:gd name="connsiteX2" fmla="*/ 4028887 w 4028887"/>
              <a:gd name="connsiteY2" fmla="*/ 3454935 h 4634634"/>
              <a:gd name="connsiteX3" fmla="*/ 2014443 w 4028887"/>
              <a:gd name="connsiteY3" fmla="*/ 4634634 h 4634634"/>
              <a:gd name="connsiteX4" fmla="*/ 0 w 4028887"/>
              <a:gd name="connsiteY4" fmla="*/ 3454935 h 4634634"/>
              <a:gd name="connsiteX5" fmla="*/ 0 w 4028887"/>
              <a:gd name="connsiteY5" fmla="*/ 1179699 h 46346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8887" h="4634634">
                <a:moveTo>
                  <a:pt x="2014443" y="0"/>
                </a:moveTo>
                <a:lnTo>
                  <a:pt x="4028887" y="1179699"/>
                </a:lnTo>
                <a:lnTo>
                  <a:pt x="4028887" y="3454935"/>
                </a:lnTo>
                <a:lnTo>
                  <a:pt x="2014443" y="4634634"/>
                </a:lnTo>
                <a:lnTo>
                  <a:pt x="0" y="3454935"/>
                </a:lnTo>
                <a:lnTo>
                  <a:pt x="0" y="1179699"/>
                </a:lnTo>
                <a:close/>
              </a:path>
            </a:pathLst>
          </a:custGeom>
          <a:gradFill flip="none" rotWithShape="1">
            <a:gsLst>
              <a:gs pos="1500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 w="3897" cap="flat">
            <a:noFill/>
            <a:prstDash val="solid"/>
            <a:miter/>
          </a:ln>
        </p:spPr>
        <p:txBody>
          <a:bodyPr rtlCol="0" anchor="ctr"/>
          <a:lstStyle/>
          <a:p>
            <a:endParaRPr lang="en-ID">
              <a:solidFill>
                <a:schemeClr val="tx1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6C2E232B-5655-4FEE-B6A0-9E268DC0ABDF}"/>
              </a:ext>
            </a:extLst>
          </p:cNvPr>
          <p:cNvSpPr/>
          <p:nvPr/>
        </p:nvSpPr>
        <p:spPr>
          <a:xfrm>
            <a:off x="4666442" y="4452350"/>
            <a:ext cx="1692724" cy="658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600" dirty="0">
                <a:solidFill>
                  <a:schemeClr val="bg1"/>
                </a:solidFill>
                <a:ea typeface="+mj-ea"/>
                <a:cs typeface="+mj-cs"/>
              </a:rPr>
              <a:t>Far </a:t>
            </a:r>
            <a:r>
              <a:rPr lang="en-US" sz="1600" dirty="0" err="1">
                <a:solidFill>
                  <a:schemeClr val="bg1"/>
                </a:solidFill>
                <a:ea typeface="+mj-ea"/>
                <a:cs typeface="+mj-cs"/>
              </a:rPr>
              <a:t>far</a:t>
            </a:r>
            <a:r>
              <a:rPr lang="en-US" sz="1600" dirty="0">
                <a:solidFill>
                  <a:schemeClr val="bg1"/>
                </a:solidFill>
                <a:ea typeface="+mj-ea"/>
                <a:cs typeface="+mj-cs"/>
              </a:rPr>
              <a:t> away behind</a:t>
            </a:r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AF4F8AEC-F222-4992-B5F9-3C1B40947A2D}"/>
              </a:ext>
            </a:extLst>
          </p:cNvPr>
          <p:cNvSpPr/>
          <p:nvPr/>
        </p:nvSpPr>
        <p:spPr>
          <a:xfrm>
            <a:off x="3124733" y="2900751"/>
            <a:ext cx="1429980" cy="1644978"/>
          </a:xfrm>
          <a:custGeom>
            <a:avLst/>
            <a:gdLst>
              <a:gd name="connsiteX0" fmla="*/ 2014443 w 4028887"/>
              <a:gd name="connsiteY0" fmla="*/ 0 h 4634634"/>
              <a:gd name="connsiteX1" fmla="*/ 4028887 w 4028887"/>
              <a:gd name="connsiteY1" fmla="*/ 1179699 h 4634634"/>
              <a:gd name="connsiteX2" fmla="*/ 4028887 w 4028887"/>
              <a:gd name="connsiteY2" fmla="*/ 3454935 h 4634634"/>
              <a:gd name="connsiteX3" fmla="*/ 2014443 w 4028887"/>
              <a:gd name="connsiteY3" fmla="*/ 4634634 h 4634634"/>
              <a:gd name="connsiteX4" fmla="*/ 0 w 4028887"/>
              <a:gd name="connsiteY4" fmla="*/ 3454935 h 4634634"/>
              <a:gd name="connsiteX5" fmla="*/ 0 w 4028887"/>
              <a:gd name="connsiteY5" fmla="*/ 1179699 h 46346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8887" h="4634634">
                <a:moveTo>
                  <a:pt x="2014443" y="0"/>
                </a:moveTo>
                <a:lnTo>
                  <a:pt x="4028887" y="1179699"/>
                </a:lnTo>
                <a:lnTo>
                  <a:pt x="4028887" y="3454935"/>
                </a:lnTo>
                <a:lnTo>
                  <a:pt x="2014443" y="4634634"/>
                </a:lnTo>
                <a:lnTo>
                  <a:pt x="0" y="3454935"/>
                </a:lnTo>
                <a:lnTo>
                  <a:pt x="0" y="117969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71500" dist="393700" dir="2700000" sx="96000" sy="96000" algn="br" rotWithShape="0">
              <a:schemeClr val="tx1">
                <a:lumMod val="95000"/>
                <a:lumOff val="5000"/>
                <a:alpha val="1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lt1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9C9A1067-AE37-4F12-BB90-5F0617E2188E}"/>
              </a:ext>
            </a:extLst>
          </p:cNvPr>
          <p:cNvSpPr txBox="1"/>
          <p:nvPr/>
        </p:nvSpPr>
        <p:spPr>
          <a:xfrm>
            <a:off x="3194241" y="3471383"/>
            <a:ext cx="1301124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j-cs"/>
              </a:rPr>
              <a:t>Venn Diagram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020D6624-349C-43B9-8F78-3C1712490721}"/>
              </a:ext>
            </a:extLst>
          </p:cNvPr>
          <p:cNvSpPr txBox="1"/>
          <p:nvPr/>
        </p:nvSpPr>
        <p:spPr>
          <a:xfrm>
            <a:off x="3286114" y="4685935"/>
            <a:ext cx="10811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+mj-lt"/>
                <a:cs typeface="+mj-cs"/>
              </a:rPr>
              <a:t>03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ABDDFF5-7856-4D6C-94F4-D628E8FCB387}"/>
              </a:ext>
            </a:extLst>
          </p:cNvPr>
          <p:cNvSpPr txBox="1"/>
          <p:nvPr/>
        </p:nvSpPr>
        <p:spPr>
          <a:xfrm>
            <a:off x="4429992" y="2876556"/>
            <a:ext cx="10811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+mj-lt"/>
                <a:cs typeface="+mj-cs"/>
              </a:rPr>
              <a:t>02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0EC6E86-7C89-49D2-8D8A-1AB179AFF82D}"/>
              </a:ext>
            </a:extLst>
          </p:cNvPr>
          <p:cNvSpPr txBox="1"/>
          <p:nvPr/>
        </p:nvSpPr>
        <p:spPr>
          <a:xfrm>
            <a:off x="2204972" y="2876556"/>
            <a:ext cx="10811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+mj-lt"/>
                <a:cs typeface="+mj-cs"/>
              </a:rPr>
              <a:t>01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7C979A8-2F69-F282-C6D6-C4571F8F2942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Hexagonal infographic </a:t>
            </a:r>
            <a:endParaRPr lang="en-C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7184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reveal/>
      </p:transition>
    </mc:Choice>
    <mc:Fallback xmlns:asvg="http://schemas.microsoft.com/office/drawing/2016/SVG/main" xmlns:a16="http://schemas.microsoft.com/office/drawing/2014/main" xmlns=""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rc 1">
            <a:extLst>
              <a:ext uri="{FF2B5EF4-FFF2-40B4-BE49-F238E27FC236}">
                <a16:creationId xmlns:a16="http://schemas.microsoft.com/office/drawing/2014/main" id="{71A4777F-DF3F-4E8C-8462-86AF0DA50BA0}"/>
              </a:ext>
            </a:extLst>
          </p:cNvPr>
          <p:cNvSpPr/>
          <p:nvPr/>
        </p:nvSpPr>
        <p:spPr>
          <a:xfrm rot="5400000">
            <a:off x="1235350" y="-1281113"/>
            <a:ext cx="9696456" cy="9420225"/>
          </a:xfrm>
          <a:prstGeom prst="arc">
            <a:avLst>
              <a:gd name="adj1" fmla="val 10832252"/>
              <a:gd name="adj2" fmla="val 21582344"/>
            </a:avLst>
          </a:prstGeom>
          <a:solidFill>
            <a:schemeClr val="accent4"/>
          </a:solidFill>
          <a:ln w="34925">
            <a:solidFill>
              <a:schemeClr val="bg1"/>
            </a:solidFill>
          </a:ln>
          <a:effectLst>
            <a:outerShdw blurRad="508000" dist="228600" dir="2700000" sx="95000" sy="95000" algn="tl" rotWithShape="0">
              <a:prstClr val="black">
                <a:alpha val="2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>
              <a:solidFill>
                <a:schemeClr val="lt1"/>
              </a:solidFill>
              <a:latin typeface="+mj-lt"/>
            </a:endParaRPr>
          </a:p>
        </p:txBody>
      </p:sp>
      <p:sp>
        <p:nvSpPr>
          <p:cNvPr id="3" name="Arc 2">
            <a:extLst>
              <a:ext uri="{FF2B5EF4-FFF2-40B4-BE49-F238E27FC236}">
                <a16:creationId xmlns:a16="http://schemas.microsoft.com/office/drawing/2014/main" id="{6998F7C0-7359-4E51-8B6F-94BC657DF1A6}"/>
              </a:ext>
            </a:extLst>
          </p:cNvPr>
          <p:cNvSpPr/>
          <p:nvPr/>
        </p:nvSpPr>
        <p:spPr>
          <a:xfrm rot="5400000">
            <a:off x="2485984" y="-182879"/>
            <a:ext cx="7223760" cy="7223758"/>
          </a:xfrm>
          <a:prstGeom prst="arc">
            <a:avLst>
              <a:gd name="adj1" fmla="val 10810292"/>
              <a:gd name="adj2" fmla="val 0"/>
            </a:avLst>
          </a:prstGeom>
          <a:solidFill>
            <a:schemeClr val="accent3"/>
          </a:solidFill>
          <a:ln w="34925">
            <a:solidFill>
              <a:schemeClr val="bg1"/>
            </a:solidFill>
          </a:ln>
          <a:effectLst>
            <a:outerShdw blurRad="508000" dist="228600" dir="2700000" sx="95000" sy="95000" algn="tl" rotWithShape="0">
              <a:prstClr val="black">
                <a:alpha val="2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>
              <a:solidFill>
                <a:schemeClr val="lt1"/>
              </a:solidFill>
              <a:latin typeface="+mj-lt"/>
            </a:endParaRPr>
          </a:p>
        </p:txBody>
      </p:sp>
      <p:sp>
        <p:nvSpPr>
          <p:cNvPr id="4" name="Arc 3">
            <a:extLst>
              <a:ext uri="{FF2B5EF4-FFF2-40B4-BE49-F238E27FC236}">
                <a16:creationId xmlns:a16="http://schemas.microsoft.com/office/drawing/2014/main" id="{DACE9929-C20A-420E-BF1A-FB0079EC3E9F}"/>
              </a:ext>
            </a:extLst>
          </p:cNvPr>
          <p:cNvSpPr/>
          <p:nvPr/>
        </p:nvSpPr>
        <p:spPr>
          <a:xfrm rot="5400000">
            <a:off x="3641008" y="972144"/>
            <a:ext cx="4913712" cy="4913712"/>
          </a:xfrm>
          <a:prstGeom prst="arc">
            <a:avLst>
              <a:gd name="adj1" fmla="val 10810292"/>
              <a:gd name="adj2" fmla="val 0"/>
            </a:avLst>
          </a:prstGeom>
          <a:solidFill>
            <a:schemeClr val="accent2"/>
          </a:solidFill>
          <a:ln w="34925">
            <a:solidFill>
              <a:schemeClr val="bg1"/>
            </a:solidFill>
          </a:ln>
          <a:effectLst>
            <a:outerShdw blurRad="508000" dist="228600" dir="2700000" sx="95000" sy="95000" algn="tl" rotWithShape="0">
              <a:prstClr val="black">
                <a:alpha val="2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>
              <a:solidFill>
                <a:schemeClr val="lt1"/>
              </a:solidFill>
              <a:latin typeface="+mj-lt"/>
            </a:endParaRPr>
          </a:p>
        </p:txBody>
      </p:sp>
      <p:sp>
        <p:nvSpPr>
          <p:cNvPr id="6" name="Arc 5">
            <a:extLst>
              <a:ext uri="{FF2B5EF4-FFF2-40B4-BE49-F238E27FC236}">
                <a16:creationId xmlns:a16="http://schemas.microsoft.com/office/drawing/2014/main" id="{B1A4DDB8-0873-4D45-8510-CC0AD648E2DC}"/>
              </a:ext>
            </a:extLst>
          </p:cNvPr>
          <p:cNvSpPr/>
          <p:nvPr/>
        </p:nvSpPr>
        <p:spPr>
          <a:xfrm rot="5400000">
            <a:off x="4735133" y="2066267"/>
            <a:ext cx="2693458" cy="2725465"/>
          </a:xfrm>
          <a:prstGeom prst="arc">
            <a:avLst>
              <a:gd name="adj1" fmla="val 10810292"/>
              <a:gd name="adj2" fmla="val 0"/>
            </a:avLst>
          </a:prstGeom>
          <a:solidFill>
            <a:schemeClr val="accent1"/>
          </a:solidFill>
          <a:ln w="34925">
            <a:solidFill>
              <a:schemeClr val="bg1"/>
            </a:solidFill>
          </a:ln>
          <a:effectLst>
            <a:outerShdw blurRad="508000" dist="228600" dir="2700000" sx="95000" sy="95000" algn="tl" rotWithShape="0">
              <a:prstClr val="black">
                <a:alpha val="2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>
              <a:solidFill>
                <a:schemeClr val="lt1"/>
              </a:solidFill>
              <a:latin typeface="+mj-lt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01A88D3-0A06-49EF-9DD6-24F4F41DF5DE}"/>
              </a:ext>
            </a:extLst>
          </p:cNvPr>
          <p:cNvSpPr/>
          <p:nvPr/>
        </p:nvSpPr>
        <p:spPr>
          <a:xfrm>
            <a:off x="5622497" y="2944110"/>
            <a:ext cx="969778" cy="96977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850900" dist="101600" dir="10800000" sx="75000" sy="75000" algn="t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tar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B1002BE-41CB-438E-B483-635C44F6C722}"/>
              </a:ext>
            </a:extLst>
          </p:cNvPr>
          <p:cNvSpPr txBox="1"/>
          <p:nvPr/>
        </p:nvSpPr>
        <p:spPr>
          <a:xfrm>
            <a:off x="6329562" y="3254376"/>
            <a:ext cx="1325878" cy="3519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14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tep 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24D6384-B8DE-4976-BA5B-A3272C1983E1}"/>
              </a:ext>
            </a:extLst>
          </p:cNvPr>
          <p:cNvSpPr txBox="1"/>
          <p:nvPr/>
        </p:nvSpPr>
        <p:spPr>
          <a:xfrm>
            <a:off x="7568858" y="3254376"/>
            <a:ext cx="903248" cy="3519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14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tep 2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E9C446-280C-4E50-BF8D-0B7E50F2E65F}"/>
              </a:ext>
            </a:extLst>
          </p:cNvPr>
          <p:cNvSpPr txBox="1"/>
          <p:nvPr/>
        </p:nvSpPr>
        <p:spPr>
          <a:xfrm>
            <a:off x="8694738" y="3254376"/>
            <a:ext cx="858798" cy="3519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14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tep 3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9EDFC26-2B10-4539-8CC0-44F69954AFF7}"/>
              </a:ext>
            </a:extLst>
          </p:cNvPr>
          <p:cNvSpPr txBox="1"/>
          <p:nvPr/>
        </p:nvSpPr>
        <p:spPr>
          <a:xfrm>
            <a:off x="9815925" y="3254376"/>
            <a:ext cx="827048" cy="3519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14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tep 4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2DBDEC1-533B-43D3-A0FF-DA2D977A341C}"/>
              </a:ext>
            </a:extLst>
          </p:cNvPr>
          <p:cNvSpPr/>
          <p:nvPr/>
        </p:nvSpPr>
        <p:spPr>
          <a:xfrm>
            <a:off x="1132463" y="620395"/>
            <a:ext cx="8493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1"/>
                </a:solidFill>
                <a:cs typeface="Sora ExtraBold" pitchFamily="2" charset="0"/>
              </a:rPr>
              <a:t>01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60E1AA4-75B4-4ED5-BA8D-0143A504FF6B}"/>
              </a:ext>
            </a:extLst>
          </p:cNvPr>
          <p:cNvSpPr/>
          <p:nvPr/>
        </p:nvSpPr>
        <p:spPr>
          <a:xfrm>
            <a:off x="1132463" y="2128697"/>
            <a:ext cx="8493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2"/>
                </a:solidFill>
                <a:cs typeface="Sora ExtraBold" pitchFamily="2" charset="0"/>
              </a:rPr>
              <a:t>02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6807203-8730-4414-B1BE-FB92F7AA1F70}"/>
              </a:ext>
            </a:extLst>
          </p:cNvPr>
          <p:cNvSpPr/>
          <p:nvPr/>
        </p:nvSpPr>
        <p:spPr>
          <a:xfrm>
            <a:off x="1132463" y="3621002"/>
            <a:ext cx="8493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3"/>
                </a:solidFill>
                <a:cs typeface="Sora ExtraBold" pitchFamily="2" charset="0"/>
              </a:rPr>
              <a:t>03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0DFF961-FBE0-45D3-9F33-564248ACFA0D}"/>
              </a:ext>
            </a:extLst>
          </p:cNvPr>
          <p:cNvSpPr/>
          <p:nvPr/>
        </p:nvSpPr>
        <p:spPr>
          <a:xfrm>
            <a:off x="1132463" y="5129304"/>
            <a:ext cx="8493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4"/>
                </a:solidFill>
                <a:cs typeface="Sora ExtraBold" pitchFamily="2" charset="0"/>
              </a:rPr>
              <a:t>04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E676FF0-6227-4D52-AF62-4679FE8704A7}"/>
              </a:ext>
            </a:extLst>
          </p:cNvPr>
          <p:cNvSpPr/>
          <p:nvPr/>
        </p:nvSpPr>
        <p:spPr>
          <a:xfrm>
            <a:off x="1789959" y="719734"/>
            <a:ext cx="27254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cs typeface="Sora ExtraBold" pitchFamily="2" charset="0"/>
              </a:rPr>
              <a:t>Insert Your Title Tex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A8991CD-AC03-46FC-BC59-24E61C04E356}"/>
              </a:ext>
            </a:extLst>
          </p:cNvPr>
          <p:cNvSpPr/>
          <p:nvPr/>
        </p:nvSpPr>
        <p:spPr>
          <a:xfrm>
            <a:off x="1132462" y="993102"/>
            <a:ext cx="3996375" cy="486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amet. Qui sint neque a velit modi quo numquam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88F3798-C714-4B2A-A568-1141AEC39610}"/>
              </a:ext>
            </a:extLst>
          </p:cNvPr>
          <p:cNvSpPr/>
          <p:nvPr/>
        </p:nvSpPr>
        <p:spPr>
          <a:xfrm>
            <a:off x="1789959" y="2228036"/>
            <a:ext cx="27254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cs typeface="Sora ExtraBold" pitchFamily="2" charset="0"/>
              </a:rPr>
              <a:t>Insert Your Title Tex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AFE984A-ECEE-4E14-96FF-7EC240B3C4FF}"/>
              </a:ext>
            </a:extLst>
          </p:cNvPr>
          <p:cNvSpPr/>
          <p:nvPr/>
        </p:nvSpPr>
        <p:spPr>
          <a:xfrm>
            <a:off x="1132462" y="2501404"/>
            <a:ext cx="3996375" cy="486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amet. Qui sint neque a velit modi quo numquam.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432FFEC-4052-448A-9688-E56BE864E4DB}"/>
              </a:ext>
            </a:extLst>
          </p:cNvPr>
          <p:cNvSpPr/>
          <p:nvPr/>
        </p:nvSpPr>
        <p:spPr>
          <a:xfrm>
            <a:off x="1789959" y="3720341"/>
            <a:ext cx="27254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cs typeface="Sora ExtraBold" pitchFamily="2" charset="0"/>
              </a:rPr>
              <a:t>Insert Your Title Tex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AB6F8ED-5FD9-4CFB-90EE-DCF8B790EFEF}"/>
              </a:ext>
            </a:extLst>
          </p:cNvPr>
          <p:cNvSpPr/>
          <p:nvPr/>
        </p:nvSpPr>
        <p:spPr>
          <a:xfrm>
            <a:off x="1132462" y="3993709"/>
            <a:ext cx="3996375" cy="486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amet. Qui sint neque a velit modi quo numquam.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9AEC11E-AFC0-4B0B-8053-5EBD0F13A1EB}"/>
              </a:ext>
            </a:extLst>
          </p:cNvPr>
          <p:cNvSpPr/>
          <p:nvPr/>
        </p:nvSpPr>
        <p:spPr>
          <a:xfrm>
            <a:off x="1789959" y="5228643"/>
            <a:ext cx="27254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95000"/>
                    <a:lumOff val="5000"/>
                  </a:schemeClr>
                </a:solidFill>
                <a:cs typeface="Sora ExtraBold" pitchFamily="2" charset="0"/>
              </a:rPr>
              <a:t>Insert Your Title Tex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00A4BF8-8B3E-40FA-9CA5-68C173357E67}"/>
              </a:ext>
            </a:extLst>
          </p:cNvPr>
          <p:cNvSpPr/>
          <p:nvPr/>
        </p:nvSpPr>
        <p:spPr>
          <a:xfrm>
            <a:off x="1132462" y="5502011"/>
            <a:ext cx="3996375" cy="486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rem ipsum dolor sit amet. Qui sint neque a velit modi quo numquam.</a:t>
            </a:r>
          </a:p>
        </p:txBody>
      </p:sp>
    </p:spTree>
    <p:extLst>
      <p:ext uri="{BB962C8B-B14F-4D97-AF65-F5344CB8AC3E}">
        <p14:creationId xmlns:p14="http://schemas.microsoft.com/office/powerpoint/2010/main" val="2217031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reveal/>
      </p:transition>
    </mc:Choice>
    <mc:Fallback xmlns:a16="http://schemas.microsoft.com/office/drawing/2014/main" xmlns="">
      <p:transition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>
            <a:extLst>
              <a:ext uri="{FF2B5EF4-FFF2-40B4-BE49-F238E27FC236}">
                <a16:creationId xmlns:a16="http://schemas.microsoft.com/office/drawing/2014/main" id="{F00F2F95-8F4F-40F7-8062-F661F898565C}"/>
              </a:ext>
            </a:extLst>
          </p:cNvPr>
          <p:cNvGrpSpPr/>
          <p:nvPr/>
        </p:nvGrpSpPr>
        <p:grpSpPr>
          <a:xfrm rot="16200000">
            <a:off x="3243846" y="2853881"/>
            <a:ext cx="5702882" cy="1277342"/>
            <a:chOff x="1116364" y="2333626"/>
            <a:chExt cx="7562499" cy="1693864"/>
          </a:xfr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0" scaled="1"/>
          </a:gradFill>
        </p:grpSpPr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id="{F3454A29-12C6-4A71-873D-9831CA59C1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364" y="2609851"/>
              <a:ext cx="1073151" cy="1142999"/>
            </a:xfrm>
            <a:custGeom>
              <a:avLst/>
              <a:gdLst>
                <a:gd name="T0" fmla="*/ 143 w 487"/>
                <a:gd name="T1" fmla="*/ 0 h 518"/>
                <a:gd name="T2" fmla="*/ 483 w 487"/>
                <a:gd name="T3" fmla="*/ 242 h 518"/>
                <a:gd name="T4" fmla="*/ 487 w 487"/>
                <a:gd name="T5" fmla="*/ 242 h 518"/>
                <a:gd name="T6" fmla="*/ 487 w 487"/>
                <a:gd name="T7" fmla="*/ 276 h 518"/>
                <a:gd name="T8" fmla="*/ 483 w 487"/>
                <a:gd name="T9" fmla="*/ 276 h 518"/>
                <a:gd name="T10" fmla="*/ 143 w 487"/>
                <a:gd name="T11" fmla="*/ 518 h 518"/>
                <a:gd name="T12" fmla="*/ 144 w 487"/>
                <a:gd name="T13" fmla="*/ 259 h 518"/>
                <a:gd name="T14" fmla="*/ 143 w 487"/>
                <a:gd name="T15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7" h="518">
                  <a:moveTo>
                    <a:pt x="143" y="0"/>
                  </a:moveTo>
                  <a:cubicBezTo>
                    <a:pt x="264" y="0"/>
                    <a:pt x="433" y="185"/>
                    <a:pt x="483" y="242"/>
                  </a:cubicBezTo>
                  <a:cubicBezTo>
                    <a:pt x="487" y="242"/>
                    <a:pt x="487" y="242"/>
                    <a:pt x="487" y="242"/>
                  </a:cubicBezTo>
                  <a:cubicBezTo>
                    <a:pt x="487" y="276"/>
                    <a:pt x="487" y="276"/>
                    <a:pt x="487" y="276"/>
                  </a:cubicBezTo>
                  <a:cubicBezTo>
                    <a:pt x="483" y="276"/>
                    <a:pt x="483" y="276"/>
                    <a:pt x="483" y="276"/>
                  </a:cubicBezTo>
                  <a:cubicBezTo>
                    <a:pt x="433" y="333"/>
                    <a:pt x="264" y="518"/>
                    <a:pt x="143" y="518"/>
                  </a:cubicBezTo>
                  <a:cubicBezTo>
                    <a:pt x="0" y="518"/>
                    <a:pt x="144" y="402"/>
                    <a:pt x="144" y="259"/>
                  </a:cubicBezTo>
                  <a:cubicBezTo>
                    <a:pt x="144" y="116"/>
                    <a:pt x="0" y="0"/>
                    <a:pt x="143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508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id-ID" sz="8000" dirty="0">
                <a:solidFill>
                  <a:srgbClr val="FFFFFF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78C83539-037F-40AC-A248-2F58536BC2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84975" y="2333626"/>
              <a:ext cx="1893888" cy="1693864"/>
            </a:xfrm>
            <a:custGeom>
              <a:avLst/>
              <a:gdLst>
                <a:gd name="T0" fmla="*/ 90 w 860"/>
                <a:gd name="T1" fmla="*/ 435 h 768"/>
                <a:gd name="T2" fmla="*/ 195 w 860"/>
                <a:gd name="T3" fmla="*/ 768 h 768"/>
                <a:gd name="T4" fmla="*/ 860 w 860"/>
                <a:gd name="T5" fmla="*/ 454 h 768"/>
                <a:gd name="T6" fmla="*/ 195 w 860"/>
                <a:gd name="T7" fmla="*/ 0 h 768"/>
                <a:gd name="T8" fmla="*/ 90 w 860"/>
                <a:gd name="T9" fmla="*/ 333 h 768"/>
                <a:gd name="T10" fmla="*/ 27 w 860"/>
                <a:gd name="T11" fmla="*/ 335 h 768"/>
                <a:gd name="T12" fmla="*/ 27 w 860"/>
                <a:gd name="T13" fmla="*/ 433 h 768"/>
                <a:gd name="T14" fmla="*/ 90 w 860"/>
                <a:gd name="T15" fmla="*/ 435 h 768"/>
                <a:gd name="T16" fmla="*/ 444 w 860"/>
                <a:gd name="T17" fmla="*/ 265 h 768"/>
                <a:gd name="T18" fmla="*/ 505 w 860"/>
                <a:gd name="T19" fmla="*/ 203 h 768"/>
                <a:gd name="T20" fmla="*/ 566 w 860"/>
                <a:gd name="T21" fmla="*/ 265 h 768"/>
                <a:gd name="T22" fmla="*/ 505 w 860"/>
                <a:gd name="T23" fmla="*/ 326 h 768"/>
                <a:gd name="T24" fmla="*/ 444 w 860"/>
                <a:gd name="T25" fmla="*/ 265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60" h="768">
                  <a:moveTo>
                    <a:pt x="90" y="435"/>
                  </a:moveTo>
                  <a:cubicBezTo>
                    <a:pt x="76" y="623"/>
                    <a:pt x="0" y="768"/>
                    <a:pt x="195" y="768"/>
                  </a:cubicBezTo>
                  <a:cubicBezTo>
                    <a:pt x="407" y="768"/>
                    <a:pt x="860" y="454"/>
                    <a:pt x="860" y="454"/>
                  </a:cubicBezTo>
                  <a:cubicBezTo>
                    <a:pt x="860" y="243"/>
                    <a:pt x="407" y="0"/>
                    <a:pt x="195" y="0"/>
                  </a:cubicBezTo>
                  <a:cubicBezTo>
                    <a:pt x="0" y="0"/>
                    <a:pt x="76" y="146"/>
                    <a:pt x="90" y="333"/>
                  </a:cubicBezTo>
                  <a:cubicBezTo>
                    <a:pt x="27" y="335"/>
                    <a:pt x="27" y="335"/>
                    <a:pt x="27" y="335"/>
                  </a:cubicBezTo>
                  <a:cubicBezTo>
                    <a:pt x="27" y="433"/>
                    <a:pt x="27" y="433"/>
                    <a:pt x="27" y="433"/>
                  </a:cubicBezTo>
                  <a:lnTo>
                    <a:pt x="90" y="435"/>
                  </a:lnTo>
                  <a:close/>
                  <a:moveTo>
                    <a:pt x="444" y="265"/>
                  </a:moveTo>
                  <a:cubicBezTo>
                    <a:pt x="444" y="231"/>
                    <a:pt x="471" y="203"/>
                    <a:pt x="505" y="203"/>
                  </a:cubicBezTo>
                  <a:cubicBezTo>
                    <a:pt x="539" y="203"/>
                    <a:pt x="566" y="231"/>
                    <a:pt x="566" y="265"/>
                  </a:cubicBezTo>
                  <a:cubicBezTo>
                    <a:pt x="566" y="298"/>
                    <a:pt x="539" y="326"/>
                    <a:pt x="505" y="326"/>
                  </a:cubicBezTo>
                  <a:cubicBezTo>
                    <a:pt x="471" y="326"/>
                    <a:pt x="444" y="298"/>
                    <a:pt x="444" y="265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508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id-ID" sz="8000" dirty="0">
                <a:solidFill>
                  <a:srgbClr val="FFFFFF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36" name="Freeform 18">
              <a:extLst>
                <a:ext uri="{FF2B5EF4-FFF2-40B4-BE49-F238E27FC236}">
                  <a16:creationId xmlns:a16="http://schemas.microsoft.com/office/drawing/2014/main" id="{1BA6BA17-1734-4372-B5AE-87D8CA76E3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7162" y="3045147"/>
              <a:ext cx="4871436" cy="272411"/>
            </a:xfrm>
            <a:custGeom>
              <a:avLst/>
              <a:gdLst>
                <a:gd name="T0" fmla="*/ 2797 w 2797"/>
                <a:gd name="T1" fmla="*/ 12 h 262"/>
                <a:gd name="T2" fmla="*/ 2684 w 2797"/>
                <a:gd name="T3" fmla="*/ 0 h 262"/>
                <a:gd name="T4" fmla="*/ 0 w 2797"/>
                <a:gd name="T5" fmla="*/ 104 h 262"/>
                <a:gd name="T6" fmla="*/ 0 w 2797"/>
                <a:gd name="T7" fmla="*/ 158 h 262"/>
                <a:gd name="T8" fmla="*/ 2684 w 2797"/>
                <a:gd name="T9" fmla="*/ 262 h 262"/>
                <a:gd name="T10" fmla="*/ 2797 w 2797"/>
                <a:gd name="T11" fmla="*/ 251 h 262"/>
                <a:gd name="T12" fmla="*/ 2797 w 2797"/>
                <a:gd name="T13" fmla="*/ 1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97" h="262">
                  <a:moveTo>
                    <a:pt x="2797" y="12"/>
                  </a:moveTo>
                  <a:cubicBezTo>
                    <a:pt x="2761" y="8"/>
                    <a:pt x="2724" y="4"/>
                    <a:pt x="2684" y="0"/>
                  </a:cubicBezTo>
                  <a:cubicBezTo>
                    <a:pt x="1789" y="35"/>
                    <a:pt x="895" y="69"/>
                    <a:pt x="0" y="104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895" y="193"/>
                    <a:pt x="1790" y="228"/>
                    <a:pt x="2684" y="262"/>
                  </a:cubicBezTo>
                  <a:cubicBezTo>
                    <a:pt x="2724" y="258"/>
                    <a:pt x="2761" y="255"/>
                    <a:pt x="2797" y="251"/>
                  </a:cubicBezTo>
                  <a:lnTo>
                    <a:pt x="2797" y="1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508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id-ID" sz="8000">
                <a:solidFill>
                  <a:srgbClr val="FFFFFF"/>
                </a:solidFill>
                <a:latin typeface="+mj-lt"/>
                <a:ea typeface="+mj-ea"/>
                <a:cs typeface="+mj-cs"/>
              </a:endParaRPr>
            </a:p>
          </p:txBody>
        </p:sp>
      </p:grpSp>
      <p:sp>
        <p:nvSpPr>
          <p:cNvPr id="44" name="Moon 43">
            <a:extLst>
              <a:ext uri="{FF2B5EF4-FFF2-40B4-BE49-F238E27FC236}">
                <a16:creationId xmlns:a16="http://schemas.microsoft.com/office/drawing/2014/main" id="{242A700A-7A4E-4DF7-B43F-A6279497A4AF}"/>
              </a:ext>
            </a:extLst>
          </p:cNvPr>
          <p:cNvSpPr/>
          <p:nvPr/>
        </p:nvSpPr>
        <p:spPr>
          <a:xfrm rot="5400000">
            <a:off x="5691354" y="1208771"/>
            <a:ext cx="809292" cy="2529036"/>
          </a:xfrm>
          <a:prstGeom prst="mo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5" name="Moon 44">
            <a:extLst>
              <a:ext uri="{FF2B5EF4-FFF2-40B4-BE49-F238E27FC236}">
                <a16:creationId xmlns:a16="http://schemas.microsoft.com/office/drawing/2014/main" id="{CC8DE5C0-7826-449D-9717-969A54DF4954}"/>
              </a:ext>
            </a:extLst>
          </p:cNvPr>
          <p:cNvSpPr/>
          <p:nvPr/>
        </p:nvSpPr>
        <p:spPr>
          <a:xfrm rot="5400000">
            <a:off x="5691354" y="1881002"/>
            <a:ext cx="809292" cy="2326713"/>
          </a:xfrm>
          <a:prstGeom prst="moon">
            <a:avLst/>
          </a:prstGeom>
          <a:gradFill>
            <a:gsLst>
              <a:gs pos="1500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6" name="Moon 45">
            <a:extLst>
              <a:ext uri="{FF2B5EF4-FFF2-40B4-BE49-F238E27FC236}">
                <a16:creationId xmlns:a16="http://schemas.microsoft.com/office/drawing/2014/main" id="{CAAB7934-E017-429C-8DC9-001420EE91C2}"/>
              </a:ext>
            </a:extLst>
          </p:cNvPr>
          <p:cNvSpPr/>
          <p:nvPr/>
        </p:nvSpPr>
        <p:spPr>
          <a:xfrm rot="5400000">
            <a:off x="5690641" y="2545694"/>
            <a:ext cx="809292" cy="2124390"/>
          </a:xfrm>
          <a:prstGeom prst="moon">
            <a:avLst/>
          </a:prstGeom>
          <a:gradFill>
            <a:gsLst>
              <a:gs pos="1500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8" name="Moon 47">
            <a:extLst>
              <a:ext uri="{FF2B5EF4-FFF2-40B4-BE49-F238E27FC236}">
                <a16:creationId xmlns:a16="http://schemas.microsoft.com/office/drawing/2014/main" id="{8C1595F8-40FC-4EFD-8197-43A7DD49E2FA}"/>
              </a:ext>
            </a:extLst>
          </p:cNvPr>
          <p:cNvSpPr/>
          <p:nvPr/>
        </p:nvSpPr>
        <p:spPr>
          <a:xfrm rot="5400000">
            <a:off x="5690641" y="3215654"/>
            <a:ext cx="809292" cy="1922067"/>
          </a:xfrm>
          <a:prstGeom prst="moon">
            <a:avLst/>
          </a:prstGeom>
          <a:gradFill>
            <a:gsLst>
              <a:gs pos="1500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9" name="Moon 48">
            <a:extLst>
              <a:ext uri="{FF2B5EF4-FFF2-40B4-BE49-F238E27FC236}">
                <a16:creationId xmlns:a16="http://schemas.microsoft.com/office/drawing/2014/main" id="{358524D6-91E6-44A9-BCD8-0403D0DD7A35}"/>
              </a:ext>
            </a:extLst>
          </p:cNvPr>
          <p:cNvSpPr/>
          <p:nvPr/>
        </p:nvSpPr>
        <p:spPr>
          <a:xfrm rot="5400000">
            <a:off x="5690641" y="3880346"/>
            <a:ext cx="809292" cy="1719744"/>
          </a:xfrm>
          <a:prstGeom prst="moon">
            <a:avLst/>
          </a:prstGeom>
          <a:solidFill>
            <a:schemeClr val="accent5"/>
          </a:solidFill>
          <a:ln>
            <a:noFill/>
          </a:ln>
          <a:effectLst>
            <a:outerShdw blurRad="508000" dist="203200" dir="5400000" sx="90000" sy="90000" algn="t" rotWithShape="0">
              <a:prstClr val="black">
                <a:alpha val="25000"/>
              </a:prstClr>
            </a:outerShdw>
          </a:effec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0" name="Moon 49">
            <a:extLst>
              <a:ext uri="{FF2B5EF4-FFF2-40B4-BE49-F238E27FC236}">
                <a16:creationId xmlns:a16="http://schemas.microsoft.com/office/drawing/2014/main" id="{BF9EB475-87FA-44B0-9381-DFB2106DE9A0}"/>
              </a:ext>
            </a:extLst>
          </p:cNvPr>
          <p:cNvSpPr/>
          <p:nvPr/>
        </p:nvSpPr>
        <p:spPr>
          <a:xfrm rot="5400000">
            <a:off x="5690641" y="4591314"/>
            <a:ext cx="809292" cy="1416260"/>
          </a:xfrm>
          <a:prstGeom prst="moon">
            <a:avLst/>
          </a:prstGeom>
          <a:gradFill>
            <a:gsLst>
              <a:gs pos="15000">
                <a:schemeClr val="accent6"/>
              </a:gs>
              <a:gs pos="100000">
                <a:schemeClr val="accent6">
                  <a:lumMod val="75000"/>
                </a:schemeClr>
              </a:gs>
            </a:gsLst>
            <a:path path="circle">
              <a:fillToRect r="100000" b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9B99609-6506-4A67-AB7C-25F87974D57F}"/>
              </a:ext>
            </a:extLst>
          </p:cNvPr>
          <p:cNvSpPr txBox="1"/>
          <p:nvPr/>
        </p:nvSpPr>
        <p:spPr>
          <a:xfrm>
            <a:off x="5701157" y="2120604"/>
            <a:ext cx="7882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  <a:cs typeface="+mj-cs"/>
              </a:rPr>
              <a:t>202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04775A7-06E9-44BF-AA7A-9B806860EF71}"/>
              </a:ext>
            </a:extLst>
          </p:cNvPr>
          <p:cNvSpPr txBox="1"/>
          <p:nvPr/>
        </p:nvSpPr>
        <p:spPr>
          <a:xfrm>
            <a:off x="5701157" y="2710929"/>
            <a:ext cx="7882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  <a:cs typeface="+mj-cs"/>
              </a:rPr>
              <a:t>202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0B0CE82-64DF-41B8-AE3B-B8680D54F540}"/>
              </a:ext>
            </a:extLst>
          </p:cNvPr>
          <p:cNvSpPr txBox="1"/>
          <p:nvPr/>
        </p:nvSpPr>
        <p:spPr>
          <a:xfrm>
            <a:off x="5735443" y="3281754"/>
            <a:ext cx="7882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  <a:cs typeface="+mj-cs"/>
              </a:rPr>
              <a:t>202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1AFF513-10D7-4EDB-8B3D-391BD42E7E32}"/>
              </a:ext>
            </a:extLst>
          </p:cNvPr>
          <p:cNvSpPr txBox="1"/>
          <p:nvPr/>
        </p:nvSpPr>
        <p:spPr>
          <a:xfrm>
            <a:off x="5703593" y="3840286"/>
            <a:ext cx="7882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  <a:cs typeface="+mj-cs"/>
              </a:rPr>
              <a:t>202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9796E8B-EE0D-4AE0-B4FD-E42168C7DDFF}"/>
              </a:ext>
            </a:extLst>
          </p:cNvPr>
          <p:cNvSpPr txBox="1"/>
          <p:nvPr/>
        </p:nvSpPr>
        <p:spPr>
          <a:xfrm>
            <a:off x="5706858" y="4393454"/>
            <a:ext cx="7882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  <a:cs typeface="+mj-cs"/>
              </a:rPr>
              <a:t>2024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72F03B-1A75-4C8A-9B7D-355E51DAB9D3}"/>
              </a:ext>
            </a:extLst>
          </p:cNvPr>
          <p:cNvSpPr txBox="1"/>
          <p:nvPr/>
        </p:nvSpPr>
        <p:spPr>
          <a:xfrm>
            <a:off x="5701157" y="4932875"/>
            <a:ext cx="7882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+mj-lt"/>
                <a:cs typeface="+mj-cs"/>
              </a:rPr>
              <a:t>2025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3D053E5-2200-C49B-B5B3-BBF124725490}"/>
              </a:ext>
            </a:extLst>
          </p:cNvPr>
          <p:cNvGrpSpPr/>
          <p:nvPr/>
        </p:nvGrpSpPr>
        <p:grpSpPr>
          <a:xfrm>
            <a:off x="1546938" y="1676528"/>
            <a:ext cx="2824501" cy="793387"/>
            <a:chOff x="1546938" y="2186749"/>
            <a:chExt cx="2824501" cy="793387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DCCD5F13-1E1B-43FF-90A6-0AFF3B700A48}"/>
                </a:ext>
              </a:extLst>
            </p:cNvPr>
            <p:cNvSpPr txBox="1"/>
            <p:nvPr/>
          </p:nvSpPr>
          <p:spPr>
            <a:xfrm>
              <a:off x="1546938" y="2186749"/>
              <a:ext cx="186444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2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600" dirty="0">
                  <a:solidFill>
                    <a:schemeClr val="accent1"/>
                  </a:solidFill>
                  <a:latin typeface="+mj-lt"/>
                </a:rPr>
                <a:t>Your Text Here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752271C3-0A07-4B36-ABA8-7FBC516527C0}"/>
                </a:ext>
              </a:extLst>
            </p:cNvPr>
            <p:cNvSpPr/>
            <p:nvPr/>
          </p:nvSpPr>
          <p:spPr>
            <a:xfrm>
              <a:off x="1546939" y="2432870"/>
              <a:ext cx="2824500" cy="5472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 wonderful serenity has taken possession of my entire soul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7A2114BB-9771-DD78-FD7A-81CABED87FCA}"/>
              </a:ext>
            </a:extLst>
          </p:cNvPr>
          <p:cNvGrpSpPr/>
          <p:nvPr/>
        </p:nvGrpSpPr>
        <p:grpSpPr>
          <a:xfrm>
            <a:off x="8779192" y="3205549"/>
            <a:ext cx="2824501" cy="793387"/>
            <a:chOff x="8779192" y="3117296"/>
            <a:chExt cx="2824501" cy="793387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03F7674D-AAD3-4018-AFC0-2451FAC8F367}"/>
                </a:ext>
              </a:extLst>
            </p:cNvPr>
            <p:cNvSpPr txBox="1"/>
            <p:nvPr/>
          </p:nvSpPr>
          <p:spPr>
            <a:xfrm>
              <a:off x="8779192" y="3117296"/>
              <a:ext cx="186444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2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600" dirty="0">
                  <a:solidFill>
                    <a:schemeClr val="accent5"/>
                  </a:solidFill>
                  <a:latin typeface="+mj-lt"/>
                </a:rPr>
                <a:t>Your Text Here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6A1E772D-F91F-4EC9-95DC-85DC3F572C35}"/>
                </a:ext>
              </a:extLst>
            </p:cNvPr>
            <p:cNvSpPr/>
            <p:nvPr/>
          </p:nvSpPr>
          <p:spPr>
            <a:xfrm>
              <a:off x="8779193" y="3363417"/>
              <a:ext cx="2824500" cy="5472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 wonderful serenity has taken possession of my entire soul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AEF21A3B-9416-9740-0180-87D4AF799987}"/>
              </a:ext>
            </a:extLst>
          </p:cNvPr>
          <p:cNvGrpSpPr/>
          <p:nvPr/>
        </p:nvGrpSpPr>
        <p:grpSpPr>
          <a:xfrm>
            <a:off x="1546938" y="3205549"/>
            <a:ext cx="2824501" cy="793387"/>
            <a:chOff x="1546938" y="3131241"/>
            <a:chExt cx="2824501" cy="793387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A2E492B1-40CA-40A9-8DE1-F3425B98F3F0}"/>
                </a:ext>
              </a:extLst>
            </p:cNvPr>
            <p:cNvSpPr txBox="1"/>
            <p:nvPr/>
          </p:nvSpPr>
          <p:spPr>
            <a:xfrm>
              <a:off x="1546938" y="3131241"/>
              <a:ext cx="186444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2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600" dirty="0">
                  <a:solidFill>
                    <a:schemeClr val="accent2"/>
                  </a:solidFill>
                  <a:latin typeface="+mj-lt"/>
                </a:rPr>
                <a:t>Your Text Here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AA825FC2-52F0-4FAE-8CB1-E53FF1A99B81}"/>
                </a:ext>
              </a:extLst>
            </p:cNvPr>
            <p:cNvSpPr/>
            <p:nvPr/>
          </p:nvSpPr>
          <p:spPr>
            <a:xfrm>
              <a:off x="1546939" y="3377362"/>
              <a:ext cx="2824500" cy="5472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 wonderful serenity has taken possession of my entire soul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C069717F-E776-6248-BC0E-9852A3728351}"/>
              </a:ext>
            </a:extLst>
          </p:cNvPr>
          <p:cNvGrpSpPr/>
          <p:nvPr/>
        </p:nvGrpSpPr>
        <p:grpSpPr>
          <a:xfrm>
            <a:off x="1546938" y="4757202"/>
            <a:ext cx="2824501" cy="793387"/>
            <a:chOff x="1546938" y="4065898"/>
            <a:chExt cx="2824501" cy="793387"/>
          </a:xfrm>
        </p:grpSpPr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461BC298-9E1C-4298-A80D-79B3B75A00E0}"/>
                </a:ext>
              </a:extLst>
            </p:cNvPr>
            <p:cNvSpPr txBox="1"/>
            <p:nvPr/>
          </p:nvSpPr>
          <p:spPr>
            <a:xfrm>
              <a:off x="1546938" y="4065898"/>
              <a:ext cx="186444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2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600" dirty="0">
                  <a:solidFill>
                    <a:schemeClr val="accent3"/>
                  </a:solidFill>
                  <a:latin typeface="+mj-lt"/>
                </a:rPr>
                <a:t>Your Text Here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2E8BE5FA-8143-4E28-B390-A92E09E2D7C1}"/>
                </a:ext>
              </a:extLst>
            </p:cNvPr>
            <p:cNvSpPr/>
            <p:nvPr/>
          </p:nvSpPr>
          <p:spPr>
            <a:xfrm>
              <a:off x="1546939" y="4312019"/>
              <a:ext cx="2824500" cy="5472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 wonderful serenity has taken possession of my entire soul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1196BE2C-1048-3C90-0666-A90D9BCBB538}"/>
              </a:ext>
            </a:extLst>
          </p:cNvPr>
          <p:cNvGrpSpPr/>
          <p:nvPr/>
        </p:nvGrpSpPr>
        <p:grpSpPr>
          <a:xfrm>
            <a:off x="8779192" y="1676528"/>
            <a:ext cx="2824501" cy="793387"/>
            <a:chOff x="8779192" y="2192467"/>
            <a:chExt cx="2824501" cy="793387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916B71D3-9345-4B9E-9967-4FE0A47BA52A}"/>
                </a:ext>
              </a:extLst>
            </p:cNvPr>
            <p:cNvSpPr txBox="1"/>
            <p:nvPr/>
          </p:nvSpPr>
          <p:spPr>
            <a:xfrm>
              <a:off x="8779192" y="2192467"/>
              <a:ext cx="186444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2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600" dirty="0">
                  <a:solidFill>
                    <a:schemeClr val="accent4"/>
                  </a:solidFill>
                  <a:latin typeface="+mj-lt"/>
                </a:rPr>
                <a:t>Your Text Here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A0BB8B72-42F2-4B93-A365-CD2C5887EB79}"/>
                </a:ext>
              </a:extLst>
            </p:cNvPr>
            <p:cNvSpPr/>
            <p:nvPr/>
          </p:nvSpPr>
          <p:spPr>
            <a:xfrm>
              <a:off x="8779193" y="2438588"/>
              <a:ext cx="2824500" cy="5472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 wonderful serenity has taken possession of my entire soul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7C9FA7BB-600B-4510-C12B-15172A7051CE}"/>
              </a:ext>
            </a:extLst>
          </p:cNvPr>
          <p:cNvGrpSpPr/>
          <p:nvPr/>
        </p:nvGrpSpPr>
        <p:grpSpPr>
          <a:xfrm>
            <a:off x="8753614" y="4757202"/>
            <a:ext cx="2824501" cy="793387"/>
            <a:chOff x="8753614" y="4066746"/>
            <a:chExt cx="2824501" cy="793387"/>
          </a:xfrm>
        </p:grpSpPr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AFFEFC8A-60AE-44C5-9F68-BC2AA48DD091}"/>
                </a:ext>
              </a:extLst>
            </p:cNvPr>
            <p:cNvSpPr txBox="1"/>
            <p:nvPr/>
          </p:nvSpPr>
          <p:spPr>
            <a:xfrm>
              <a:off x="8753614" y="4066746"/>
              <a:ext cx="186444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2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600" dirty="0">
                  <a:solidFill>
                    <a:schemeClr val="accent6"/>
                  </a:solidFill>
                  <a:latin typeface="+mj-lt"/>
                </a:rPr>
                <a:t>Your Text Here</a:t>
              </a: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17EF8528-EE38-4A61-A0A7-1E904CAD01B1}"/>
                </a:ext>
              </a:extLst>
            </p:cNvPr>
            <p:cNvSpPr/>
            <p:nvPr/>
          </p:nvSpPr>
          <p:spPr>
            <a:xfrm>
              <a:off x="8753615" y="4312867"/>
              <a:ext cx="2824500" cy="5472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 wonderful serenity has taken possession of my entire soul</a:t>
              </a: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0EA8963D-EC72-4031-A525-D612A4AE0201}"/>
              </a:ext>
            </a:extLst>
          </p:cNvPr>
          <p:cNvGrpSpPr/>
          <p:nvPr/>
        </p:nvGrpSpPr>
        <p:grpSpPr>
          <a:xfrm>
            <a:off x="8098656" y="4861925"/>
            <a:ext cx="583941" cy="583941"/>
            <a:chOff x="7230880" y="4137455"/>
            <a:chExt cx="583941" cy="583941"/>
          </a:xfrm>
        </p:grpSpPr>
        <p:sp>
          <p:nvSpPr>
            <p:cNvPr id="107" name="Rectangle: Rounded Corners 106">
              <a:extLst>
                <a:ext uri="{FF2B5EF4-FFF2-40B4-BE49-F238E27FC236}">
                  <a16:creationId xmlns:a16="http://schemas.microsoft.com/office/drawing/2014/main" id="{70E9D28A-1AE7-4F06-9311-65F868EE5EC5}"/>
                </a:ext>
              </a:extLst>
            </p:cNvPr>
            <p:cNvSpPr/>
            <p:nvPr/>
          </p:nvSpPr>
          <p:spPr>
            <a:xfrm>
              <a:off x="7230880" y="4137455"/>
              <a:ext cx="583941" cy="583941"/>
            </a:xfrm>
            <a:prstGeom prst="roundRect">
              <a:avLst>
                <a:gd name="adj" fmla="val 40319"/>
              </a:avLst>
            </a:prstGeom>
            <a:solidFill>
              <a:schemeClr val="bg1"/>
            </a:solidFill>
            <a:ln>
              <a:noFill/>
            </a:ln>
            <a:effectLst>
              <a:outerShdw blurRad="495300" dist="368300" dir="2700000" sx="82000" sy="82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CCE2C686-1599-44D1-8994-DE16F2A351FB}"/>
                </a:ext>
              </a:extLst>
            </p:cNvPr>
            <p:cNvSpPr/>
            <p:nvPr/>
          </p:nvSpPr>
          <p:spPr>
            <a:xfrm>
              <a:off x="7346211" y="4252786"/>
              <a:ext cx="353280" cy="353280"/>
            </a:xfrm>
            <a:prstGeom prst="rect">
              <a:avLst/>
            </a:prstGeom>
            <a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6271FB5B-5E2D-44C2-B376-0CBD33BCF8FE}"/>
              </a:ext>
            </a:extLst>
          </p:cNvPr>
          <p:cNvGrpSpPr/>
          <p:nvPr/>
        </p:nvGrpSpPr>
        <p:grpSpPr>
          <a:xfrm>
            <a:off x="8098656" y="3310272"/>
            <a:ext cx="583941" cy="583941"/>
            <a:chOff x="7230880" y="4137455"/>
            <a:chExt cx="583941" cy="583941"/>
          </a:xfrm>
        </p:grpSpPr>
        <p:sp>
          <p:nvSpPr>
            <p:cNvPr id="110" name="Rectangle: Rounded Corners 109">
              <a:extLst>
                <a:ext uri="{FF2B5EF4-FFF2-40B4-BE49-F238E27FC236}">
                  <a16:creationId xmlns:a16="http://schemas.microsoft.com/office/drawing/2014/main" id="{F079661B-A171-4AAA-B018-A305FEDCE59D}"/>
                </a:ext>
              </a:extLst>
            </p:cNvPr>
            <p:cNvSpPr/>
            <p:nvPr/>
          </p:nvSpPr>
          <p:spPr>
            <a:xfrm>
              <a:off x="7230880" y="4137455"/>
              <a:ext cx="583941" cy="583941"/>
            </a:xfrm>
            <a:prstGeom prst="roundRect">
              <a:avLst>
                <a:gd name="adj" fmla="val 40319"/>
              </a:avLst>
            </a:prstGeom>
            <a:solidFill>
              <a:schemeClr val="bg1"/>
            </a:solidFill>
            <a:ln>
              <a:noFill/>
            </a:ln>
            <a:effectLst>
              <a:outerShdw blurRad="495300" dist="368300" dir="2700000" sx="82000" sy="82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28E2843C-CD6E-456E-B3D3-9443F049D5A8}"/>
                </a:ext>
              </a:extLst>
            </p:cNvPr>
            <p:cNvSpPr/>
            <p:nvPr/>
          </p:nvSpPr>
          <p:spPr>
            <a:xfrm>
              <a:off x="7346211" y="4252786"/>
              <a:ext cx="353280" cy="353280"/>
            </a:xfrm>
            <a:prstGeom prst="rect">
              <a:avLst/>
            </a:prstGeom>
            <a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0BCE66E5-10CE-4A08-A38E-7A8FD99EE57B}"/>
              </a:ext>
            </a:extLst>
          </p:cNvPr>
          <p:cNvGrpSpPr/>
          <p:nvPr/>
        </p:nvGrpSpPr>
        <p:grpSpPr>
          <a:xfrm>
            <a:off x="8098656" y="1781251"/>
            <a:ext cx="583941" cy="583941"/>
            <a:chOff x="7230880" y="4137455"/>
            <a:chExt cx="583941" cy="583941"/>
          </a:xfrm>
        </p:grpSpPr>
        <p:sp>
          <p:nvSpPr>
            <p:cNvPr id="113" name="Rectangle: Rounded Corners 112">
              <a:extLst>
                <a:ext uri="{FF2B5EF4-FFF2-40B4-BE49-F238E27FC236}">
                  <a16:creationId xmlns:a16="http://schemas.microsoft.com/office/drawing/2014/main" id="{0251295C-5504-4EE5-A17E-71AC789ECE13}"/>
                </a:ext>
              </a:extLst>
            </p:cNvPr>
            <p:cNvSpPr/>
            <p:nvPr/>
          </p:nvSpPr>
          <p:spPr>
            <a:xfrm>
              <a:off x="7230880" y="4137455"/>
              <a:ext cx="583941" cy="583941"/>
            </a:xfrm>
            <a:prstGeom prst="roundRect">
              <a:avLst>
                <a:gd name="adj" fmla="val 40319"/>
              </a:avLst>
            </a:prstGeom>
            <a:solidFill>
              <a:schemeClr val="bg1"/>
            </a:solidFill>
            <a:ln>
              <a:noFill/>
            </a:ln>
            <a:effectLst>
              <a:outerShdw blurRad="495300" dist="368300" dir="2700000" sx="82000" sy="82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D2B05A5F-F076-4ADF-B642-DA2E9DCB0669}"/>
                </a:ext>
              </a:extLst>
            </p:cNvPr>
            <p:cNvSpPr/>
            <p:nvPr/>
          </p:nvSpPr>
          <p:spPr>
            <a:xfrm>
              <a:off x="7346211" y="4252786"/>
              <a:ext cx="353280" cy="353280"/>
            </a:xfrm>
            <a:prstGeom prst="rect">
              <a:avLst/>
            </a:prstGeom>
            <a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2FA9EB90-8FEE-41F4-A3CD-B1B64C9E4FE4}"/>
              </a:ext>
            </a:extLst>
          </p:cNvPr>
          <p:cNvGrpSpPr/>
          <p:nvPr/>
        </p:nvGrpSpPr>
        <p:grpSpPr>
          <a:xfrm>
            <a:off x="866402" y="4861925"/>
            <a:ext cx="583941" cy="583941"/>
            <a:chOff x="7230880" y="4137455"/>
            <a:chExt cx="583941" cy="583941"/>
          </a:xfrm>
        </p:grpSpPr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9311339A-C282-4384-86D7-ABA498504530}"/>
                </a:ext>
              </a:extLst>
            </p:cNvPr>
            <p:cNvSpPr/>
            <p:nvPr/>
          </p:nvSpPr>
          <p:spPr>
            <a:xfrm>
              <a:off x="7230880" y="4137455"/>
              <a:ext cx="583941" cy="583941"/>
            </a:xfrm>
            <a:prstGeom prst="roundRect">
              <a:avLst>
                <a:gd name="adj" fmla="val 40319"/>
              </a:avLst>
            </a:prstGeom>
            <a:solidFill>
              <a:schemeClr val="bg1"/>
            </a:solidFill>
            <a:ln>
              <a:noFill/>
            </a:ln>
            <a:effectLst>
              <a:outerShdw blurRad="495300" dist="368300" dir="2700000" sx="82000" sy="82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D0B23683-0F9E-4BEC-854F-D03F07EB944F}"/>
                </a:ext>
              </a:extLst>
            </p:cNvPr>
            <p:cNvSpPr/>
            <p:nvPr/>
          </p:nvSpPr>
          <p:spPr>
            <a:xfrm>
              <a:off x="7346211" y="4252786"/>
              <a:ext cx="353280" cy="353280"/>
            </a:xfrm>
            <a:prstGeom prst="rect">
              <a:avLst/>
            </a:prstGeom>
            <a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EB4AB481-4AF0-468E-8F17-1EBD4F07B0A6}"/>
              </a:ext>
            </a:extLst>
          </p:cNvPr>
          <p:cNvGrpSpPr/>
          <p:nvPr/>
        </p:nvGrpSpPr>
        <p:grpSpPr>
          <a:xfrm>
            <a:off x="866402" y="3310272"/>
            <a:ext cx="583941" cy="583941"/>
            <a:chOff x="7230880" y="4137455"/>
            <a:chExt cx="583941" cy="583941"/>
          </a:xfrm>
        </p:grpSpPr>
        <p:sp>
          <p:nvSpPr>
            <p:cNvPr id="119" name="Rectangle: Rounded Corners 118">
              <a:extLst>
                <a:ext uri="{FF2B5EF4-FFF2-40B4-BE49-F238E27FC236}">
                  <a16:creationId xmlns:a16="http://schemas.microsoft.com/office/drawing/2014/main" id="{1C765FF1-DF89-4B94-ABA9-8332C96CD0AB}"/>
                </a:ext>
              </a:extLst>
            </p:cNvPr>
            <p:cNvSpPr/>
            <p:nvPr/>
          </p:nvSpPr>
          <p:spPr>
            <a:xfrm>
              <a:off x="7230880" y="4137455"/>
              <a:ext cx="583941" cy="583941"/>
            </a:xfrm>
            <a:prstGeom prst="roundRect">
              <a:avLst>
                <a:gd name="adj" fmla="val 40319"/>
              </a:avLst>
            </a:prstGeom>
            <a:solidFill>
              <a:schemeClr val="bg1"/>
            </a:solidFill>
            <a:ln>
              <a:noFill/>
            </a:ln>
            <a:effectLst>
              <a:outerShdw blurRad="495300" dist="368300" dir="2700000" sx="82000" sy="82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7F11F1BB-A842-4FF0-9944-03EF2967E0DC}"/>
                </a:ext>
              </a:extLst>
            </p:cNvPr>
            <p:cNvSpPr/>
            <p:nvPr/>
          </p:nvSpPr>
          <p:spPr>
            <a:xfrm>
              <a:off x="7346211" y="4252786"/>
              <a:ext cx="353280" cy="353280"/>
            </a:xfrm>
            <a:prstGeom prst="rect">
              <a:avLst/>
            </a:prstGeom>
            <a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4AD860A0-7031-4CA7-BA56-38F37127CD54}"/>
              </a:ext>
            </a:extLst>
          </p:cNvPr>
          <p:cNvGrpSpPr/>
          <p:nvPr/>
        </p:nvGrpSpPr>
        <p:grpSpPr>
          <a:xfrm>
            <a:off x="866402" y="1781251"/>
            <a:ext cx="583941" cy="583941"/>
            <a:chOff x="7230880" y="4137455"/>
            <a:chExt cx="583941" cy="583941"/>
          </a:xfrm>
        </p:grpSpPr>
        <p:sp>
          <p:nvSpPr>
            <p:cNvPr id="122" name="Rectangle: Rounded Corners 121">
              <a:extLst>
                <a:ext uri="{FF2B5EF4-FFF2-40B4-BE49-F238E27FC236}">
                  <a16:creationId xmlns:a16="http://schemas.microsoft.com/office/drawing/2014/main" id="{252830CC-AD54-49FA-8E62-BFF8A546F007}"/>
                </a:ext>
              </a:extLst>
            </p:cNvPr>
            <p:cNvSpPr/>
            <p:nvPr/>
          </p:nvSpPr>
          <p:spPr>
            <a:xfrm>
              <a:off x="7230880" y="4137455"/>
              <a:ext cx="583941" cy="583941"/>
            </a:xfrm>
            <a:prstGeom prst="roundRect">
              <a:avLst>
                <a:gd name="adj" fmla="val 40319"/>
              </a:avLst>
            </a:prstGeom>
            <a:solidFill>
              <a:schemeClr val="bg1"/>
            </a:solidFill>
            <a:ln>
              <a:noFill/>
            </a:ln>
            <a:effectLst>
              <a:outerShdw blurRad="495300" dist="368300" dir="2700000" sx="82000" sy="82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66AD1EA7-FB52-4855-A3E3-36A1D8D6BE4C}"/>
                </a:ext>
              </a:extLst>
            </p:cNvPr>
            <p:cNvSpPr/>
            <p:nvPr/>
          </p:nvSpPr>
          <p:spPr>
            <a:xfrm>
              <a:off x="7346211" y="4252786"/>
              <a:ext cx="353280" cy="353280"/>
            </a:xfrm>
            <a:prstGeom prst="rect">
              <a:avLst/>
            </a:prstGeom>
            <a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13005B1B-4F94-3612-BF43-BE38728ADC6C}"/>
              </a:ext>
            </a:extLst>
          </p:cNvPr>
          <p:cNvSpPr/>
          <p:nvPr/>
        </p:nvSpPr>
        <p:spPr>
          <a:xfrm>
            <a:off x="-1" y="0"/>
            <a:ext cx="5248255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ishbone infographic </a:t>
            </a:r>
            <a:endParaRPr lang="en-C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305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reveal/>
      </p:transition>
    </mc:Choice>
    <mc:Fallback xmlns:asvg="http://schemas.microsoft.com/office/drawing/2016/SVG/main" xmlns:a16="http://schemas.microsoft.com/office/drawing/2014/main"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1">
            <a:extLst>
              <a:ext uri="{FF2B5EF4-FFF2-40B4-BE49-F238E27FC236}">
                <a16:creationId xmlns:a16="http://schemas.microsoft.com/office/drawing/2014/main" id="{51E09A25-7A96-3839-7684-B2BA393479CE}"/>
              </a:ext>
            </a:extLst>
          </p:cNvPr>
          <p:cNvGrpSpPr/>
          <p:nvPr/>
        </p:nvGrpSpPr>
        <p:grpSpPr>
          <a:xfrm>
            <a:off x="10720464" y="-31608"/>
            <a:ext cx="1481671" cy="1513279"/>
            <a:chOff x="7670796" y="-31608"/>
            <a:chExt cx="1481671" cy="1513279"/>
          </a:xfrm>
        </p:grpSpPr>
        <p:sp>
          <p:nvSpPr>
            <p:cNvPr id="3" name="Right Triangle 2">
              <a:extLst>
                <a:ext uri="{FF2B5EF4-FFF2-40B4-BE49-F238E27FC236}">
                  <a16:creationId xmlns:a16="http://schemas.microsoft.com/office/drawing/2014/main" id="{E1D3A6D2-D5B4-4ABB-9916-4B50FD6FB3E8}"/>
                </a:ext>
              </a:extLst>
            </p:cNvPr>
            <p:cNvSpPr/>
            <p:nvPr/>
          </p:nvSpPr>
          <p:spPr>
            <a:xfrm rot="10800000">
              <a:off x="7670796" y="0"/>
              <a:ext cx="1481671" cy="1481671"/>
            </a:xfrm>
            <a:prstGeom prst="rtTriangle">
              <a:avLst/>
            </a:prstGeom>
            <a:solidFill>
              <a:schemeClr val="accent6"/>
            </a:solidFill>
            <a:ln>
              <a:noFill/>
            </a:ln>
            <a:effectLst>
              <a:outerShdw blurRad="127000" dist="38100" dir="19740000">
                <a:schemeClr val="tx1">
                  <a:alpha val="25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A439AB0-34B6-1715-A712-9F6D2303C8ED}"/>
                </a:ext>
              </a:extLst>
            </p:cNvPr>
            <p:cNvSpPr txBox="1"/>
            <p:nvPr/>
          </p:nvSpPr>
          <p:spPr>
            <a:xfrm rot="2700000">
              <a:off x="8093446" y="274245"/>
              <a:ext cx="1063112" cy="4514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400"/>
                </a:lnSpc>
              </a:pPr>
              <a:r>
                <a:rPr lang="en-US" sz="1200" cap="all" dirty="0">
                  <a:solidFill>
                    <a:schemeClr val="bg1"/>
                  </a:solidFill>
                  <a:cs typeface="+mj-cs"/>
                </a:rPr>
                <a:t>Design in</a:t>
              </a:r>
              <a:br>
                <a:rPr lang="en-US" sz="1200" cap="all" dirty="0">
                  <a:solidFill>
                    <a:schemeClr val="bg1"/>
                  </a:solidFill>
                  <a:cs typeface="+mj-cs"/>
                </a:rPr>
              </a:br>
              <a:r>
                <a:rPr lang="en-US" sz="1200" cap="all" dirty="0">
                  <a:solidFill>
                    <a:schemeClr val="bg1"/>
                  </a:solidFill>
                  <a:cs typeface="+mj-cs"/>
                </a:rPr>
                <a:t>Progress</a:t>
              </a:r>
            </a:p>
          </p:txBody>
        </p:sp>
      </p:grpSp>
      <p:grpSp>
        <p:nvGrpSpPr>
          <p:cNvPr id="5" name="Group 7">
            <a:extLst>
              <a:ext uri="{FF2B5EF4-FFF2-40B4-BE49-F238E27FC236}">
                <a16:creationId xmlns:a16="http://schemas.microsoft.com/office/drawing/2014/main" id="{89BAD22B-CD3A-2F9F-57FA-531EE2BB6D41}"/>
              </a:ext>
            </a:extLst>
          </p:cNvPr>
          <p:cNvGrpSpPr/>
          <p:nvPr/>
        </p:nvGrpSpPr>
        <p:grpSpPr>
          <a:xfrm>
            <a:off x="9532341" y="-85173"/>
            <a:ext cx="1481671" cy="1566847"/>
            <a:chOff x="7670796" y="-85176"/>
            <a:chExt cx="1481671" cy="1566847"/>
          </a:xfrm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F824AD23-670D-0AEF-3411-C17705FC1740}"/>
                </a:ext>
              </a:extLst>
            </p:cNvPr>
            <p:cNvSpPr/>
            <p:nvPr/>
          </p:nvSpPr>
          <p:spPr>
            <a:xfrm rot="10800000">
              <a:off x="7670796" y="0"/>
              <a:ext cx="1481671" cy="1481671"/>
            </a:xfrm>
            <a:custGeom>
              <a:avLst/>
              <a:gdLst>
                <a:gd name="connsiteX0" fmla="*/ 0 w 1481671"/>
                <a:gd name="connsiteY0" fmla="*/ 1481671 h 1481671"/>
                <a:gd name="connsiteX1" fmla="*/ 0 w 1481671"/>
                <a:gd name="connsiteY1" fmla="*/ 0 h 1481671"/>
                <a:gd name="connsiteX2" fmla="*/ 1481671 w 1481671"/>
                <a:gd name="connsiteY2" fmla="*/ 1481671 h 1481671"/>
                <a:gd name="connsiteX3" fmla="*/ 0 w 1481671"/>
                <a:gd name="connsiteY3" fmla="*/ 1481671 h 1481671"/>
                <a:gd name="connsiteX0" fmla="*/ 0 w 1481671"/>
                <a:gd name="connsiteY0" fmla="*/ 1481671 h 1485904"/>
                <a:gd name="connsiteX1" fmla="*/ 0 w 1481671"/>
                <a:gd name="connsiteY1" fmla="*/ 0 h 1485904"/>
                <a:gd name="connsiteX2" fmla="*/ 1481671 w 1481671"/>
                <a:gd name="connsiteY2" fmla="*/ 1481671 h 1485904"/>
                <a:gd name="connsiteX3" fmla="*/ 787400 w 1481671"/>
                <a:gd name="connsiteY3" fmla="*/ 1485904 h 1485904"/>
                <a:gd name="connsiteX4" fmla="*/ 0 w 1481671"/>
                <a:gd name="connsiteY4" fmla="*/ 1481671 h 1485904"/>
                <a:gd name="connsiteX0" fmla="*/ 0 w 1481671"/>
                <a:gd name="connsiteY0" fmla="*/ 1481671 h 1481671"/>
                <a:gd name="connsiteX1" fmla="*/ 0 w 1481671"/>
                <a:gd name="connsiteY1" fmla="*/ 0 h 1481671"/>
                <a:gd name="connsiteX2" fmla="*/ 1481671 w 1481671"/>
                <a:gd name="connsiteY2" fmla="*/ 1481671 h 1481671"/>
                <a:gd name="connsiteX3" fmla="*/ 736600 w 1481671"/>
                <a:gd name="connsiteY3" fmla="*/ 1481670 h 1481671"/>
                <a:gd name="connsiteX4" fmla="*/ 0 w 1481671"/>
                <a:gd name="connsiteY4" fmla="*/ 1481671 h 1481671"/>
                <a:gd name="connsiteX0" fmla="*/ 0 w 1481671"/>
                <a:gd name="connsiteY0" fmla="*/ 1481671 h 1481671"/>
                <a:gd name="connsiteX1" fmla="*/ 5292 w 1481671"/>
                <a:gd name="connsiteY1" fmla="*/ 678396 h 1481671"/>
                <a:gd name="connsiteX2" fmla="*/ 0 w 1481671"/>
                <a:gd name="connsiteY2" fmla="*/ 0 h 1481671"/>
                <a:gd name="connsiteX3" fmla="*/ 1481671 w 1481671"/>
                <a:gd name="connsiteY3" fmla="*/ 1481671 h 1481671"/>
                <a:gd name="connsiteX4" fmla="*/ 736600 w 1481671"/>
                <a:gd name="connsiteY4" fmla="*/ 1481670 h 1481671"/>
                <a:gd name="connsiteX5" fmla="*/ 0 w 1481671"/>
                <a:gd name="connsiteY5" fmla="*/ 1481671 h 1481671"/>
                <a:gd name="connsiteX0" fmla="*/ 0 w 1481671"/>
                <a:gd name="connsiteY0" fmla="*/ 1481671 h 1481671"/>
                <a:gd name="connsiteX1" fmla="*/ 5292 w 1481671"/>
                <a:gd name="connsiteY1" fmla="*/ 678396 h 1481671"/>
                <a:gd name="connsiteX2" fmla="*/ 5292 w 1481671"/>
                <a:gd name="connsiteY2" fmla="*/ 726021 h 1481671"/>
                <a:gd name="connsiteX3" fmla="*/ 0 w 1481671"/>
                <a:gd name="connsiteY3" fmla="*/ 0 h 1481671"/>
                <a:gd name="connsiteX4" fmla="*/ 1481671 w 1481671"/>
                <a:gd name="connsiteY4" fmla="*/ 1481671 h 1481671"/>
                <a:gd name="connsiteX5" fmla="*/ 736600 w 1481671"/>
                <a:gd name="connsiteY5" fmla="*/ 1481670 h 1481671"/>
                <a:gd name="connsiteX6" fmla="*/ 0 w 1481671"/>
                <a:gd name="connsiteY6" fmla="*/ 1481671 h 1481671"/>
                <a:gd name="connsiteX0" fmla="*/ 0 w 1481671"/>
                <a:gd name="connsiteY0" fmla="*/ 1481671 h 1481671"/>
                <a:gd name="connsiteX1" fmla="*/ 5292 w 1481671"/>
                <a:gd name="connsiteY1" fmla="*/ 678396 h 1481671"/>
                <a:gd name="connsiteX2" fmla="*/ 5292 w 1481671"/>
                <a:gd name="connsiteY2" fmla="*/ 726021 h 1481671"/>
                <a:gd name="connsiteX3" fmla="*/ 5292 w 1481671"/>
                <a:gd name="connsiteY3" fmla="*/ 741896 h 1481671"/>
                <a:gd name="connsiteX4" fmla="*/ 0 w 1481671"/>
                <a:gd name="connsiteY4" fmla="*/ 0 h 1481671"/>
                <a:gd name="connsiteX5" fmla="*/ 1481671 w 1481671"/>
                <a:gd name="connsiteY5" fmla="*/ 1481671 h 1481671"/>
                <a:gd name="connsiteX6" fmla="*/ 736600 w 1481671"/>
                <a:gd name="connsiteY6" fmla="*/ 1481670 h 1481671"/>
                <a:gd name="connsiteX7" fmla="*/ 0 w 1481671"/>
                <a:gd name="connsiteY7" fmla="*/ 1481671 h 1481671"/>
                <a:gd name="connsiteX0" fmla="*/ 736600 w 1481671"/>
                <a:gd name="connsiteY0" fmla="*/ 1481670 h 1481671"/>
                <a:gd name="connsiteX1" fmla="*/ 5292 w 1481671"/>
                <a:gd name="connsiteY1" fmla="*/ 678396 h 1481671"/>
                <a:gd name="connsiteX2" fmla="*/ 5292 w 1481671"/>
                <a:gd name="connsiteY2" fmla="*/ 726021 h 1481671"/>
                <a:gd name="connsiteX3" fmla="*/ 5292 w 1481671"/>
                <a:gd name="connsiteY3" fmla="*/ 741896 h 1481671"/>
                <a:gd name="connsiteX4" fmla="*/ 0 w 1481671"/>
                <a:gd name="connsiteY4" fmla="*/ 0 h 1481671"/>
                <a:gd name="connsiteX5" fmla="*/ 1481671 w 1481671"/>
                <a:gd name="connsiteY5" fmla="*/ 1481671 h 1481671"/>
                <a:gd name="connsiteX6" fmla="*/ 736600 w 1481671"/>
                <a:gd name="connsiteY6" fmla="*/ 1481670 h 1481671"/>
                <a:gd name="connsiteX0" fmla="*/ 736600 w 1481671"/>
                <a:gd name="connsiteY0" fmla="*/ 1481670 h 1481671"/>
                <a:gd name="connsiteX1" fmla="*/ 5292 w 1481671"/>
                <a:gd name="connsiteY1" fmla="*/ 678396 h 1481671"/>
                <a:gd name="connsiteX2" fmla="*/ 5292 w 1481671"/>
                <a:gd name="connsiteY2" fmla="*/ 726021 h 1481671"/>
                <a:gd name="connsiteX3" fmla="*/ 5292 w 1481671"/>
                <a:gd name="connsiteY3" fmla="*/ 741896 h 1481671"/>
                <a:gd name="connsiteX4" fmla="*/ 2118 w 1481671"/>
                <a:gd name="connsiteY4" fmla="*/ 599021 h 1481671"/>
                <a:gd name="connsiteX5" fmla="*/ 0 w 1481671"/>
                <a:gd name="connsiteY5" fmla="*/ 0 h 1481671"/>
                <a:gd name="connsiteX6" fmla="*/ 1481671 w 1481671"/>
                <a:gd name="connsiteY6" fmla="*/ 1481671 h 1481671"/>
                <a:gd name="connsiteX7" fmla="*/ 736600 w 1481671"/>
                <a:gd name="connsiteY7" fmla="*/ 1481670 h 1481671"/>
                <a:gd name="connsiteX0" fmla="*/ 829732 w 1574803"/>
                <a:gd name="connsiteY0" fmla="*/ 1481670 h 1481671"/>
                <a:gd name="connsiteX1" fmla="*/ 98424 w 1574803"/>
                <a:gd name="connsiteY1" fmla="*/ 678396 h 1481671"/>
                <a:gd name="connsiteX2" fmla="*/ 98424 w 1574803"/>
                <a:gd name="connsiteY2" fmla="*/ 726021 h 1481671"/>
                <a:gd name="connsiteX3" fmla="*/ 98424 w 1574803"/>
                <a:gd name="connsiteY3" fmla="*/ 741896 h 1481671"/>
                <a:gd name="connsiteX4" fmla="*/ 0 w 1574803"/>
                <a:gd name="connsiteY4" fmla="*/ 633946 h 1481671"/>
                <a:gd name="connsiteX5" fmla="*/ 95250 w 1574803"/>
                <a:gd name="connsiteY5" fmla="*/ 599021 h 1481671"/>
                <a:gd name="connsiteX6" fmla="*/ 93132 w 1574803"/>
                <a:gd name="connsiteY6" fmla="*/ 0 h 1481671"/>
                <a:gd name="connsiteX7" fmla="*/ 1574803 w 1574803"/>
                <a:gd name="connsiteY7" fmla="*/ 1481671 h 1481671"/>
                <a:gd name="connsiteX8" fmla="*/ 829732 w 1574803"/>
                <a:gd name="connsiteY8" fmla="*/ 1481670 h 1481671"/>
                <a:gd name="connsiteX0" fmla="*/ 736600 w 1481671"/>
                <a:gd name="connsiteY0" fmla="*/ 1481670 h 1481671"/>
                <a:gd name="connsiteX1" fmla="*/ 5292 w 1481671"/>
                <a:gd name="connsiteY1" fmla="*/ 678396 h 1481671"/>
                <a:gd name="connsiteX2" fmla="*/ 5292 w 1481671"/>
                <a:gd name="connsiteY2" fmla="*/ 726021 h 1481671"/>
                <a:gd name="connsiteX3" fmla="*/ 5292 w 1481671"/>
                <a:gd name="connsiteY3" fmla="*/ 741896 h 1481671"/>
                <a:gd name="connsiteX4" fmla="*/ 2118 w 1481671"/>
                <a:gd name="connsiteY4" fmla="*/ 599021 h 1481671"/>
                <a:gd name="connsiteX5" fmla="*/ 0 w 1481671"/>
                <a:gd name="connsiteY5" fmla="*/ 0 h 1481671"/>
                <a:gd name="connsiteX6" fmla="*/ 1481671 w 1481671"/>
                <a:gd name="connsiteY6" fmla="*/ 1481671 h 1481671"/>
                <a:gd name="connsiteX7" fmla="*/ 736600 w 1481671"/>
                <a:gd name="connsiteY7" fmla="*/ 1481670 h 1481671"/>
                <a:gd name="connsiteX0" fmla="*/ 2118 w 1481671"/>
                <a:gd name="connsiteY0" fmla="*/ 599021 h 1481671"/>
                <a:gd name="connsiteX1" fmla="*/ 0 w 1481671"/>
                <a:gd name="connsiteY1" fmla="*/ 0 h 1481671"/>
                <a:gd name="connsiteX2" fmla="*/ 1481671 w 1481671"/>
                <a:gd name="connsiteY2" fmla="*/ 1481671 h 1481671"/>
                <a:gd name="connsiteX3" fmla="*/ 736600 w 1481671"/>
                <a:gd name="connsiteY3" fmla="*/ 1481670 h 1481671"/>
                <a:gd name="connsiteX4" fmla="*/ 5292 w 1481671"/>
                <a:gd name="connsiteY4" fmla="*/ 678396 h 1481671"/>
                <a:gd name="connsiteX5" fmla="*/ 5292 w 1481671"/>
                <a:gd name="connsiteY5" fmla="*/ 726021 h 1481671"/>
                <a:gd name="connsiteX6" fmla="*/ 96732 w 1481671"/>
                <a:gd name="connsiteY6" fmla="*/ 833336 h 1481671"/>
                <a:gd name="connsiteX0" fmla="*/ 2118 w 1481671"/>
                <a:gd name="connsiteY0" fmla="*/ 599021 h 1481671"/>
                <a:gd name="connsiteX1" fmla="*/ 0 w 1481671"/>
                <a:gd name="connsiteY1" fmla="*/ 0 h 1481671"/>
                <a:gd name="connsiteX2" fmla="*/ 1481671 w 1481671"/>
                <a:gd name="connsiteY2" fmla="*/ 1481671 h 1481671"/>
                <a:gd name="connsiteX3" fmla="*/ 736600 w 1481671"/>
                <a:gd name="connsiteY3" fmla="*/ 1481670 h 1481671"/>
                <a:gd name="connsiteX4" fmla="*/ 5292 w 1481671"/>
                <a:gd name="connsiteY4" fmla="*/ 678396 h 1481671"/>
                <a:gd name="connsiteX5" fmla="*/ 5292 w 1481671"/>
                <a:gd name="connsiteY5" fmla="*/ 726021 h 1481671"/>
                <a:gd name="connsiteX0" fmla="*/ 2118 w 1481671"/>
                <a:gd name="connsiteY0" fmla="*/ 599021 h 1481671"/>
                <a:gd name="connsiteX1" fmla="*/ 0 w 1481671"/>
                <a:gd name="connsiteY1" fmla="*/ 0 h 1481671"/>
                <a:gd name="connsiteX2" fmla="*/ 1481671 w 1481671"/>
                <a:gd name="connsiteY2" fmla="*/ 1481671 h 1481671"/>
                <a:gd name="connsiteX3" fmla="*/ 736600 w 1481671"/>
                <a:gd name="connsiteY3" fmla="*/ 1481670 h 1481671"/>
                <a:gd name="connsiteX4" fmla="*/ 5292 w 1481671"/>
                <a:gd name="connsiteY4" fmla="*/ 678396 h 1481671"/>
                <a:gd name="connsiteX0" fmla="*/ 0 w 1481671"/>
                <a:gd name="connsiteY0" fmla="*/ 0 h 1481671"/>
                <a:gd name="connsiteX1" fmla="*/ 1481671 w 1481671"/>
                <a:gd name="connsiteY1" fmla="*/ 1481671 h 1481671"/>
                <a:gd name="connsiteX2" fmla="*/ 736600 w 1481671"/>
                <a:gd name="connsiteY2" fmla="*/ 1481670 h 1481671"/>
                <a:gd name="connsiteX3" fmla="*/ 5292 w 1481671"/>
                <a:gd name="connsiteY3" fmla="*/ 678396 h 1481671"/>
                <a:gd name="connsiteX0" fmla="*/ 1058 w 1482729"/>
                <a:gd name="connsiteY0" fmla="*/ 0 h 1481671"/>
                <a:gd name="connsiteX1" fmla="*/ 1482729 w 1482729"/>
                <a:gd name="connsiteY1" fmla="*/ 1481671 h 1481671"/>
                <a:gd name="connsiteX2" fmla="*/ 737658 w 1482729"/>
                <a:gd name="connsiteY2" fmla="*/ 1481670 h 1481671"/>
                <a:gd name="connsiteX3" fmla="*/ 0 w 1482729"/>
                <a:gd name="connsiteY3" fmla="*/ 678395 h 1481671"/>
                <a:gd name="connsiteX0" fmla="*/ 0 w 1481671"/>
                <a:gd name="connsiteY0" fmla="*/ 0 h 1481671"/>
                <a:gd name="connsiteX1" fmla="*/ 1481671 w 1481671"/>
                <a:gd name="connsiteY1" fmla="*/ 1481671 h 1481671"/>
                <a:gd name="connsiteX2" fmla="*/ 736600 w 1481671"/>
                <a:gd name="connsiteY2" fmla="*/ 1481670 h 1481671"/>
                <a:gd name="connsiteX3" fmla="*/ 2117 w 1481671"/>
                <a:gd name="connsiteY3" fmla="*/ 716495 h 1481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1671" h="1481671">
                  <a:moveTo>
                    <a:pt x="0" y="0"/>
                  </a:moveTo>
                  <a:lnTo>
                    <a:pt x="1481671" y="1481671"/>
                  </a:lnTo>
                  <a:lnTo>
                    <a:pt x="736600" y="1481670"/>
                  </a:lnTo>
                  <a:lnTo>
                    <a:pt x="2117" y="716495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127000" dist="38100" dir="19740000">
                <a:schemeClr val="tx1">
                  <a:alpha val="25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79A2D3D-E882-C5E3-60FB-BD064193B895}"/>
                </a:ext>
              </a:extLst>
            </p:cNvPr>
            <p:cNvSpPr txBox="1"/>
            <p:nvPr/>
          </p:nvSpPr>
          <p:spPr>
            <a:xfrm rot="2774279">
              <a:off x="7895733" y="446764"/>
              <a:ext cx="1340432" cy="2765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400"/>
                </a:lnSpc>
              </a:pPr>
              <a:r>
                <a:rPr lang="en-US" sz="1400" cap="all" dirty="0">
                  <a:solidFill>
                    <a:schemeClr val="bg1"/>
                  </a:solidFill>
                  <a:latin typeface="+mj-lt"/>
                  <a:cs typeface="+mj-cs"/>
                </a:rPr>
                <a:t>ALT OPTION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7C232BE9-4387-043A-499D-5CA87D9D9F18}"/>
              </a:ext>
            </a:extLst>
          </p:cNvPr>
          <p:cNvGrpSpPr/>
          <p:nvPr/>
        </p:nvGrpSpPr>
        <p:grpSpPr>
          <a:xfrm>
            <a:off x="10288920" y="1942198"/>
            <a:ext cx="1905000" cy="457200"/>
            <a:chOff x="10263520" y="1942198"/>
            <a:chExt cx="1905000" cy="457200"/>
          </a:xfrm>
        </p:grpSpPr>
        <p:sp>
          <p:nvSpPr>
            <p:cNvPr id="10" name="Chevron 11">
              <a:extLst>
                <a:ext uri="{FF2B5EF4-FFF2-40B4-BE49-F238E27FC236}">
                  <a16:creationId xmlns:a16="http://schemas.microsoft.com/office/drawing/2014/main" id="{0FAF9D8A-D573-28DE-3A01-252F74C93C98}"/>
                </a:ext>
              </a:extLst>
            </p:cNvPr>
            <p:cNvSpPr/>
            <p:nvPr/>
          </p:nvSpPr>
          <p:spPr>
            <a:xfrm>
              <a:off x="10263520" y="1942198"/>
              <a:ext cx="1905000" cy="457200"/>
            </a:xfrm>
            <a:custGeom>
              <a:avLst/>
              <a:gdLst/>
              <a:ahLst/>
              <a:cxnLst/>
              <a:rect l="l" t="t" r="r" b="b"/>
              <a:pathLst>
                <a:path w="1905000" h="484632">
                  <a:moveTo>
                    <a:pt x="0" y="0"/>
                  </a:moveTo>
                  <a:lnTo>
                    <a:pt x="1905000" y="0"/>
                  </a:lnTo>
                  <a:lnTo>
                    <a:pt x="1905000" y="484632"/>
                  </a:lnTo>
                  <a:lnTo>
                    <a:pt x="0" y="484632"/>
                  </a:lnTo>
                  <a:lnTo>
                    <a:pt x="140718" y="2423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29" tIns="45714" rIns="182880" bIns="45714" rtlCol="0" anchor="ctr"/>
            <a:lstStyle/>
            <a:p>
              <a:pPr algn="r"/>
              <a:r>
                <a:rPr lang="en-US" sz="1600" dirty="0">
                  <a:solidFill>
                    <a:schemeClr val="bg1"/>
                  </a:solidFill>
                  <a:latin typeface="+mj-lt"/>
                  <a:cs typeface="+mj-cs"/>
                </a:rPr>
                <a:t>#hashtag</a:t>
              </a: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51B13B9-6483-1C3F-19EA-06FDFFA414E6}"/>
                </a:ext>
              </a:extLst>
            </p:cNvPr>
            <p:cNvSpPr/>
            <p:nvPr/>
          </p:nvSpPr>
          <p:spPr>
            <a:xfrm>
              <a:off x="10582961" y="2067739"/>
              <a:ext cx="202215" cy="206120"/>
            </a:xfrm>
            <a:custGeom>
              <a:avLst/>
              <a:gdLst>
                <a:gd name="connsiteX0" fmla="*/ 120301 w 202215"/>
                <a:gd name="connsiteY0" fmla="*/ 87249 h 206120"/>
                <a:gd name="connsiteX1" fmla="*/ 195643 w 202215"/>
                <a:gd name="connsiteY1" fmla="*/ 0 h 206120"/>
                <a:gd name="connsiteX2" fmla="*/ 177736 w 202215"/>
                <a:gd name="connsiteY2" fmla="*/ 0 h 206120"/>
                <a:gd name="connsiteX3" fmla="*/ 112205 w 202215"/>
                <a:gd name="connsiteY3" fmla="*/ 76200 h 206120"/>
                <a:gd name="connsiteX4" fmla="*/ 60008 w 202215"/>
                <a:gd name="connsiteY4" fmla="*/ 0 h 206120"/>
                <a:gd name="connsiteX5" fmla="*/ 0 w 202215"/>
                <a:gd name="connsiteY5" fmla="*/ 0 h 206120"/>
                <a:gd name="connsiteX6" fmla="*/ 78867 w 202215"/>
                <a:gd name="connsiteY6" fmla="*/ 114300 h 206120"/>
                <a:gd name="connsiteX7" fmla="*/ 0 w 202215"/>
                <a:gd name="connsiteY7" fmla="*/ 206121 h 206120"/>
                <a:gd name="connsiteX8" fmla="*/ 17812 w 202215"/>
                <a:gd name="connsiteY8" fmla="*/ 206121 h 206120"/>
                <a:gd name="connsiteX9" fmla="*/ 86868 w 202215"/>
                <a:gd name="connsiteY9" fmla="*/ 125825 h 206120"/>
                <a:gd name="connsiteX10" fmla="*/ 142018 w 202215"/>
                <a:gd name="connsiteY10" fmla="*/ 206121 h 206120"/>
                <a:gd name="connsiteX11" fmla="*/ 202216 w 202215"/>
                <a:gd name="connsiteY11" fmla="*/ 206121 h 206120"/>
                <a:gd name="connsiteX12" fmla="*/ 120301 w 202215"/>
                <a:gd name="connsiteY12" fmla="*/ 86963 h 206120"/>
                <a:gd name="connsiteX13" fmla="*/ 95917 w 202215"/>
                <a:gd name="connsiteY13" fmla="*/ 115824 h 206120"/>
                <a:gd name="connsiteX14" fmla="*/ 87916 w 202215"/>
                <a:gd name="connsiteY14" fmla="*/ 104394 h 206120"/>
                <a:gd name="connsiteX15" fmla="*/ 24194 w 202215"/>
                <a:gd name="connsiteY15" fmla="*/ 13335 h 206120"/>
                <a:gd name="connsiteX16" fmla="*/ 51625 w 202215"/>
                <a:gd name="connsiteY16" fmla="*/ 13335 h 206120"/>
                <a:gd name="connsiteX17" fmla="*/ 102680 w 202215"/>
                <a:gd name="connsiteY17" fmla="*/ 86582 h 206120"/>
                <a:gd name="connsiteX18" fmla="*/ 110681 w 202215"/>
                <a:gd name="connsiteY18" fmla="*/ 98107 h 206120"/>
                <a:gd name="connsiteX19" fmla="*/ 177356 w 202215"/>
                <a:gd name="connsiteY19" fmla="*/ 193358 h 206120"/>
                <a:gd name="connsiteX20" fmla="*/ 150305 w 202215"/>
                <a:gd name="connsiteY20" fmla="*/ 193358 h 206120"/>
                <a:gd name="connsiteX21" fmla="*/ 95822 w 202215"/>
                <a:gd name="connsiteY21" fmla="*/ 115443 h 20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2215" h="206120">
                  <a:moveTo>
                    <a:pt x="120301" y="87249"/>
                  </a:moveTo>
                  <a:lnTo>
                    <a:pt x="195643" y="0"/>
                  </a:lnTo>
                  <a:lnTo>
                    <a:pt x="177736" y="0"/>
                  </a:lnTo>
                  <a:lnTo>
                    <a:pt x="112205" y="76200"/>
                  </a:lnTo>
                  <a:lnTo>
                    <a:pt x="60008" y="0"/>
                  </a:lnTo>
                  <a:lnTo>
                    <a:pt x="0" y="0"/>
                  </a:lnTo>
                  <a:lnTo>
                    <a:pt x="78867" y="114300"/>
                  </a:lnTo>
                  <a:lnTo>
                    <a:pt x="0" y="206121"/>
                  </a:lnTo>
                  <a:lnTo>
                    <a:pt x="17812" y="206121"/>
                  </a:lnTo>
                  <a:lnTo>
                    <a:pt x="86868" y="125825"/>
                  </a:lnTo>
                  <a:lnTo>
                    <a:pt x="142018" y="206121"/>
                  </a:lnTo>
                  <a:lnTo>
                    <a:pt x="202216" y="206121"/>
                  </a:lnTo>
                  <a:lnTo>
                    <a:pt x="120301" y="86963"/>
                  </a:lnTo>
                  <a:close/>
                  <a:moveTo>
                    <a:pt x="95917" y="115824"/>
                  </a:moveTo>
                  <a:lnTo>
                    <a:pt x="87916" y="104394"/>
                  </a:lnTo>
                  <a:lnTo>
                    <a:pt x="24194" y="13335"/>
                  </a:lnTo>
                  <a:lnTo>
                    <a:pt x="51625" y="13335"/>
                  </a:lnTo>
                  <a:lnTo>
                    <a:pt x="102680" y="86582"/>
                  </a:lnTo>
                  <a:lnTo>
                    <a:pt x="110681" y="98107"/>
                  </a:lnTo>
                  <a:lnTo>
                    <a:pt x="177356" y="193358"/>
                  </a:lnTo>
                  <a:lnTo>
                    <a:pt x="150305" y="193358"/>
                  </a:lnTo>
                  <a:lnTo>
                    <a:pt x="95822" y="11544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9FD09EBC-B5B9-90EB-F99C-502AAEAF9F27}"/>
              </a:ext>
            </a:extLst>
          </p:cNvPr>
          <p:cNvGrpSpPr/>
          <p:nvPr/>
        </p:nvGrpSpPr>
        <p:grpSpPr>
          <a:xfrm>
            <a:off x="10288920" y="2624581"/>
            <a:ext cx="1905000" cy="457200"/>
            <a:chOff x="10263520" y="2624581"/>
            <a:chExt cx="1905000" cy="457200"/>
          </a:xfrm>
        </p:grpSpPr>
        <p:sp>
          <p:nvSpPr>
            <p:cNvPr id="13" name="Chevron 11">
              <a:extLst>
                <a:ext uri="{FF2B5EF4-FFF2-40B4-BE49-F238E27FC236}">
                  <a16:creationId xmlns:a16="http://schemas.microsoft.com/office/drawing/2014/main" id="{31679C39-EB2A-AE5B-0B15-A34CC1B6C2E7}"/>
                </a:ext>
              </a:extLst>
            </p:cNvPr>
            <p:cNvSpPr/>
            <p:nvPr/>
          </p:nvSpPr>
          <p:spPr>
            <a:xfrm>
              <a:off x="10263520" y="2624581"/>
              <a:ext cx="1905000" cy="457200"/>
            </a:xfrm>
            <a:custGeom>
              <a:avLst/>
              <a:gdLst/>
              <a:ahLst/>
              <a:cxnLst/>
              <a:rect l="l" t="t" r="r" b="b"/>
              <a:pathLst>
                <a:path w="1905000" h="484632">
                  <a:moveTo>
                    <a:pt x="0" y="0"/>
                  </a:moveTo>
                  <a:lnTo>
                    <a:pt x="1905000" y="0"/>
                  </a:lnTo>
                  <a:lnTo>
                    <a:pt x="1905000" y="484632"/>
                  </a:lnTo>
                  <a:lnTo>
                    <a:pt x="0" y="484632"/>
                  </a:lnTo>
                  <a:lnTo>
                    <a:pt x="140718" y="242316"/>
                  </a:lnTo>
                  <a:close/>
                </a:path>
              </a:pathLst>
            </a:custGeom>
            <a:solidFill>
              <a:schemeClr val="bg1"/>
            </a:solidFill>
            <a:ln w="3175" cmpd="sng">
              <a:noFill/>
            </a:ln>
            <a:effectLst>
              <a:outerShdw blurRad="1016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29" tIns="45714" rIns="182880" bIns="45714" rtlCol="0" anchor="ctr"/>
            <a:lstStyle/>
            <a:p>
              <a:pPr algn="r"/>
              <a:r>
                <a:rPr lang="en-US" sz="1600" dirty="0">
                  <a:solidFill>
                    <a:schemeClr val="tx1"/>
                  </a:solidFill>
                  <a:latin typeface="+mj-lt"/>
                  <a:cs typeface="+mj-cs"/>
                </a:rPr>
                <a:t>#hashtag</a:t>
              </a: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569AC26A-F7E3-B9FD-CDE2-47221951E237}"/>
                </a:ext>
              </a:extLst>
            </p:cNvPr>
            <p:cNvSpPr/>
            <p:nvPr/>
          </p:nvSpPr>
          <p:spPr>
            <a:xfrm>
              <a:off x="10582961" y="2750122"/>
              <a:ext cx="202215" cy="206120"/>
            </a:xfrm>
            <a:custGeom>
              <a:avLst/>
              <a:gdLst>
                <a:gd name="connsiteX0" fmla="*/ 120301 w 202215"/>
                <a:gd name="connsiteY0" fmla="*/ 87249 h 206120"/>
                <a:gd name="connsiteX1" fmla="*/ 195643 w 202215"/>
                <a:gd name="connsiteY1" fmla="*/ 0 h 206120"/>
                <a:gd name="connsiteX2" fmla="*/ 177736 w 202215"/>
                <a:gd name="connsiteY2" fmla="*/ 0 h 206120"/>
                <a:gd name="connsiteX3" fmla="*/ 112205 w 202215"/>
                <a:gd name="connsiteY3" fmla="*/ 76200 h 206120"/>
                <a:gd name="connsiteX4" fmla="*/ 60008 w 202215"/>
                <a:gd name="connsiteY4" fmla="*/ 0 h 206120"/>
                <a:gd name="connsiteX5" fmla="*/ 0 w 202215"/>
                <a:gd name="connsiteY5" fmla="*/ 0 h 206120"/>
                <a:gd name="connsiteX6" fmla="*/ 78867 w 202215"/>
                <a:gd name="connsiteY6" fmla="*/ 114300 h 206120"/>
                <a:gd name="connsiteX7" fmla="*/ 0 w 202215"/>
                <a:gd name="connsiteY7" fmla="*/ 206121 h 206120"/>
                <a:gd name="connsiteX8" fmla="*/ 17812 w 202215"/>
                <a:gd name="connsiteY8" fmla="*/ 206121 h 206120"/>
                <a:gd name="connsiteX9" fmla="*/ 86868 w 202215"/>
                <a:gd name="connsiteY9" fmla="*/ 125825 h 206120"/>
                <a:gd name="connsiteX10" fmla="*/ 142018 w 202215"/>
                <a:gd name="connsiteY10" fmla="*/ 206121 h 206120"/>
                <a:gd name="connsiteX11" fmla="*/ 202216 w 202215"/>
                <a:gd name="connsiteY11" fmla="*/ 206121 h 206120"/>
                <a:gd name="connsiteX12" fmla="*/ 120301 w 202215"/>
                <a:gd name="connsiteY12" fmla="*/ 86963 h 206120"/>
                <a:gd name="connsiteX13" fmla="*/ 95917 w 202215"/>
                <a:gd name="connsiteY13" fmla="*/ 115824 h 206120"/>
                <a:gd name="connsiteX14" fmla="*/ 87916 w 202215"/>
                <a:gd name="connsiteY14" fmla="*/ 104394 h 206120"/>
                <a:gd name="connsiteX15" fmla="*/ 24194 w 202215"/>
                <a:gd name="connsiteY15" fmla="*/ 13335 h 206120"/>
                <a:gd name="connsiteX16" fmla="*/ 51625 w 202215"/>
                <a:gd name="connsiteY16" fmla="*/ 13335 h 206120"/>
                <a:gd name="connsiteX17" fmla="*/ 102680 w 202215"/>
                <a:gd name="connsiteY17" fmla="*/ 86582 h 206120"/>
                <a:gd name="connsiteX18" fmla="*/ 110681 w 202215"/>
                <a:gd name="connsiteY18" fmla="*/ 98107 h 206120"/>
                <a:gd name="connsiteX19" fmla="*/ 177356 w 202215"/>
                <a:gd name="connsiteY19" fmla="*/ 193358 h 206120"/>
                <a:gd name="connsiteX20" fmla="*/ 150305 w 202215"/>
                <a:gd name="connsiteY20" fmla="*/ 193358 h 206120"/>
                <a:gd name="connsiteX21" fmla="*/ 95822 w 202215"/>
                <a:gd name="connsiteY21" fmla="*/ 115443 h 20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2215" h="206120">
                  <a:moveTo>
                    <a:pt x="120301" y="87249"/>
                  </a:moveTo>
                  <a:lnTo>
                    <a:pt x="195643" y="0"/>
                  </a:lnTo>
                  <a:lnTo>
                    <a:pt x="177736" y="0"/>
                  </a:lnTo>
                  <a:lnTo>
                    <a:pt x="112205" y="76200"/>
                  </a:lnTo>
                  <a:lnTo>
                    <a:pt x="60008" y="0"/>
                  </a:lnTo>
                  <a:lnTo>
                    <a:pt x="0" y="0"/>
                  </a:lnTo>
                  <a:lnTo>
                    <a:pt x="78867" y="114300"/>
                  </a:lnTo>
                  <a:lnTo>
                    <a:pt x="0" y="206121"/>
                  </a:lnTo>
                  <a:lnTo>
                    <a:pt x="17812" y="206121"/>
                  </a:lnTo>
                  <a:lnTo>
                    <a:pt x="86868" y="125825"/>
                  </a:lnTo>
                  <a:lnTo>
                    <a:pt x="142018" y="206121"/>
                  </a:lnTo>
                  <a:lnTo>
                    <a:pt x="202216" y="206121"/>
                  </a:lnTo>
                  <a:lnTo>
                    <a:pt x="120301" y="86963"/>
                  </a:lnTo>
                  <a:close/>
                  <a:moveTo>
                    <a:pt x="95917" y="115824"/>
                  </a:moveTo>
                  <a:lnTo>
                    <a:pt x="87916" y="104394"/>
                  </a:lnTo>
                  <a:lnTo>
                    <a:pt x="24194" y="13335"/>
                  </a:lnTo>
                  <a:lnTo>
                    <a:pt x="51625" y="13335"/>
                  </a:lnTo>
                  <a:lnTo>
                    <a:pt x="102680" y="86582"/>
                  </a:lnTo>
                  <a:lnTo>
                    <a:pt x="110681" y="98107"/>
                  </a:lnTo>
                  <a:lnTo>
                    <a:pt x="177356" y="193358"/>
                  </a:lnTo>
                  <a:lnTo>
                    <a:pt x="150305" y="193358"/>
                  </a:lnTo>
                  <a:lnTo>
                    <a:pt x="95822" y="115443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EA1248FF-A584-9109-9298-9FD7D35061B9}"/>
              </a:ext>
            </a:extLst>
          </p:cNvPr>
          <p:cNvGrpSpPr/>
          <p:nvPr/>
        </p:nvGrpSpPr>
        <p:grpSpPr>
          <a:xfrm>
            <a:off x="10288920" y="3250314"/>
            <a:ext cx="1905000" cy="457200"/>
            <a:chOff x="10263520" y="3250314"/>
            <a:chExt cx="1905000" cy="457200"/>
          </a:xfrm>
        </p:grpSpPr>
        <p:sp>
          <p:nvSpPr>
            <p:cNvPr id="16" name="Chevron 11">
              <a:extLst>
                <a:ext uri="{FF2B5EF4-FFF2-40B4-BE49-F238E27FC236}">
                  <a16:creationId xmlns:a16="http://schemas.microsoft.com/office/drawing/2014/main" id="{80B47A4D-81C0-0FF4-559C-69D11EEAB76A}"/>
                </a:ext>
              </a:extLst>
            </p:cNvPr>
            <p:cNvSpPr/>
            <p:nvPr/>
          </p:nvSpPr>
          <p:spPr>
            <a:xfrm>
              <a:off x="10263520" y="3250314"/>
              <a:ext cx="1905000" cy="457200"/>
            </a:xfrm>
            <a:custGeom>
              <a:avLst/>
              <a:gdLst/>
              <a:ahLst/>
              <a:cxnLst/>
              <a:rect l="l" t="t" r="r" b="b"/>
              <a:pathLst>
                <a:path w="1905000" h="484632">
                  <a:moveTo>
                    <a:pt x="0" y="0"/>
                  </a:moveTo>
                  <a:lnTo>
                    <a:pt x="1905000" y="0"/>
                  </a:lnTo>
                  <a:lnTo>
                    <a:pt x="1905000" y="484632"/>
                  </a:lnTo>
                  <a:lnTo>
                    <a:pt x="0" y="484632"/>
                  </a:lnTo>
                  <a:lnTo>
                    <a:pt x="140718" y="24231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100000">
                  <a:schemeClr val="accent3"/>
                </a:gs>
              </a:gsLst>
              <a:lin ang="144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Ins="182880" rtlCol="0" anchor="ctr"/>
            <a:lstStyle/>
            <a:p>
              <a:pPr algn="r"/>
              <a:r>
                <a:rPr lang="en-US" sz="1600" dirty="0">
                  <a:solidFill>
                    <a:schemeClr val="bg1"/>
                  </a:solidFill>
                  <a:latin typeface="+mj-lt"/>
                  <a:cs typeface="+mj-cs"/>
                </a:rPr>
                <a:t>#hashtag</a:t>
              </a: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AA726452-D188-9C0C-142A-9B4ABBFA0946}"/>
                </a:ext>
              </a:extLst>
            </p:cNvPr>
            <p:cNvSpPr/>
            <p:nvPr/>
          </p:nvSpPr>
          <p:spPr>
            <a:xfrm>
              <a:off x="10582961" y="3375856"/>
              <a:ext cx="202215" cy="206120"/>
            </a:xfrm>
            <a:custGeom>
              <a:avLst/>
              <a:gdLst>
                <a:gd name="connsiteX0" fmla="*/ 120301 w 202215"/>
                <a:gd name="connsiteY0" fmla="*/ 87249 h 206120"/>
                <a:gd name="connsiteX1" fmla="*/ 195643 w 202215"/>
                <a:gd name="connsiteY1" fmla="*/ 0 h 206120"/>
                <a:gd name="connsiteX2" fmla="*/ 177736 w 202215"/>
                <a:gd name="connsiteY2" fmla="*/ 0 h 206120"/>
                <a:gd name="connsiteX3" fmla="*/ 112205 w 202215"/>
                <a:gd name="connsiteY3" fmla="*/ 76200 h 206120"/>
                <a:gd name="connsiteX4" fmla="*/ 60008 w 202215"/>
                <a:gd name="connsiteY4" fmla="*/ 0 h 206120"/>
                <a:gd name="connsiteX5" fmla="*/ 0 w 202215"/>
                <a:gd name="connsiteY5" fmla="*/ 0 h 206120"/>
                <a:gd name="connsiteX6" fmla="*/ 78867 w 202215"/>
                <a:gd name="connsiteY6" fmla="*/ 114300 h 206120"/>
                <a:gd name="connsiteX7" fmla="*/ 0 w 202215"/>
                <a:gd name="connsiteY7" fmla="*/ 206121 h 206120"/>
                <a:gd name="connsiteX8" fmla="*/ 17812 w 202215"/>
                <a:gd name="connsiteY8" fmla="*/ 206121 h 206120"/>
                <a:gd name="connsiteX9" fmla="*/ 86868 w 202215"/>
                <a:gd name="connsiteY9" fmla="*/ 125825 h 206120"/>
                <a:gd name="connsiteX10" fmla="*/ 142018 w 202215"/>
                <a:gd name="connsiteY10" fmla="*/ 206121 h 206120"/>
                <a:gd name="connsiteX11" fmla="*/ 202216 w 202215"/>
                <a:gd name="connsiteY11" fmla="*/ 206121 h 206120"/>
                <a:gd name="connsiteX12" fmla="*/ 120301 w 202215"/>
                <a:gd name="connsiteY12" fmla="*/ 86963 h 206120"/>
                <a:gd name="connsiteX13" fmla="*/ 95917 w 202215"/>
                <a:gd name="connsiteY13" fmla="*/ 115824 h 206120"/>
                <a:gd name="connsiteX14" fmla="*/ 87916 w 202215"/>
                <a:gd name="connsiteY14" fmla="*/ 104394 h 206120"/>
                <a:gd name="connsiteX15" fmla="*/ 24194 w 202215"/>
                <a:gd name="connsiteY15" fmla="*/ 13335 h 206120"/>
                <a:gd name="connsiteX16" fmla="*/ 51625 w 202215"/>
                <a:gd name="connsiteY16" fmla="*/ 13335 h 206120"/>
                <a:gd name="connsiteX17" fmla="*/ 102680 w 202215"/>
                <a:gd name="connsiteY17" fmla="*/ 86582 h 206120"/>
                <a:gd name="connsiteX18" fmla="*/ 110681 w 202215"/>
                <a:gd name="connsiteY18" fmla="*/ 98107 h 206120"/>
                <a:gd name="connsiteX19" fmla="*/ 177356 w 202215"/>
                <a:gd name="connsiteY19" fmla="*/ 193358 h 206120"/>
                <a:gd name="connsiteX20" fmla="*/ 150305 w 202215"/>
                <a:gd name="connsiteY20" fmla="*/ 193358 h 206120"/>
                <a:gd name="connsiteX21" fmla="*/ 95822 w 202215"/>
                <a:gd name="connsiteY21" fmla="*/ 115443 h 20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2215" h="206120">
                  <a:moveTo>
                    <a:pt x="120301" y="87249"/>
                  </a:moveTo>
                  <a:lnTo>
                    <a:pt x="195643" y="0"/>
                  </a:lnTo>
                  <a:lnTo>
                    <a:pt x="177736" y="0"/>
                  </a:lnTo>
                  <a:lnTo>
                    <a:pt x="112205" y="76200"/>
                  </a:lnTo>
                  <a:lnTo>
                    <a:pt x="60008" y="0"/>
                  </a:lnTo>
                  <a:lnTo>
                    <a:pt x="0" y="0"/>
                  </a:lnTo>
                  <a:lnTo>
                    <a:pt x="78867" y="114300"/>
                  </a:lnTo>
                  <a:lnTo>
                    <a:pt x="0" y="206121"/>
                  </a:lnTo>
                  <a:lnTo>
                    <a:pt x="17812" y="206121"/>
                  </a:lnTo>
                  <a:lnTo>
                    <a:pt x="86868" y="125825"/>
                  </a:lnTo>
                  <a:lnTo>
                    <a:pt x="142018" y="206121"/>
                  </a:lnTo>
                  <a:lnTo>
                    <a:pt x="202216" y="206121"/>
                  </a:lnTo>
                  <a:lnTo>
                    <a:pt x="120301" y="86963"/>
                  </a:lnTo>
                  <a:close/>
                  <a:moveTo>
                    <a:pt x="95917" y="115824"/>
                  </a:moveTo>
                  <a:lnTo>
                    <a:pt x="87916" y="104394"/>
                  </a:lnTo>
                  <a:lnTo>
                    <a:pt x="24194" y="13335"/>
                  </a:lnTo>
                  <a:lnTo>
                    <a:pt x="51625" y="13335"/>
                  </a:lnTo>
                  <a:lnTo>
                    <a:pt x="102680" y="86582"/>
                  </a:lnTo>
                  <a:lnTo>
                    <a:pt x="110681" y="98107"/>
                  </a:lnTo>
                  <a:lnTo>
                    <a:pt x="177356" y="193358"/>
                  </a:lnTo>
                  <a:lnTo>
                    <a:pt x="150305" y="193358"/>
                  </a:lnTo>
                  <a:lnTo>
                    <a:pt x="95822" y="11544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7B1C6DE5-369B-9A0D-867B-933E7CE3AA74}"/>
              </a:ext>
            </a:extLst>
          </p:cNvPr>
          <p:cNvSpPr/>
          <p:nvPr/>
        </p:nvSpPr>
        <p:spPr>
          <a:xfrm>
            <a:off x="0" y="0"/>
            <a:ext cx="4991100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lide Markers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9FBB20-2E30-03F0-B61A-0933B5251604}"/>
              </a:ext>
            </a:extLst>
          </p:cNvPr>
          <p:cNvSpPr>
            <a:spLocks noChangeAspect="1"/>
          </p:cNvSpPr>
          <p:nvPr/>
        </p:nvSpPr>
        <p:spPr>
          <a:xfrm>
            <a:off x="677251" y="3604344"/>
            <a:ext cx="4318861" cy="243041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D7247BE-8BFC-A732-4731-28F8A90275F7}"/>
              </a:ext>
            </a:extLst>
          </p:cNvPr>
          <p:cNvSpPr>
            <a:spLocks noChangeAspect="1"/>
          </p:cNvSpPr>
          <p:nvPr/>
        </p:nvSpPr>
        <p:spPr>
          <a:xfrm>
            <a:off x="5213480" y="3604343"/>
            <a:ext cx="4318861" cy="243041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pSp>
        <p:nvGrpSpPr>
          <p:cNvPr id="32" name="Group 11">
            <a:extLst>
              <a:ext uri="{FF2B5EF4-FFF2-40B4-BE49-F238E27FC236}">
                <a16:creationId xmlns:a16="http://schemas.microsoft.com/office/drawing/2014/main" id="{88AE2CF1-A204-2A08-CBC3-A711782853C7}"/>
              </a:ext>
            </a:extLst>
          </p:cNvPr>
          <p:cNvGrpSpPr/>
          <p:nvPr/>
        </p:nvGrpSpPr>
        <p:grpSpPr>
          <a:xfrm>
            <a:off x="8742409" y="3560243"/>
            <a:ext cx="785337" cy="829437"/>
            <a:chOff x="7670796" y="-83203"/>
            <a:chExt cx="1481671" cy="1564874"/>
          </a:xfrm>
        </p:grpSpPr>
        <p:sp>
          <p:nvSpPr>
            <p:cNvPr id="33" name="Right Triangle 32">
              <a:extLst>
                <a:ext uri="{FF2B5EF4-FFF2-40B4-BE49-F238E27FC236}">
                  <a16:creationId xmlns:a16="http://schemas.microsoft.com/office/drawing/2014/main" id="{BD3460C6-E014-7CDB-29B9-03E38338C109}"/>
                </a:ext>
              </a:extLst>
            </p:cNvPr>
            <p:cNvSpPr/>
            <p:nvPr/>
          </p:nvSpPr>
          <p:spPr>
            <a:xfrm rot="10800000">
              <a:off x="7670796" y="0"/>
              <a:ext cx="1481671" cy="1481671"/>
            </a:xfrm>
            <a:prstGeom prst="rtTriangle">
              <a:avLst/>
            </a:prstGeom>
            <a:solidFill>
              <a:schemeClr val="accent6"/>
            </a:solidFill>
            <a:ln>
              <a:noFill/>
            </a:ln>
            <a:effectLst>
              <a:outerShdw blurRad="127000" dist="38100" dir="19740000">
                <a:schemeClr val="tx1">
                  <a:alpha val="25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DB21CABF-7732-5126-2EA3-27B194982020}"/>
                </a:ext>
              </a:extLst>
            </p:cNvPr>
            <p:cNvSpPr txBox="1"/>
            <p:nvPr/>
          </p:nvSpPr>
          <p:spPr>
            <a:xfrm rot="2700000">
              <a:off x="8063564" y="247055"/>
              <a:ext cx="1183122" cy="52260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600" cap="all" dirty="0">
                  <a:solidFill>
                    <a:schemeClr val="bg1"/>
                  </a:solidFill>
                  <a:cs typeface="+mj-cs"/>
                </a:rPr>
                <a:t>Design in</a:t>
              </a:r>
            </a:p>
            <a:p>
              <a:pPr algn="ctr"/>
              <a:r>
                <a:rPr lang="en-US" sz="600" cap="all" dirty="0">
                  <a:solidFill>
                    <a:schemeClr val="bg1"/>
                  </a:solidFill>
                  <a:cs typeface="+mj-cs"/>
                </a:rPr>
                <a:t>Progress</a:t>
              </a:r>
            </a:p>
          </p:txBody>
        </p:sp>
      </p:grpSp>
      <p:grpSp>
        <p:nvGrpSpPr>
          <p:cNvPr id="35" name="Group 7">
            <a:extLst>
              <a:ext uri="{FF2B5EF4-FFF2-40B4-BE49-F238E27FC236}">
                <a16:creationId xmlns:a16="http://schemas.microsoft.com/office/drawing/2014/main" id="{3F9BCB7B-1EB7-D236-EF21-5F21B1BBD8E9}"/>
              </a:ext>
            </a:extLst>
          </p:cNvPr>
          <p:cNvGrpSpPr/>
          <p:nvPr/>
        </p:nvGrpSpPr>
        <p:grpSpPr>
          <a:xfrm>
            <a:off x="8065732" y="3553066"/>
            <a:ext cx="785337" cy="832953"/>
            <a:chOff x="7670796" y="-89834"/>
            <a:chExt cx="1481671" cy="1571505"/>
          </a:xfrm>
        </p:grpSpPr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D5F10206-AD31-7F08-2E3A-BEBC8FF996C3}"/>
                </a:ext>
              </a:extLst>
            </p:cNvPr>
            <p:cNvSpPr/>
            <p:nvPr/>
          </p:nvSpPr>
          <p:spPr>
            <a:xfrm rot="10800000">
              <a:off x="7670796" y="0"/>
              <a:ext cx="1481671" cy="1481671"/>
            </a:xfrm>
            <a:custGeom>
              <a:avLst/>
              <a:gdLst>
                <a:gd name="connsiteX0" fmla="*/ 0 w 1481671"/>
                <a:gd name="connsiteY0" fmla="*/ 1481671 h 1481671"/>
                <a:gd name="connsiteX1" fmla="*/ 0 w 1481671"/>
                <a:gd name="connsiteY1" fmla="*/ 0 h 1481671"/>
                <a:gd name="connsiteX2" fmla="*/ 1481671 w 1481671"/>
                <a:gd name="connsiteY2" fmla="*/ 1481671 h 1481671"/>
                <a:gd name="connsiteX3" fmla="*/ 0 w 1481671"/>
                <a:gd name="connsiteY3" fmla="*/ 1481671 h 1481671"/>
                <a:gd name="connsiteX0" fmla="*/ 0 w 1481671"/>
                <a:gd name="connsiteY0" fmla="*/ 1481671 h 1485904"/>
                <a:gd name="connsiteX1" fmla="*/ 0 w 1481671"/>
                <a:gd name="connsiteY1" fmla="*/ 0 h 1485904"/>
                <a:gd name="connsiteX2" fmla="*/ 1481671 w 1481671"/>
                <a:gd name="connsiteY2" fmla="*/ 1481671 h 1485904"/>
                <a:gd name="connsiteX3" fmla="*/ 787400 w 1481671"/>
                <a:gd name="connsiteY3" fmla="*/ 1485904 h 1485904"/>
                <a:gd name="connsiteX4" fmla="*/ 0 w 1481671"/>
                <a:gd name="connsiteY4" fmla="*/ 1481671 h 1485904"/>
                <a:gd name="connsiteX0" fmla="*/ 0 w 1481671"/>
                <a:gd name="connsiteY0" fmla="*/ 1481671 h 1481671"/>
                <a:gd name="connsiteX1" fmla="*/ 0 w 1481671"/>
                <a:gd name="connsiteY1" fmla="*/ 0 h 1481671"/>
                <a:gd name="connsiteX2" fmla="*/ 1481671 w 1481671"/>
                <a:gd name="connsiteY2" fmla="*/ 1481671 h 1481671"/>
                <a:gd name="connsiteX3" fmla="*/ 736600 w 1481671"/>
                <a:gd name="connsiteY3" fmla="*/ 1481670 h 1481671"/>
                <a:gd name="connsiteX4" fmla="*/ 0 w 1481671"/>
                <a:gd name="connsiteY4" fmla="*/ 1481671 h 1481671"/>
                <a:gd name="connsiteX0" fmla="*/ 0 w 1481671"/>
                <a:gd name="connsiteY0" fmla="*/ 1481671 h 1481671"/>
                <a:gd name="connsiteX1" fmla="*/ 5292 w 1481671"/>
                <a:gd name="connsiteY1" fmla="*/ 678396 h 1481671"/>
                <a:gd name="connsiteX2" fmla="*/ 0 w 1481671"/>
                <a:gd name="connsiteY2" fmla="*/ 0 h 1481671"/>
                <a:gd name="connsiteX3" fmla="*/ 1481671 w 1481671"/>
                <a:gd name="connsiteY3" fmla="*/ 1481671 h 1481671"/>
                <a:gd name="connsiteX4" fmla="*/ 736600 w 1481671"/>
                <a:gd name="connsiteY4" fmla="*/ 1481670 h 1481671"/>
                <a:gd name="connsiteX5" fmla="*/ 0 w 1481671"/>
                <a:gd name="connsiteY5" fmla="*/ 1481671 h 1481671"/>
                <a:gd name="connsiteX0" fmla="*/ 0 w 1481671"/>
                <a:gd name="connsiteY0" fmla="*/ 1481671 h 1481671"/>
                <a:gd name="connsiteX1" fmla="*/ 5292 w 1481671"/>
                <a:gd name="connsiteY1" fmla="*/ 678396 h 1481671"/>
                <a:gd name="connsiteX2" fmla="*/ 5292 w 1481671"/>
                <a:gd name="connsiteY2" fmla="*/ 726021 h 1481671"/>
                <a:gd name="connsiteX3" fmla="*/ 0 w 1481671"/>
                <a:gd name="connsiteY3" fmla="*/ 0 h 1481671"/>
                <a:gd name="connsiteX4" fmla="*/ 1481671 w 1481671"/>
                <a:gd name="connsiteY4" fmla="*/ 1481671 h 1481671"/>
                <a:gd name="connsiteX5" fmla="*/ 736600 w 1481671"/>
                <a:gd name="connsiteY5" fmla="*/ 1481670 h 1481671"/>
                <a:gd name="connsiteX6" fmla="*/ 0 w 1481671"/>
                <a:gd name="connsiteY6" fmla="*/ 1481671 h 1481671"/>
                <a:gd name="connsiteX0" fmla="*/ 0 w 1481671"/>
                <a:gd name="connsiteY0" fmla="*/ 1481671 h 1481671"/>
                <a:gd name="connsiteX1" fmla="*/ 5292 w 1481671"/>
                <a:gd name="connsiteY1" fmla="*/ 678396 h 1481671"/>
                <a:gd name="connsiteX2" fmla="*/ 5292 w 1481671"/>
                <a:gd name="connsiteY2" fmla="*/ 726021 h 1481671"/>
                <a:gd name="connsiteX3" fmla="*/ 5292 w 1481671"/>
                <a:gd name="connsiteY3" fmla="*/ 741896 h 1481671"/>
                <a:gd name="connsiteX4" fmla="*/ 0 w 1481671"/>
                <a:gd name="connsiteY4" fmla="*/ 0 h 1481671"/>
                <a:gd name="connsiteX5" fmla="*/ 1481671 w 1481671"/>
                <a:gd name="connsiteY5" fmla="*/ 1481671 h 1481671"/>
                <a:gd name="connsiteX6" fmla="*/ 736600 w 1481671"/>
                <a:gd name="connsiteY6" fmla="*/ 1481670 h 1481671"/>
                <a:gd name="connsiteX7" fmla="*/ 0 w 1481671"/>
                <a:gd name="connsiteY7" fmla="*/ 1481671 h 1481671"/>
                <a:gd name="connsiteX0" fmla="*/ 736600 w 1481671"/>
                <a:gd name="connsiteY0" fmla="*/ 1481670 h 1481671"/>
                <a:gd name="connsiteX1" fmla="*/ 5292 w 1481671"/>
                <a:gd name="connsiteY1" fmla="*/ 678396 h 1481671"/>
                <a:gd name="connsiteX2" fmla="*/ 5292 w 1481671"/>
                <a:gd name="connsiteY2" fmla="*/ 726021 h 1481671"/>
                <a:gd name="connsiteX3" fmla="*/ 5292 w 1481671"/>
                <a:gd name="connsiteY3" fmla="*/ 741896 h 1481671"/>
                <a:gd name="connsiteX4" fmla="*/ 0 w 1481671"/>
                <a:gd name="connsiteY4" fmla="*/ 0 h 1481671"/>
                <a:gd name="connsiteX5" fmla="*/ 1481671 w 1481671"/>
                <a:gd name="connsiteY5" fmla="*/ 1481671 h 1481671"/>
                <a:gd name="connsiteX6" fmla="*/ 736600 w 1481671"/>
                <a:gd name="connsiteY6" fmla="*/ 1481670 h 1481671"/>
                <a:gd name="connsiteX0" fmla="*/ 736600 w 1481671"/>
                <a:gd name="connsiteY0" fmla="*/ 1481670 h 1481671"/>
                <a:gd name="connsiteX1" fmla="*/ 5292 w 1481671"/>
                <a:gd name="connsiteY1" fmla="*/ 678396 h 1481671"/>
                <a:gd name="connsiteX2" fmla="*/ 5292 w 1481671"/>
                <a:gd name="connsiteY2" fmla="*/ 726021 h 1481671"/>
                <a:gd name="connsiteX3" fmla="*/ 5292 w 1481671"/>
                <a:gd name="connsiteY3" fmla="*/ 741896 h 1481671"/>
                <a:gd name="connsiteX4" fmla="*/ 2118 w 1481671"/>
                <a:gd name="connsiteY4" fmla="*/ 599021 h 1481671"/>
                <a:gd name="connsiteX5" fmla="*/ 0 w 1481671"/>
                <a:gd name="connsiteY5" fmla="*/ 0 h 1481671"/>
                <a:gd name="connsiteX6" fmla="*/ 1481671 w 1481671"/>
                <a:gd name="connsiteY6" fmla="*/ 1481671 h 1481671"/>
                <a:gd name="connsiteX7" fmla="*/ 736600 w 1481671"/>
                <a:gd name="connsiteY7" fmla="*/ 1481670 h 1481671"/>
                <a:gd name="connsiteX0" fmla="*/ 829732 w 1574803"/>
                <a:gd name="connsiteY0" fmla="*/ 1481670 h 1481671"/>
                <a:gd name="connsiteX1" fmla="*/ 98424 w 1574803"/>
                <a:gd name="connsiteY1" fmla="*/ 678396 h 1481671"/>
                <a:gd name="connsiteX2" fmla="*/ 98424 w 1574803"/>
                <a:gd name="connsiteY2" fmla="*/ 726021 h 1481671"/>
                <a:gd name="connsiteX3" fmla="*/ 98424 w 1574803"/>
                <a:gd name="connsiteY3" fmla="*/ 741896 h 1481671"/>
                <a:gd name="connsiteX4" fmla="*/ 0 w 1574803"/>
                <a:gd name="connsiteY4" fmla="*/ 633946 h 1481671"/>
                <a:gd name="connsiteX5" fmla="*/ 95250 w 1574803"/>
                <a:gd name="connsiteY5" fmla="*/ 599021 h 1481671"/>
                <a:gd name="connsiteX6" fmla="*/ 93132 w 1574803"/>
                <a:gd name="connsiteY6" fmla="*/ 0 h 1481671"/>
                <a:gd name="connsiteX7" fmla="*/ 1574803 w 1574803"/>
                <a:gd name="connsiteY7" fmla="*/ 1481671 h 1481671"/>
                <a:gd name="connsiteX8" fmla="*/ 829732 w 1574803"/>
                <a:gd name="connsiteY8" fmla="*/ 1481670 h 1481671"/>
                <a:gd name="connsiteX0" fmla="*/ 736600 w 1481671"/>
                <a:gd name="connsiteY0" fmla="*/ 1481670 h 1481671"/>
                <a:gd name="connsiteX1" fmla="*/ 5292 w 1481671"/>
                <a:gd name="connsiteY1" fmla="*/ 678396 h 1481671"/>
                <a:gd name="connsiteX2" fmla="*/ 5292 w 1481671"/>
                <a:gd name="connsiteY2" fmla="*/ 726021 h 1481671"/>
                <a:gd name="connsiteX3" fmla="*/ 5292 w 1481671"/>
                <a:gd name="connsiteY3" fmla="*/ 741896 h 1481671"/>
                <a:gd name="connsiteX4" fmla="*/ 2118 w 1481671"/>
                <a:gd name="connsiteY4" fmla="*/ 599021 h 1481671"/>
                <a:gd name="connsiteX5" fmla="*/ 0 w 1481671"/>
                <a:gd name="connsiteY5" fmla="*/ 0 h 1481671"/>
                <a:gd name="connsiteX6" fmla="*/ 1481671 w 1481671"/>
                <a:gd name="connsiteY6" fmla="*/ 1481671 h 1481671"/>
                <a:gd name="connsiteX7" fmla="*/ 736600 w 1481671"/>
                <a:gd name="connsiteY7" fmla="*/ 1481670 h 1481671"/>
                <a:gd name="connsiteX0" fmla="*/ 2118 w 1481671"/>
                <a:gd name="connsiteY0" fmla="*/ 599021 h 1481671"/>
                <a:gd name="connsiteX1" fmla="*/ 0 w 1481671"/>
                <a:gd name="connsiteY1" fmla="*/ 0 h 1481671"/>
                <a:gd name="connsiteX2" fmla="*/ 1481671 w 1481671"/>
                <a:gd name="connsiteY2" fmla="*/ 1481671 h 1481671"/>
                <a:gd name="connsiteX3" fmla="*/ 736600 w 1481671"/>
                <a:gd name="connsiteY3" fmla="*/ 1481670 h 1481671"/>
                <a:gd name="connsiteX4" fmla="*/ 5292 w 1481671"/>
                <a:gd name="connsiteY4" fmla="*/ 678396 h 1481671"/>
                <a:gd name="connsiteX5" fmla="*/ 5292 w 1481671"/>
                <a:gd name="connsiteY5" fmla="*/ 726021 h 1481671"/>
                <a:gd name="connsiteX6" fmla="*/ 96732 w 1481671"/>
                <a:gd name="connsiteY6" fmla="*/ 833336 h 1481671"/>
                <a:gd name="connsiteX0" fmla="*/ 2118 w 1481671"/>
                <a:gd name="connsiteY0" fmla="*/ 599021 h 1481671"/>
                <a:gd name="connsiteX1" fmla="*/ 0 w 1481671"/>
                <a:gd name="connsiteY1" fmla="*/ 0 h 1481671"/>
                <a:gd name="connsiteX2" fmla="*/ 1481671 w 1481671"/>
                <a:gd name="connsiteY2" fmla="*/ 1481671 h 1481671"/>
                <a:gd name="connsiteX3" fmla="*/ 736600 w 1481671"/>
                <a:gd name="connsiteY3" fmla="*/ 1481670 h 1481671"/>
                <a:gd name="connsiteX4" fmla="*/ 5292 w 1481671"/>
                <a:gd name="connsiteY4" fmla="*/ 678396 h 1481671"/>
                <a:gd name="connsiteX5" fmla="*/ 5292 w 1481671"/>
                <a:gd name="connsiteY5" fmla="*/ 726021 h 1481671"/>
                <a:gd name="connsiteX0" fmla="*/ 2118 w 1481671"/>
                <a:gd name="connsiteY0" fmla="*/ 599021 h 1481671"/>
                <a:gd name="connsiteX1" fmla="*/ 0 w 1481671"/>
                <a:gd name="connsiteY1" fmla="*/ 0 h 1481671"/>
                <a:gd name="connsiteX2" fmla="*/ 1481671 w 1481671"/>
                <a:gd name="connsiteY2" fmla="*/ 1481671 h 1481671"/>
                <a:gd name="connsiteX3" fmla="*/ 736600 w 1481671"/>
                <a:gd name="connsiteY3" fmla="*/ 1481670 h 1481671"/>
                <a:gd name="connsiteX4" fmla="*/ 5292 w 1481671"/>
                <a:gd name="connsiteY4" fmla="*/ 678396 h 1481671"/>
                <a:gd name="connsiteX0" fmla="*/ 0 w 1481671"/>
                <a:gd name="connsiteY0" fmla="*/ 0 h 1481671"/>
                <a:gd name="connsiteX1" fmla="*/ 1481671 w 1481671"/>
                <a:gd name="connsiteY1" fmla="*/ 1481671 h 1481671"/>
                <a:gd name="connsiteX2" fmla="*/ 736600 w 1481671"/>
                <a:gd name="connsiteY2" fmla="*/ 1481670 h 1481671"/>
                <a:gd name="connsiteX3" fmla="*/ 5292 w 1481671"/>
                <a:gd name="connsiteY3" fmla="*/ 678396 h 1481671"/>
                <a:gd name="connsiteX0" fmla="*/ 1058 w 1482729"/>
                <a:gd name="connsiteY0" fmla="*/ 0 h 1481671"/>
                <a:gd name="connsiteX1" fmla="*/ 1482729 w 1482729"/>
                <a:gd name="connsiteY1" fmla="*/ 1481671 h 1481671"/>
                <a:gd name="connsiteX2" fmla="*/ 737658 w 1482729"/>
                <a:gd name="connsiteY2" fmla="*/ 1481670 h 1481671"/>
                <a:gd name="connsiteX3" fmla="*/ 0 w 1482729"/>
                <a:gd name="connsiteY3" fmla="*/ 678395 h 1481671"/>
                <a:gd name="connsiteX0" fmla="*/ 0 w 1481671"/>
                <a:gd name="connsiteY0" fmla="*/ 0 h 1481671"/>
                <a:gd name="connsiteX1" fmla="*/ 1481671 w 1481671"/>
                <a:gd name="connsiteY1" fmla="*/ 1481671 h 1481671"/>
                <a:gd name="connsiteX2" fmla="*/ 736600 w 1481671"/>
                <a:gd name="connsiteY2" fmla="*/ 1481670 h 1481671"/>
                <a:gd name="connsiteX3" fmla="*/ 2117 w 1481671"/>
                <a:gd name="connsiteY3" fmla="*/ 716495 h 1481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1671" h="1481671">
                  <a:moveTo>
                    <a:pt x="0" y="0"/>
                  </a:moveTo>
                  <a:lnTo>
                    <a:pt x="1481671" y="1481671"/>
                  </a:lnTo>
                  <a:lnTo>
                    <a:pt x="736600" y="1481670"/>
                  </a:lnTo>
                  <a:lnTo>
                    <a:pt x="2117" y="716495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127000" dist="38100" dir="19740000">
                <a:schemeClr val="tx1">
                  <a:alpha val="25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00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493B9C07-8101-AF3F-BC9B-DBE8E15876CA}"/>
                </a:ext>
              </a:extLst>
            </p:cNvPr>
            <p:cNvSpPr txBox="1"/>
            <p:nvPr/>
          </p:nvSpPr>
          <p:spPr>
            <a:xfrm rot="2774279">
              <a:off x="7968904" y="306898"/>
              <a:ext cx="1261752" cy="4682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1400"/>
                </a:lnSpc>
              </a:pPr>
              <a:r>
                <a:rPr lang="en-US" sz="600" cap="all" dirty="0">
                  <a:solidFill>
                    <a:schemeClr val="bg1"/>
                  </a:solidFill>
                  <a:cs typeface="+mj-cs"/>
                </a:rPr>
                <a:t>ALT OPTION</a:t>
              </a: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07AAF12A-FD58-223D-E02E-271D0DE09725}"/>
              </a:ext>
            </a:extLst>
          </p:cNvPr>
          <p:cNvSpPr txBox="1"/>
          <p:nvPr/>
        </p:nvSpPr>
        <p:spPr>
          <a:xfrm>
            <a:off x="3668155" y="1268017"/>
            <a:ext cx="6062951" cy="177407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dirty="0"/>
              <a:t>Slide Markers help you manage your slides more efficiently.</a:t>
            </a:r>
            <a:br>
              <a:rPr lang="en-US" sz="1600" dirty="0"/>
            </a:br>
            <a:br>
              <a:rPr lang="en-US" sz="1600" dirty="0"/>
            </a:br>
            <a:r>
              <a:rPr lang="en-US" sz="1600" dirty="0"/>
              <a:t>Use slide markers to inform clients/colleagues of an alternative slide design or a slide in progress. </a:t>
            </a:r>
          </a:p>
          <a:p>
            <a:pPr>
              <a:lnSpc>
                <a:spcPct val="90000"/>
              </a:lnSpc>
            </a:pPr>
            <a:endParaRPr lang="en-US" sz="1600" dirty="0"/>
          </a:p>
          <a:p>
            <a:pPr>
              <a:lnSpc>
                <a:spcPct val="90000"/>
              </a:lnSpc>
            </a:pPr>
            <a:r>
              <a:rPr lang="en-US" sz="1600" dirty="0"/>
              <a:t>Can also be used to highlight/ tag important information.</a:t>
            </a:r>
          </a:p>
          <a:p>
            <a:pPr>
              <a:lnSpc>
                <a:spcPct val="90000"/>
              </a:lnSpc>
            </a:pPr>
            <a:endParaRPr lang="en-US" sz="1600" dirty="0"/>
          </a:p>
          <a:p>
            <a:pPr>
              <a:lnSpc>
                <a:spcPct val="90000"/>
              </a:lnSpc>
            </a:pPr>
            <a:r>
              <a:rPr lang="en-US" sz="1600" i="1" dirty="0"/>
              <a:t>Adjust font size while changing shape siz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7B01916-D125-F117-AB59-C059722F00F1}"/>
              </a:ext>
            </a:extLst>
          </p:cNvPr>
          <p:cNvSpPr txBox="1"/>
          <p:nvPr/>
        </p:nvSpPr>
        <p:spPr>
          <a:xfrm>
            <a:off x="7878305" y="4545673"/>
            <a:ext cx="1485735" cy="22288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dirty="0"/>
              <a:t>Use in corner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21E18B9-0548-B60C-7AE0-CAC8E7F5D79C}"/>
              </a:ext>
            </a:extLst>
          </p:cNvPr>
          <p:cNvSpPr txBox="1"/>
          <p:nvPr/>
        </p:nvSpPr>
        <p:spPr>
          <a:xfrm>
            <a:off x="1964610" y="4835031"/>
            <a:ext cx="1485735" cy="22288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dirty="0"/>
              <a:t>Use on edges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959E5F0E-240E-0B3C-E955-933457CDEF5B}"/>
              </a:ext>
            </a:extLst>
          </p:cNvPr>
          <p:cNvGrpSpPr/>
          <p:nvPr/>
        </p:nvGrpSpPr>
        <p:grpSpPr>
          <a:xfrm>
            <a:off x="3668154" y="4313832"/>
            <a:ext cx="1322945" cy="1225940"/>
            <a:chOff x="10415920" y="2094598"/>
            <a:chExt cx="1905000" cy="1765316"/>
          </a:xfrm>
        </p:grpSpPr>
        <p:sp>
          <p:nvSpPr>
            <p:cNvPr id="44" name="Chevron 11">
              <a:extLst>
                <a:ext uri="{FF2B5EF4-FFF2-40B4-BE49-F238E27FC236}">
                  <a16:creationId xmlns:a16="http://schemas.microsoft.com/office/drawing/2014/main" id="{0FFF9AB1-00C4-C871-1171-E0D734DF0AAE}"/>
                </a:ext>
              </a:extLst>
            </p:cNvPr>
            <p:cNvSpPr/>
            <p:nvPr/>
          </p:nvSpPr>
          <p:spPr>
            <a:xfrm>
              <a:off x="10415920" y="2094598"/>
              <a:ext cx="1905000" cy="457200"/>
            </a:xfrm>
            <a:custGeom>
              <a:avLst/>
              <a:gdLst/>
              <a:ahLst/>
              <a:cxnLst/>
              <a:rect l="l" t="t" r="r" b="b"/>
              <a:pathLst>
                <a:path w="1905000" h="484632">
                  <a:moveTo>
                    <a:pt x="0" y="0"/>
                  </a:moveTo>
                  <a:lnTo>
                    <a:pt x="1905000" y="0"/>
                  </a:lnTo>
                  <a:lnTo>
                    <a:pt x="1905000" y="484632"/>
                  </a:lnTo>
                  <a:lnTo>
                    <a:pt x="0" y="484632"/>
                  </a:lnTo>
                  <a:lnTo>
                    <a:pt x="140718" y="2423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29" tIns="45714" rIns="182880" bIns="45714" rtlCol="0" anchor="ctr"/>
            <a:lstStyle/>
            <a:p>
              <a:pPr algn="r"/>
              <a:r>
                <a:rPr lang="en-US" sz="1050" dirty="0">
                  <a:solidFill>
                    <a:schemeClr val="bg1"/>
                  </a:solidFill>
                  <a:cs typeface="+mj-cs"/>
                </a:rPr>
                <a:t>#hashtag</a:t>
              </a: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A187176-CD72-4798-FE46-147D2EE8C6F8}"/>
                </a:ext>
              </a:extLst>
            </p:cNvPr>
            <p:cNvSpPr/>
            <p:nvPr/>
          </p:nvSpPr>
          <p:spPr>
            <a:xfrm>
              <a:off x="10735361" y="2220139"/>
              <a:ext cx="202215" cy="206120"/>
            </a:xfrm>
            <a:custGeom>
              <a:avLst/>
              <a:gdLst>
                <a:gd name="connsiteX0" fmla="*/ 120301 w 202215"/>
                <a:gd name="connsiteY0" fmla="*/ 87249 h 206120"/>
                <a:gd name="connsiteX1" fmla="*/ 195643 w 202215"/>
                <a:gd name="connsiteY1" fmla="*/ 0 h 206120"/>
                <a:gd name="connsiteX2" fmla="*/ 177736 w 202215"/>
                <a:gd name="connsiteY2" fmla="*/ 0 h 206120"/>
                <a:gd name="connsiteX3" fmla="*/ 112205 w 202215"/>
                <a:gd name="connsiteY3" fmla="*/ 76200 h 206120"/>
                <a:gd name="connsiteX4" fmla="*/ 60008 w 202215"/>
                <a:gd name="connsiteY4" fmla="*/ 0 h 206120"/>
                <a:gd name="connsiteX5" fmla="*/ 0 w 202215"/>
                <a:gd name="connsiteY5" fmla="*/ 0 h 206120"/>
                <a:gd name="connsiteX6" fmla="*/ 78867 w 202215"/>
                <a:gd name="connsiteY6" fmla="*/ 114300 h 206120"/>
                <a:gd name="connsiteX7" fmla="*/ 0 w 202215"/>
                <a:gd name="connsiteY7" fmla="*/ 206121 h 206120"/>
                <a:gd name="connsiteX8" fmla="*/ 17812 w 202215"/>
                <a:gd name="connsiteY8" fmla="*/ 206121 h 206120"/>
                <a:gd name="connsiteX9" fmla="*/ 86868 w 202215"/>
                <a:gd name="connsiteY9" fmla="*/ 125825 h 206120"/>
                <a:gd name="connsiteX10" fmla="*/ 142018 w 202215"/>
                <a:gd name="connsiteY10" fmla="*/ 206121 h 206120"/>
                <a:gd name="connsiteX11" fmla="*/ 202216 w 202215"/>
                <a:gd name="connsiteY11" fmla="*/ 206121 h 206120"/>
                <a:gd name="connsiteX12" fmla="*/ 120301 w 202215"/>
                <a:gd name="connsiteY12" fmla="*/ 86963 h 206120"/>
                <a:gd name="connsiteX13" fmla="*/ 95917 w 202215"/>
                <a:gd name="connsiteY13" fmla="*/ 115824 h 206120"/>
                <a:gd name="connsiteX14" fmla="*/ 87916 w 202215"/>
                <a:gd name="connsiteY14" fmla="*/ 104394 h 206120"/>
                <a:gd name="connsiteX15" fmla="*/ 24194 w 202215"/>
                <a:gd name="connsiteY15" fmla="*/ 13335 h 206120"/>
                <a:gd name="connsiteX16" fmla="*/ 51625 w 202215"/>
                <a:gd name="connsiteY16" fmla="*/ 13335 h 206120"/>
                <a:gd name="connsiteX17" fmla="*/ 102680 w 202215"/>
                <a:gd name="connsiteY17" fmla="*/ 86582 h 206120"/>
                <a:gd name="connsiteX18" fmla="*/ 110681 w 202215"/>
                <a:gd name="connsiteY18" fmla="*/ 98107 h 206120"/>
                <a:gd name="connsiteX19" fmla="*/ 177356 w 202215"/>
                <a:gd name="connsiteY19" fmla="*/ 193358 h 206120"/>
                <a:gd name="connsiteX20" fmla="*/ 150305 w 202215"/>
                <a:gd name="connsiteY20" fmla="*/ 193358 h 206120"/>
                <a:gd name="connsiteX21" fmla="*/ 95822 w 202215"/>
                <a:gd name="connsiteY21" fmla="*/ 115443 h 20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2215" h="206120">
                  <a:moveTo>
                    <a:pt x="120301" y="87249"/>
                  </a:moveTo>
                  <a:lnTo>
                    <a:pt x="195643" y="0"/>
                  </a:lnTo>
                  <a:lnTo>
                    <a:pt x="177736" y="0"/>
                  </a:lnTo>
                  <a:lnTo>
                    <a:pt x="112205" y="76200"/>
                  </a:lnTo>
                  <a:lnTo>
                    <a:pt x="60008" y="0"/>
                  </a:lnTo>
                  <a:lnTo>
                    <a:pt x="0" y="0"/>
                  </a:lnTo>
                  <a:lnTo>
                    <a:pt x="78867" y="114300"/>
                  </a:lnTo>
                  <a:lnTo>
                    <a:pt x="0" y="206121"/>
                  </a:lnTo>
                  <a:lnTo>
                    <a:pt x="17812" y="206121"/>
                  </a:lnTo>
                  <a:lnTo>
                    <a:pt x="86868" y="125825"/>
                  </a:lnTo>
                  <a:lnTo>
                    <a:pt x="142018" y="206121"/>
                  </a:lnTo>
                  <a:lnTo>
                    <a:pt x="202216" y="206121"/>
                  </a:lnTo>
                  <a:lnTo>
                    <a:pt x="120301" y="86963"/>
                  </a:lnTo>
                  <a:close/>
                  <a:moveTo>
                    <a:pt x="95917" y="115824"/>
                  </a:moveTo>
                  <a:lnTo>
                    <a:pt x="87916" y="104394"/>
                  </a:lnTo>
                  <a:lnTo>
                    <a:pt x="24194" y="13335"/>
                  </a:lnTo>
                  <a:lnTo>
                    <a:pt x="51625" y="13335"/>
                  </a:lnTo>
                  <a:lnTo>
                    <a:pt x="102680" y="86582"/>
                  </a:lnTo>
                  <a:lnTo>
                    <a:pt x="110681" y="98107"/>
                  </a:lnTo>
                  <a:lnTo>
                    <a:pt x="177356" y="193358"/>
                  </a:lnTo>
                  <a:lnTo>
                    <a:pt x="150305" y="193358"/>
                  </a:lnTo>
                  <a:lnTo>
                    <a:pt x="95822" y="11544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sz="1100"/>
            </a:p>
          </p:txBody>
        </p:sp>
        <p:sp>
          <p:nvSpPr>
            <p:cNvPr id="46" name="Chevron 11">
              <a:extLst>
                <a:ext uri="{FF2B5EF4-FFF2-40B4-BE49-F238E27FC236}">
                  <a16:creationId xmlns:a16="http://schemas.microsoft.com/office/drawing/2014/main" id="{FC5FC3B8-CCE6-DF63-B556-DF4B8E4EEC7E}"/>
                </a:ext>
              </a:extLst>
            </p:cNvPr>
            <p:cNvSpPr/>
            <p:nvPr/>
          </p:nvSpPr>
          <p:spPr>
            <a:xfrm>
              <a:off x="10415920" y="2776981"/>
              <a:ext cx="1905000" cy="457200"/>
            </a:xfrm>
            <a:custGeom>
              <a:avLst/>
              <a:gdLst/>
              <a:ahLst/>
              <a:cxnLst/>
              <a:rect l="l" t="t" r="r" b="b"/>
              <a:pathLst>
                <a:path w="1905000" h="484632">
                  <a:moveTo>
                    <a:pt x="0" y="0"/>
                  </a:moveTo>
                  <a:lnTo>
                    <a:pt x="1905000" y="0"/>
                  </a:lnTo>
                  <a:lnTo>
                    <a:pt x="1905000" y="484632"/>
                  </a:lnTo>
                  <a:lnTo>
                    <a:pt x="0" y="484632"/>
                  </a:lnTo>
                  <a:lnTo>
                    <a:pt x="140718" y="242316"/>
                  </a:lnTo>
                  <a:close/>
                </a:path>
              </a:pathLst>
            </a:custGeom>
            <a:solidFill>
              <a:schemeClr val="bg1"/>
            </a:solidFill>
            <a:ln w="3175" cmpd="sng">
              <a:noFill/>
            </a:ln>
            <a:effectLst>
              <a:outerShdw blurRad="1016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29" tIns="45714" rIns="182880" bIns="45714" rtlCol="0" anchor="ctr"/>
            <a:lstStyle/>
            <a:p>
              <a:pPr algn="r"/>
              <a:r>
                <a:rPr lang="en-US" sz="1050" dirty="0">
                  <a:solidFill>
                    <a:schemeClr val="tx1"/>
                  </a:solidFill>
                  <a:cs typeface="+mj-cs"/>
                </a:rPr>
                <a:t>#hashtag</a:t>
              </a: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A8BBCD41-A251-DD39-27C9-1F503A855476}"/>
                </a:ext>
              </a:extLst>
            </p:cNvPr>
            <p:cNvSpPr/>
            <p:nvPr/>
          </p:nvSpPr>
          <p:spPr>
            <a:xfrm>
              <a:off x="10735361" y="2902522"/>
              <a:ext cx="202215" cy="206120"/>
            </a:xfrm>
            <a:custGeom>
              <a:avLst/>
              <a:gdLst>
                <a:gd name="connsiteX0" fmla="*/ 120301 w 202215"/>
                <a:gd name="connsiteY0" fmla="*/ 87249 h 206120"/>
                <a:gd name="connsiteX1" fmla="*/ 195643 w 202215"/>
                <a:gd name="connsiteY1" fmla="*/ 0 h 206120"/>
                <a:gd name="connsiteX2" fmla="*/ 177736 w 202215"/>
                <a:gd name="connsiteY2" fmla="*/ 0 h 206120"/>
                <a:gd name="connsiteX3" fmla="*/ 112205 w 202215"/>
                <a:gd name="connsiteY3" fmla="*/ 76200 h 206120"/>
                <a:gd name="connsiteX4" fmla="*/ 60008 w 202215"/>
                <a:gd name="connsiteY4" fmla="*/ 0 h 206120"/>
                <a:gd name="connsiteX5" fmla="*/ 0 w 202215"/>
                <a:gd name="connsiteY5" fmla="*/ 0 h 206120"/>
                <a:gd name="connsiteX6" fmla="*/ 78867 w 202215"/>
                <a:gd name="connsiteY6" fmla="*/ 114300 h 206120"/>
                <a:gd name="connsiteX7" fmla="*/ 0 w 202215"/>
                <a:gd name="connsiteY7" fmla="*/ 206121 h 206120"/>
                <a:gd name="connsiteX8" fmla="*/ 17812 w 202215"/>
                <a:gd name="connsiteY8" fmla="*/ 206121 h 206120"/>
                <a:gd name="connsiteX9" fmla="*/ 86868 w 202215"/>
                <a:gd name="connsiteY9" fmla="*/ 125825 h 206120"/>
                <a:gd name="connsiteX10" fmla="*/ 142018 w 202215"/>
                <a:gd name="connsiteY10" fmla="*/ 206121 h 206120"/>
                <a:gd name="connsiteX11" fmla="*/ 202216 w 202215"/>
                <a:gd name="connsiteY11" fmla="*/ 206121 h 206120"/>
                <a:gd name="connsiteX12" fmla="*/ 120301 w 202215"/>
                <a:gd name="connsiteY12" fmla="*/ 86963 h 206120"/>
                <a:gd name="connsiteX13" fmla="*/ 95917 w 202215"/>
                <a:gd name="connsiteY13" fmla="*/ 115824 h 206120"/>
                <a:gd name="connsiteX14" fmla="*/ 87916 w 202215"/>
                <a:gd name="connsiteY14" fmla="*/ 104394 h 206120"/>
                <a:gd name="connsiteX15" fmla="*/ 24194 w 202215"/>
                <a:gd name="connsiteY15" fmla="*/ 13335 h 206120"/>
                <a:gd name="connsiteX16" fmla="*/ 51625 w 202215"/>
                <a:gd name="connsiteY16" fmla="*/ 13335 h 206120"/>
                <a:gd name="connsiteX17" fmla="*/ 102680 w 202215"/>
                <a:gd name="connsiteY17" fmla="*/ 86582 h 206120"/>
                <a:gd name="connsiteX18" fmla="*/ 110681 w 202215"/>
                <a:gd name="connsiteY18" fmla="*/ 98107 h 206120"/>
                <a:gd name="connsiteX19" fmla="*/ 177356 w 202215"/>
                <a:gd name="connsiteY19" fmla="*/ 193358 h 206120"/>
                <a:gd name="connsiteX20" fmla="*/ 150305 w 202215"/>
                <a:gd name="connsiteY20" fmla="*/ 193358 h 206120"/>
                <a:gd name="connsiteX21" fmla="*/ 95822 w 202215"/>
                <a:gd name="connsiteY21" fmla="*/ 115443 h 20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2215" h="206120">
                  <a:moveTo>
                    <a:pt x="120301" y="87249"/>
                  </a:moveTo>
                  <a:lnTo>
                    <a:pt x="195643" y="0"/>
                  </a:lnTo>
                  <a:lnTo>
                    <a:pt x="177736" y="0"/>
                  </a:lnTo>
                  <a:lnTo>
                    <a:pt x="112205" y="76200"/>
                  </a:lnTo>
                  <a:lnTo>
                    <a:pt x="60008" y="0"/>
                  </a:lnTo>
                  <a:lnTo>
                    <a:pt x="0" y="0"/>
                  </a:lnTo>
                  <a:lnTo>
                    <a:pt x="78867" y="114300"/>
                  </a:lnTo>
                  <a:lnTo>
                    <a:pt x="0" y="206121"/>
                  </a:lnTo>
                  <a:lnTo>
                    <a:pt x="17812" y="206121"/>
                  </a:lnTo>
                  <a:lnTo>
                    <a:pt x="86868" y="125825"/>
                  </a:lnTo>
                  <a:lnTo>
                    <a:pt x="142018" y="206121"/>
                  </a:lnTo>
                  <a:lnTo>
                    <a:pt x="202216" y="206121"/>
                  </a:lnTo>
                  <a:lnTo>
                    <a:pt x="120301" y="86963"/>
                  </a:lnTo>
                  <a:close/>
                  <a:moveTo>
                    <a:pt x="95917" y="115824"/>
                  </a:moveTo>
                  <a:lnTo>
                    <a:pt x="87916" y="104394"/>
                  </a:lnTo>
                  <a:lnTo>
                    <a:pt x="24194" y="13335"/>
                  </a:lnTo>
                  <a:lnTo>
                    <a:pt x="51625" y="13335"/>
                  </a:lnTo>
                  <a:lnTo>
                    <a:pt x="102680" y="86582"/>
                  </a:lnTo>
                  <a:lnTo>
                    <a:pt x="110681" y="98107"/>
                  </a:lnTo>
                  <a:lnTo>
                    <a:pt x="177356" y="193358"/>
                  </a:lnTo>
                  <a:lnTo>
                    <a:pt x="150305" y="193358"/>
                  </a:lnTo>
                  <a:lnTo>
                    <a:pt x="95822" y="115443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sz="1100"/>
            </a:p>
          </p:txBody>
        </p:sp>
        <p:sp>
          <p:nvSpPr>
            <p:cNvPr id="48" name="Chevron 11">
              <a:extLst>
                <a:ext uri="{FF2B5EF4-FFF2-40B4-BE49-F238E27FC236}">
                  <a16:creationId xmlns:a16="http://schemas.microsoft.com/office/drawing/2014/main" id="{9024058B-0FB7-87B3-87DF-A06D40B41218}"/>
                </a:ext>
              </a:extLst>
            </p:cNvPr>
            <p:cNvSpPr/>
            <p:nvPr/>
          </p:nvSpPr>
          <p:spPr>
            <a:xfrm>
              <a:off x="10415920" y="3402714"/>
              <a:ext cx="1905000" cy="457200"/>
            </a:xfrm>
            <a:custGeom>
              <a:avLst/>
              <a:gdLst/>
              <a:ahLst/>
              <a:cxnLst/>
              <a:rect l="l" t="t" r="r" b="b"/>
              <a:pathLst>
                <a:path w="1905000" h="484632">
                  <a:moveTo>
                    <a:pt x="0" y="0"/>
                  </a:moveTo>
                  <a:lnTo>
                    <a:pt x="1905000" y="0"/>
                  </a:lnTo>
                  <a:lnTo>
                    <a:pt x="1905000" y="484632"/>
                  </a:lnTo>
                  <a:lnTo>
                    <a:pt x="0" y="484632"/>
                  </a:lnTo>
                  <a:lnTo>
                    <a:pt x="140718" y="24231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6"/>
                </a:gs>
                <a:gs pos="100000">
                  <a:schemeClr val="accent3"/>
                </a:gs>
              </a:gsLst>
              <a:lin ang="144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Ins="182880" rtlCol="0" anchor="ctr"/>
            <a:lstStyle/>
            <a:p>
              <a:pPr algn="r"/>
              <a:r>
                <a:rPr lang="en-US" sz="1050" dirty="0">
                  <a:solidFill>
                    <a:schemeClr val="bg1"/>
                  </a:solidFill>
                  <a:cs typeface="+mj-cs"/>
                </a:rPr>
                <a:t>#hashtag</a:t>
              </a: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C45EB9A-FE6F-8A88-62F0-9F70A59385AF}"/>
                </a:ext>
              </a:extLst>
            </p:cNvPr>
            <p:cNvSpPr/>
            <p:nvPr/>
          </p:nvSpPr>
          <p:spPr>
            <a:xfrm>
              <a:off x="10735361" y="3528256"/>
              <a:ext cx="202215" cy="206120"/>
            </a:xfrm>
            <a:custGeom>
              <a:avLst/>
              <a:gdLst>
                <a:gd name="connsiteX0" fmla="*/ 120301 w 202215"/>
                <a:gd name="connsiteY0" fmla="*/ 87249 h 206120"/>
                <a:gd name="connsiteX1" fmla="*/ 195643 w 202215"/>
                <a:gd name="connsiteY1" fmla="*/ 0 h 206120"/>
                <a:gd name="connsiteX2" fmla="*/ 177736 w 202215"/>
                <a:gd name="connsiteY2" fmla="*/ 0 h 206120"/>
                <a:gd name="connsiteX3" fmla="*/ 112205 w 202215"/>
                <a:gd name="connsiteY3" fmla="*/ 76200 h 206120"/>
                <a:gd name="connsiteX4" fmla="*/ 60008 w 202215"/>
                <a:gd name="connsiteY4" fmla="*/ 0 h 206120"/>
                <a:gd name="connsiteX5" fmla="*/ 0 w 202215"/>
                <a:gd name="connsiteY5" fmla="*/ 0 h 206120"/>
                <a:gd name="connsiteX6" fmla="*/ 78867 w 202215"/>
                <a:gd name="connsiteY6" fmla="*/ 114300 h 206120"/>
                <a:gd name="connsiteX7" fmla="*/ 0 w 202215"/>
                <a:gd name="connsiteY7" fmla="*/ 206121 h 206120"/>
                <a:gd name="connsiteX8" fmla="*/ 17812 w 202215"/>
                <a:gd name="connsiteY8" fmla="*/ 206121 h 206120"/>
                <a:gd name="connsiteX9" fmla="*/ 86868 w 202215"/>
                <a:gd name="connsiteY9" fmla="*/ 125825 h 206120"/>
                <a:gd name="connsiteX10" fmla="*/ 142018 w 202215"/>
                <a:gd name="connsiteY10" fmla="*/ 206121 h 206120"/>
                <a:gd name="connsiteX11" fmla="*/ 202216 w 202215"/>
                <a:gd name="connsiteY11" fmla="*/ 206121 h 206120"/>
                <a:gd name="connsiteX12" fmla="*/ 120301 w 202215"/>
                <a:gd name="connsiteY12" fmla="*/ 86963 h 206120"/>
                <a:gd name="connsiteX13" fmla="*/ 95917 w 202215"/>
                <a:gd name="connsiteY13" fmla="*/ 115824 h 206120"/>
                <a:gd name="connsiteX14" fmla="*/ 87916 w 202215"/>
                <a:gd name="connsiteY14" fmla="*/ 104394 h 206120"/>
                <a:gd name="connsiteX15" fmla="*/ 24194 w 202215"/>
                <a:gd name="connsiteY15" fmla="*/ 13335 h 206120"/>
                <a:gd name="connsiteX16" fmla="*/ 51625 w 202215"/>
                <a:gd name="connsiteY16" fmla="*/ 13335 h 206120"/>
                <a:gd name="connsiteX17" fmla="*/ 102680 w 202215"/>
                <a:gd name="connsiteY17" fmla="*/ 86582 h 206120"/>
                <a:gd name="connsiteX18" fmla="*/ 110681 w 202215"/>
                <a:gd name="connsiteY18" fmla="*/ 98107 h 206120"/>
                <a:gd name="connsiteX19" fmla="*/ 177356 w 202215"/>
                <a:gd name="connsiteY19" fmla="*/ 193358 h 206120"/>
                <a:gd name="connsiteX20" fmla="*/ 150305 w 202215"/>
                <a:gd name="connsiteY20" fmla="*/ 193358 h 206120"/>
                <a:gd name="connsiteX21" fmla="*/ 95822 w 202215"/>
                <a:gd name="connsiteY21" fmla="*/ 115443 h 206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02215" h="206120">
                  <a:moveTo>
                    <a:pt x="120301" y="87249"/>
                  </a:moveTo>
                  <a:lnTo>
                    <a:pt x="195643" y="0"/>
                  </a:lnTo>
                  <a:lnTo>
                    <a:pt x="177736" y="0"/>
                  </a:lnTo>
                  <a:lnTo>
                    <a:pt x="112205" y="76200"/>
                  </a:lnTo>
                  <a:lnTo>
                    <a:pt x="60008" y="0"/>
                  </a:lnTo>
                  <a:lnTo>
                    <a:pt x="0" y="0"/>
                  </a:lnTo>
                  <a:lnTo>
                    <a:pt x="78867" y="114300"/>
                  </a:lnTo>
                  <a:lnTo>
                    <a:pt x="0" y="206121"/>
                  </a:lnTo>
                  <a:lnTo>
                    <a:pt x="17812" y="206121"/>
                  </a:lnTo>
                  <a:lnTo>
                    <a:pt x="86868" y="125825"/>
                  </a:lnTo>
                  <a:lnTo>
                    <a:pt x="142018" y="206121"/>
                  </a:lnTo>
                  <a:lnTo>
                    <a:pt x="202216" y="206121"/>
                  </a:lnTo>
                  <a:lnTo>
                    <a:pt x="120301" y="86963"/>
                  </a:lnTo>
                  <a:close/>
                  <a:moveTo>
                    <a:pt x="95917" y="115824"/>
                  </a:moveTo>
                  <a:lnTo>
                    <a:pt x="87916" y="104394"/>
                  </a:lnTo>
                  <a:lnTo>
                    <a:pt x="24194" y="13335"/>
                  </a:lnTo>
                  <a:lnTo>
                    <a:pt x="51625" y="13335"/>
                  </a:lnTo>
                  <a:lnTo>
                    <a:pt x="102680" y="86582"/>
                  </a:lnTo>
                  <a:lnTo>
                    <a:pt x="110681" y="98107"/>
                  </a:lnTo>
                  <a:lnTo>
                    <a:pt x="177356" y="193358"/>
                  </a:lnTo>
                  <a:lnTo>
                    <a:pt x="150305" y="193358"/>
                  </a:lnTo>
                  <a:lnTo>
                    <a:pt x="95822" y="11544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sz="1100"/>
            </a:p>
          </p:txBody>
        </p:sp>
      </p:grpSp>
    </p:spTree>
    <p:extLst>
      <p:ext uri="{BB962C8B-B14F-4D97-AF65-F5344CB8AC3E}">
        <p14:creationId xmlns:p14="http://schemas.microsoft.com/office/powerpoint/2010/main" val="7049743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A084CAEC-B9A5-EC1A-C27D-D9CB801112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43454" y="2946241"/>
            <a:ext cx="266700" cy="74295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B8F4B026-34E2-AB10-380D-7524046612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407569" y="4705350"/>
            <a:ext cx="904875" cy="108585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888FB8CD-7D02-4137-ACD7-0B7C55AA27F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0546" y="4619625"/>
            <a:ext cx="1114425" cy="12573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FEFBEA33-AD2D-E62C-10F3-3CEF44D4624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424383" y="2998629"/>
            <a:ext cx="666750" cy="63817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AB06ACCC-5402-1EF7-ACE9-A42D1EB768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046335" y="2784316"/>
            <a:ext cx="1028700" cy="10668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5523E105-D50D-EB12-AC10-094208F7FED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046335" y="4767263"/>
            <a:ext cx="1028700" cy="962025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FD72F92F-927D-628D-A817-E479502FC22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830502" y="2770029"/>
            <a:ext cx="1047750" cy="1095375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9991FB35-CEBB-877C-7656-6060CED5A9D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973377" y="4738688"/>
            <a:ext cx="762000" cy="1019175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1B62C64F-658F-5924-DBFE-AF30E8DD422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455194" y="2731929"/>
            <a:ext cx="809625" cy="1171575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8CA1DAE1-01FD-BFBB-44C4-94865C594FC8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519579" y="4600575"/>
            <a:ext cx="1314450" cy="1295400"/>
          </a:xfrm>
          <a:prstGeom prst="rect">
            <a:avLst/>
          </a:prstGeom>
        </p:spPr>
      </p:pic>
      <p:sp>
        <p:nvSpPr>
          <p:cNvPr id="24" name="Freeform 13">
            <a:extLst>
              <a:ext uri="{FF2B5EF4-FFF2-40B4-BE49-F238E27FC236}">
                <a16:creationId xmlns:a16="http://schemas.microsoft.com/office/drawing/2014/main" id="{51946189-AA38-3E6F-7B29-3E34B8A02E64}"/>
              </a:ext>
            </a:extLst>
          </p:cNvPr>
          <p:cNvSpPr>
            <a:spLocks/>
          </p:cNvSpPr>
          <p:nvPr/>
        </p:nvSpPr>
        <p:spPr bwMode="auto">
          <a:xfrm>
            <a:off x="5554269" y="800278"/>
            <a:ext cx="310349" cy="1233377"/>
          </a:xfrm>
          <a:custGeom>
            <a:avLst/>
            <a:gdLst>
              <a:gd name="T0" fmla="*/ 445 w 445"/>
              <a:gd name="T1" fmla="*/ 56 h 1767"/>
              <a:gd name="T2" fmla="*/ 399 w 445"/>
              <a:gd name="T3" fmla="*/ 0 h 1767"/>
              <a:gd name="T4" fmla="*/ 46 w 445"/>
              <a:gd name="T5" fmla="*/ 0 h 1767"/>
              <a:gd name="T6" fmla="*/ 0 w 445"/>
              <a:gd name="T7" fmla="*/ 56 h 1767"/>
              <a:gd name="T8" fmla="*/ 43 w 445"/>
              <a:gd name="T9" fmla="*/ 112 h 1767"/>
              <a:gd name="T10" fmla="*/ 43 w 445"/>
              <a:gd name="T11" fmla="*/ 1582 h 1767"/>
              <a:gd name="T12" fmla="*/ 227 w 445"/>
              <a:gd name="T13" fmla="*/ 1767 h 1767"/>
              <a:gd name="T14" fmla="*/ 412 w 445"/>
              <a:gd name="T15" fmla="*/ 1582 h 1767"/>
              <a:gd name="T16" fmla="*/ 412 w 445"/>
              <a:gd name="T17" fmla="*/ 110 h 1767"/>
              <a:gd name="T18" fmla="*/ 445 w 445"/>
              <a:gd name="T19" fmla="*/ 56 h 1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5" h="1767">
                <a:moveTo>
                  <a:pt x="445" y="56"/>
                </a:moveTo>
                <a:cubicBezTo>
                  <a:pt x="445" y="25"/>
                  <a:pt x="424" y="0"/>
                  <a:pt x="399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20" y="0"/>
                  <a:pt x="0" y="25"/>
                  <a:pt x="0" y="56"/>
                </a:cubicBezTo>
                <a:cubicBezTo>
                  <a:pt x="0" y="86"/>
                  <a:pt x="19" y="111"/>
                  <a:pt x="43" y="112"/>
                </a:cubicBezTo>
                <a:cubicBezTo>
                  <a:pt x="43" y="1582"/>
                  <a:pt x="43" y="1582"/>
                  <a:pt x="43" y="1582"/>
                </a:cubicBezTo>
                <a:cubicBezTo>
                  <a:pt x="43" y="1684"/>
                  <a:pt x="126" y="1767"/>
                  <a:pt x="227" y="1767"/>
                </a:cubicBezTo>
                <a:cubicBezTo>
                  <a:pt x="329" y="1767"/>
                  <a:pt x="412" y="1684"/>
                  <a:pt x="412" y="1582"/>
                </a:cubicBezTo>
                <a:cubicBezTo>
                  <a:pt x="412" y="110"/>
                  <a:pt x="412" y="110"/>
                  <a:pt x="412" y="110"/>
                </a:cubicBezTo>
                <a:cubicBezTo>
                  <a:pt x="431" y="103"/>
                  <a:pt x="445" y="82"/>
                  <a:pt x="445" y="56"/>
                </a:cubicBezTo>
                <a:close/>
              </a:path>
            </a:pathLst>
          </a:custGeom>
          <a:noFill/>
          <a:ln w="66675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" name="Freeform 14">
            <a:extLst>
              <a:ext uri="{FF2B5EF4-FFF2-40B4-BE49-F238E27FC236}">
                <a16:creationId xmlns:a16="http://schemas.microsoft.com/office/drawing/2014/main" id="{4614B876-8B27-BE3A-0067-C6DF0E3F6BAE}"/>
              </a:ext>
            </a:extLst>
          </p:cNvPr>
          <p:cNvSpPr>
            <a:spLocks/>
          </p:cNvSpPr>
          <p:nvPr/>
        </p:nvSpPr>
        <p:spPr bwMode="auto">
          <a:xfrm>
            <a:off x="6630076" y="799075"/>
            <a:ext cx="874109" cy="1235782"/>
          </a:xfrm>
          <a:custGeom>
            <a:avLst/>
            <a:gdLst>
              <a:gd name="T0" fmla="*/ 831 w 1254"/>
              <a:gd name="T1" fmla="*/ 738 h 1770"/>
              <a:gd name="T2" fmla="*/ 831 w 1254"/>
              <a:gd name="T3" fmla="*/ 101 h 1770"/>
              <a:gd name="T4" fmla="*/ 850 w 1254"/>
              <a:gd name="T5" fmla="*/ 56 h 1770"/>
              <a:gd name="T6" fmla="*/ 804 w 1254"/>
              <a:gd name="T7" fmla="*/ 0 h 1770"/>
              <a:gd name="T8" fmla="*/ 450 w 1254"/>
              <a:gd name="T9" fmla="*/ 0 h 1770"/>
              <a:gd name="T10" fmla="*/ 404 w 1254"/>
              <a:gd name="T11" fmla="*/ 56 h 1770"/>
              <a:gd name="T12" fmla="*/ 423 w 1254"/>
              <a:gd name="T13" fmla="*/ 101 h 1770"/>
              <a:gd name="T14" fmla="*/ 423 w 1254"/>
              <a:gd name="T15" fmla="*/ 738 h 1770"/>
              <a:gd name="T16" fmla="*/ 0 w 1254"/>
              <a:gd name="T17" fmla="*/ 1272 h 1770"/>
              <a:gd name="T18" fmla="*/ 331 w 1254"/>
              <a:gd name="T19" fmla="*/ 1770 h 1770"/>
              <a:gd name="T20" fmla="*/ 923 w 1254"/>
              <a:gd name="T21" fmla="*/ 1770 h 1770"/>
              <a:gd name="T22" fmla="*/ 1254 w 1254"/>
              <a:gd name="T23" fmla="*/ 1272 h 1770"/>
              <a:gd name="T24" fmla="*/ 831 w 1254"/>
              <a:gd name="T25" fmla="*/ 738 h 17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254" h="1770">
                <a:moveTo>
                  <a:pt x="831" y="738"/>
                </a:moveTo>
                <a:cubicBezTo>
                  <a:pt x="831" y="101"/>
                  <a:pt x="831" y="101"/>
                  <a:pt x="831" y="101"/>
                </a:cubicBezTo>
                <a:cubicBezTo>
                  <a:pt x="842" y="91"/>
                  <a:pt x="850" y="74"/>
                  <a:pt x="850" y="56"/>
                </a:cubicBezTo>
                <a:cubicBezTo>
                  <a:pt x="850" y="25"/>
                  <a:pt x="829" y="0"/>
                  <a:pt x="804" y="0"/>
                </a:cubicBezTo>
                <a:cubicBezTo>
                  <a:pt x="450" y="0"/>
                  <a:pt x="450" y="0"/>
                  <a:pt x="450" y="0"/>
                </a:cubicBezTo>
                <a:cubicBezTo>
                  <a:pt x="425" y="0"/>
                  <a:pt x="404" y="25"/>
                  <a:pt x="404" y="56"/>
                </a:cubicBezTo>
                <a:cubicBezTo>
                  <a:pt x="404" y="74"/>
                  <a:pt x="412" y="91"/>
                  <a:pt x="423" y="101"/>
                </a:cubicBezTo>
                <a:cubicBezTo>
                  <a:pt x="423" y="738"/>
                  <a:pt x="423" y="738"/>
                  <a:pt x="423" y="738"/>
                </a:cubicBezTo>
                <a:cubicBezTo>
                  <a:pt x="177" y="814"/>
                  <a:pt x="0" y="1024"/>
                  <a:pt x="0" y="1272"/>
                </a:cubicBezTo>
                <a:cubicBezTo>
                  <a:pt x="0" y="1488"/>
                  <a:pt x="134" y="1675"/>
                  <a:pt x="331" y="1770"/>
                </a:cubicBezTo>
                <a:cubicBezTo>
                  <a:pt x="923" y="1770"/>
                  <a:pt x="923" y="1770"/>
                  <a:pt x="923" y="1770"/>
                </a:cubicBezTo>
                <a:cubicBezTo>
                  <a:pt x="1120" y="1675"/>
                  <a:pt x="1254" y="1488"/>
                  <a:pt x="1254" y="1272"/>
                </a:cubicBezTo>
                <a:cubicBezTo>
                  <a:pt x="1254" y="1024"/>
                  <a:pt x="1077" y="814"/>
                  <a:pt x="831" y="738"/>
                </a:cubicBezTo>
                <a:close/>
              </a:path>
            </a:pathLst>
          </a:custGeom>
          <a:noFill/>
          <a:ln w="66675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Freeform 15">
            <a:extLst>
              <a:ext uri="{FF2B5EF4-FFF2-40B4-BE49-F238E27FC236}">
                <a16:creationId xmlns:a16="http://schemas.microsoft.com/office/drawing/2014/main" id="{B4337C83-EA41-62CE-D697-F69C1978A8FC}"/>
              </a:ext>
            </a:extLst>
          </p:cNvPr>
          <p:cNvSpPr>
            <a:spLocks/>
          </p:cNvSpPr>
          <p:nvPr/>
        </p:nvSpPr>
        <p:spPr bwMode="auto">
          <a:xfrm>
            <a:off x="8269644" y="824336"/>
            <a:ext cx="1092236" cy="1185261"/>
          </a:xfrm>
          <a:custGeom>
            <a:avLst/>
            <a:gdLst>
              <a:gd name="T0" fmla="*/ 1502 w 1567"/>
              <a:gd name="T1" fmla="*/ 1494 h 1698"/>
              <a:gd name="T2" fmla="*/ 1006 w 1567"/>
              <a:gd name="T3" fmla="*/ 635 h 1698"/>
              <a:gd name="T4" fmla="*/ 1006 w 1567"/>
              <a:gd name="T5" fmla="*/ 112 h 1698"/>
              <a:gd name="T6" fmla="*/ 1057 w 1567"/>
              <a:gd name="T7" fmla="*/ 56 h 1698"/>
              <a:gd name="T8" fmla="*/ 1000 w 1567"/>
              <a:gd name="T9" fmla="*/ 0 h 1698"/>
              <a:gd name="T10" fmla="*/ 567 w 1567"/>
              <a:gd name="T11" fmla="*/ 0 h 1698"/>
              <a:gd name="T12" fmla="*/ 510 w 1567"/>
              <a:gd name="T13" fmla="*/ 56 h 1698"/>
              <a:gd name="T14" fmla="*/ 561 w 1567"/>
              <a:gd name="T15" fmla="*/ 112 h 1698"/>
              <a:gd name="T16" fmla="*/ 561 w 1567"/>
              <a:gd name="T17" fmla="*/ 635 h 1698"/>
              <a:gd name="T18" fmla="*/ 65 w 1567"/>
              <a:gd name="T19" fmla="*/ 1494 h 1698"/>
              <a:gd name="T20" fmla="*/ 183 w 1567"/>
              <a:gd name="T21" fmla="*/ 1698 h 1698"/>
              <a:gd name="T22" fmla="*/ 1384 w 1567"/>
              <a:gd name="T23" fmla="*/ 1698 h 1698"/>
              <a:gd name="T24" fmla="*/ 1502 w 1567"/>
              <a:gd name="T25" fmla="*/ 1494 h 16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567" h="1698">
                <a:moveTo>
                  <a:pt x="1502" y="1494"/>
                </a:moveTo>
                <a:cubicBezTo>
                  <a:pt x="1006" y="635"/>
                  <a:pt x="1006" y="635"/>
                  <a:pt x="1006" y="635"/>
                </a:cubicBezTo>
                <a:cubicBezTo>
                  <a:pt x="1006" y="112"/>
                  <a:pt x="1006" y="112"/>
                  <a:pt x="1006" y="112"/>
                </a:cubicBezTo>
                <a:cubicBezTo>
                  <a:pt x="1034" y="109"/>
                  <a:pt x="1057" y="85"/>
                  <a:pt x="1057" y="56"/>
                </a:cubicBezTo>
                <a:cubicBezTo>
                  <a:pt x="1057" y="25"/>
                  <a:pt x="1031" y="0"/>
                  <a:pt x="1000" y="0"/>
                </a:cubicBezTo>
                <a:cubicBezTo>
                  <a:pt x="567" y="0"/>
                  <a:pt x="567" y="0"/>
                  <a:pt x="567" y="0"/>
                </a:cubicBezTo>
                <a:cubicBezTo>
                  <a:pt x="535" y="0"/>
                  <a:pt x="510" y="25"/>
                  <a:pt x="510" y="56"/>
                </a:cubicBezTo>
                <a:cubicBezTo>
                  <a:pt x="510" y="85"/>
                  <a:pt x="532" y="109"/>
                  <a:pt x="561" y="112"/>
                </a:cubicBezTo>
                <a:cubicBezTo>
                  <a:pt x="561" y="635"/>
                  <a:pt x="561" y="635"/>
                  <a:pt x="561" y="635"/>
                </a:cubicBezTo>
                <a:cubicBezTo>
                  <a:pt x="65" y="1494"/>
                  <a:pt x="65" y="1494"/>
                  <a:pt x="65" y="1494"/>
                </a:cubicBezTo>
                <a:cubicBezTo>
                  <a:pt x="0" y="1606"/>
                  <a:pt x="53" y="1698"/>
                  <a:pt x="183" y="1698"/>
                </a:cubicBezTo>
                <a:cubicBezTo>
                  <a:pt x="1384" y="1698"/>
                  <a:pt x="1384" y="1698"/>
                  <a:pt x="1384" y="1698"/>
                </a:cubicBezTo>
                <a:cubicBezTo>
                  <a:pt x="1514" y="1698"/>
                  <a:pt x="1567" y="1606"/>
                  <a:pt x="1502" y="1494"/>
                </a:cubicBezTo>
                <a:close/>
              </a:path>
            </a:pathLst>
          </a:custGeom>
          <a:noFill/>
          <a:ln w="66675" cap="flat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Freeform 17">
            <a:extLst>
              <a:ext uri="{FF2B5EF4-FFF2-40B4-BE49-F238E27FC236}">
                <a16:creationId xmlns:a16="http://schemas.microsoft.com/office/drawing/2014/main" id="{3AF9F5DB-730E-276D-489C-1E04FB21D8D1}"/>
              </a:ext>
            </a:extLst>
          </p:cNvPr>
          <p:cNvSpPr>
            <a:spLocks/>
          </p:cNvSpPr>
          <p:nvPr/>
        </p:nvSpPr>
        <p:spPr bwMode="auto">
          <a:xfrm>
            <a:off x="10127339" y="824737"/>
            <a:ext cx="951897" cy="1184459"/>
          </a:xfrm>
          <a:custGeom>
            <a:avLst/>
            <a:gdLst>
              <a:gd name="T0" fmla="*/ 1330 w 1366"/>
              <a:gd name="T1" fmla="*/ 0 h 1697"/>
              <a:gd name="T2" fmla="*/ 1173 w 1366"/>
              <a:gd name="T3" fmla="*/ 0 h 1697"/>
              <a:gd name="T4" fmla="*/ 1120 w 1366"/>
              <a:gd name="T5" fmla="*/ 0 h 1697"/>
              <a:gd name="T6" fmla="*/ 361 w 1366"/>
              <a:gd name="T7" fmla="*/ 0 h 1697"/>
              <a:gd name="T8" fmla="*/ 332 w 1366"/>
              <a:gd name="T9" fmla="*/ 0 h 1697"/>
              <a:gd name="T10" fmla="*/ 36 w 1366"/>
              <a:gd name="T11" fmla="*/ 0 h 1697"/>
              <a:gd name="T12" fmla="*/ 15 w 1366"/>
              <a:gd name="T13" fmla="*/ 40 h 1697"/>
              <a:gd name="T14" fmla="*/ 212 w 1366"/>
              <a:gd name="T15" fmla="*/ 387 h 1697"/>
              <a:gd name="T16" fmla="*/ 212 w 1366"/>
              <a:gd name="T17" fmla="*/ 1577 h 1697"/>
              <a:gd name="T18" fmla="*/ 332 w 1366"/>
              <a:gd name="T19" fmla="*/ 1697 h 1697"/>
              <a:gd name="T20" fmla="*/ 1173 w 1366"/>
              <a:gd name="T21" fmla="*/ 1697 h 1697"/>
              <a:gd name="T22" fmla="*/ 1293 w 1366"/>
              <a:gd name="T23" fmla="*/ 1577 h 1697"/>
              <a:gd name="T24" fmla="*/ 1293 w 1366"/>
              <a:gd name="T25" fmla="*/ 197 h 1697"/>
              <a:gd name="T26" fmla="*/ 1351 w 1366"/>
              <a:gd name="T27" fmla="*/ 40 h 1697"/>
              <a:gd name="T28" fmla="*/ 1330 w 1366"/>
              <a:gd name="T29" fmla="*/ 0 h 1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366" h="1697">
                <a:moveTo>
                  <a:pt x="1330" y="0"/>
                </a:moveTo>
                <a:cubicBezTo>
                  <a:pt x="1173" y="0"/>
                  <a:pt x="1173" y="0"/>
                  <a:pt x="1173" y="0"/>
                </a:cubicBezTo>
                <a:cubicBezTo>
                  <a:pt x="1120" y="0"/>
                  <a:pt x="1120" y="0"/>
                  <a:pt x="1120" y="0"/>
                </a:cubicBezTo>
                <a:cubicBezTo>
                  <a:pt x="361" y="0"/>
                  <a:pt x="361" y="0"/>
                  <a:pt x="361" y="0"/>
                </a:cubicBezTo>
                <a:cubicBezTo>
                  <a:pt x="332" y="0"/>
                  <a:pt x="332" y="0"/>
                  <a:pt x="332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10" y="0"/>
                  <a:pt x="0" y="18"/>
                  <a:pt x="15" y="40"/>
                </a:cubicBezTo>
                <a:cubicBezTo>
                  <a:pt x="15" y="40"/>
                  <a:pt x="212" y="315"/>
                  <a:pt x="212" y="387"/>
                </a:cubicBezTo>
                <a:cubicBezTo>
                  <a:pt x="212" y="1577"/>
                  <a:pt x="212" y="1577"/>
                  <a:pt x="212" y="1577"/>
                </a:cubicBezTo>
                <a:cubicBezTo>
                  <a:pt x="212" y="1643"/>
                  <a:pt x="266" y="1697"/>
                  <a:pt x="332" y="1697"/>
                </a:cubicBezTo>
                <a:cubicBezTo>
                  <a:pt x="1173" y="1697"/>
                  <a:pt x="1173" y="1697"/>
                  <a:pt x="1173" y="1697"/>
                </a:cubicBezTo>
                <a:cubicBezTo>
                  <a:pt x="1239" y="1697"/>
                  <a:pt x="1293" y="1643"/>
                  <a:pt x="1293" y="1577"/>
                </a:cubicBezTo>
                <a:cubicBezTo>
                  <a:pt x="1293" y="197"/>
                  <a:pt x="1293" y="197"/>
                  <a:pt x="1293" y="197"/>
                </a:cubicBezTo>
                <a:cubicBezTo>
                  <a:pt x="1293" y="126"/>
                  <a:pt x="1351" y="40"/>
                  <a:pt x="1351" y="40"/>
                </a:cubicBezTo>
                <a:cubicBezTo>
                  <a:pt x="1366" y="18"/>
                  <a:pt x="1357" y="0"/>
                  <a:pt x="1330" y="0"/>
                </a:cubicBezTo>
                <a:close/>
              </a:path>
            </a:pathLst>
          </a:custGeom>
          <a:noFill/>
          <a:ln w="66675" cap="flat">
            <a:solidFill>
              <a:schemeClr val="accent6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83EECF5-2A9F-2921-8FC4-716B27490266}"/>
              </a:ext>
            </a:extLst>
          </p:cNvPr>
          <p:cNvSpPr/>
          <p:nvPr/>
        </p:nvSpPr>
        <p:spPr>
          <a:xfrm>
            <a:off x="0" y="0"/>
            <a:ext cx="4991100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cience Shapes </a:t>
            </a:r>
            <a:endParaRPr lang="en-C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89605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>
            <a:extLst>
              <a:ext uri="{FF2B5EF4-FFF2-40B4-BE49-F238E27FC236}">
                <a16:creationId xmlns:a16="http://schemas.microsoft.com/office/drawing/2014/main" id="{B2A626F4-AE96-7092-FA09-7EA3CF666517}"/>
              </a:ext>
            </a:extLst>
          </p:cNvPr>
          <p:cNvGrpSpPr/>
          <p:nvPr/>
        </p:nvGrpSpPr>
        <p:grpSpPr>
          <a:xfrm>
            <a:off x="854978" y="2174511"/>
            <a:ext cx="1338643" cy="2628500"/>
            <a:chOff x="1030312" y="2174511"/>
            <a:chExt cx="1338643" cy="2628500"/>
          </a:xfrm>
        </p:grpSpPr>
        <p:sp>
          <p:nvSpPr>
            <p:cNvPr id="3" name="Oval 6">
              <a:extLst>
                <a:ext uri="{FF2B5EF4-FFF2-40B4-BE49-F238E27FC236}">
                  <a16:creationId xmlns:a16="http://schemas.microsoft.com/office/drawing/2014/main" id="{60E0ABA7-A8B8-741A-A6EE-7CF764D3B8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6542" y="2174511"/>
              <a:ext cx="506184" cy="51533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24">
              <a:extLst>
                <a:ext uri="{FF2B5EF4-FFF2-40B4-BE49-F238E27FC236}">
                  <a16:creationId xmlns:a16="http://schemas.microsoft.com/office/drawing/2014/main" id="{F3943681-BAD0-535C-A959-EF53A2C253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312" y="2740157"/>
              <a:ext cx="1338643" cy="2062854"/>
            </a:xfrm>
            <a:custGeom>
              <a:avLst/>
              <a:gdLst>
                <a:gd name="T0" fmla="*/ 430 w 437"/>
                <a:gd name="T1" fmla="*/ 307 h 665"/>
                <a:gd name="T2" fmla="*/ 391 w 437"/>
                <a:gd name="T3" fmla="*/ 212 h 665"/>
                <a:gd name="T4" fmla="*/ 391 w 437"/>
                <a:gd name="T5" fmla="*/ 212 h 665"/>
                <a:gd name="T6" fmla="*/ 312 w 437"/>
                <a:gd name="T7" fmla="*/ 20 h 665"/>
                <a:gd name="T8" fmla="*/ 282 w 437"/>
                <a:gd name="T9" fmla="*/ 0 h 665"/>
                <a:gd name="T10" fmla="*/ 155 w 437"/>
                <a:gd name="T11" fmla="*/ 0 h 665"/>
                <a:gd name="T12" fmla="*/ 155 w 437"/>
                <a:gd name="T13" fmla="*/ 0 h 665"/>
                <a:gd name="T14" fmla="*/ 125 w 437"/>
                <a:gd name="T15" fmla="*/ 20 h 665"/>
                <a:gd name="T16" fmla="*/ 7 w 437"/>
                <a:gd name="T17" fmla="*/ 307 h 665"/>
                <a:gd name="T18" fmla="*/ 24 w 437"/>
                <a:gd name="T19" fmla="*/ 348 h 665"/>
                <a:gd name="T20" fmla="*/ 37 w 437"/>
                <a:gd name="T21" fmla="*/ 351 h 665"/>
                <a:gd name="T22" fmla="*/ 66 w 437"/>
                <a:gd name="T23" fmla="*/ 331 h 665"/>
                <a:gd name="T24" fmla="*/ 118 w 437"/>
                <a:gd name="T25" fmla="*/ 205 h 665"/>
                <a:gd name="T26" fmla="*/ 118 w 437"/>
                <a:gd name="T27" fmla="*/ 227 h 665"/>
                <a:gd name="T28" fmla="*/ 59 w 437"/>
                <a:gd name="T29" fmla="*/ 412 h 665"/>
                <a:gd name="T30" fmla="*/ 105 w 437"/>
                <a:gd name="T31" fmla="*/ 475 h 665"/>
                <a:gd name="T32" fmla="*/ 118 w 437"/>
                <a:gd name="T33" fmla="*/ 475 h 665"/>
                <a:gd name="T34" fmla="*/ 118 w 437"/>
                <a:gd name="T35" fmla="*/ 623 h 665"/>
                <a:gd name="T36" fmla="*/ 161 w 437"/>
                <a:gd name="T37" fmla="*/ 665 h 665"/>
                <a:gd name="T38" fmla="*/ 202 w 437"/>
                <a:gd name="T39" fmla="*/ 622 h 665"/>
                <a:gd name="T40" fmla="*/ 202 w 437"/>
                <a:gd name="T41" fmla="*/ 475 h 665"/>
                <a:gd name="T42" fmla="*/ 235 w 437"/>
                <a:gd name="T43" fmla="*/ 475 h 665"/>
                <a:gd name="T44" fmla="*/ 235 w 437"/>
                <a:gd name="T45" fmla="*/ 623 h 665"/>
                <a:gd name="T46" fmla="*/ 279 w 437"/>
                <a:gd name="T47" fmla="*/ 665 h 665"/>
                <a:gd name="T48" fmla="*/ 319 w 437"/>
                <a:gd name="T49" fmla="*/ 622 h 665"/>
                <a:gd name="T50" fmla="*/ 319 w 437"/>
                <a:gd name="T51" fmla="*/ 475 h 665"/>
                <a:gd name="T52" fmla="*/ 332 w 437"/>
                <a:gd name="T53" fmla="*/ 475 h 665"/>
                <a:gd name="T54" fmla="*/ 378 w 437"/>
                <a:gd name="T55" fmla="*/ 412 h 665"/>
                <a:gd name="T56" fmla="*/ 319 w 437"/>
                <a:gd name="T57" fmla="*/ 227 h 665"/>
                <a:gd name="T58" fmla="*/ 319 w 437"/>
                <a:gd name="T59" fmla="*/ 203 h 665"/>
                <a:gd name="T60" fmla="*/ 338 w 437"/>
                <a:gd name="T61" fmla="*/ 248 h 665"/>
                <a:gd name="T62" fmla="*/ 337 w 437"/>
                <a:gd name="T63" fmla="*/ 248 h 665"/>
                <a:gd name="T64" fmla="*/ 371 w 437"/>
                <a:gd name="T65" fmla="*/ 331 h 665"/>
                <a:gd name="T66" fmla="*/ 401 w 437"/>
                <a:gd name="T67" fmla="*/ 350 h 665"/>
                <a:gd name="T68" fmla="*/ 413 w 437"/>
                <a:gd name="T69" fmla="*/ 348 h 665"/>
                <a:gd name="T70" fmla="*/ 430 w 437"/>
                <a:gd name="T71" fmla="*/ 307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37" h="665">
                  <a:moveTo>
                    <a:pt x="430" y="307"/>
                  </a:moveTo>
                  <a:cubicBezTo>
                    <a:pt x="391" y="212"/>
                    <a:pt x="391" y="212"/>
                    <a:pt x="391" y="212"/>
                  </a:cubicBezTo>
                  <a:cubicBezTo>
                    <a:pt x="391" y="212"/>
                    <a:pt x="391" y="212"/>
                    <a:pt x="391" y="212"/>
                  </a:cubicBezTo>
                  <a:cubicBezTo>
                    <a:pt x="312" y="20"/>
                    <a:pt x="312" y="20"/>
                    <a:pt x="312" y="20"/>
                  </a:cubicBezTo>
                  <a:cubicBezTo>
                    <a:pt x="309" y="12"/>
                    <a:pt x="300" y="0"/>
                    <a:pt x="282" y="0"/>
                  </a:cubicBezTo>
                  <a:cubicBezTo>
                    <a:pt x="282" y="0"/>
                    <a:pt x="187" y="0"/>
                    <a:pt x="15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42" y="0"/>
                    <a:pt x="130" y="7"/>
                    <a:pt x="125" y="20"/>
                  </a:cubicBezTo>
                  <a:cubicBezTo>
                    <a:pt x="7" y="307"/>
                    <a:pt x="7" y="307"/>
                    <a:pt x="7" y="307"/>
                  </a:cubicBezTo>
                  <a:cubicBezTo>
                    <a:pt x="0" y="323"/>
                    <a:pt x="8" y="342"/>
                    <a:pt x="24" y="348"/>
                  </a:cubicBezTo>
                  <a:cubicBezTo>
                    <a:pt x="28" y="350"/>
                    <a:pt x="33" y="351"/>
                    <a:pt x="37" y="351"/>
                  </a:cubicBezTo>
                  <a:cubicBezTo>
                    <a:pt x="49" y="351"/>
                    <a:pt x="61" y="343"/>
                    <a:pt x="66" y="331"/>
                  </a:cubicBezTo>
                  <a:cubicBezTo>
                    <a:pt x="118" y="205"/>
                    <a:pt x="118" y="205"/>
                    <a:pt x="118" y="205"/>
                  </a:cubicBezTo>
                  <a:cubicBezTo>
                    <a:pt x="118" y="227"/>
                    <a:pt x="118" y="227"/>
                    <a:pt x="118" y="227"/>
                  </a:cubicBezTo>
                  <a:cubicBezTo>
                    <a:pt x="59" y="412"/>
                    <a:pt x="59" y="412"/>
                    <a:pt x="59" y="412"/>
                  </a:cubicBezTo>
                  <a:cubicBezTo>
                    <a:pt x="49" y="444"/>
                    <a:pt x="72" y="475"/>
                    <a:pt x="105" y="475"/>
                  </a:cubicBezTo>
                  <a:cubicBezTo>
                    <a:pt x="118" y="475"/>
                    <a:pt x="118" y="475"/>
                    <a:pt x="118" y="475"/>
                  </a:cubicBezTo>
                  <a:cubicBezTo>
                    <a:pt x="118" y="623"/>
                    <a:pt x="118" y="623"/>
                    <a:pt x="118" y="623"/>
                  </a:cubicBezTo>
                  <a:cubicBezTo>
                    <a:pt x="118" y="646"/>
                    <a:pt x="138" y="665"/>
                    <a:pt x="161" y="665"/>
                  </a:cubicBezTo>
                  <a:cubicBezTo>
                    <a:pt x="184" y="664"/>
                    <a:pt x="202" y="644"/>
                    <a:pt x="202" y="622"/>
                  </a:cubicBezTo>
                  <a:cubicBezTo>
                    <a:pt x="202" y="475"/>
                    <a:pt x="202" y="475"/>
                    <a:pt x="202" y="475"/>
                  </a:cubicBezTo>
                  <a:cubicBezTo>
                    <a:pt x="235" y="475"/>
                    <a:pt x="235" y="475"/>
                    <a:pt x="235" y="475"/>
                  </a:cubicBezTo>
                  <a:cubicBezTo>
                    <a:pt x="235" y="623"/>
                    <a:pt x="235" y="623"/>
                    <a:pt x="235" y="623"/>
                  </a:cubicBezTo>
                  <a:cubicBezTo>
                    <a:pt x="235" y="646"/>
                    <a:pt x="255" y="665"/>
                    <a:pt x="279" y="665"/>
                  </a:cubicBezTo>
                  <a:cubicBezTo>
                    <a:pt x="301" y="664"/>
                    <a:pt x="319" y="644"/>
                    <a:pt x="319" y="622"/>
                  </a:cubicBezTo>
                  <a:cubicBezTo>
                    <a:pt x="319" y="475"/>
                    <a:pt x="319" y="475"/>
                    <a:pt x="319" y="475"/>
                  </a:cubicBezTo>
                  <a:cubicBezTo>
                    <a:pt x="332" y="475"/>
                    <a:pt x="332" y="475"/>
                    <a:pt x="332" y="475"/>
                  </a:cubicBezTo>
                  <a:cubicBezTo>
                    <a:pt x="365" y="475"/>
                    <a:pt x="388" y="444"/>
                    <a:pt x="378" y="412"/>
                  </a:cubicBezTo>
                  <a:cubicBezTo>
                    <a:pt x="319" y="227"/>
                    <a:pt x="319" y="227"/>
                    <a:pt x="319" y="227"/>
                  </a:cubicBezTo>
                  <a:cubicBezTo>
                    <a:pt x="319" y="203"/>
                    <a:pt x="319" y="203"/>
                    <a:pt x="319" y="203"/>
                  </a:cubicBezTo>
                  <a:cubicBezTo>
                    <a:pt x="338" y="248"/>
                    <a:pt x="338" y="248"/>
                    <a:pt x="338" y="248"/>
                  </a:cubicBezTo>
                  <a:cubicBezTo>
                    <a:pt x="337" y="248"/>
                    <a:pt x="337" y="248"/>
                    <a:pt x="337" y="248"/>
                  </a:cubicBezTo>
                  <a:cubicBezTo>
                    <a:pt x="371" y="331"/>
                    <a:pt x="371" y="331"/>
                    <a:pt x="371" y="331"/>
                  </a:cubicBezTo>
                  <a:cubicBezTo>
                    <a:pt x="376" y="343"/>
                    <a:pt x="388" y="350"/>
                    <a:pt x="401" y="350"/>
                  </a:cubicBezTo>
                  <a:cubicBezTo>
                    <a:pt x="405" y="350"/>
                    <a:pt x="409" y="350"/>
                    <a:pt x="413" y="348"/>
                  </a:cubicBezTo>
                  <a:cubicBezTo>
                    <a:pt x="429" y="341"/>
                    <a:pt x="437" y="323"/>
                    <a:pt x="430" y="30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7899A3A-D9D9-5879-5263-EE451BA51744}"/>
              </a:ext>
            </a:extLst>
          </p:cNvPr>
          <p:cNvGrpSpPr/>
          <p:nvPr/>
        </p:nvGrpSpPr>
        <p:grpSpPr>
          <a:xfrm>
            <a:off x="2392290" y="2174511"/>
            <a:ext cx="1335594" cy="2628500"/>
            <a:chOff x="8287318" y="4739911"/>
            <a:chExt cx="2152487" cy="4236178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EC222181-2326-A1A3-0E0D-2B6C0A50E1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53212" y="4739911"/>
              <a:ext cx="820697" cy="83052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25">
              <a:extLst>
                <a:ext uri="{FF2B5EF4-FFF2-40B4-BE49-F238E27FC236}">
                  <a16:creationId xmlns:a16="http://schemas.microsoft.com/office/drawing/2014/main" id="{4AC82918-571A-B6F0-FA4A-EFB709E8D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7318" y="5651525"/>
              <a:ext cx="2152487" cy="3324564"/>
            </a:xfrm>
            <a:custGeom>
              <a:avLst/>
              <a:gdLst>
                <a:gd name="T0" fmla="*/ 429 w 436"/>
                <a:gd name="T1" fmla="*/ 307 h 665"/>
                <a:gd name="T2" fmla="*/ 389 w 436"/>
                <a:gd name="T3" fmla="*/ 210 h 665"/>
                <a:gd name="T4" fmla="*/ 311 w 436"/>
                <a:gd name="T5" fmla="*/ 20 h 665"/>
                <a:gd name="T6" fmla="*/ 282 w 436"/>
                <a:gd name="T7" fmla="*/ 0 h 665"/>
                <a:gd name="T8" fmla="*/ 281 w 436"/>
                <a:gd name="T9" fmla="*/ 0 h 665"/>
                <a:gd name="T10" fmla="*/ 155 w 436"/>
                <a:gd name="T11" fmla="*/ 0 h 665"/>
                <a:gd name="T12" fmla="*/ 154 w 436"/>
                <a:gd name="T13" fmla="*/ 0 h 665"/>
                <a:gd name="T14" fmla="*/ 125 w 436"/>
                <a:gd name="T15" fmla="*/ 20 h 665"/>
                <a:gd name="T16" fmla="*/ 29 w 436"/>
                <a:gd name="T17" fmla="*/ 251 h 665"/>
                <a:gd name="T18" fmla="*/ 29 w 436"/>
                <a:gd name="T19" fmla="*/ 251 h 665"/>
                <a:gd name="T20" fmla="*/ 7 w 436"/>
                <a:gd name="T21" fmla="*/ 307 h 665"/>
                <a:gd name="T22" fmla="*/ 24 w 436"/>
                <a:gd name="T23" fmla="*/ 348 h 665"/>
                <a:gd name="T24" fmla="*/ 29 w 436"/>
                <a:gd name="T25" fmla="*/ 350 h 665"/>
                <a:gd name="T26" fmla="*/ 29 w 436"/>
                <a:gd name="T27" fmla="*/ 350 h 665"/>
                <a:gd name="T28" fmla="*/ 36 w 436"/>
                <a:gd name="T29" fmla="*/ 351 h 665"/>
                <a:gd name="T30" fmla="*/ 65 w 436"/>
                <a:gd name="T31" fmla="*/ 331 h 665"/>
                <a:gd name="T32" fmla="*/ 65 w 436"/>
                <a:gd name="T33" fmla="*/ 331 h 665"/>
                <a:gd name="T34" fmla="*/ 65 w 436"/>
                <a:gd name="T35" fmla="*/ 331 h 665"/>
                <a:gd name="T36" fmla="*/ 99 w 436"/>
                <a:gd name="T37" fmla="*/ 248 h 665"/>
                <a:gd name="T38" fmla="*/ 99 w 436"/>
                <a:gd name="T39" fmla="*/ 248 h 665"/>
                <a:gd name="T40" fmla="*/ 118 w 436"/>
                <a:gd name="T41" fmla="*/ 204 h 665"/>
                <a:gd name="T42" fmla="*/ 118 w 436"/>
                <a:gd name="T43" fmla="*/ 623 h 665"/>
                <a:gd name="T44" fmla="*/ 161 w 436"/>
                <a:gd name="T45" fmla="*/ 665 h 665"/>
                <a:gd name="T46" fmla="*/ 201 w 436"/>
                <a:gd name="T47" fmla="*/ 622 h 665"/>
                <a:gd name="T48" fmla="*/ 201 w 436"/>
                <a:gd name="T49" fmla="*/ 396 h 665"/>
                <a:gd name="T50" fmla="*/ 217 w 436"/>
                <a:gd name="T51" fmla="*/ 378 h 665"/>
                <a:gd name="T52" fmla="*/ 235 w 436"/>
                <a:gd name="T53" fmla="*/ 395 h 665"/>
                <a:gd name="T54" fmla="*/ 235 w 436"/>
                <a:gd name="T55" fmla="*/ 623 h 665"/>
                <a:gd name="T56" fmla="*/ 278 w 436"/>
                <a:gd name="T57" fmla="*/ 665 h 665"/>
                <a:gd name="T58" fmla="*/ 318 w 436"/>
                <a:gd name="T59" fmla="*/ 622 h 665"/>
                <a:gd name="T60" fmla="*/ 318 w 436"/>
                <a:gd name="T61" fmla="*/ 205 h 665"/>
                <a:gd name="T62" fmla="*/ 370 w 436"/>
                <a:gd name="T63" fmla="*/ 331 h 665"/>
                <a:gd name="T64" fmla="*/ 400 w 436"/>
                <a:gd name="T65" fmla="*/ 351 h 665"/>
                <a:gd name="T66" fmla="*/ 412 w 436"/>
                <a:gd name="T67" fmla="*/ 348 h 665"/>
                <a:gd name="T68" fmla="*/ 429 w 436"/>
                <a:gd name="T69" fmla="*/ 307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36" h="665">
                  <a:moveTo>
                    <a:pt x="429" y="307"/>
                  </a:moveTo>
                  <a:cubicBezTo>
                    <a:pt x="389" y="210"/>
                    <a:pt x="389" y="210"/>
                    <a:pt x="389" y="210"/>
                  </a:cubicBezTo>
                  <a:cubicBezTo>
                    <a:pt x="311" y="20"/>
                    <a:pt x="311" y="20"/>
                    <a:pt x="311" y="20"/>
                  </a:cubicBezTo>
                  <a:cubicBezTo>
                    <a:pt x="306" y="7"/>
                    <a:pt x="294" y="0"/>
                    <a:pt x="282" y="0"/>
                  </a:cubicBezTo>
                  <a:cubicBezTo>
                    <a:pt x="281" y="0"/>
                    <a:pt x="281" y="0"/>
                    <a:pt x="281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4" y="0"/>
                    <a:pt x="154" y="0"/>
                    <a:pt x="154" y="0"/>
                  </a:cubicBezTo>
                  <a:cubicBezTo>
                    <a:pt x="142" y="0"/>
                    <a:pt x="130" y="7"/>
                    <a:pt x="125" y="20"/>
                  </a:cubicBezTo>
                  <a:cubicBezTo>
                    <a:pt x="29" y="251"/>
                    <a:pt x="29" y="251"/>
                    <a:pt x="29" y="251"/>
                  </a:cubicBezTo>
                  <a:cubicBezTo>
                    <a:pt x="29" y="251"/>
                    <a:pt x="29" y="251"/>
                    <a:pt x="29" y="251"/>
                  </a:cubicBezTo>
                  <a:cubicBezTo>
                    <a:pt x="7" y="307"/>
                    <a:pt x="7" y="307"/>
                    <a:pt x="7" y="307"/>
                  </a:cubicBezTo>
                  <a:cubicBezTo>
                    <a:pt x="0" y="323"/>
                    <a:pt x="8" y="341"/>
                    <a:pt x="24" y="348"/>
                  </a:cubicBezTo>
                  <a:cubicBezTo>
                    <a:pt x="26" y="349"/>
                    <a:pt x="27" y="349"/>
                    <a:pt x="29" y="350"/>
                  </a:cubicBezTo>
                  <a:cubicBezTo>
                    <a:pt x="29" y="350"/>
                    <a:pt x="29" y="350"/>
                    <a:pt x="29" y="350"/>
                  </a:cubicBezTo>
                  <a:cubicBezTo>
                    <a:pt x="31" y="351"/>
                    <a:pt x="34" y="351"/>
                    <a:pt x="36" y="351"/>
                  </a:cubicBezTo>
                  <a:cubicBezTo>
                    <a:pt x="48" y="351"/>
                    <a:pt x="60" y="343"/>
                    <a:pt x="65" y="331"/>
                  </a:cubicBezTo>
                  <a:cubicBezTo>
                    <a:pt x="65" y="331"/>
                    <a:pt x="65" y="331"/>
                    <a:pt x="65" y="331"/>
                  </a:cubicBezTo>
                  <a:cubicBezTo>
                    <a:pt x="65" y="331"/>
                    <a:pt x="65" y="331"/>
                    <a:pt x="65" y="331"/>
                  </a:cubicBezTo>
                  <a:cubicBezTo>
                    <a:pt x="99" y="248"/>
                    <a:pt x="99" y="248"/>
                    <a:pt x="99" y="248"/>
                  </a:cubicBezTo>
                  <a:cubicBezTo>
                    <a:pt x="99" y="248"/>
                    <a:pt x="99" y="248"/>
                    <a:pt x="99" y="248"/>
                  </a:cubicBezTo>
                  <a:cubicBezTo>
                    <a:pt x="118" y="204"/>
                    <a:pt x="118" y="204"/>
                    <a:pt x="118" y="204"/>
                  </a:cubicBezTo>
                  <a:cubicBezTo>
                    <a:pt x="118" y="623"/>
                    <a:pt x="118" y="623"/>
                    <a:pt x="118" y="623"/>
                  </a:cubicBezTo>
                  <a:cubicBezTo>
                    <a:pt x="118" y="646"/>
                    <a:pt x="137" y="665"/>
                    <a:pt x="161" y="665"/>
                  </a:cubicBezTo>
                  <a:cubicBezTo>
                    <a:pt x="184" y="664"/>
                    <a:pt x="201" y="644"/>
                    <a:pt x="201" y="622"/>
                  </a:cubicBezTo>
                  <a:cubicBezTo>
                    <a:pt x="201" y="396"/>
                    <a:pt x="201" y="396"/>
                    <a:pt x="201" y="396"/>
                  </a:cubicBezTo>
                  <a:cubicBezTo>
                    <a:pt x="201" y="387"/>
                    <a:pt x="208" y="379"/>
                    <a:pt x="217" y="378"/>
                  </a:cubicBezTo>
                  <a:cubicBezTo>
                    <a:pt x="226" y="378"/>
                    <a:pt x="235" y="385"/>
                    <a:pt x="235" y="395"/>
                  </a:cubicBezTo>
                  <a:cubicBezTo>
                    <a:pt x="235" y="623"/>
                    <a:pt x="235" y="623"/>
                    <a:pt x="235" y="623"/>
                  </a:cubicBezTo>
                  <a:cubicBezTo>
                    <a:pt x="235" y="646"/>
                    <a:pt x="254" y="665"/>
                    <a:pt x="278" y="665"/>
                  </a:cubicBezTo>
                  <a:cubicBezTo>
                    <a:pt x="301" y="664"/>
                    <a:pt x="318" y="644"/>
                    <a:pt x="318" y="622"/>
                  </a:cubicBezTo>
                  <a:cubicBezTo>
                    <a:pt x="318" y="205"/>
                    <a:pt x="318" y="205"/>
                    <a:pt x="318" y="205"/>
                  </a:cubicBezTo>
                  <a:cubicBezTo>
                    <a:pt x="370" y="331"/>
                    <a:pt x="370" y="331"/>
                    <a:pt x="370" y="331"/>
                  </a:cubicBezTo>
                  <a:cubicBezTo>
                    <a:pt x="375" y="343"/>
                    <a:pt x="387" y="351"/>
                    <a:pt x="400" y="351"/>
                  </a:cubicBezTo>
                  <a:cubicBezTo>
                    <a:pt x="404" y="351"/>
                    <a:pt x="408" y="350"/>
                    <a:pt x="412" y="348"/>
                  </a:cubicBezTo>
                  <a:cubicBezTo>
                    <a:pt x="428" y="342"/>
                    <a:pt x="436" y="323"/>
                    <a:pt x="429" y="30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E370CAAC-0997-2854-F945-734B0F3C88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1512" y="2565027"/>
            <a:ext cx="736868" cy="783640"/>
          </a:xfrm>
          <a:custGeom>
            <a:avLst/>
            <a:gdLst>
              <a:gd name="connsiteX0" fmla="*/ 221579 w 1187561"/>
              <a:gd name="connsiteY0" fmla="*/ 271782 h 1262941"/>
              <a:gd name="connsiteX1" fmla="*/ 408502 w 1187561"/>
              <a:gd name="connsiteY1" fmla="*/ 271782 h 1262941"/>
              <a:gd name="connsiteX2" fmla="*/ 452657 w 1187561"/>
              <a:gd name="connsiteY2" fmla="*/ 301592 h 1262941"/>
              <a:gd name="connsiteX3" fmla="*/ 568932 w 1187561"/>
              <a:gd name="connsiteY3" fmla="*/ 587761 h 1262941"/>
              <a:gd name="connsiteX4" fmla="*/ 593148 w 1187561"/>
              <a:gd name="connsiteY4" fmla="*/ 647496 h 1262941"/>
              <a:gd name="connsiteX5" fmla="*/ 593814 w 1187561"/>
              <a:gd name="connsiteY5" fmla="*/ 649138 h 1262941"/>
              <a:gd name="connsiteX6" fmla="*/ 595074 w 1187561"/>
              <a:gd name="connsiteY6" fmla="*/ 645889 h 1262941"/>
              <a:gd name="connsiteX7" fmla="*/ 736371 w 1187561"/>
              <a:gd name="connsiteY7" fmla="*/ 301592 h 1262941"/>
              <a:gd name="connsiteX8" fmla="*/ 779055 w 1187561"/>
              <a:gd name="connsiteY8" fmla="*/ 271782 h 1262941"/>
              <a:gd name="connsiteX9" fmla="*/ 780527 w 1187561"/>
              <a:gd name="connsiteY9" fmla="*/ 271782 h 1262941"/>
              <a:gd name="connsiteX10" fmla="*/ 965979 w 1187561"/>
              <a:gd name="connsiteY10" fmla="*/ 271782 h 1262941"/>
              <a:gd name="connsiteX11" fmla="*/ 967451 w 1187561"/>
              <a:gd name="connsiteY11" fmla="*/ 271782 h 1262941"/>
              <a:gd name="connsiteX12" fmla="*/ 1010135 w 1187561"/>
              <a:gd name="connsiteY12" fmla="*/ 301592 h 1262941"/>
              <a:gd name="connsiteX13" fmla="*/ 1124939 w 1187561"/>
              <a:gd name="connsiteY13" fmla="*/ 584780 h 1262941"/>
              <a:gd name="connsiteX14" fmla="*/ 1183813 w 1187561"/>
              <a:gd name="connsiteY14" fmla="*/ 729355 h 1262941"/>
              <a:gd name="connsiteX15" fmla="*/ 1158792 w 1187561"/>
              <a:gd name="connsiteY15" fmla="*/ 790464 h 1262941"/>
              <a:gd name="connsiteX16" fmla="*/ 1141129 w 1187561"/>
              <a:gd name="connsiteY16" fmla="*/ 794935 h 1262941"/>
              <a:gd name="connsiteX17" fmla="*/ 1096974 w 1187561"/>
              <a:gd name="connsiteY17" fmla="*/ 765126 h 1262941"/>
              <a:gd name="connsiteX18" fmla="*/ 1020438 w 1187561"/>
              <a:gd name="connsiteY18" fmla="*/ 577327 h 1262941"/>
              <a:gd name="connsiteX19" fmla="*/ 1020438 w 1187561"/>
              <a:gd name="connsiteY19" fmla="*/ 1198851 h 1262941"/>
              <a:gd name="connsiteX20" fmla="*/ 961564 w 1187561"/>
              <a:gd name="connsiteY20" fmla="*/ 1262941 h 1262941"/>
              <a:gd name="connsiteX21" fmla="*/ 898274 w 1187561"/>
              <a:gd name="connsiteY21" fmla="*/ 1200342 h 1262941"/>
              <a:gd name="connsiteX22" fmla="*/ 898274 w 1187561"/>
              <a:gd name="connsiteY22" fmla="*/ 860516 h 1262941"/>
              <a:gd name="connsiteX23" fmla="*/ 871781 w 1187561"/>
              <a:gd name="connsiteY23" fmla="*/ 835178 h 1262941"/>
              <a:gd name="connsiteX24" fmla="*/ 848232 w 1187561"/>
              <a:gd name="connsiteY24" fmla="*/ 862006 h 1262941"/>
              <a:gd name="connsiteX25" fmla="*/ 848232 w 1187561"/>
              <a:gd name="connsiteY25" fmla="*/ 1198851 h 1262941"/>
              <a:gd name="connsiteX26" fmla="*/ 789358 w 1187561"/>
              <a:gd name="connsiteY26" fmla="*/ 1262941 h 1262941"/>
              <a:gd name="connsiteX27" fmla="*/ 726068 w 1187561"/>
              <a:gd name="connsiteY27" fmla="*/ 1200342 h 1262941"/>
              <a:gd name="connsiteX28" fmla="*/ 726068 w 1187561"/>
              <a:gd name="connsiteY28" fmla="*/ 575837 h 1262941"/>
              <a:gd name="connsiteX29" fmla="*/ 698103 w 1187561"/>
              <a:gd name="connsiteY29" fmla="*/ 641417 h 1262941"/>
              <a:gd name="connsiteX30" fmla="*/ 648060 w 1187561"/>
              <a:gd name="connsiteY30" fmla="*/ 765126 h 1262941"/>
              <a:gd name="connsiteX31" fmla="*/ 605377 w 1187561"/>
              <a:gd name="connsiteY31" fmla="*/ 794935 h 1262941"/>
              <a:gd name="connsiteX32" fmla="*/ 595074 w 1187561"/>
              <a:gd name="connsiteY32" fmla="*/ 793445 h 1262941"/>
              <a:gd name="connsiteX33" fmla="*/ 591714 w 1187561"/>
              <a:gd name="connsiteY33" fmla="*/ 792084 h 1262941"/>
              <a:gd name="connsiteX34" fmla="*/ 583650 w 1187561"/>
              <a:gd name="connsiteY34" fmla="*/ 793445 h 1262941"/>
              <a:gd name="connsiteX35" fmla="*/ 539495 w 1187561"/>
              <a:gd name="connsiteY35" fmla="*/ 765126 h 1262941"/>
              <a:gd name="connsiteX36" fmla="*/ 489453 w 1187561"/>
              <a:gd name="connsiteY36" fmla="*/ 641417 h 1262941"/>
              <a:gd name="connsiteX37" fmla="*/ 490925 w 1187561"/>
              <a:gd name="connsiteY37" fmla="*/ 641417 h 1262941"/>
              <a:gd name="connsiteX38" fmla="*/ 462960 w 1187561"/>
              <a:gd name="connsiteY38" fmla="*/ 574347 h 1262941"/>
              <a:gd name="connsiteX39" fmla="*/ 462960 w 1187561"/>
              <a:gd name="connsiteY39" fmla="*/ 610118 h 1262941"/>
              <a:gd name="connsiteX40" fmla="*/ 549798 w 1187561"/>
              <a:gd name="connsiteY40" fmla="*/ 885854 h 1262941"/>
              <a:gd name="connsiteX41" fmla="*/ 482094 w 1187561"/>
              <a:gd name="connsiteY41" fmla="*/ 979753 h 1262941"/>
              <a:gd name="connsiteX42" fmla="*/ 462960 w 1187561"/>
              <a:gd name="connsiteY42" fmla="*/ 979753 h 1262941"/>
              <a:gd name="connsiteX43" fmla="*/ 462960 w 1187561"/>
              <a:gd name="connsiteY43" fmla="*/ 1198851 h 1262941"/>
              <a:gd name="connsiteX44" fmla="*/ 404086 w 1187561"/>
              <a:gd name="connsiteY44" fmla="*/ 1262941 h 1262941"/>
              <a:gd name="connsiteX45" fmla="*/ 339326 w 1187561"/>
              <a:gd name="connsiteY45" fmla="*/ 1200342 h 1262941"/>
              <a:gd name="connsiteX46" fmla="*/ 339326 w 1187561"/>
              <a:gd name="connsiteY46" fmla="*/ 979753 h 1262941"/>
              <a:gd name="connsiteX47" fmla="*/ 290755 w 1187561"/>
              <a:gd name="connsiteY47" fmla="*/ 979753 h 1262941"/>
              <a:gd name="connsiteX48" fmla="*/ 290755 w 1187561"/>
              <a:gd name="connsiteY48" fmla="*/ 1198851 h 1262941"/>
              <a:gd name="connsiteX49" fmla="*/ 230410 w 1187561"/>
              <a:gd name="connsiteY49" fmla="*/ 1262941 h 1262941"/>
              <a:gd name="connsiteX50" fmla="*/ 167121 w 1187561"/>
              <a:gd name="connsiteY50" fmla="*/ 1200342 h 1262941"/>
              <a:gd name="connsiteX51" fmla="*/ 167121 w 1187561"/>
              <a:gd name="connsiteY51" fmla="*/ 979753 h 1262941"/>
              <a:gd name="connsiteX52" fmla="*/ 147987 w 1187561"/>
              <a:gd name="connsiteY52" fmla="*/ 979753 h 1262941"/>
              <a:gd name="connsiteX53" fmla="*/ 80283 w 1187561"/>
              <a:gd name="connsiteY53" fmla="*/ 885854 h 1262941"/>
              <a:gd name="connsiteX54" fmla="*/ 167121 w 1187561"/>
              <a:gd name="connsiteY54" fmla="*/ 610118 h 1262941"/>
              <a:gd name="connsiteX55" fmla="*/ 167121 w 1187561"/>
              <a:gd name="connsiteY55" fmla="*/ 577327 h 1262941"/>
              <a:gd name="connsiteX56" fmla="*/ 90586 w 1187561"/>
              <a:gd name="connsiteY56" fmla="*/ 765126 h 1262941"/>
              <a:gd name="connsiteX57" fmla="*/ 47903 w 1187561"/>
              <a:gd name="connsiteY57" fmla="*/ 794935 h 1262941"/>
              <a:gd name="connsiteX58" fmla="*/ 28769 w 1187561"/>
              <a:gd name="connsiteY58" fmla="*/ 790464 h 1262941"/>
              <a:gd name="connsiteX59" fmla="*/ 3748 w 1187561"/>
              <a:gd name="connsiteY59" fmla="*/ 729355 h 1262941"/>
              <a:gd name="connsiteX60" fmla="*/ 177424 w 1187561"/>
              <a:gd name="connsiteY60" fmla="*/ 301592 h 1262941"/>
              <a:gd name="connsiteX61" fmla="*/ 221579 w 1187561"/>
              <a:gd name="connsiteY61" fmla="*/ 271782 h 1262941"/>
              <a:gd name="connsiteX62" fmla="*/ 873254 w 1187561"/>
              <a:gd name="connsiteY62" fmla="*/ 0 h 1262941"/>
              <a:gd name="connsiteX63" fmla="*/ 995592 w 1187561"/>
              <a:gd name="connsiteY63" fmla="*/ 123804 h 1262941"/>
              <a:gd name="connsiteX64" fmla="*/ 873254 w 1187561"/>
              <a:gd name="connsiteY64" fmla="*/ 247608 h 1262941"/>
              <a:gd name="connsiteX65" fmla="*/ 750916 w 1187561"/>
              <a:gd name="connsiteY65" fmla="*/ 123804 h 1262941"/>
              <a:gd name="connsiteX66" fmla="*/ 873254 w 1187561"/>
              <a:gd name="connsiteY66" fmla="*/ 0 h 1262941"/>
              <a:gd name="connsiteX67" fmla="*/ 315041 w 1187561"/>
              <a:gd name="connsiteY67" fmla="*/ 0 h 1262941"/>
              <a:gd name="connsiteX68" fmla="*/ 436647 w 1187561"/>
              <a:gd name="connsiteY68" fmla="*/ 123804 h 1262941"/>
              <a:gd name="connsiteX69" fmla="*/ 315041 w 1187561"/>
              <a:gd name="connsiteY69" fmla="*/ 247608 h 1262941"/>
              <a:gd name="connsiteX70" fmla="*/ 193435 w 1187561"/>
              <a:gd name="connsiteY70" fmla="*/ 123804 h 1262941"/>
              <a:gd name="connsiteX71" fmla="*/ 315041 w 1187561"/>
              <a:gd name="connsiteY71" fmla="*/ 0 h 126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1187561" h="1262941">
                <a:moveTo>
                  <a:pt x="221579" y="271782"/>
                </a:moveTo>
                <a:cubicBezTo>
                  <a:pt x="268678" y="271782"/>
                  <a:pt x="408502" y="271782"/>
                  <a:pt x="408502" y="271782"/>
                </a:cubicBezTo>
                <a:cubicBezTo>
                  <a:pt x="434995" y="271782"/>
                  <a:pt x="448241" y="289668"/>
                  <a:pt x="452657" y="301592"/>
                </a:cubicBezTo>
                <a:cubicBezTo>
                  <a:pt x="452657" y="301592"/>
                  <a:pt x="452657" y="301592"/>
                  <a:pt x="568932" y="587761"/>
                </a:cubicBezTo>
                <a:cubicBezTo>
                  <a:pt x="568932" y="587761"/>
                  <a:pt x="568932" y="587761"/>
                  <a:pt x="593148" y="647496"/>
                </a:cubicBezTo>
                <a:lnTo>
                  <a:pt x="593814" y="649138"/>
                </a:lnTo>
                <a:lnTo>
                  <a:pt x="595074" y="645889"/>
                </a:lnTo>
                <a:cubicBezTo>
                  <a:pt x="595074" y="645889"/>
                  <a:pt x="595074" y="645889"/>
                  <a:pt x="736371" y="301592"/>
                </a:cubicBezTo>
                <a:cubicBezTo>
                  <a:pt x="743730" y="282216"/>
                  <a:pt x="761392" y="271782"/>
                  <a:pt x="779055" y="271782"/>
                </a:cubicBezTo>
                <a:cubicBezTo>
                  <a:pt x="779055" y="271782"/>
                  <a:pt x="779055" y="271782"/>
                  <a:pt x="780527" y="271782"/>
                </a:cubicBezTo>
                <a:cubicBezTo>
                  <a:pt x="780527" y="271782"/>
                  <a:pt x="780527" y="271782"/>
                  <a:pt x="965979" y="271782"/>
                </a:cubicBezTo>
                <a:cubicBezTo>
                  <a:pt x="965979" y="271782"/>
                  <a:pt x="965979" y="271782"/>
                  <a:pt x="967451" y="271782"/>
                </a:cubicBezTo>
                <a:cubicBezTo>
                  <a:pt x="985114" y="271782"/>
                  <a:pt x="1002776" y="282216"/>
                  <a:pt x="1010135" y="301592"/>
                </a:cubicBezTo>
                <a:cubicBezTo>
                  <a:pt x="1010135" y="301592"/>
                  <a:pt x="1010135" y="301592"/>
                  <a:pt x="1124939" y="584780"/>
                </a:cubicBezTo>
                <a:cubicBezTo>
                  <a:pt x="1124939" y="584780"/>
                  <a:pt x="1124939" y="584780"/>
                  <a:pt x="1183813" y="729355"/>
                </a:cubicBezTo>
                <a:cubicBezTo>
                  <a:pt x="1194116" y="753202"/>
                  <a:pt x="1182341" y="781521"/>
                  <a:pt x="1158792" y="790464"/>
                </a:cubicBezTo>
                <a:cubicBezTo>
                  <a:pt x="1152904" y="793445"/>
                  <a:pt x="1147017" y="794935"/>
                  <a:pt x="1141129" y="794935"/>
                </a:cubicBezTo>
                <a:cubicBezTo>
                  <a:pt x="1121995" y="794935"/>
                  <a:pt x="1104333" y="783012"/>
                  <a:pt x="1096974" y="765126"/>
                </a:cubicBezTo>
                <a:cubicBezTo>
                  <a:pt x="1096974" y="765126"/>
                  <a:pt x="1096974" y="765126"/>
                  <a:pt x="1020438" y="577327"/>
                </a:cubicBezTo>
                <a:cubicBezTo>
                  <a:pt x="1020438" y="577327"/>
                  <a:pt x="1020438" y="577327"/>
                  <a:pt x="1020438" y="1198851"/>
                </a:cubicBezTo>
                <a:cubicBezTo>
                  <a:pt x="1020438" y="1231641"/>
                  <a:pt x="995416" y="1261451"/>
                  <a:pt x="961564" y="1262941"/>
                </a:cubicBezTo>
                <a:cubicBezTo>
                  <a:pt x="926240" y="1262941"/>
                  <a:pt x="898274" y="1234622"/>
                  <a:pt x="898274" y="1200342"/>
                </a:cubicBezTo>
                <a:cubicBezTo>
                  <a:pt x="898274" y="1200342"/>
                  <a:pt x="898274" y="1200342"/>
                  <a:pt x="898274" y="860516"/>
                </a:cubicBezTo>
                <a:cubicBezTo>
                  <a:pt x="898274" y="845611"/>
                  <a:pt x="885028" y="835178"/>
                  <a:pt x="871781" y="835178"/>
                </a:cubicBezTo>
                <a:cubicBezTo>
                  <a:pt x="858534" y="836668"/>
                  <a:pt x="848232" y="848592"/>
                  <a:pt x="848232" y="862006"/>
                </a:cubicBezTo>
                <a:cubicBezTo>
                  <a:pt x="848232" y="862006"/>
                  <a:pt x="848232" y="862006"/>
                  <a:pt x="848232" y="1198851"/>
                </a:cubicBezTo>
                <a:cubicBezTo>
                  <a:pt x="848232" y="1231641"/>
                  <a:pt x="823210" y="1261451"/>
                  <a:pt x="789358" y="1262941"/>
                </a:cubicBezTo>
                <a:cubicBezTo>
                  <a:pt x="754033" y="1262941"/>
                  <a:pt x="726068" y="1234622"/>
                  <a:pt x="726068" y="1200342"/>
                </a:cubicBezTo>
                <a:cubicBezTo>
                  <a:pt x="726068" y="1200342"/>
                  <a:pt x="726068" y="1200342"/>
                  <a:pt x="726068" y="575837"/>
                </a:cubicBezTo>
                <a:cubicBezTo>
                  <a:pt x="726068" y="575837"/>
                  <a:pt x="726068" y="575837"/>
                  <a:pt x="698103" y="641417"/>
                </a:cubicBezTo>
                <a:cubicBezTo>
                  <a:pt x="698103" y="641417"/>
                  <a:pt x="698103" y="641417"/>
                  <a:pt x="648060" y="765126"/>
                </a:cubicBezTo>
                <a:cubicBezTo>
                  <a:pt x="640701" y="783012"/>
                  <a:pt x="623039" y="794935"/>
                  <a:pt x="605377" y="794935"/>
                </a:cubicBezTo>
                <a:cubicBezTo>
                  <a:pt x="602433" y="794935"/>
                  <a:pt x="598017" y="794935"/>
                  <a:pt x="595074" y="793445"/>
                </a:cubicBezTo>
                <a:lnTo>
                  <a:pt x="591714" y="792084"/>
                </a:lnTo>
                <a:lnTo>
                  <a:pt x="583650" y="793445"/>
                </a:lnTo>
                <a:cubicBezTo>
                  <a:pt x="564516" y="793445"/>
                  <a:pt x="546854" y="783012"/>
                  <a:pt x="539495" y="765126"/>
                </a:cubicBezTo>
                <a:cubicBezTo>
                  <a:pt x="539495" y="765126"/>
                  <a:pt x="539495" y="765126"/>
                  <a:pt x="489453" y="641417"/>
                </a:cubicBezTo>
                <a:cubicBezTo>
                  <a:pt x="489453" y="641417"/>
                  <a:pt x="489453" y="641417"/>
                  <a:pt x="490925" y="641417"/>
                </a:cubicBezTo>
                <a:cubicBezTo>
                  <a:pt x="490925" y="641417"/>
                  <a:pt x="490925" y="641417"/>
                  <a:pt x="462960" y="574347"/>
                </a:cubicBezTo>
                <a:cubicBezTo>
                  <a:pt x="462960" y="574347"/>
                  <a:pt x="462960" y="574347"/>
                  <a:pt x="462960" y="610118"/>
                </a:cubicBezTo>
                <a:cubicBezTo>
                  <a:pt x="462960" y="610118"/>
                  <a:pt x="462960" y="610118"/>
                  <a:pt x="549798" y="885854"/>
                </a:cubicBezTo>
                <a:cubicBezTo>
                  <a:pt x="564516" y="933549"/>
                  <a:pt x="530664" y="979753"/>
                  <a:pt x="482094" y="979753"/>
                </a:cubicBezTo>
                <a:cubicBezTo>
                  <a:pt x="482094" y="979753"/>
                  <a:pt x="482094" y="979753"/>
                  <a:pt x="462960" y="979753"/>
                </a:cubicBezTo>
                <a:cubicBezTo>
                  <a:pt x="462960" y="979753"/>
                  <a:pt x="462960" y="979753"/>
                  <a:pt x="462960" y="1198851"/>
                </a:cubicBezTo>
                <a:cubicBezTo>
                  <a:pt x="462960" y="1231641"/>
                  <a:pt x="436467" y="1261451"/>
                  <a:pt x="404086" y="1262941"/>
                </a:cubicBezTo>
                <a:cubicBezTo>
                  <a:pt x="368762" y="1262941"/>
                  <a:pt x="339326" y="1234622"/>
                  <a:pt x="339326" y="1200342"/>
                </a:cubicBezTo>
                <a:cubicBezTo>
                  <a:pt x="339326" y="1200342"/>
                  <a:pt x="339326" y="1200342"/>
                  <a:pt x="339326" y="979753"/>
                </a:cubicBezTo>
                <a:cubicBezTo>
                  <a:pt x="339326" y="979753"/>
                  <a:pt x="339326" y="979753"/>
                  <a:pt x="290755" y="979753"/>
                </a:cubicBezTo>
                <a:cubicBezTo>
                  <a:pt x="290755" y="979753"/>
                  <a:pt x="290755" y="979753"/>
                  <a:pt x="290755" y="1198851"/>
                </a:cubicBezTo>
                <a:cubicBezTo>
                  <a:pt x="290755" y="1231641"/>
                  <a:pt x="264262" y="1261451"/>
                  <a:pt x="230410" y="1262941"/>
                </a:cubicBezTo>
                <a:cubicBezTo>
                  <a:pt x="196558" y="1262941"/>
                  <a:pt x="167121" y="1234622"/>
                  <a:pt x="167121" y="1200342"/>
                </a:cubicBezTo>
                <a:cubicBezTo>
                  <a:pt x="167121" y="1200342"/>
                  <a:pt x="167121" y="1200342"/>
                  <a:pt x="167121" y="979753"/>
                </a:cubicBezTo>
                <a:cubicBezTo>
                  <a:pt x="167121" y="979753"/>
                  <a:pt x="167121" y="979753"/>
                  <a:pt x="147987" y="979753"/>
                </a:cubicBezTo>
                <a:cubicBezTo>
                  <a:pt x="99417" y="979753"/>
                  <a:pt x="65565" y="933549"/>
                  <a:pt x="80283" y="885854"/>
                </a:cubicBezTo>
                <a:cubicBezTo>
                  <a:pt x="80283" y="885854"/>
                  <a:pt x="80283" y="885854"/>
                  <a:pt x="167121" y="610118"/>
                </a:cubicBezTo>
                <a:cubicBezTo>
                  <a:pt x="167121" y="610118"/>
                  <a:pt x="167121" y="610118"/>
                  <a:pt x="167121" y="577327"/>
                </a:cubicBezTo>
                <a:cubicBezTo>
                  <a:pt x="167121" y="577327"/>
                  <a:pt x="167121" y="577327"/>
                  <a:pt x="90586" y="765126"/>
                </a:cubicBezTo>
                <a:cubicBezTo>
                  <a:pt x="83227" y="783012"/>
                  <a:pt x="65565" y="794935"/>
                  <a:pt x="47903" y="794935"/>
                </a:cubicBezTo>
                <a:cubicBezTo>
                  <a:pt x="42015" y="794935"/>
                  <a:pt x="34656" y="793445"/>
                  <a:pt x="28769" y="790464"/>
                </a:cubicBezTo>
                <a:cubicBezTo>
                  <a:pt x="5220" y="781521"/>
                  <a:pt x="-6555" y="753202"/>
                  <a:pt x="3748" y="729355"/>
                </a:cubicBezTo>
                <a:cubicBezTo>
                  <a:pt x="3748" y="729355"/>
                  <a:pt x="3748" y="729355"/>
                  <a:pt x="177424" y="301592"/>
                </a:cubicBezTo>
                <a:cubicBezTo>
                  <a:pt x="184783" y="282216"/>
                  <a:pt x="202445" y="271782"/>
                  <a:pt x="221579" y="271782"/>
                </a:cubicBezTo>
                <a:close/>
                <a:moveTo>
                  <a:pt x="873254" y="0"/>
                </a:moveTo>
                <a:cubicBezTo>
                  <a:pt x="940819" y="0"/>
                  <a:pt x="995592" y="55429"/>
                  <a:pt x="995592" y="123804"/>
                </a:cubicBezTo>
                <a:cubicBezTo>
                  <a:pt x="995592" y="192179"/>
                  <a:pt x="940819" y="247608"/>
                  <a:pt x="873254" y="247608"/>
                </a:cubicBezTo>
                <a:cubicBezTo>
                  <a:pt x="805689" y="247608"/>
                  <a:pt x="750916" y="192179"/>
                  <a:pt x="750916" y="123804"/>
                </a:cubicBezTo>
                <a:cubicBezTo>
                  <a:pt x="750916" y="55429"/>
                  <a:pt x="805689" y="0"/>
                  <a:pt x="873254" y="0"/>
                </a:cubicBezTo>
                <a:close/>
                <a:moveTo>
                  <a:pt x="315041" y="0"/>
                </a:moveTo>
                <a:cubicBezTo>
                  <a:pt x="382202" y="0"/>
                  <a:pt x="436647" y="55429"/>
                  <a:pt x="436647" y="123804"/>
                </a:cubicBezTo>
                <a:cubicBezTo>
                  <a:pt x="436647" y="192179"/>
                  <a:pt x="382202" y="247608"/>
                  <a:pt x="315041" y="247608"/>
                </a:cubicBezTo>
                <a:cubicBezTo>
                  <a:pt x="247880" y="247608"/>
                  <a:pt x="193435" y="192179"/>
                  <a:pt x="193435" y="123804"/>
                </a:cubicBezTo>
                <a:cubicBezTo>
                  <a:pt x="193435" y="55429"/>
                  <a:pt x="247880" y="0"/>
                  <a:pt x="315041" y="0"/>
                </a:cubicBez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27F8EEF-CB3F-EAC0-6FA8-9C03C5A635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42339" y="2565027"/>
            <a:ext cx="736868" cy="783640"/>
          </a:xfrm>
          <a:custGeom>
            <a:avLst/>
            <a:gdLst>
              <a:gd name="connsiteX0" fmla="*/ 221579 w 1187561"/>
              <a:gd name="connsiteY0" fmla="*/ 271782 h 1262941"/>
              <a:gd name="connsiteX1" fmla="*/ 408502 w 1187561"/>
              <a:gd name="connsiteY1" fmla="*/ 271782 h 1262941"/>
              <a:gd name="connsiteX2" fmla="*/ 452657 w 1187561"/>
              <a:gd name="connsiteY2" fmla="*/ 301592 h 1262941"/>
              <a:gd name="connsiteX3" fmla="*/ 568932 w 1187561"/>
              <a:gd name="connsiteY3" fmla="*/ 587761 h 1262941"/>
              <a:gd name="connsiteX4" fmla="*/ 593148 w 1187561"/>
              <a:gd name="connsiteY4" fmla="*/ 647496 h 1262941"/>
              <a:gd name="connsiteX5" fmla="*/ 593814 w 1187561"/>
              <a:gd name="connsiteY5" fmla="*/ 649138 h 1262941"/>
              <a:gd name="connsiteX6" fmla="*/ 595074 w 1187561"/>
              <a:gd name="connsiteY6" fmla="*/ 645889 h 1262941"/>
              <a:gd name="connsiteX7" fmla="*/ 736371 w 1187561"/>
              <a:gd name="connsiteY7" fmla="*/ 301592 h 1262941"/>
              <a:gd name="connsiteX8" fmla="*/ 779055 w 1187561"/>
              <a:gd name="connsiteY8" fmla="*/ 271782 h 1262941"/>
              <a:gd name="connsiteX9" fmla="*/ 780527 w 1187561"/>
              <a:gd name="connsiteY9" fmla="*/ 271782 h 1262941"/>
              <a:gd name="connsiteX10" fmla="*/ 965979 w 1187561"/>
              <a:gd name="connsiteY10" fmla="*/ 271782 h 1262941"/>
              <a:gd name="connsiteX11" fmla="*/ 967451 w 1187561"/>
              <a:gd name="connsiteY11" fmla="*/ 271782 h 1262941"/>
              <a:gd name="connsiteX12" fmla="*/ 1010135 w 1187561"/>
              <a:gd name="connsiteY12" fmla="*/ 301592 h 1262941"/>
              <a:gd name="connsiteX13" fmla="*/ 1124939 w 1187561"/>
              <a:gd name="connsiteY13" fmla="*/ 584780 h 1262941"/>
              <a:gd name="connsiteX14" fmla="*/ 1183813 w 1187561"/>
              <a:gd name="connsiteY14" fmla="*/ 729355 h 1262941"/>
              <a:gd name="connsiteX15" fmla="*/ 1158792 w 1187561"/>
              <a:gd name="connsiteY15" fmla="*/ 790464 h 1262941"/>
              <a:gd name="connsiteX16" fmla="*/ 1141129 w 1187561"/>
              <a:gd name="connsiteY16" fmla="*/ 794935 h 1262941"/>
              <a:gd name="connsiteX17" fmla="*/ 1096974 w 1187561"/>
              <a:gd name="connsiteY17" fmla="*/ 765126 h 1262941"/>
              <a:gd name="connsiteX18" fmla="*/ 1020438 w 1187561"/>
              <a:gd name="connsiteY18" fmla="*/ 577327 h 1262941"/>
              <a:gd name="connsiteX19" fmla="*/ 1020438 w 1187561"/>
              <a:gd name="connsiteY19" fmla="*/ 1198851 h 1262941"/>
              <a:gd name="connsiteX20" fmla="*/ 961564 w 1187561"/>
              <a:gd name="connsiteY20" fmla="*/ 1262941 h 1262941"/>
              <a:gd name="connsiteX21" fmla="*/ 898274 w 1187561"/>
              <a:gd name="connsiteY21" fmla="*/ 1200342 h 1262941"/>
              <a:gd name="connsiteX22" fmla="*/ 898274 w 1187561"/>
              <a:gd name="connsiteY22" fmla="*/ 860516 h 1262941"/>
              <a:gd name="connsiteX23" fmla="*/ 871781 w 1187561"/>
              <a:gd name="connsiteY23" fmla="*/ 835178 h 1262941"/>
              <a:gd name="connsiteX24" fmla="*/ 848232 w 1187561"/>
              <a:gd name="connsiteY24" fmla="*/ 862006 h 1262941"/>
              <a:gd name="connsiteX25" fmla="*/ 848232 w 1187561"/>
              <a:gd name="connsiteY25" fmla="*/ 1198851 h 1262941"/>
              <a:gd name="connsiteX26" fmla="*/ 789358 w 1187561"/>
              <a:gd name="connsiteY26" fmla="*/ 1262941 h 1262941"/>
              <a:gd name="connsiteX27" fmla="*/ 726068 w 1187561"/>
              <a:gd name="connsiteY27" fmla="*/ 1200342 h 1262941"/>
              <a:gd name="connsiteX28" fmla="*/ 726068 w 1187561"/>
              <a:gd name="connsiteY28" fmla="*/ 575837 h 1262941"/>
              <a:gd name="connsiteX29" fmla="*/ 698103 w 1187561"/>
              <a:gd name="connsiteY29" fmla="*/ 641417 h 1262941"/>
              <a:gd name="connsiteX30" fmla="*/ 648060 w 1187561"/>
              <a:gd name="connsiteY30" fmla="*/ 765126 h 1262941"/>
              <a:gd name="connsiteX31" fmla="*/ 605377 w 1187561"/>
              <a:gd name="connsiteY31" fmla="*/ 794935 h 1262941"/>
              <a:gd name="connsiteX32" fmla="*/ 595074 w 1187561"/>
              <a:gd name="connsiteY32" fmla="*/ 793445 h 1262941"/>
              <a:gd name="connsiteX33" fmla="*/ 591714 w 1187561"/>
              <a:gd name="connsiteY33" fmla="*/ 792084 h 1262941"/>
              <a:gd name="connsiteX34" fmla="*/ 583650 w 1187561"/>
              <a:gd name="connsiteY34" fmla="*/ 793445 h 1262941"/>
              <a:gd name="connsiteX35" fmla="*/ 539495 w 1187561"/>
              <a:gd name="connsiteY35" fmla="*/ 765126 h 1262941"/>
              <a:gd name="connsiteX36" fmla="*/ 489453 w 1187561"/>
              <a:gd name="connsiteY36" fmla="*/ 641417 h 1262941"/>
              <a:gd name="connsiteX37" fmla="*/ 490925 w 1187561"/>
              <a:gd name="connsiteY37" fmla="*/ 641417 h 1262941"/>
              <a:gd name="connsiteX38" fmla="*/ 462960 w 1187561"/>
              <a:gd name="connsiteY38" fmla="*/ 574347 h 1262941"/>
              <a:gd name="connsiteX39" fmla="*/ 462960 w 1187561"/>
              <a:gd name="connsiteY39" fmla="*/ 610118 h 1262941"/>
              <a:gd name="connsiteX40" fmla="*/ 549798 w 1187561"/>
              <a:gd name="connsiteY40" fmla="*/ 885854 h 1262941"/>
              <a:gd name="connsiteX41" fmla="*/ 482094 w 1187561"/>
              <a:gd name="connsiteY41" fmla="*/ 979753 h 1262941"/>
              <a:gd name="connsiteX42" fmla="*/ 462960 w 1187561"/>
              <a:gd name="connsiteY42" fmla="*/ 979753 h 1262941"/>
              <a:gd name="connsiteX43" fmla="*/ 462960 w 1187561"/>
              <a:gd name="connsiteY43" fmla="*/ 1198851 h 1262941"/>
              <a:gd name="connsiteX44" fmla="*/ 404086 w 1187561"/>
              <a:gd name="connsiteY44" fmla="*/ 1262941 h 1262941"/>
              <a:gd name="connsiteX45" fmla="*/ 339326 w 1187561"/>
              <a:gd name="connsiteY45" fmla="*/ 1200342 h 1262941"/>
              <a:gd name="connsiteX46" fmla="*/ 339326 w 1187561"/>
              <a:gd name="connsiteY46" fmla="*/ 979753 h 1262941"/>
              <a:gd name="connsiteX47" fmla="*/ 290755 w 1187561"/>
              <a:gd name="connsiteY47" fmla="*/ 979753 h 1262941"/>
              <a:gd name="connsiteX48" fmla="*/ 290755 w 1187561"/>
              <a:gd name="connsiteY48" fmla="*/ 1198851 h 1262941"/>
              <a:gd name="connsiteX49" fmla="*/ 230410 w 1187561"/>
              <a:gd name="connsiteY49" fmla="*/ 1262941 h 1262941"/>
              <a:gd name="connsiteX50" fmla="*/ 167121 w 1187561"/>
              <a:gd name="connsiteY50" fmla="*/ 1200342 h 1262941"/>
              <a:gd name="connsiteX51" fmla="*/ 167121 w 1187561"/>
              <a:gd name="connsiteY51" fmla="*/ 979753 h 1262941"/>
              <a:gd name="connsiteX52" fmla="*/ 147987 w 1187561"/>
              <a:gd name="connsiteY52" fmla="*/ 979753 h 1262941"/>
              <a:gd name="connsiteX53" fmla="*/ 80283 w 1187561"/>
              <a:gd name="connsiteY53" fmla="*/ 885854 h 1262941"/>
              <a:gd name="connsiteX54" fmla="*/ 167121 w 1187561"/>
              <a:gd name="connsiteY54" fmla="*/ 610118 h 1262941"/>
              <a:gd name="connsiteX55" fmla="*/ 167121 w 1187561"/>
              <a:gd name="connsiteY55" fmla="*/ 577327 h 1262941"/>
              <a:gd name="connsiteX56" fmla="*/ 90586 w 1187561"/>
              <a:gd name="connsiteY56" fmla="*/ 765126 h 1262941"/>
              <a:gd name="connsiteX57" fmla="*/ 47903 w 1187561"/>
              <a:gd name="connsiteY57" fmla="*/ 794935 h 1262941"/>
              <a:gd name="connsiteX58" fmla="*/ 28769 w 1187561"/>
              <a:gd name="connsiteY58" fmla="*/ 790464 h 1262941"/>
              <a:gd name="connsiteX59" fmla="*/ 3748 w 1187561"/>
              <a:gd name="connsiteY59" fmla="*/ 729355 h 1262941"/>
              <a:gd name="connsiteX60" fmla="*/ 177424 w 1187561"/>
              <a:gd name="connsiteY60" fmla="*/ 301592 h 1262941"/>
              <a:gd name="connsiteX61" fmla="*/ 221579 w 1187561"/>
              <a:gd name="connsiteY61" fmla="*/ 271782 h 1262941"/>
              <a:gd name="connsiteX62" fmla="*/ 873254 w 1187561"/>
              <a:gd name="connsiteY62" fmla="*/ 0 h 1262941"/>
              <a:gd name="connsiteX63" fmla="*/ 995592 w 1187561"/>
              <a:gd name="connsiteY63" fmla="*/ 123804 h 1262941"/>
              <a:gd name="connsiteX64" fmla="*/ 873254 w 1187561"/>
              <a:gd name="connsiteY64" fmla="*/ 247608 h 1262941"/>
              <a:gd name="connsiteX65" fmla="*/ 750916 w 1187561"/>
              <a:gd name="connsiteY65" fmla="*/ 123804 h 1262941"/>
              <a:gd name="connsiteX66" fmla="*/ 873254 w 1187561"/>
              <a:gd name="connsiteY66" fmla="*/ 0 h 1262941"/>
              <a:gd name="connsiteX67" fmla="*/ 315041 w 1187561"/>
              <a:gd name="connsiteY67" fmla="*/ 0 h 1262941"/>
              <a:gd name="connsiteX68" fmla="*/ 436647 w 1187561"/>
              <a:gd name="connsiteY68" fmla="*/ 123804 h 1262941"/>
              <a:gd name="connsiteX69" fmla="*/ 315041 w 1187561"/>
              <a:gd name="connsiteY69" fmla="*/ 247608 h 1262941"/>
              <a:gd name="connsiteX70" fmla="*/ 193435 w 1187561"/>
              <a:gd name="connsiteY70" fmla="*/ 123804 h 1262941"/>
              <a:gd name="connsiteX71" fmla="*/ 315041 w 1187561"/>
              <a:gd name="connsiteY71" fmla="*/ 0 h 126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1187561" h="1262941">
                <a:moveTo>
                  <a:pt x="221579" y="271782"/>
                </a:moveTo>
                <a:cubicBezTo>
                  <a:pt x="268678" y="271782"/>
                  <a:pt x="408502" y="271782"/>
                  <a:pt x="408502" y="271782"/>
                </a:cubicBezTo>
                <a:cubicBezTo>
                  <a:pt x="434995" y="271782"/>
                  <a:pt x="448241" y="289668"/>
                  <a:pt x="452657" y="301592"/>
                </a:cubicBezTo>
                <a:cubicBezTo>
                  <a:pt x="452657" y="301592"/>
                  <a:pt x="452657" y="301592"/>
                  <a:pt x="568932" y="587761"/>
                </a:cubicBezTo>
                <a:cubicBezTo>
                  <a:pt x="568932" y="587761"/>
                  <a:pt x="568932" y="587761"/>
                  <a:pt x="593148" y="647496"/>
                </a:cubicBezTo>
                <a:lnTo>
                  <a:pt x="593814" y="649138"/>
                </a:lnTo>
                <a:lnTo>
                  <a:pt x="595074" y="645889"/>
                </a:lnTo>
                <a:cubicBezTo>
                  <a:pt x="595074" y="645889"/>
                  <a:pt x="595074" y="645889"/>
                  <a:pt x="736371" y="301592"/>
                </a:cubicBezTo>
                <a:cubicBezTo>
                  <a:pt x="743730" y="282216"/>
                  <a:pt x="761392" y="271782"/>
                  <a:pt x="779055" y="271782"/>
                </a:cubicBezTo>
                <a:cubicBezTo>
                  <a:pt x="779055" y="271782"/>
                  <a:pt x="779055" y="271782"/>
                  <a:pt x="780527" y="271782"/>
                </a:cubicBezTo>
                <a:cubicBezTo>
                  <a:pt x="780527" y="271782"/>
                  <a:pt x="780527" y="271782"/>
                  <a:pt x="965979" y="271782"/>
                </a:cubicBezTo>
                <a:cubicBezTo>
                  <a:pt x="965979" y="271782"/>
                  <a:pt x="965979" y="271782"/>
                  <a:pt x="967451" y="271782"/>
                </a:cubicBezTo>
                <a:cubicBezTo>
                  <a:pt x="985114" y="271782"/>
                  <a:pt x="1002776" y="282216"/>
                  <a:pt x="1010135" y="301592"/>
                </a:cubicBezTo>
                <a:cubicBezTo>
                  <a:pt x="1010135" y="301592"/>
                  <a:pt x="1010135" y="301592"/>
                  <a:pt x="1124939" y="584780"/>
                </a:cubicBezTo>
                <a:cubicBezTo>
                  <a:pt x="1124939" y="584780"/>
                  <a:pt x="1124939" y="584780"/>
                  <a:pt x="1183813" y="729355"/>
                </a:cubicBezTo>
                <a:cubicBezTo>
                  <a:pt x="1194116" y="753202"/>
                  <a:pt x="1182341" y="781521"/>
                  <a:pt x="1158792" y="790464"/>
                </a:cubicBezTo>
                <a:cubicBezTo>
                  <a:pt x="1152904" y="793445"/>
                  <a:pt x="1147017" y="794935"/>
                  <a:pt x="1141129" y="794935"/>
                </a:cubicBezTo>
                <a:cubicBezTo>
                  <a:pt x="1121995" y="794935"/>
                  <a:pt x="1104333" y="783012"/>
                  <a:pt x="1096974" y="765126"/>
                </a:cubicBezTo>
                <a:cubicBezTo>
                  <a:pt x="1096974" y="765126"/>
                  <a:pt x="1096974" y="765126"/>
                  <a:pt x="1020438" y="577327"/>
                </a:cubicBezTo>
                <a:cubicBezTo>
                  <a:pt x="1020438" y="577327"/>
                  <a:pt x="1020438" y="577327"/>
                  <a:pt x="1020438" y="1198851"/>
                </a:cubicBezTo>
                <a:cubicBezTo>
                  <a:pt x="1020438" y="1231641"/>
                  <a:pt x="995416" y="1261451"/>
                  <a:pt x="961564" y="1262941"/>
                </a:cubicBezTo>
                <a:cubicBezTo>
                  <a:pt x="926240" y="1262941"/>
                  <a:pt x="898274" y="1234622"/>
                  <a:pt x="898274" y="1200342"/>
                </a:cubicBezTo>
                <a:cubicBezTo>
                  <a:pt x="898274" y="1200342"/>
                  <a:pt x="898274" y="1200342"/>
                  <a:pt x="898274" y="860516"/>
                </a:cubicBezTo>
                <a:cubicBezTo>
                  <a:pt x="898274" y="845611"/>
                  <a:pt x="885028" y="835178"/>
                  <a:pt x="871781" y="835178"/>
                </a:cubicBezTo>
                <a:cubicBezTo>
                  <a:pt x="858534" y="836668"/>
                  <a:pt x="848232" y="848592"/>
                  <a:pt x="848232" y="862006"/>
                </a:cubicBezTo>
                <a:cubicBezTo>
                  <a:pt x="848232" y="862006"/>
                  <a:pt x="848232" y="862006"/>
                  <a:pt x="848232" y="1198851"/>
                </a:cubicBezTo>
                <a:cubicBezTo>
                  <a:pt x="848232" y="1231641"/>
                  <a:pt x="823210" y="1261451"/>
                  <a:pt x="789358" y="1262941"/>
                </a:cubicBezTo>
                <a:cubicBezTo>
                  <a:pt x="754033" y="1262941"/>
                  <a:pt x="726068" y="1234622"/>
                  <a:pt x="726068" y="1200342"/>
                </a:cubicBezTo>
                <a:cubicBezTo>
                  <a:pt x="726068" y="1200342"/>
                  <a:pt x="726068" y="1200342"/>
                  <a:pt x="726068" y="575837"/>
                </a:cubicBezTo>
                <a:cubicBezTo>
                  <a:pt x="726068" y="575837"/>
                  <a:pt x="726068" y="575837"/>
                  <a:pt x="698103" y="641417"/>
                </a:cubicBezTo>
                <a:cubicBezTo>
                  <a:pt x="698103" y="641417"/>
                  <a:pt x="698103" y="641417"/>
                  <a:pt x="648060" y="765126"/>
                </a:cubicBezTo>
                <a:cubicBezTo>
                  <a:pt x="640701" y="783012"/>
                  <a:pt x="623039" y="794935"/>
                  <a:pt x="605377" y="794935"/>
                </a:cubicBezTo>
                <a:cubicBezTo>
                  <a:pt x="602433" y="794935"/>
                  <a:pt x="598017" y="794935"/>
                  <a:pt x="595074" y="793445"/>
                </a:cubicBezTo>
                <a:lnTo>
                  <a:pt x="591714" y="792084"/>
                </a:lnTo>
                <a:lnTo>
                  <a:pt x="583650" y="793445"/>
                </a:lnTo>
                <a:cubicBezTo>
                  <a:pt x="564516" y="793445"/>
                  <a:pt x="546854" y="783012"/>
                  <a:pt x="539495" y="765126"/>
                </a:cubicBezTo>
                <a:cubicBezTo>
                  <a:pt x="539495" y="765126"/>
                  <a:pt x="539495" y="765126"/>
                  <a:pt x="489453" y="641417"/>
                </a:cubicBezTo>
                <a:cubicBezTo>
                  <a:pt x="489453" y="641417"/>
                  <a:pt x="489453" y="641417"/>
                  <a:pt x="490925" y="641417"/>
                </a:cubicBezTo>
                <a:cubicBezTo>
                  <a:pt x="490925" y="641417"/>
                  <a:pt x="490925" y="641417"/>
                  <a:pt x="462960" y="574347"/>
                </a:cubicBezTo>
                <a:cubicBezTo>
                  <a:pt x="462960" y="574347"/>
                  <a:pt x="462960" y="574347"/>
                  <a:pt x="462960" y="610118"/>
                </a:cubicBezTo>
                <a:cubicBezTo>
                  <a:pt x="462960" y="610118"/>
                  <a:pt x="462960" y="610118"/>
                  <a:pt x="549798" y="885854"/>
                </a:cubicBezTo>
                <a:cubicBezTo>
                  <a:pt x="564516" y="933549"/>
                  <a:pt x="530664" y="979753"/>
                  <a:pt x="482094" y="979753"/>
                </a:cubicBezTo>
                <a:cubicBezTo>
                  <a:pt x="482094" y="979753"/>
                  <a:pt x="482094" y="979753"/>
                  <a:pt x="462960" y="979753"/>
                </a:cubicBezTo>
                <a:cubicBezTo>
                  <a:pt x="462960" y="979753"/>
                  <a:pt x="462960" y="979753"/>
                  <a:pt x="462960" y="1198851"/>
                </a:cubicBezTo>
                <a:cubicBezTo>
                  <a:pt x="462960" y="1231641"/>
                  <a:pt x="436467" y="1261451"/>
                  <a:pt x="404086" y="1262941"/>
                </a:cubicBezTo>
                <a:cubicBezTo>
                  <a:pt x="368762" y="1262941"/>
                  <a:pt x="339326" y="1234622"/>
                  <a:pt x="339326" y="1200342"/>
                </a:cubicBezTo>
                <a:cubicBezTo>
                  <a:pt x="339326" y="1200342"/>
                  <a:pt x="339326" y="1200342"/>
                  <a:pt x="339326" y="979753"/>
                </a:cubicBezTo>
                <a:cubicBezTo>
                  <a:pt x="339326" y="979753"/>
                  <a:pt x="339326" y="979753"/>
                  <a:pt x="290755" y="979753"/>
                </a:cubicBezTo>
                <a:cubicBezTo>
                  <a:pt x="290755" y="979753"/>
                  <a:pt x="290755" y="979753"/>
                  <a:pt x="290755" y="1198851"/>
                </a:cubicBezTo>
                <a:cubicBezTo>
                  <a:pt x="290755" y="1231641"/>
                  <a:pt x="264262" y="1261451"/>
                  <a:pt x="230410" y="1262941"/>
                </a:cubicBezTo>
                <a:cubicBezTo>
                  <a:pt x="196558" y="1262941"/>
                  <a:pt x="167121" y="1234622"/>
                  <a:pt x="167121" y="1200342"/>
                </a:cubicBezTo>
                <a:cubicBezTo>
                  <a:pt x="167121" y="1200342"/>
                  <a:pt x="167121" y="1200342"/>
                  <a:pt x="167121" y="979753"/>
                </a:cubicBezTo>
                <a:cubicBezTo>
                  <a:pt x="167121" y="979753"/>
                  <a:pt x="167121" y="979753"/>
                  <a:pt x="147987" y="979753"/>
                </a:cubicBezTo>
                <a:cubicBezTo>
                  <a:pt x="99417" y="979753"/>
                  <a:pt x="65565" y="933549"/>
                  <a:pt x="80283" y="885854"/>
                </a:cubicBezTo>
                <a:cubicBezTo>
                  <a:pt x="80283" y="885854"/>
                  <a:pt x="80283" y="885854"/>
                  <a:pt x="167121" y="610118"/>
                </a:cubicBezTo>
                <a:cubicBezTo>
                  <a:pt x="167121" y="610118"/>
                  <a:pt x="167121" y="610118"/>
                  <a:pt x="167121" y="577327"/>
                </a:cubicBezTo>
                <a:cubicBezTo>
                  <a:pt x="167121" y="577327"/>
                  <a:pt x="167121" y="577327"/>
                  <a:pt x="90586" y="765126"/>
                </a:cubicBezTo>
                <a:cubicBezTo>
                  <a:pt x="83227" y="783012"/>
                  <a:pt x="65565" y="794935"/>
                  <a:pt x="47903" y="794935"/>
                </a:cubicBezTo>
                <a:cubicBezTo>
                  <a:pt x="42015" y="794935"/>
                  <a:pt x="34656" y="793445"/>
                  <a:pt x="28769" y="790464"/>
                </a:cubicBezTo>
                <a:cubicBezTo>
                  <a:pt x="5220" y="781521"/>
                  <a:pt x="-6555" y="753202"/>
                  <a:pt x="3748" y="729355"/>
                </a:cubicBezTo>
                <a:cubicBezTo>
                  <a:pt x="3748" y="729355"/>
                  <a:pt x="3748" y="729355"/>
                  <a:pt x="177424" y="301592"/>
                </a:cubicBezTo>
                <a:cubicBezTo>
                  <a:pt x="184783" y="282216"/>
                  <a:pt x="202445" y="271782"/>
                  <a:pt x="221579" y="271782"/>
                </a:cubicBezTo>
                <a:close/>
                <a:moveTo>
                  <a:pt x="873254" y="0"/>
                </a:moveTo>
                <a:cubicBezTo>
                  <a:pt x="940819" y="0"/>
                  <a:pt x="995592" y="55429"/>
                  <a:pt x="995592" y="123804"/>
                </a:cubicBezTo>
                <a:cubicBezTo>
                  <a:pt x="995592" y="192179"/>
                  <a:pt x="940819" y="247608"/>
                  <a:pt x="873254" y="247608"/>
                </a:cubicBezTo>
                <a:cubicBezTo>
                  <a:pt x="805689" y="247608"/>
                  <a:pt x="750916" y="192179"/>
                  <a:pt x="750916" y="123804"/>
                </a:cubicBezTo>
                <a:cubicBezTo>
                  <a:pt x="750916" y="55429"/>
                  <a:pt x="805689" y="0"/>
                  <a:pt x="873254" y="0"/>
                </a:cubicBezTo>
                <a:close/>
                <a:moveTo>
                  <a:pt x="315041" y="0"/>
                </a:moveTo>
                <a:cubicBezTo>
                  <a:pt x="382202" y="0"/>
                  <a:pt x="436647" y="55429"/>
                  <a:pt x="436647" y="123804"/>
                </a:cubicBezTo>
                <a:cubicBezTo>
                  <a:pt x="436647" y="192179"/>
                  <a:pt x="382202" y="247608"/>
                  <a:pt x="315041" y="247608"/>
                </a:cubicBezTo>
                <a:cubicBezTo>
                  <a:pt x="247880" y="247608"/>
                  <a:pt x="193435" y="192179"/>
                  <a:pt x="193435" y="123804"/>
                </a:cubicBezTo>
                <a:cubicBezTo>
                  <a:pt x="193435" y="55429"/>
                  <a:pt x="247880" y="0"/>
                  <a:pt x="315041" y="0"/>
                </a:cubicBez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BC388AC-2BBF-6334-EE4D-F65B530B3B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9858" y="2565027"/>
            <a:ext cx="736868" cy="783640"/>
          </a:xfrm>
          <a:custGeom>
            <a:avLst/>
            <a:gdLst>
              <a:gd name="connsiteX0" fmla="*/ 221579 w 1187561"/>
              <a:gd name="connsiteY0" fmla="*/ 271782 h 1262941"/>
              <a:gd name="connsiteX1" fmla="*/ 408502 w 1187561"/>
              <a:gd name="connsiteY1" fmla="*/ 271782 h 1262941"/>
              <a:gd name="connsiteX2" fmla="*/ 452657 w 1187561"/>
              <a:gd name="connsiteY2" fmla="*/ 301592 h 1262941"/>
              <a:gd name="connsiteX3" fmla="*/ 568932 w 1187561"/>
              <a:gd name="connsiteY3" fmla="*/ 587761 h 1262941"/>
              <a:gd name="connsiteX4" fmla="*/ 593148 w 1187561"/>
              <a:gd name="connsiteY4" fmla="*/ 647496 h 1262941"/>
              <a:gd name="connsiteX5" fmla="*/ 593814 w 1187561"/>
              <a:gd name="connsiteY5" fmla="*/ 649138 h 1262941"/>
              <a:gd name="connsiteX6" fmla="*/ 595074 w 1187561"/>
              <a:gd name="connsiteY6" fmla="*/ 645889 h 1262941"/>
              <a:gd name="connsiteX7" fmla="*/ 736371 w 1187561"/>
              <a:gd name="connsiteY7" fmla="*/ 301592 h 1262941"/>
              <a:gd name="connsiteX8" fmla="*/ 779055 w 1187561"/>
              <a:gd name="connsiteY8" fmla="*/ 271782 h 1262941"/>
              <a:gd name="connsiteX9" fmla="*/ 780527 w 1187561"/>
              <a:gd name="connsiteY9" fmla="*/ 271782 h 1262941"/>
              <a:gd name="connsiteX10" fmla="*/ 965979 w 1187561"/>
              <a:gd name="connsiteY10" fmla="*/ 271782 h 1262941"/>
              <a:gd name="connsiteX11" fmla="*/ 967451 w 1187561"/>
              <a:gd name="connsiteY11" fmla="*/ 271782 h 1262941"/>
              <a:gd name="connsiteX12" fmla="*/ 1010135 w 1187561"/>
              <a:gd name="connsiteY12" fmla="*/ 301592 h 1262941"/>
              <a:gd name="connsiteX13" fmla="*/ 1124939 w 1187561"/>
              <a:gd name="connsiteY13" fmla="*/ 584780 h 1262941"/>
              <a:gd name="connsiteX14" fmla="*/ 1183813 w 1187561"/>
              <a:gd name="connsiteY14" fmla="*/ 729355 h 1262941"/>
              <a:gd name="connsiteX15" fmla="*/ 1158792 w 1187561"/>
              <a:gd name="connsiteY15" fmla="*/ 790464 h 1262941"/>
              <a:gd name="connsiteX16" fmla="*/ 1141129 w 1187561"/>
              <a:gd name="connsiteY16" fmla="*/ 794935 h 1262941"/>
              <a:gd name="connsiteX17" fmla="*/ 1096974 w 1187561"/>
              <a:gd name="connsiteY17" fmla="*/ 765126 h 1262941"/>
              <a:gd name="connsiteX18" fmla="*/ 1020438 w 1187561"/>
              <a:gd name="connsiteY18" fmla="*/ 577327 h 1262941"/>
              <a:gd name="connsiteX19" fmla="*/ 1020438 w 1187561"/>
              <a:gd name="connsiteY19" fmla="*/ 1198851 h 1262941"/>
              <a:gd name="connsiteX20" fmla="*/ 961564 w 1187561"/>
              <a:gd name="connsiteY20" fmla="*/ 1262941 h 1262941"/>
              <a:gd name="connsiteX21" fmla="*/ 898274 w 1187561"/>
              <a:gd name="connsiteY21" fmla="*/ 1200342 h 1262941"/>
              <a:gd name="connsiteX22" fmla="*/ 898274 w 1187561"/>
              <a:gd name="connsiteY22" fmla="*/ 860516 h 1262941"/>
              <a:gd name="connsiteX23" fmla="*/ 871781 w 1187561"/>
              <a:gd name="connsiteY23" fmla="*/ 835178 h 1262941"/>
              <a:gd name="connsiteX24" fmla="*/ 848232 w 1187561"/>
              <a:gd name="connsiteY24" fmla="*/ 862006 h 1262941"/>
              <a:gd name="connsiteX25" fmla="*/ 848232 w 1187561"/>
              <a:gd name="connsiteY25" fmla="*/ 1198851 h 1262941"/>
              <a:gd name="connsiteX26" fmla="*/ 789358 w 1187561"/>
              <a:gd name="connsiteY26" fmla="*/ 1262941 h 1262941"/>
              <a:gd name="connsiteX27" fmla="*/ 726068 w 1187561"/>
              <a:gd name="connsiteY27" fmla="*/ 1200342 h 1262941"/>
              <a:gd name="connsiteX28" fmla="*/ 726068 w 1187561"/>
              <a:gd name="connsiteY28" fmla="*/ 575837 h 1262941"/>
              <a:gd name="connsiteX29" fmla="*/ 698103 w 1187561"/>
              <a:gd name="connsiteY29" fmla="*/ 641417 h 1262941"/>
              <a:gd name="connsiteX30" fmla="*/ 648060 w 1187561"/>
              <a:gd name="connsiteY30" fmla="*/ 765126 h 1262941"/>
              <a:gd name="connsiteX31" fmla="*/ 605377 w 1187561"/>
              <a:gd name="connsiteY31" fmla="*/ 794935 h 1262941"/>
              <a:gd name="connsiteX32" fmla="*/ 595074 w 1187561"/>
              <a:gd name="connsiteY32" fmla="*/ 793445 h 1262941"/>
              <a:gd name="connsiteX33" fmla="*/ 591714 w 1187561"/>
              <a:gd name="connsiteY33" fmla="*/ 792084 h 1262941"/>
              <a:gd name="connsiteX34" fmla="*/ 583650 w 1187561"/>
              <a:gd name="connsiteY34" fmla="*/ 793445 h 1262941"/>
              <a:gd name="connsiteX35" fmla="*/ 539495 w 1187561"/>
              <a:gd name="connsiteY35" fmla="*/ 765126 h 1262941"/>
              <a:gd name="connsiteX36" fmla="*/ 489453 w 1187561"/>
              <a:gd name="connsiteY36" fmla="*/ 641417 h 1262941"/>
              <a:gd name="connsiteX37" fmla="*/ 490925 w 1187561"/>
              <a:gd name="connsiteY37" fmla="*/ 641417 h 1262941"/>
              <a:gd name="connsiteX38" fmla="*/ 462960 w 1187561"/>
              <a:gd name="connsiteY38" fmla="*/ 574347 h 1262941"/>
              <a:gd name="connsiteX39" fmla="*/ 462960 w 1187561"/>
              <a:gd name="connsiteY39" fmla="*/ 610118 h 1262941"/>
              <a:gd name="connsiteX40" fmla="*/ 549798 w 1187561"/>
              <a:gd name="connsiteY40" fmla="*/ 885854 h 1262941"/>
              <a:gd name="connsiteX41" fmla="*/ 482094 w 1187561"/>
              <a:gd name="connsiteY41" fmla="*/ 979753 h 1262941"/>
              <a:gd name="connsiteX42" fmla="*/ 462960 w 1187561"/>
              <a:gd name="connsiteY42" fmla="*/ 979753 h 1262941"/>
              <a:gd name="connsiteX43" fmla="*/ 462960 w 1187561"/>
              <a:gd name="connsiteY43" fmla="*/ 1198851 h 1262941"/>
              <a:gd name="connsiteX44" fmla="*/ 404086 w 1187561"/>
              <a:gd name="connsiteY44" fmla="*/ 1262941 h 1262941"/>
              <a:gd name="connsiteX45" fmla="*/ 339326 w 1187561"/>
              <a:gd name="connsiteY45" fmla="*/ 1200342 h 1262941"/>
              <a:gd name="connsiteX46" fmla="*/ 339326 w 1187561"/>
              <a:gd name="connsiteY46" fmla="*/ 979753 h 1262941"/>
              <a:gd name="connsiteX47" fmla="*/ 290755 w 1187561"/>
              <a:gd name="connsiteY47" fmla="*/ 979753 h 1262941"/>
              <a:gd name="connsiteX48" fmla="*/ 290755 w 1187561"/>
              <a:gd name="connsiteY48" fmla="*/ 1198851 h 1262941"/>
              <a:gd name="connsiteX49" fmla="*/ 230410 w 1187561"/>
              <a:gd name="connsiteY49" fmla="*/ 1262941 h 1262941"/>
              <a:gd name="connsiteX50" fmla="*/ 167121 w 1187561"/>
              <a:gd name="connsiteY50" fmla="*/ 1200342 h 1262941"/>
              <a:gd name="connsiteX51" fmla="*/ 167121 w 1187561"/>
              <a:gd name="connsiteY51" fmla="*/ 979753 h 1262941"/>
              <a:gd name="connsiteX52" fmla="*/ 147987 w 1187561"/>
              <a:gd name="connsiteY52" fmla="*/ 979753 h 1262941"/>
              <a:gd name="connsiteX53" fmla="*/ 80283 w 1187561"/>
              <a:gd name="connsiteY53" fmla="*/ 885854 h 1262941"/>
              <a:gd name="connsiteX54" fmla="*/ 167121 w 1187561"/>
              <a:gd name="connsiteY54" fmla="*/ 610118 h 1262941"/>
              <a:gd name="connsiteX55" fmla="*/ 167121 w 1187561"/>
              <a:gd name="connsiteY55" fmla="*/ 577327 h 1262941"/>
              <a:gd name="connsiteX56" fmla="*/ 90586 w 1187561"/>
              <a:gd name="connsiteY56" fmla="*/ 765126 h 1262941"/>
              <a:gd name="connsiteX57" fmla="*/ 47903 w 1187561"/>
              <a:gd name="connsiteY57" fmla="*/ 794935 h 1262941"/>
              <a:gd name="connsiteX58" fmla="*/ 28769 w 1187561"/>
              <a:gd name="connsiteY58" fmla="*/ 790464 h 1262941"/>
              <a:gd name="connsiteX59" fmla="*/ 3748 w 1187561"/>
              <a:gd name="connsiteY59" fmla="*/ 729355 h 1262941"/>
              <a:gd name="connsiteX60" fmla="*/ 177424 w 1187561"/>
              <a:gd name="connsiteY60" fmla="*/ 301592 h 1262941"/>
              <a:gd name="connsiteX61" fmla="*/ 221579 w 1187561"/>
              <a:gd name="connsiteY61" fmla="*/ 271782 h 1262941"/>
              <a:gd name="connsiteX62" fmla="*/ 873254 w 1187561"/>
              <a:gd name="connsiteY62" fmla="*/ 0 h 1262941"/>
              <a:gd name="connsiteX63" fmla="*/ 995592 w 1187561"/>
              <a:gd name="connsiteY63" fmla="*/ 123804 h 1262941"/>
              <a:gd name="connsiteX64" fmla="*/ 873254 w 1187561"/>
              <a:gd name="connsiteY64" fmla="*/ 247608 h 1262941"/>
              <a:gd name="connsiteX65" fmla="*/ 750916 w 1187561"/>
              <a:gd name="connsiteY65" fmla="*/ 123804 h 1262941"/>
              <a:gd name="connsiteX66" fmla="*/ 873254 w 1187561"/>
              <a:gd name="connsiteY66" fmla="*/ 0 h 1262941"/>
              <a:gd name="connsiteX67" fmla="*/ 315041 w 1187561"/>
              <a:gd name="connsiteY67" fmla="*/ 0 h 1262941"/>
              <a:gd name="connsiteX68" fmla="*/ 436647 w 1187561"/>
              <a:gd name="connsiteY68" fmla="*/ 123804 h 1262941"/>
              <a:gd name="connsiteX69" fmla="*/ 315041 w 1187561"/>
              <a:gd name="connsiteY69" fmla="*/ 247608 h 1262941"/>
              <a:gd name="connsiteX70" fmla="*/ 193435 w 1187561"/>
              <a:gd name="connsiteY70" fmla="*/ 123804 h 1262941"/>
              <a:gd name="connsiteX71" fmla="*/ 315041 w 1187561"/>
              <a:gd name="connsiteY71" fmla="*/ 0 h 126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1187561" h="1262941">
                <a:moveTo>
                  <a:pt x="221579" y="271782"/>
                </a:moveTo>
                <a:cubicBezTo>
                  <a:pt x="268678" y="271782"/>
                  <a:pt x="408502" y="271782"/>
                  <a:pt x="408502" y="271782"/>
                </a:cubicBezTo>
                <a:cubicBezTo>
                  <a:pt x="434995" y="271782"/>
                  <a:pt x="448241" y="289668"/>
                  <a:pt x="452657" y="301592"/>
                </a:cubicBezTo>
                <a:cubicBezTo>
                  <a:pt x="452657" y="301592"/>
                  <a:pt x="452657" y="301592"/>
                  <a:pt x="568932" y="587761"/>
                </a:cubicBezTo>
                <a:cubicBezTo>
                  <a:pt x="568932" y="587761"/>
                  <a:pt x="568932" y="587761"/>
                  <a:pt x="593148" y="647496"/>
                </a:cubicBezTo>
                <a:lnTo>
                  <a:pt x="593814" y="649138"/>
                </a:lnTo>
                <a:lnTo>
                  <a:pt x="595074" y="645889"/>
                </a:lnTo>
                <a:cubicBezTo>
                  <a:pt x="595074" y="645889"/>
                  <a:pt x="595074" y="645889"/>
                  <a:pt x="736371" y="301592"/>
                </a:cubicBezTo>
                <a:cubicBezTo>
                  <a:pt x="743730" y="282216"/>
                  <a:pt x="761392" y="271782"/>
                  <a:pt x="779055" y="271782"/>
                </a:cubicBezTo>
                <a:cubicBezTo>
                  <a:pt x="779055" y="271782"/>
                  <a:pt x="779055" y="271782"/>
                  <a:pt x="780527" y="271782"/>
                </a:cubicBezTo>
                <a:cubicBezTo>
                  <a:pt x="780527" y="271782"/>
                  <a:pt x="780527" y="271782"/>
                  <a:pt x="965979" y="271782"/>
                </a:cubicBezTo>
                <a:cubicBezTo>
                  <a:pt x="965979" y="271782"/>
                  <a:pt x="965979" y="271782"/>
                  <a:pt x="967451" y="271782"/>
                </a:cubicBezTo>
                <a:cubicBezTo>
                  <a:pt x="985114" y="271782"/>
                  <a:pt x="1002776" y="282216"/>
                  <a:pt x="1010135" y="301592"/>
                </a:cubicBezTo>
                <a:cubicBezTo>
                  <a:pt x="1010135" y="301592"/>
                  <a:pt x="1010135" y="301592"/>
                  <a:pt x="1124939" y="584780"/>
                </a:cubicBezTo>
                <a:cubicBezTo>
                  <a:pt x="1124939" y="584780"/>
                  <a:pt x="1124939" y="584780"/>
                  <a:pt x="1183813" y="729355"/>
                </a:cubicBezTo>
                <a:cubicBezTo>
                  <a:pt x="1194116" y="753202"/>
                  <a:pt x="1182341" y="781521"/>
                  <a:pt x="1158792" y="790464"/>
                </a:cubicBezTo>
                <a:cubicBezTo>
                  <a:pt x="1152904" y="793445"/>
                  <a:pt x="1147017" y="794935"/>
                  <a:pt x="1141129" y="794935"/>
                </a:cubicBezTo>
                <a:cubicBezTo>
                  <a:pt x="1121995" y="794935"/>
                  <a:pt x="1104333" y="783012"/>
                  <a:pt x="1096974" y="765126"/>
                </a:cubicBezTo>
                <a:cubicBezTo>
                  <a:pt x="1096974" y="765126"/>
                  <a:pt x="1096974" y="765126"/>
                  <a:pt x="1020438" y="577327"/>
                </a:cubicBezTo>
                <a:cubicBezTo>
                  <a:pt x="1020438" y="577327"/>
                  <a:pt x="1020438" y="577327"/>
                  <a:pt x="1020438" y="1198851"/>
                </a:cubicBezTo>
                <a:cubicBezTo>
                  <a:pt x="1020438" y="1231641"/>
                  <a:pt x="995416" y="1261451"/>
                  <a:pt x="961564" y="1262941"/>
                </a:cubicBezTo>
                <a:cubicBezTo>
                  <a:pt x="926240" y="1262941"/>
                  <a:pt x="898274" y="1234622"/>
                  <a:pt x="898274" y="1200342"/>
                </a:cubicBezTo>
                <a:cubicBezTo>
                  <a:pt x="898274" y="1200342"/>
                  <a:pt x="898274" y="1200342"/>
                  <a:pt x="898274" y="860516"/>
                </a:cubicBezTo>
                <a:cubicBezTo>
                  <a:pt x="898274" y="845611"/>
                  <a:pt x="885028" y="835178"/>
                  <a:pt x="871781" y="835178"/>
                </a:cubicBezTo>
                <a:cubicBezTo>
                  <a:pt x="858534" y="836668"/>
                  <a:pt x="848232" y="848592"/>
                  <a:pt x="848232" y="862006"/>
                </a:cubicBezTo>
                <a:cubicBezTo>
                  <a:pt x="848232" y="862006"/>
                  <a:pt x="848232" y="862006"/>
                  <a:pt x="848232" y="1198851"/>
                </a:cubicBezTo>
                <a:cubicBezTo>
                  <a:pt x="848232" y="1231641"/>
                  <a:pt x="823210" y="1261451"/>
                  <a:pt x="789358" y="1262941"/>
                </a:cubicBezTo>
                <a:cubicBezTo>
                  <a:pt x="754033" y="1262941"/>
                  <a:pt x="726068" y="1234622"/>
                  <a:pt x="726068" y="1200342"/>
                </a:cubicBezTo>
                <a:cubicBezTo>
                  <a:pt x="726068" y="1200342"/>
                  <a:pt x="726068" y="1200342"/>
                  <a:pt x="726068" y="575837"/>
                </a:cubicBezTo>
                <a:cubicBezTo>
                  <a:pt x="726068" y="575837"/>
                  <a:pt x="726068" y="575837"/>
                  <a:pt x="698103" y="641417"/>
                </a:cubicBezTo>
                <a:cubicBezTo>
                  <a:pt x="698103" y="641417"/>
                  <a:pt x="698103" y="641417"/>
                  <a:pt x="648060" y="765126"/>
                </a:cubicBezTo>
                <a:cubicBezTo>
                  <a:pt x="640701" y="783012"/>
                  <a:pt x="623039" y="794935"/>
                  <a:pt x="605377" y="794935"/>
                </a:cubicBezTo>
                <a:cubicBezTo>
                  <a:pt x="602433" y="794935"/>
                  <a:pt x="598017" y="794935"/>
                  <a:pt x="595074" y="793445"/>
                </a:cubicBezTo>
                <a:lnTo>
                  <a:pt x="591714" y="792084"/>
                </a:lnTo>
                <a:lnTo>
                  <a:pt x="583650" y="793445"/>
                </a:lnTo>
                <a:cubicBezTo>
                  <a:pt x="564516" y="793445"/>
                  <a:pt x="546854" y="783012"/>
                  <a:pt x="539495" y="765126"/>
                </a:cubicBezTo>
                <a:cubicBezTo>
                  <a:pt x="539495" y="765126"/>
                  <a:pt x="539495" y="765126"/>
                  <a:pt x="489453" y="641417"/>
                </a:cubicBezTo>
                <a:cubicBezTo>
                  <a:pt x="489453" y="641417"/>
                  <a:pt x="489453" y="641417"/>
                  <a:pt x="490925" y="641417"/>
                </a:cubicBezTo>
                <a:cubicBezTo>
                  <a:pt x="490925" y="641417"/>
                  <a:pt x="490925" y="641417"/>
                  <a:pt x="462960" y="574347"/>
                </a:cubicBezTo>
                <a:cubicBezTo>
                  <a:pt x="462960" y="574347"/>
                  <a:pt x="462960" y="574347"/>
                  <a:pt x="462960" y="610118"/>
                </a:cubicBezTo>
                <a:cubicBezTo>
                  <a:pt x="462960" y="610118"/>
                  <a:pt x="462960" y="610118"/>
                  <a:pt x="549798" y="885854"/>
                </a:cubicBezTo>
                <a:cubicBezTo>
                  <a:pt x="564516" y="933549"/>
                  <a:pt x="530664" y="979753"/>
                  <a:pt x="482094" y="979753"/>
                </a:cubicBezTo>
                <a:cubicBezTo>
                  <a:pt x="482094" y="979753"/>
                  <a:pt x="482094" y="979753"/>
                  <a:pt x="462960" y="979753"/>
                </a:cubicBezTo>
                <a:cubicBezTo>
                  <a:pt x="462960" y="979753"/>
                  <a:pt x="462960" y="979753"/>
                  <a:pt x="462960" y="1198851"/>
                </a:cubicBezTo>
                <a:cubicBezTo>
                  <a:pt x="462960" y="1231641"/>
                  <a:pt x="436467" y="1261451"/>
                  <a:pt x="404086" y="1262941"/>
                </a:cubicBezTo>
                <a:cubicBezTo>
                  <a:pt x="368762" y="1262941"/>
                  <a:pt x="339326" y="1234622"/>
                  <a:pt x="339326" y="1200342"/>
                </a:cubicBezTo>
                <a:cubicBezTo>
                  <a:pt x="339326" y="1200342"/>
                  <a:pt x="339326" y="1200342"/>
                  <a:pt x="339326" y="979753"/>
                </a:cubicBezTo>
                <a:cubicBezTo>
                  <a:pt x="339326" y="979753"/>
                  <a:pt x="339326" y="979753"/>
                  <a:pt x="290755" y="979753"/>
                </a:cubicBezTo>
                <a:cubicBezTo>
                  <a:pt x="290755" y="979753"/>
                  <a:pt x="290755" y="979753"/>
                  <a:pt x="290755" y="1198851"/>
                </a:cubicBezTo>
                <a:cubicBezTo>
                  <a:pt x="290755" y="1231641"/>
                  <a:pt x="264262" y="1261451"/>
                  <a:pt x="230410" y="1262941"/>
                </a:cubicBezTo>
                <a:cubicBezTo>
                  <a:pt x="196558" y="1262941"/>
                  <a:pt x="167121" y="1234622"/>
                  <a:pt x="167121" y="1200342"/>
                </a:cubicBezTo>
                <a:cubicBezTo>
                  <a:pt x="167121" y="1200342"/>
                  <a:pt x="167121" y="1200342"/>
                  <a:pt x="167121" y="979753"/>
                </a:cubicBezTo>
                <a:cubicBezTo>
                  <a:pt x="167121" y="979753"/>
                  <a:pt x="167121" y="979753"/>
                  <a:pt x="147987" y="979753"/>
                </a:cubicBezTo>
                <a:cubicBezTo>
                  <a:pt x="99417" y="979753"/>
                  <a:pt x="65565" y="933549"/>
                  <a:pt x="80283" y="885854"/>
                </a:cubicBezTo>
                <a:cubicBezTo>
                  <a:pt x="80283" y="885854"/>
                  <a:pt x="80283" y="885854"/>
                  <a:pt x="167121" y="610118"/>
                </a:cubicBezTo>
                <a:cubicBezTo>
                  <a:pt x="167121" y="610118"/>
                  <a:pt x="167121" y="610118"/>
                  <a:pt x="167121" y="577327"/>
                </a:cubicBezTo>
                <a:cubicBezTo>
                  <a:pt x="167121" y="577327"/>
                  <a:pt x="167121" y="577327"/>
                  <a:pt x="90586" y="765126"/>
                </a:cubicBezTo>
                <a:cubicBezTo>
                  <a:pt x="83227" y="783012"/>
                  <a:pt x="65565" y="794935"/>
                  <a:pt x="47903" y="794935"/>
                </a:cubicBezTo>
                <a:cubicBezTo>
                  <a:pt x="42015" y="794935"/>
                  <a:pt x="34656" y="793445"/>
                  <a:pt x="28769" y="790464"/>
                </a:cubicBezTo>
                <a:cubicBezTo>
                  <a:pt x="5220" y="781521"/>
                  <a:pt x="-6555" y="753202"/>
                  <a:pt x="3748" y="729355"/>
                </a:cubicBezTo>
                <a:cubicBezTo>
                  <a:pt x="3748" y="729355"/>
                  <a:pt x="3748" y="729355"/>
                  <a:pt x="177424" y="301592"/>
                </a:cubicBezTo>
                <a:cubicBezTo>
                  <a:pt x="184783" y="282216"/>
                  <a:pt x="202445" y="271782"/>
                  <a:pt x="221579" y="271782"/>
                </a:cubicBezTo>
                <a:close/>
                <a:moveTo>
                  <a:pt x="873254" y="0"/>
                </a:moveTo>
                <a:cubicBezTo>
                  <a:pt x="940819" y="0"/>
                  <a:pt x="995592" y="55429"/>
                  <a:pt x="995592" y="123804"/>
                </a:cubicBezTo>
                <a:cubicBezTo>
                  <a:pt x="995592" y="192179"/>
                  <a:pt x="940819" y="247608"/>
                  <a:pt x="873254" y="247608"/>
                </a:cubicBezTo>
                <a:cubicBezTo>
                  <a:pt x="805689" y="247608"/>
                  <a:pt x="750916" y="192179"/>
                  <a:pt x="750916" y="123804"/>
                </a:cubicBezTo>
                <a:cubicBezTo>
                  <a:pt x="750916" y="55429"/>
                  <a:pt x="805689" y="0"/>
                  <a:pt x="873254" y="0"/>
                </a:cubicBezTo>
                <a:close/>
                <a:moveTo>
                  <a:pt x="315041" y="0"/>
                </a:moveTo>
                <a:cubicBezTo>
                  <a:pt x="382202" y="0"/>
                  <a:pt x="436647" y="55429"/>
                  <a:pt x="436647" y="123804"/>
                </a:cubicBezTo>
                <a:cubicBezTo>
                  <a:pt x="436647" y="192179"/>
                  <a:pt x="382202" y="247608"/>
                  <a:pt x="315041" y="247608"/>
                </a:cubicBezTo>
                <a:cubicBezTo>
                  <a:pt x="247880" y="247608"/>
                  <a:pt x="193435" y="192179"/>
                  <a:pt x="193435" y="123804"/>
                </a:cubicBezTo>
                <a:cubicBezTo>
                  <a:pt x="193435" y="55429"/>
                  <a:pt x="247880" y="0"/>
                  <a:pt x="315041" y="0"/>
                </a:cubicBez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A308110-5DC9-8E9A-868D-68C4AFF8A0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0685" y="2565027"/>
            <a:ext cx="736868" cy="783640"/>
          </a:xfrm>
          <a:custGeom>
            <a:avLst/>
            <a:gdLst>
              <a:gd name="connsiteX0" fmla="*/ 221579 w 1187561"/>
              <a:gd name="connsiteY0" fmla="*/ 271782 h 1262941"/>
              <a:gd name="connsiteX1" fmla="*/ 408502 w 1187561"/>
              <a:gd name="connsiteY1" fmla="*/ 271782 h 1262941"/>
              <a:gd name="connsiteX2" fmla="*/ 452657 w 1187561"/>
              <a:gd name="connsiteY2" fmla="*/ 301592 h 1262941"/>
              <a:gd name="connsiteX3" fmla="*/ 568932 w 1187561"/>
              <a:gd name="connsiteY3" fmla="*/ 587761 h 1262941"/>
              <a:gd name="connsiteX4" fmla="*/ 593148 w 1187561"/>
              <a:gd name="connsiteY4" fmla="*/ 647496 h 1262941"/>
              <a:gd name="connsiteX5" fmla="*/ 593814 w 1187561"/>
              <a:gd name="connsiteY5" fmla="*/ 649138 h 1262941"/>
              <a:gd name="connsiteX6" fmla="*/ 595074 w 1187561"/>
              <a:gd name="connsiteY6" fmla="*/ 645889 h 1262941"/>
              <a:gd name="connsiteX7" fmla="*/ 736371 w 1187561"/>
              <a:gd name="connsiteY7" fmla="*/ 301592 h 1262941"/>
              <a:gd name="connsiteX8" fmla="*/ 779055 w 1187561"/>
              <a:gd name="connsiteY8" fmla="*/ 271782 h 1262941"/>
              <a:gd name="connsiteX9" fmla="*/ 780527 w 1187561"/>
              <a:gd name="connsiteY9" fmla="*/ 271782 h 1262941"/>
              <a:gd name="connsiteX10" fmla="*/ 965979 w 1187561"/>
              <a:gd name="connsiteY10" fmla="*/ 271782 h 1262941"/>
              <a:gd name="connsiteX11" fmla="*/ 967451 w 1187561"/>
              <a:gd name="connsiteY11" fmla="*/ 271782 h 1262941"/>
              <a:gd name="connsiteX12" fmla="*/ 1010135 w 1187561"/>
              <a:gd name="connsiteY12" fmla="*/ 301592 h 1262941"/>
              <a:gd name="connsiteX13" fmla="*/ 1124939 w 1187561"/>
              <a:gd name="connsiteY13" fmla="*/ 584780 h 1262941"/>
              <a:gd name="connsiteX14" fmla="*/ 1183813 w 1187561"/>
              <a:gd name="connsiteY14" fmla="*/ 729355 h 1262941"/>
              <a:gd name="connsiteX15" fmla="*/ 1158792 w 1187561"/>
              <a:gd name="connsiteY15" fmla="*/ 790464 h 1262941"/>
              <a:gd name="connsiteX16" fmla="*/ 1141129 w 1187561"/>
              <a:gd name="connsiteY16" fmla="*/ 794935 h 1262941"/>
              <a:gd name="connsiteX17" fmla="*/ 1096974 w 1187561"/>
              <a:gd name="connsiteY17" fmla="*/ 765126 h 1262941"/>
              <a:gd name="connsiteX18" fmla="*/ 1020438 w 1187561"/>
              <a:gd name="connsiteY18" fmla="*/ 577327 h 1262941"/>
              <a:gd name="connsiteX19" fmla="*/ 1020438 w 1187561"/>
              <a:gd name="connsiteY19" fmla="*/ 1198851 h 1262941"/>
              <a:gd name="connsiteX20" fmla="*/ 961564 w 1187561"/>
              <a:gd name="connsiteY20" fmla="*/ 1262941 h 1262941"/>
              <a:gd name="connsiteX21" fmla="*/ 898274 w 1187561"/>
              <a:gd name="connsiteY21" fmla="*/ 1200342 h 1262941"/>
              <a:gd name="connsiteX22" fmla="*/ 898274 w 1187561"/>
              <a:gd name="connsiteY22" fmla="*/ 860516 h 1262941"/>
              <a:gd name="connsiteX23" fmla="*/ 871781 w 1187561"/>
              <a:gd name="connsiteY23" fmla="*/ 835178 h 1262941"/>
              <a:gd name="connsiteX24" fmla="*/ 848232 w 1187561"/>
              <a:gd name="connsiteY24" fmla="*/ 862006 h 1262941"/>
              <a:gd name="connsiteX25" fmla="*/ 848232 w 1187561"/>
              <a:gd name="connsiteY25" fmla="*/ 1198851 h 1262941"/>
              <a:gd name="connsiteX26" fmla="*/ 789358 w 1187561"/>
              <a:gd name="connsiteY26" fmla="*/ 1262941 h 1262941"/>
              <a:gd name="connsiteX27" fmla="*/ 726068 w 1187561"/>
              <a:gd name="connsiteY27" fmla="*/ 1200342 h 1262941"/>
              <a:gd name="connsiteX28" fmla="*/ 726068 w 1187561"/>
              <a:gd name="connsiteY28" fmla="*/ 575837 h 1262941"/>
              <a:gd name="connsiteX29" fmla="*/ 698103 w 1187561"/>
              <a:gd name="connsiteY29" fmla="*/ 641417 h 1262941"/>
              <a:gd name="connsiteX30" fmla="*/ 648060 w 1187561"/>
              <a:gd name="connsiteY30" fmla="*/ 765126 h 1262941"/>
              <a:gd name="connsiteX31" fmla="*/ 605377 w 1187561"/>
              <a:gd name="connsiteY31" fmla="*/ 794935 h 1262941"/>
              <a:gd name="connsiteX32" fmla="*/ 595074 w 1187561"/>
              <a:gd name="connsiteY32" fmla="*/ 793445 h 1262941"/>
              <a:gd name="connsiteX33" fmla="*/ 591714 w 1187561"/>
              <a:gd name="connsiteY33" fmla="*/ 792084 h 1262941"/>
              <a:gd name="connsiteX34" fmla="*/ 583650 w 1187561"/>
              <a:gd name="connsiteY34" fmla="*/ 793445 h 1262941"/>
              <a:gd name="connsiteX35" fmla="*/ 539495 w 1187561"/>
              <a:gd name="connsiteY35" fmla="*/ 765126 h 1262941"/>
              <a:gd name="connsiteX36" fmla="*/ 489453 w 1187561"/>
              <a:gd name="connsiteY36" fmla="*/ 641417 h 1262941"/>
              <a:gd name="connsiteX37" fmla="*/ 490925 w 1187561"/>
              <a:gd name="connsiteY37" fmla="*/ 641417 h 1262941"/>
              <a:gd name="connsiteX38" fmla="*/ 462960 w 1187561"/>
              <a:gd name="connsiteY38" fmla="*/ 574347 h 1262941"/>
              <a:gd name="connsiteX39" fmla="*/ 462960 w 1187561"/>
              <a:gd name="connsiteY39" fmla="*/ 610118 h 1262941"/>
              <a:gd name="connsiteX40" fmla="*/ 549798 w 1187561"/>
              <a:gd name="connsiteY40" fmla="*/ 885854 h 1262941"/>
              <a:gd name="connsiteX41" fmla="*/ 482094 w 1187561"/>
              <a:gd name="connsiteY41" fmla="*/ 979753 h 1262941"/>
              <a:gd name="connsiteX42" fmla="*/ 462960 w 1187561"/>
              <a:gd name="connsiteY42" fmla="*/ 979753 h 1262941"/>
              <a:gd name="connsiteX43" fmla="*/ 462960 w 1187561"/>
              <a:gd name="connsiteY43" fmla="*/ 1198851 h 1262941"/>
              <a:gd name="connsiteX44" fmla="*/ 404086 w 1187561"/>
              <a:gd name="connsiteY44" fmla="*/ 1262941 h 1262941"/>
              <a:gd name="connsiteX45" fmla="*/ 339326 w 1187561"/>
              <a:gd name="connsiteY45" fmla="*/ 1200342 h 1262941"/>
              <a:gd name="connsiteX46" fmla="*/ 339326 w 1187561"/>
              <a:gd name="connsiteY46" fmla="*/ 979753 h 1262941"/>
              <a:gd name="connsiteX47" fmla="*/ 290755 w 1187561"/>
              <a:gd name="connsiteY47" fmla="*/ 979753 h 1262941"/>
              <a:gd name="connsiteX48" fmla="*/ 290755 w 1187561"/>
              <a:gd name="connsiteY48" fmla="*/ 1198851 h 1262941"/>
              <a:gd name="connsiteX49" fmla="*/ 230410 w 1187561"/>
              <a:gd name="connsiteY49" fmla="*/ 1262941 h 1262941"/>
              <a:gd name="connsiteX50" fmla="*/ 167121 w 1187561"/>
              <a:gd name="connsiteY50" fmla="*/ 1200342 h 1262941"/>
              <a:gd name="connsiteX51" fmla="*/ 167121 w 1187561"/>
              <a:gd name="connsiteY51" fmla="*/ 979753 h 1262941"/>
              <a:gd name="connsiteX52" fmla="*/ 147987 w 1187561"/>
              <a:gd name="connsiteY52" fmla="*/ 979753 h 1262941"/>
              <a:gd name="connsiteX53" fmla="*/ 80283 w 1187561"/>
              <a:gd name="connsiteY53" fmla="*/ 885854 h 1262941"/>
              <a:gd name="connsiteX54" fmla="*/ 167121 w 1187561"/>
              <a:gd name="connsiteY54" fmla="*/ 610118 h 1262941"/>
              <a:gd name="connsiteX55" fmla="*/ 167121 w 1187561"/>
              <a:gd name="connsiteY55" fmla="*/ 577327 h 1262941"/>
              <a:gd name="connsiteX56" fmla="*/ 90586 w 1187561"/>
              <a:gd name="connsiteY56" fmla="*/ 765126 h 1262941"/>
              <a:gd name="connsiteX57" fmla="*/ 47903 w 1187561"/>
              <a:gd name="connsiteY57" fmla="*/ 794935 h 1262941"/>
              <a:gd name="connsiteX58" fmla="*/ 28769 w 1187561"/>
              <a:gd name="connsiteY58" fmla="*/ 790464 h 1262941"/>
              <a:gd name="connsiteX59" fmla="*/ 3748 w 1187561"/>
              <a:gd name="connsiteY59" fmla="*/ 729355 h 1262941"/>
              <a:gd name="connsiteX60" fmla="*/ 177424 w 1187561"/>
              <a:gd name="connsiteY60" fmla="*/ 301592 h 1262941"/>
              <a:gd name="connsiteX61" fmla="*/ 221579 w 1187561"/>
              <a:gd name="connsiteY61" fmla="*/ 271782 h 1262941"/>
              <a:gd name="connsiteX62" fmla="*/ 873254 w 1187561"/>
              <a:gd name="connsiteY62" fmla="*/ 0 h 1262941"/>
              <a:gd name="connsiteX63" fmla="*/ 995592 w 1187561"/>
              <a:gd name="connsiteY63" fmla="*/ 123804 h 1262941"/>
              <a:gd name="connsiteX64" fmla="*/ 873254 w 1187561"/>
              <a:gd name="connsiteY64" fmla="*/ 247608 h 1262941"/>
              <a:gd name="connsiteX65" fmla="*/ 750916 w 1187561"/>
              <a:gd name="connsiteY65" fmla="*/ 123804 h 1262941"/>
              <a:gd name="connsiteX66" fmla="*/ 873254 w 1187561"/>
              <a:gd name="connsiteY66" fmla="*/ 0 h 1262941"/>
              <a:gd name="connsiteX67" fmla="*/ 315041 w 1187561"/>
              <a:gd name="connsiteY67" fmla="*/ 0 h 1262941"/>
              <a:gd name="connsiteX68" fmla="*/ 436647 w 1187561"/>
              <a:gd name="connsiteY68" fmla="*/ 123804 h 1262941"/>
              <a:gd name="connsiteX69" fmla="*/ 315041 w 1187561"/>
              <a:gd name="connsiteY69" fmla="*/ 247608 h 1262941"/>
              <a:gd name="connsiteX70" fmla="*/ 193435 w 1187561"/>
              <a:gd name="connsiteY70" fmla="*/ 123804 h 1262941"/>
              <a:gd name="connsiteX71" fmla="*/ 315041 w 1187561"/>
              <a:gd name="connsiteY71" fmla="*/ 0 h 126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1187561" h="1262941">
                <a:moveTo>
                  <a:pt x="221579" y="271782"/>
                </a:moveTo>
                <a:cubicBezTo>
                  <a:pt x="268678" y="271782"/>
                  <a:pt x="408502" y="271782"/>
                  <a:pt x="408502" y="271782"/>
                </a:cubicBezTo>
                <a:cubicBezTo>
                  <a:pt x="434995" y="271782"/>
                  <a:pt x="448241" y="289668"/>
                  <a:pt x="452657" y="301592"/>
                </a:cubicBezTo>
                <a:cubicBezTo>
                  <a:pt x="452657" y="301592"/>
                  <a:pt x="452657" y="301592"/>
                  <a:pt x="568932" y="587761"/>
                </a:cubicBezTo>
                <a:cubicBezTo>
                  <a:pt x="568932" y="587761"/>
                  <a:pt x="568932" y="587761"/>
                  <a:pt x="593148" y="647496"/>
                </a:cubicBezTo>
                <a:lnTo>
                  <a:pt x="593814" y="649138"/>
                </a:lnTo>
                <a:lnTo>
                  <a:pt x="595074" y="645889"/>
                </a:lnTo>
                <a:cubicBezTo>
                  <a:pt x="595074" y="645889"/>
                  <a:pt x="595074" y="645889"/>
                  <a:pt x="736371" y="301592"/>
                </a:cubicBezTo>
                <a:cubicBezTo>
                  <a:pt x="743730" y="282216"/>
                  <a:pt x="761392" y="271782"/>
                  <a:pt x="779055" y="271782"/>
                </a:cubicBezTo>
                <a:cubicBezTo>
                  <a:pt x="779055" y="271782"/>
                  <a:pt x="779055" y="271782"/>
                  <a:pt x="780527" y="271782"/>
                </a:cubicBezTo>
                <a:cubicBezTo>
                  <a:pt x="780527" y="271782"/>
                  <a:pt x="780527" y="271782"/>
                  <a:pt x="965979" y="271782"/>
                </a:cubicBezTo>
                <a:cubicBezTo>
                  <a:pt x="965979" y="271782"/>
                  <a:pt x="965979" y="271782"/>
                  <a:pt x="967451" y="271782"/>
                </a:cubicBezTo>
                <a:cubicBezTo>
                  <a:pt x="985114" y="271782"/>
                  <a:pt x="1002776" y="282216"/>
                  <a:pt x="1010135" y="301592"/>
                </a:cubicBezTo>
                <a:cubicBezTo>
                  <a:pt x="1010135" y="301592"/>
                  <a:pt x="1010135" y="301592"/>
                  <a:pt x="1124939" y="584780"/>
                </a:cubicBezTo>
                <a:cubicBezTo>
                  <a:pt x="1124939" y="584780"/>
                  <a:pt x="1124939" y="584780"/>
                  <a:pt x="1183813" y="729355"/>
                </a:cubicBezTo>
                <a:cubicBezTo>
                  <a:pt x="1194116" y="753202"/>
                  <a:pt x="1182341" y="781521"/>
                  <a:pt x="1158792" y="790464"/>
                </a:cubicBezTo>
                <a:cubicBezTo>
                  <a:pt x="1152904" y="793445"/>
                  <a:pt x="1147017" y="794935"/>
                  <a:pt x="1141129" y="794935"/>
                </a:cubicBezTo>
                <a:cubicBezTo>
                  <a:pt x="1121995" y="794935"/>
                  <a:pt x="1104333" y="783012"/>
                  <a:pt x="1096974" y="765126"/>
                </a:cubicBezTo>
                <a:cubicBezTo>
                  <a:pt x="1096974" y="765126"/>
                  <a:pt x="1096974" y="765126"/>
                  <a:pt x="1020438" y="577327"/>
                </a:cubicBezTo>
                <a:cubicBezTo>
                  <a:pt x="1020438" y="577327"/>
                  <a:pt x="1020438" y="577327"/>
                  <a:pt x="1020438" y="1198851"/>
                </a:cubicBezTo>
                <a:cubicBezTo>
                  <a:pt x="1020438" y="1231641"/>
                  <a:pt x="995416" y="1261451"/>
                  <a:pt x="961564" y="1262941"/>
                </a:cubicBezTo>
                <a:cubicBezTo>
                  <a:pt x="926240" y="1262941"/>
                  <a:pt x="898274" y="1234622"/>
                  <a:pt x="898274" y="1200342"/>
                </a:cubicBezTo>
                <a:cubicBezTo>
                  <a:pt x="898274" y="1200342"/>
                  <a:pt x="898274" y="1200342"/>
                  <a:pt x="898274" y="860516"/>
                </a:cubicBezTo>
                <a:cubicBezTo>
                  <a:pt x="898274" y="845611"/>
                  <a:pt x="885028" y="835178"/>
                  <a:pt x="871781" y="835178"/>
                </a:cubicBezTo>
                <a:cubicBezTo>
                  <a:pt x="858534" y="836668"/>
                  <a:pt x="848232" y="848592"/>
                  <a:pt x="848232" y="862006"/>
                </a:cubicBezTo>
                <a:cubicBezTo>
                  <a:pt x="848232" y="862006"/>
                  <a:pt x="848232" y="862006"/>
                  <a:pt x="848232" y="1198851"/>
                </a:cubicBezTo>
                <a:cubicBezTo>
                  <a:pt x="848232" y="1231641"/>
                  <a:pt x="823210" y="1261451"/>
                  <a:pt x="789358" y="1262941"/>
                </a:cubicBezTo>
                <a:cubicBezTo>
                  <a:pt x="754033" y="1262941"/>
                  <a:pt x="726068" y="1234622"/>
                  <a:pt x="726068" y="1200342"/>
                </a:cubicBezTo>
                <a:cubicBezTo>
                  <a:pt x="726068" y="1200342"/>
                  <a:pt x="726068" y="1200342"/>
                  <a:pt x="726068" y="575837"/>
                </a:cubicBezTo>
                <a:cubicBezTo>
                  <a:pt x="726068" y="575837"/>
                  <a:pt x="726068" y="575837"/>
                  <a:pt x="698103" y="641417"/>
                </a:cubicBezTo>
                <a:cubicBezTo>
                  <a:pt x="698103" y="641417"/>
                  <a:pt x="698103" y="641417"/>
                  <a:pt x="648060" y="765126"/>
                </a:cubicBezTo>
                <a:cubicBezTo>
                  <a:pt x="640701" y="783012"/>
                  <a:pt x="623039" y="794935"/>
                  <a:pt x="605377" y="794935"/>
                </a:cubicBezTo>
                <a:cubicBezTo>
                  <a:pt x="602433" y="794935"/>
                  <a:pt x="598017" y="794935"/>
                  <a:pt x="595074" y="793445"/>
                </a:cubicBezTo>
                <a:lnTo>
                  <a:pt x="591714" y="792084"/>
                </a:lnTo>
                <a:lnTo>
                  <a:pt x="583650" y="793445"/>
                </a:lnTo>
                <a:cubicBezTo>
                  <a:pt x="564516" y="793445"/>
                  <a:pt x="546854" y="783012"/>
                  <a:pt x="539495" y="765126"/>
                </a:cubicBezTo>
                <a:cubicBezTo>
                  <a:pt x="539495" y="765126"/>
                  <a:pt x="539495" y="765126"/>
                  <a:pt x="489453" y="641417"/>
                </a:cubicBezTo>
                <a:cubicBezTo>
                  <a:pt x="489453" y="641417"/>
                  <a:pt x="489453" y="641417"/>
                  <a:pt x="490925" y="641417"/>
                </a:cubicBezTo>
                <a:cubicBezTo>
                  <a:pt x="490925" y="641417"/>
                  <a:pt x="490925" y="641417"/>
                  <a:pt x="462960" y="574347"/>
                </a:cubicBezTo>
                <a:cubicBezTo>
                  <a:pt x="462960" y="574347"/>
                  <a:pt x="462960" y="574347"/>
                  <a:pt x="462960" y="610118"/>
                </a:cubicBezTo>
                <a:cubicBezTo>
                  <a:pt x="462960" y="610118"/>
                  <a:pt x="462960" y="610118"/>
                  <a:pt x="549798" y="885854"/>
                </a:cubicBezTo>
                <a:cubicBezTo>
                  <a:pt x="564516" y="933549"/>
                  <a:pt x="530664" y="979753"/>
                  <a:pt x="482094" y="979753"/>
                </a:cubicBezTo>
                <a:cubicBezTo>
                  <a:pt x="482094" y="979753"/>
                  <a:pt x="482094" y="979753"/>
                  <a:pt x="462960" y="979753"/>
                </a:cubicBezTo>
                <a:cubicBezTo>
                  <a:pt x="462960" y="979753"/>
                  <a:pt x="462960" y="979753"/>
                  <a:pt x="462960" y="1198851"/>
                </a:cubicBezTo>
                <a:cubicBezTo>
                  <a:pt x="462960" y="1231641"/>
                  <a:pt x="436467" y="1261451"/>
                  <a:pt x="404086" y="1262941"/>
                </a:cubicBezTo>
                <a:cubicBezTo>
                  <a:pt x="368762" y="1262941"/>
                  <a:pt x="339326" y="1234622"/>
                  <a:pt x="339326" y="1200342"/>
                </a:cubicBezTo>
                <a:cubicBezTo>
                  <a:pt x="339326" y="1200342"/>
                  <a:pt x="339326" y="1200342"/>
                  <a:pt x="339326" y="979753"/>
                </a:cubicBezTo>
                <a:cubicBezTo>
                  <a:pt x="339326" y="979753"/>
                  <a:pt x="339326" y="979753"/>
                  <a:pt x="290755" y="979753"/>
                </a:cubicBezTo>
                <a:cubicBezTo>
                  <a:pt x="290755" y="979753"/>
                  <a:pt x="290755" y="979753"/>
                  <a:pt x="290755" y="1198851"/>
                </a:cubicBezTo>
                <a:cubicBezTo>
                  <a:pt x="290755" y="1231641"/>
                  <a:pt x="264262" y="1261451"/>
                  <a:pt x="230410" y="1262941"/>
                </a:cubicBezTo>
                <a:cubicBezTo>
                  <a:pt x="196558" y="1262941"/>
                  <a:pt x="167121" y="1234622"/>
                  <a:pt x="167121" y="1200342"/>
                </a:cubicBezTo>
                <a:cubicBezTo>
                  <a:pt x="167121" y="1200342"/>
                  <a:pt x="167121" y="1200342"/>
                  <a:pt x="167121" y="979753"/>
                </a:cubicBezTo>
                <a:cubicBezTo>
                  <a:pt x="167121" y="979753"/>
                  <a:pt x="167121" y="979753"/>
                  <a:pt x="147987" y="979753"/>
                </a:cubicBezTo>
                <a:cubicBezTo>
                  <a:pt x="99417" y="979753"/>
                  <a:pt x="65565" y="933549"/>
                  <a:pt x="80283" y="885854"/>
                </a:cubicBezTo>
                <a:cubicBezTo>
                  <a:pt x="80283" y="885854"/>
                  <a:pt x="80283" y="885854"/>
                  <a:pt x="167121" y="610118"/>
                </a:cubicBezTo>
                <a:cubicBezTo>
                  <a:pt x="167121" y="610118"/>
                  <a:pt x="167121" y="610118"/>
                  <a:pt x="167121" y="577327"/>
                </a:cubicBezTo>
                <a:cubicBezTo>
                  <a:pt x="167121" y="577327"/>
                  <a:pt x="167121" y="577327"/>
                  <a:pt x="90586" y="765126"/>
                </a:cubicBezTo>
                <a:cubicBezTo>
                  <a:pt x="83227" y="783012"/>
                  <a:pt x="65565" y="794935"/>
                  <a:pt x="47903" y="794935"/>
                </a:cubicBezTo>
                <a:cubicBezTo>
                  <a:pt x="42015" y="794935"/>
                  <a:pt x="34656" y="793445"/>
                  <a:pt x="28769" y="790464"/>
                </a:cubicBezTo>
                <a:cubicBezTo>
                  <a:pt x="5220" y="781521"/>
                  <a:pt x="-6555" y="753202"/>
                  <a:pt x="3748" y="729355"/>
                </a:cubicBezTo>
                <a:cubicBezTo>
                  <a:pt x="3748" y="729355"/>
                  <a:pt x="3748" y="729355"/>
                  <a:pt x="177424" y="301592"/>
                </a:cubicBezTo>
                <a:cubicBezTo>
                  <a:pt x="184783" y="282216"/>
                  <a:pt x="202445" y="271782"/>
                  <a:pt x="221579" y="271782"/>
                </a:cubicBezTo>
                <a:close/>
                <a:moveTo>
                  <a:pt x="873254" y="0"/>
                </a:moveTo>
                <a:cubicBezTo>
                  <a:pt x="940819" y="0"/>
                  <a:pt x="995592" y="55429"/>
                  <a:pt x="995592" y="123804"/>
                </a:cubicBezTo>
                <a:cubicBezTo>
                  <a:pt x="995592" y="192179"/>
                  <a:pt x="940819" y="247608"/>
                  <a:pt x="873254" y="247608"/>
                </a:cubicBezTo>
                <a:cubicBezTo>
                  <a:pt x="805689" y="247608"/>
                  <a:pt x="750916" y="192179"/>
                  <a:pt x="750916" y="123804"/>
                </a:cubicBezTo>
                <a:cubicBezTo>
                  <a:pt x="750916" y="55429"/>
                  <a:pt x="805689" y="0"/>
                  <a:pt x="873254" y="0"/>
                </a:cubicBezTo>
                <a:close/>
                <a:moveTo>
                  <a:pt x="315041" y="0"/>
                </a:moveTo>
                <a:cubicBezTo>
                  <a:pt x="382202" y="0"/>
                  <a:pt x="436647" y="55429"/>
                  <a:pt x="436647" y="123804"/>
                </a:cubicBezTo>
                <a:cubicBezTo>
                  <a:pt x="436647" y="192179"/>
                  <a:pt x="382202" y="247608"/>
                  <a:pt x="315041" y="247608"/>
                </a:cubicBezTo>
                <a:cubicBezTo>
                  <a:pt x="247880" y="247608"/>
                  <a:pt x="193435" y="192179"/>
                  <a:pt x="193435" y="123804"/>
                </a:cubicBezTo>
                <a:cubicBezTo>
                  <a:pt x="193435" y="55429"/>
                  <a:pt x="247880" y="0"/>
                  <a:pt x="315041" y="0"/>
                </a:cubicBez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48C83BF-2BC7-5E18-B515-DD33949ED1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3166" y="2565027"/>
            <a:ext cx="736868" cy="783640"/>
          </a:xfrm>
          <a:custGeom>
            <a:avLst/>
            <a:gdLst>
              <a:gd name="connsiteX0" fmla="*/ 221579 w 1187561"/>
              <a:gd name="connsiteY0" fmla="*/ 271782 h 1262941"/>
              <a:gd name="connsiteX1" fmla="*/ 408502 w 1187561"/>
              <a:gd name="connsiteY1" fmla="*/ 271782 h 1262941"/>
              <a:gd name="connsiteX2" fmla="*/ 452657 w 1187561"/>
              <a:gd name="connsiteY2" fmla="*/ 301592 h 1262941"/>
              <a:gd name="connsiteX3" fmla="*/ 568932 w 1187561"/>
              <a:gd name="connsiteY3" fmla="*/ 587761 h 1262941"/>
              <a:gd name="connsiteX4" fmla="*/ 593148 w 1187561"/>
              <a:gd name="connsiteY4" fmla="*/ 647496 h 1262941"/>
              <a:gd name="connsiteX5" fmla="*/ 593814 w 1187561"/>
              <a:gd name="connsiteY5" fmla="*/ 649138 h 1262941"/>
              <a:gd name="connsiteX6" fmla="*/ 595074 w 1187561"/>
              <a:gd name="connsiteY6" fmla="*/ 645889 h 1262941"/>
              <a:gd name="connsiteX7" fmla="*/ 736371 w 1187561"/>
              <a:gd name="connsiteY7" fmla="*/ 301592 h 1262941"/>
              <a:gd name="connsiteX8" fmla="*/ 779055 w 1187561"/>
              <a:gd name="connsiteY8" fmla="*/ 271782 h 1262941"/>
              <a:gd name="connsiteX9" fmla="*/ 780527 w 1187561"/>
              <a:gd name="connsiteY9" fmla="*/ 271782 h 1262941"/>
              <a:gd name="connsiteX10" fmla="*/ 965979 w 1187561"/>
              <a:gd name="connsiteY10" fmla="*/ 271782 h 1262941"/>
              <a:gd name="connsiteX11" fmla="*/ 967451 w 1187561"/>
              <a:gd name="connsiteY11" fmla="*/ 271782 h 1262941"/>
              <a:gd name="connsiteX12" fmla="*/ 1010135 w 1187561"/>
              <a:gd name="connsiteY12" fmla="*/ 301592 h 1262941"/>
              <a:gd name="connsiteX13" fmla="*/ 1124939 w 1187561"/>
              <a:gd name="connsiteY13" fmla="*/ 584780 h 1262941"/>
              <a:gd name="connsiteX14" fmla="*/ 1183813 w 1187561"/>
              <a:gd name="connsiteY14" fmla="*/ 729355 h 1262941"/>
              <a:gd name="connsiteX15" fmla="*/ 1158792 w 1187561"/>
              <a:gd name="connsiteY15" fmla="*/ 790464 h 1262941"/>
              <a:gd name="connsiteX16" fmla="*/ 1141129 w 1187561"/>
              <a:gd name="connsiteY16" fmla="*/ 794935 h 1262941"/>
              <a:gd name="connsiteX17" fmla="*/ 1096974 w 1187561"/>
              <a:gd name="connsiteY17" fmla="*/ 765126 h 1262941"/>
              <a:gd name="connsiteX18" fmla="*/ 1020438 w 1187561"/>
              <a:gd name="connsiteY18" fmla="*/ 577327 h 1262941"/>
              <a:gd name="connsiteX19" fmla="*/ 1020438 w 1187561"/>
              <a:gd name="connsiteY19" fmla="*/ 1198851 h 1262941"/>
              <a:gd name="connsiteX20" fmla="*/ 961564 w 1187561"/>
              <a:gd name="connsiteY20" fmla="*/ 1262941 h 1262941"/>
              <a:gd name="connsiteX21" fmla="*/ 898274 w 1187561"/>
              <a:gd name="connsiteY21" fmla="*/ 1200342 h 1262941"/>
              <a:gd name="connsiteX22" fmla="*/ 898274 w 1187561"/>
              <a:gd name="connsiteY22" fmla="*/ 860516 h 1262941"/>
              <a:gd name="connsiteX23" fmla="*/ 871781 w 1187561"/>
              <a:gd name="connsiteY23" fmla="*/ 835178 h 1262941"/>
              <a:gd name="connsiteX24" fmla="*/ 848232 w 1187561"/>
              <a:gd name="connsiteY24" fmla="*/ 862006 h 1262941"/>
              <a:gd name="connsiteX25" fmla="*/ 848232 w 1187561"/>
              <a:gd name="connsiteY25" fmla="*/ 1198851 h 1262941"/>
              <a:gd name="connsiteX26" fmla="*/ 789358 w 1187561"/>
              <a:gd name="connsiteY26" fmla="*/ 1262941 h 1262941"/>
              <a:gd name="connsiteX27" fmla="*/ 726068 w 1187561"/>
              <a:gd name="connsiteY27" fmla="*/ 1200342 h 1262941"/>
              <a:gd name="connsiteX28" fmla="*/ 726068 w 1187561"/>
              <a:gd name="connsiteY28" fmla="*/ 575837 h 1262941"/>
              <a:gd name="connsiteX29" fmla="*/ 698103 w 1187561"/>
              <a:gd name="connsiteY29" fmla="*/ 641417 h 1262941"/>
              <a:gd name="connsiteX30" fmla="*/ 648060 w 1187561"/>
              <a:gd name="connsiteY30" fmla="*/ 765126 h 1262941"/>
              <a:gd name="connsiteX31" fmla="*/ 605377 w 1187561"/>
              <a:gd name="connsiteY31" fmla="*/ 794935 h 1262941"/>
              <a:gd name="connsiteX32" fmla="*/ 595074 w 1187561"/>
              <a:gd name="connsiteY32" fmla="*/ 793445 h 1262941"/>
              <a:gd name="connsiteX33" fmla="*/ 591714 w 1187561"/>
              <a:gd name="connsiteY33" fmla="*/ 792084 h 1262941"/>
              <a:gd name="connsiteX34" fmla="*/ 583650 w 1187561"/>
              <a:gd name="connsiteY34" fmla="*/ 793445 h 1262941"/>
              <a:gd name="connsiteX35" fmla="*/ 539495 w 1187561"/>
              <a:gd name="connsiteY35" fmla="*/ 765126 h 1262941"/>
              <a:gd name="connsiteX36" fmla="*/ 489453 w 1187561"/>
              <a:gd name="connsiteY36" fmla="*/ 641417 h 1262941"/>
              <a:gd name="connsiteX37" fmla="*/ 490925 w 1187561"/>
              <a:gd name="connsiteY37" fmla="*/ 641417 h 1262941"/>
              <a:gd name="connsiteX38" fmla="*/ 462960 w 1187561"/>
              <a:gd name="connsiteY38" fmla="*/ 574347 h 1262941"/>
              <a:gd name="connsiteX39" fmla="*/ 462960 w 1187561"/>
              <a:gd name="connsiteY39" fmla="*/ 610118 h 1262941"/>
              <a:gd name="connsiteX40" fmla="*/ 549798 w 1187561"/>
              <a:gd name="connsiteY40" fmla="*/ 885854 h 1262941"/>
              <a:gd name="connsiteX41" fmla="*/ 482094 w 1187561"/>
              <a:gd name="connsiteY41" fmla="*/ 979753 h 1262941"/>
              <a:gd name="connsiteX42" fmla="*/ 462960 w 1187561"/>
              <a:gd name="connsiteY42" fmla="*/ 979753 h 1262941"/>
              <a:gd name="connsiteX43" fmla="*/ 462960 w 1187561"/>
              <a:gd name="connsiteY43" fmla="*/ 1198851 h 1262941"/>
              <a:gd name="connsiteX44" fmla="*/ 404086 w 1187561"/>
              <a:gd name="connsiteY44" fmla="*/ 1262941 h 1262941"/>
              <a:gd name="connsiteX45" fmla="*/ 339326 w 1187561"/>
              <a:gd name="connsiteY45" fmla="*/ 1200342 h 1262941"/>
              <a:gd name="connsiteX46" fmla="*/ 339326 w 1187561"/>
              <a:gd name="connsiteY46" fmla="*/ 979753 h 1262941"/>
              <a:gd name="connsiteX47" fmla="*/ 290755 w 1187561"/>
              <a:gd name="connsiteY47" fmla="*/ 979753 h 1262941"/>
              <a:gd name="connsiteX48" fmla="*/ 290755 w 1187561"/>
              <a:gd name="connsiteY48" fmla="*/ 1198851 h 1262941"/>
              <a:gd name="connsiteX49" fmla="*/ 230410 w 1187561"/>
              <a:gd name="connsiteY49" fmla="*/ 1262941 h 1262941"/>
              <a:gd name="connsiteX50" fmla="*/ 167121 w 1187561"/>
              <a:gd name="connsiteY50" fmla="*/ 1200342 h 1262941"/>
              <a:gd name="connsiteX51" fmla="*/ 167121 w 1187561"/>
              <a:gd name="connsiteY51" fmla="*/ 979753 h 1262941"/>
              <a:gd name="connsiteX52" fmla="*/ 147987 w 1187561"/>
              <a:gd name="connsiteY52" fmla="*/ 979753 h 1262941"/>
              <a:gd name="connsiteX53" fmla="*/ 80283 w 1187561"/>
              <a:gd name="connsiteY53" fmla="*/ 885854 h 1262941"/>
              <a:gd name="connsiteX54" fmla="*/ 167121 w 1187561"/>
              <a:gd name="connsiteY54" fmla="*/ 610118 h 1262941"/>
              <a:gd name="connsiteX55" fmla="*/ 167121 w 1187561"/>
              <a:gd name="connsiteY55" fmla="*/ 577327 h 1262941"/>
              <a:gd name="connsiteX56" fmla="*/ 90586 w 1187561"/>
              <a:gd name="connsiteY56" fmla="*/ 765126 h 1262941"/>
              <a:gd name="connsiteX57" fmla="*/ 47903 w 1187561"/>
              <a:gd name="connsiteY57" fmla="*/ 794935 h 1262941"/>
              <a:gd name="connsiteX58" fmla="*/ 28769 w 1187561"/>
              <a:gd name="connsiteY58" fmla="*/ 790464 h 1262941"/>
              <a:gd name="connsiteX59" fmla="*/ 3748 w 1187561"/>
              <a:gd name="connsiteY59" fmla="*/ 729355 h 1262941"/>
              <a:gd name="connsiteX60" fmla="*/ 177424 w 1187561"/>
              <a:gd name="connsiteY60" fmla="*/ 301592 h 1262941"/>
              <a:gd name="connsiteX61" fmla="*/ 221579 w 1187561"/>
              <a:gd name="connsiteY61" fmla="*/ 271782 h 1262941"/>
              <a:gd name="connsiteX62" fmla="*/ 873254 w 1187561"/>
              <a:gd name="connsiteY62" fmla="*/ 0 h 1262941"/>
              <a:gd name="connsiteX63" fmla="*/ 995592 w 1187561"/>
              <a:gd name="connsiteY63" fmla="*/ 123804 h 1262941"/>
              <a:gd name="connsiteX64" fmla="*/ 873254 w 1187561"/>
              <a:gd name="connsiteY64" fmla="*/ 247608 h 1262941"/>
              <a:gd name="connsiteX65" fmla="*/ 750916 w 1187561"/>
              <a:gd name="connsiteY65" fmla="*/ 123804 h 1262941"/>
              <a:gd name="connsiteX66" fmla="*/ 873254 w 1187561"/>
              <a:gd name="connsiteY66" fmla="*/ 0 h 1262941"/>
              <a:gd name="connsiteX67" fmla="*/ 315041 w 1187561"/>
              <a:gd name="connsiteY67" fmla="*/ 0 h 1262941"/>
              <a:gd name="connsiteX68" fmla="*/ 436647 w 1187561"/>
              <a:gd name="connsiteY68" fmla="*/ 123804 h 1262941"/>
              <a:gd name="connsiteX69" fmla="*/ 315041 w 1187561"/>
              <a:gd name="connsiteY69" fmla="*/ 247608 h 1262941"/>
              <a:gd name="connsiteX70" fmla="*/ 193435 w 1187561"/>
              <a:gd name="connsiteY70" fmla="*/ 123804 h 1262941"/>
              <a:gd name="connsiteX71" fmla="*/ 315041 w 1187561"/>
              <a:gd name="connsiteY71" fmla="*/ 0 h 126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1187561" h="1262941">
                <a:moveTo>
                  <a:pt x="221579" y="271782"/>
                </a:moveTo>
                <a:cubicBezTo>
                  <a:pt x="268678" y="271782"/>
                  <a:pt x="408502" y="271782"/>
                  <a:pt x="408502" y="271782"/>
                </a:cubicBezTo>
                <a:cubicBezTo>
                  <a:pt x="434995" y="271782"/>
                  <a:pt x="448241" y="289668"/>
                  <a:pt x="452657" y="301592"/>
                </a:cubicBezTo>
                <a:cubicBezTo>
                  <a:pt x="452657" y="301592"/>
                  <a:pt x="452657" y="301592"/>
                  <a:pt x="568932" y="587761"/>
                </a:cubicBezTo>
                <a:cubicBezTo>
                  <a:pt x="568932" y="587761"/>
                  <a:pt x="568932" y="587761"/>
                  <a:pt x="593148" y="647496"/>
                </a:cubicBezTo>
                <a:lnTo>
                  <a:pt x="593814" y="649138"/>
                </a:lnTo>
                <a:lnTo>
                  <a:pt x="595074" y="645889"/>
                </a:lnTo>
                <a:cubicBezTo>
                  <a:pt x="595074" y="645889"/>
                  <a:pt x="595074" y="645889"/>
                  <a:pt x="736371" y="301592"/>
                </a:cubicBezTo>
                <a:cubicBezTo>
                  <a:pt x="743730" y="282216"/>
                  <a:pt x="761392" y="271782"/>
                  <a:pt x="779055" y="271782"/>
                </a:cubicBezTo>
                <a:cubicBezTo>
                  <a:pt x="779055" y="271782"/>
                  <a:pt x="779055" y="271782"/>
                  <a:pt x="780527" y="271782"/>
                </a:cubicBezTo>
                <a:cubicBezTo>
                  <a:pt x="780527" y="271782"/>
                  <a:pt x="780527" y="271782"/>
                  <a:pt x="965979" y="271782"/>
                </a:cubicBezTo>
                <a:cubicBezTo>
                  <a:pt x="965979" y="271782"/>
                  <a:pt x="965979" y="271782"/>
                  <a:pt x="967451" y="271782"/>
                </a:cubicBezTo>
                <a:cubicBezTo>
                  <a:pt x="985114" y="271782"/>
                  <a:pt x="1002776" y="282216"/>
                  <a:pt x="1010135" y="301592"/>
                </a:cubicBezTo>
                <a:cubicBezTo>
                  <a:pt x="1010135" y="301592"/>
                  <a:pt x="1010135" y="301592"/>
                  <a:pt x="1124939" y="584780"/>
                </a:cubicBezTo>
                <a:cubicBezTo>
                  <a:pt x="1124939" y="584780"/>
                  <a:pt x="1124939" y="584780"/>
                  <a:pt x="1183813" y="729355"/>
                </a:cubicBezTo>
                <a:cubicBezTo>
                  <a:pt x="1194116" y="753202"/>
                  <a:pt x="1182341" y="781521"/>
                  <a:pt x="1158792" y="790464"/>
                </a:cubicBezTo>
                <a:cubicBezTo>
                  <a:pt x="1152904" y="793445"/>
                  <a:pt x="1147017" y="794935"/>
                  <a:pt x="1141129" y="794935"/>
                </a:cubicBezTo>
                <a:cubicBezTo>
                  <a:pt x="1121995" y="794935"/>
                  <a:pt x="1104333" y="783012"/>
                  <a:pt x="1096974" y="765126"/>
                </a:cubicBezTo>
                <a:cubicBezTo>
                  <a:pt x="1096974" y="765126"/>
                  <a:pt x="1096974" y="765126"/>
                  <a:pt x="1020438" y="577327"/>
                </a:cubicBezTo>
                <a:cubicBezTo>
                  <a:pt x="1020438" y="577327"/>
                  <a:pt x="1020438" y="577327"/>
                  <a:pt x="1020438" y="1198851"/>
                </a:cubicBezTo>
                <a:cubicBezTo>
                  <a:pt x="1020438" y="1231641"/>
                  <a:pt x="995416" y="1261451"/>
                  <a:pt x="961564" y="1262941"/>
                </a:cubicBezTo>
                <a:cubicBezTo>
                  <a:pt x="926240" y="1262941"/>
                  <a:pt x="898274" y="1234622"/>
                  <a:pt x="898274" y="1200342"/>
                </a:cubicBezTo>
                <a:cubicBezTo>
                  <a:pt x="898274" y="1200342"/>
                  <a:pt x="898274" y="1200342"/>
                  <a:pt x="898274" y="860516"/>
                </a:cubicBezTo>
                <a:cubicBezTo>
                  <a:pt x="898274" y="845611"/>
                  <a:pt x="885028" y="835178"/>
                  <a:pt x="871781" y="835178"/>
                </a:cubicBezTo>
                <a:cubicBezTo>
                  <a:pt x="858534" y="836668"/>
                  <a:pt x="848232" y="848592"/>
                  <a:pt x="848232" y="862006"/>
                </a:cubicBezTo>
                <a:cubicBezTo>
                  <a:pt x="848232" y="862006"/>
                  <a:pt x="848232" y="862006"/>
                  <a:pt x="848232" y="1198851"/>
                </a:cubicBezTo>
                <a:cubicBezTo>
                  <a:pt x="848232" y="1231641"/>
                  <a:pt x="823210" y="1261451"/>
                  <a:pt x="789358" y="1262941"/>
                </a:cubicBezTo>
                <a:cubicBezTo>
                  <a:pt x="754033" y="1262941"/>
                  <a:pt x="726068" y="1234622"/>
                  <a:pt x="726068" y="1200342"/>
                </a:cubicBezTo>
                <a:cubicBezTo>
                  <a:pt x="726068" y="1200342"/>
                  <a:pt x="726068" y="1200342"/>
                  <a:pt x="726068" y="575837"/>
                </a:cubicBezTo>
                <a:cubicBezTo>
                  <a:pt x="726068" y="575837"/>
                  <a:pt x="726068" y="575837"/>
                  <a:pt x="698103" y="641417"/>
                </a:cubicBezTo>
                <a:cubicBezTo>
                  <a:pt x="698103" y="641417"/>
                  <a:pt x="698103" y="641417"/>
                  <a:pt x="648060" y="765126"/>
                </a:cubicBezTo>
                <a:cubicBezTo>
                  <a:pt x="640701" y="783012"/>
                  <a:pt x="623039" y="794935"/>
                  <a:pt x="605377" y="794935"/>
                </a:cubicBezTo>
                <a:cubicBezTo>
                  <a:pt x="602433" y="794935"/>
                  <a:pt x="598017" y="794935"/>
                  <a:pt x="595074" y="793445"/>
                </a:cubicBezTo>
                <a:lnTo>
                  <a:pt x="591714" y="792084"/>
                </a:lnTo>
                <a:lnTo>
                  <a:pt x="583650" y="793445"/>
                </a:lnTo>
                <a:cubicBezTo>
                  <a:pt x="564516" y="793445"/>
                  <a:pt x="546854" y="783012"/>
                  <a:pt x="539495" y="765126"/>
                </a:cubicBezTo>
                <a:cubicBezTo>
                  <a:pt x="539495" y="765126"/>
                  <a:pt x="539495" y="765126"/>
                  <a:pt x="489453" y="641417"/>
                </a:cubicBezTo>
                <a:cubicBezTo>
                  <a:pt x="489453" y="641417"/>
                  <a:pt x="489453" y="641417"/>
                  <a:pt x="490925" y="641417"/>
                </a:cubicBezTo>
                <a:cubicBezTo>
                  <a:pt x="490925" y="641417"/>
                  <a:pt x="490925" y="641417"/>
                  <a:pt x="462960" y="574347"/>
                </a:cubicBezTo>
                <a:cubicBezTo>
                  <a:pt x="462960" y="574347"/>
                  <a:pt x="462960" y="574347"/>
                  <a:pt x="462960" y="610118"/>
                </a:cubicBezTo>
                <a:cubicBezTo>
                  <a:pt x="462960" y="610118"/>
                  <a:pt x="462960" y="610118"/>
                  <a:pt x="549798" y="885854"/>
                </a:cubicBezTo>
                <a:cubicBezTo>
                  <a:pt x="564516" y="933549"/>
                  <a:pt x="530664" y="979753"/>
                  <a:pt x="482094" y="979753"/>
                </a:cubicBezTo>
                <a:cubicBezTo>
                  <a:pt x="482094" y="979753"/>
                  <a:pt x="482094" y="979753"/>
                  <a:pt x="462960" y="979753"/>
                </a:cubicBezTo>
                <a:cubicBezTo>
                  <a:pt x="462960" y="979753"/>
                  <a:pt x="462960" y="979753"/>
                  <a:pt x="462960" y="1198851"/>
                </a:cubicBezTo>
                <a:cubicBezTo>
                  <a:pt x="462960" y="1231641"/>
                  <a:pt x="436467" y="1261451"/>
                  <a:pt x="404086" y="1262941"/>
                </a:cubicBezTo>
                <a:cubicBezTo>
                  <a:pt x="368762" y="1262941"/>
                  <a:pt x="339326" y="1234622"/>
                  <a:pt x="339326" y="1200342"/>
                </a:cubicBezTo>
                <a:cubicBezTo>
                  <a:pt x="339326" y="1200342"/>
                  <a:pt x="339326" y="1200342"/>
                  <a:pt x="339326" y="979753"/>
                </a:cubicBezTo>
                <a:cubicBezTo>
                  <a:pt x="339326" y="979753"/>
                  <a:pt x="339326" y="979753"/>
                  <a:pt x="290755" y="979753"/>
                </a:cubicBezTo>
                <a:cubicBezTo>
                  <a:pt x="290755" y="979753"/>
                  <a:pt x="290755" y="979753"/>
                  <a:pt x="290755" y="1198851"/>
                </a:cubicBezTo>
                <a:cubicBezTo>
                  <a:pt x="290755" y="1231641"/>
                  <a:pt x="264262" y="1261451"/>
                  <a:pt x="230410" y="1262941"/>
                </a:cubicBezTo>
                <a:cubicBezTo>
                  <a:pt x="196558" y="1262941"/>
                  <a:pt x="167121" y="1234622"/>
                  <a:pt x="167121" y="1200342"/>
                </a:cubicBezTo>
                <a:cubicBezTo>
                  <a:pt x="167121" y="1200342"/>
                  <a:pt x="167121" y="1200342"/>
                  <a:pt x="167121" y="979753"/>
                </a:cubicBezTo>
                <a:cubicBezTo>
                  <a:pt x="167121" y="979753"/>
                  <a:pt x="167121" y="979753"/>
                  <a:pt x="147987" y="979753"/>
                </a:cubicBezTo>
                <a:cubicBezTo>
                  <a:pt x="99417" y="979753"/>
                  <a:pt x="65565" y="933549"/>
                  <a:pt x="80283" y="885854"/>
                </a:cubicBezTo>
                <a:cubicBezTo>
                  <a:pt x="80283" y="885854"/>
                  <a:pt x="80283" y="885854"/>
                  <a:pt x="167121" y="610118"/>
                </a:cubicBezTo>
                <a:cubicBezTo>
                  <a:pt x="167121" y="610118"/>
                  <a:pt x="167121" y="610118"/>
                  <a:pt x="167121" y="577327"/>
                </a:cubicBezTo>
                <a:cubicBezTo>
                  <a:pt x="167121" y="577327"/>
                  <a:pt x="167121" y="577327"/>
                  <a:pt x="90586" y="765126"/>
                </a:cubicBezTo>
                <a:cubicBezTo>
                  <a:pt x="83227" y="783012"/>
                  <a:pt x="65565" y="794935"/>
                  <a:pt x="47903" y="794935"/>
                </a:cubicBezTo>
                <a:cubicBezTo>
                  <a:pt x="42015" y="794935"/>
                  <a:pt x="34656" y="793445"/>
                  <a:pt x="28769" y="790464"/>
                </a:cubicBezTo>
                <a:cubicBezTo>
                  <a:pt x="5220" y="781521"/>
                  <a:pt x="-6555" y="753202"/>
                  <a:pt x="3748" y="729355"/>
                </a:cubicBezTo>
                <a:cubicBezTo>
                  <a:pt x="3748" y="729355"/>
                  <a:pt x="3748" y="729355"/>
                  <a:pt x="177424" y="301592"/>
                </a:cubicBezTo>
                <a:cubicBezTo>
                  <a:pt x="184783" y="282216"/>
                  <a:pt x="202445" y="271782"/>
                  <a:pt x="221579" y="271782"/>
                </a:cubicBezTo>
                <a:close/>
                <a:moveTo>
                  <a:pt x="873254" y="0"/>
                </a:moveTo>
                <a:cubicBezTo>
                  <a:pt x="940819" y="0"/>
                  <a:pt x="995592" y="55429"/>
                  <a:pt x="995592" y="123804"/>
                </a:cubicBezTo>
                <a:cubicBezTo>
                  <a:pt x="995592" y="192179"/>
                  <a:pt x="940819" y="247608"/>
                  <a:pt x="873254" y="247608"/>
                </a:cubicBezTo>
                <a:cubicBezTo>
                  <a:pt x="805689" y="247608"/>
                  <a:pt x="750916" y="192179"/>
                  <a:pt x="750916" y="123804"/>
                </a:cubicBezTo>
                <a:cubicBezTo>
                  <a:pt x="750916" y="55429"/>
                  <a:pt x="805689" y="0"/>
                  <a:pt x="873254" y="0"/>
                </a:cubicBezTo>
                <a:close/>
                <a:moveTo>
                  <a:pt x="315041" y="0"/>
                </a:moveTo>
                <a:cubicBezTo>
                  <a:pt x="382202" y="0"/>
                  <a:pt x="436647" y="55429"/>
                  <a:pt x="436647" y="123804"/>
                </a:cubicBezTo>
                <a:cubicBezTo>
                  <a:pt x="436647" y="192179"/>
                  <a:pt x="382202" y="247608"/>
                  <a:pt x="315041" y="247608"/>
                </a:cubicBezTo>
                <a:cubicBezTo>
                  <a:pt x="247880" y="247608"/>
                  <a:pt x="193435" y="192179"/>
                  <a:pt x="193435" y="123804"/>
                </a:cubicBezTo>
                <a:cubicBezTo>
                  <a:pt x="193435" y="55429"/>
                  <a:pt x="247880" y="0"/>
                  <a:pt x="315041" y="0"/>
                </a:cubicBez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F7BA9D3-970D-A4CD-5412-E94088D683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63993" y="2565027"/>
            <a:ext cx="736868" cy="783640"/>
          </a:xfrm>
          <a:custGeom>
            <a:avLst/>
            <a:gdLst>
              <a:gd name="connsiteX0" fmla="*/ 221579 w 1187561"/>
              <a:gd name="connsiteY0" fmla="*/ 271782 h 1262941"/>
              <a:gd name="connsiteX1" fmla="*/ 408502 w 1187561"/>
              <a:gd name="connsiteY1" fmla="*/ 271782 h 1262941"/>
              <a:gd name="connsiteX2" fmla="*/ 452657 w 1187561"/>
              <a:gd name="connsiteY2" fmla="*/ 301592 h 1262941"/>
              <a:gd name="connsiteX3" fmla="*/ 568932 w 1187561"/>
              <a:gd name="connsiteY3" fmla="*/ 587761 h 1262941"/>
              <a:gd name="connsiteX4" fmla="*/ 593148 w 1187561"/>
              <a:gd name="connsiteY4" fmla="*/ 647496 h 1262941"/>
              <a:gd name="connsiteX5" fmla="*/ 593814 w 1187561"/>
              <a:gd name="connsiteY5" fmla="*/ 649138 h 1262941"/>
              <a:gd name="connsiteX6" fmla="*/ 595074 w 1187561"/>
              <a:gd name="connsiteY6" fmla="*/ 645889 h 1262941"/>
              <a:gd name="connsiteX7" fmla="*/ 736371 w 1187561"/>
              <a:gd name="connsiteY7" fmla="*/ 301592 h 1262941"/>
              <a:gd name="connsiteX8" fmla="*/ 779055 w 1187561"/>
              <a:gd name="connsiteY8" fmla="*/ 271782 h 1262941"/>
              <a:gd name="connsiteX9" fmla="*/ 780527 w 1187561"/>
              <a:gd name="connsiteY9" fmla="*/ 271782 h 1262941"/>
              <a:gd name="connsiteX10" fmla="*/ 965979 w 1187561"/>
              <a:gd name="connsiteY10" fmla="*/ 271782 h 1262941"/>
              <a:gd name="connsiteX11" fmla="*/ 967451 w 1187561"/>
              <a:gd name="connsiteY11" fmla="*/ 271782 h 1262941"/>
              <a:gd name="connsiteX12" fmla="*/ 1010135 w 1187561"/>
              <a:gd name="connsiteY12" fmla="*/ 301592 h 1262941"/>
              <a:gd name="connsiteX13" fmla="*/ 1124939 w 1187561"/>
              <a:gd name="connsiteY13" fmla="*/ 584780 h 1262941"/>
              <a:gd name="connsiteX14" fmla="*/ 1183813 w 1187561"/>
              <a:gd name="connsiteY14" fmla="*/ 729355 h 1262941"/>
              <a:gd name="connsiteX15" fmla="*/ 1158792 w 1187561"/>
              <a:gd name="connsiteY15" fmla="*/ 790464 h 1262941"/>
              <a:gd name="connsiteX16" fmla="*/ 1141129 w 1187561"/>
              <a:gd name="connsiteY16" fmla="*/ 794935 h 1262941"/>
              <a:gd name="connsiteX17" fmla="*/ 1096974 w 1187561"/>
              <a:gd name="connsiteY17" fmla="*/ 765126 h 1262941"/>
              <a:gd name="connsiteX18" fmla="*/ 1020438 w 1187561"/>
              <a:gd name="connsiteY18" fmla="*/ 577327 h 1262941"/>
              <a:gd name="connsiteX19" fmla="*/ 1020438 w 1187561"/>
              <a:gd name="connsiteY19" fmla="*/ 1198851 h 1262941"/>
              <a:gd name="connsiteX20" fmla="*/ 961564 w 1187561"/>
              <a:gd name="connsiteY20" fmla="*/ 1262941 h 1262941"/>
              <a:gd name="connsiteX21" fmla="*/ 898274 w 1187561"/>
              <a:gd name="connsiteY21" fmla="*/ 1200342 h 1262941"/>
              <a:gd name="connsiteX22" fmla="*/ 898274 w 1187561"/>
              <a:gd name="connsiteY22" fmla="*/ 860516 h 1262941"/>
              <a:gd name="connsiteX23" fmla="*/ 871781 w 1187561"/>
              <a:gd name="connsiteY23" fmla="*/ 835178 h 1262941"/>
              <a:gd name="connsiteX24" fmla="*/ 848232 w 1187561"/>
              <a:gd name="connsiteY24" fmla="*/ 862006 h 1262941"/>
              <a:gd name="connsiteX25" fmla="*/ 848232 w 1187561"/>
              <a:gd name="connsiteY25" fmla="*/ 1198851 h 1262941"/>
              <a:gd name="connsiteX26" fmla="*/ 789358 w 1187561"/>
              <a:gd name="connsiteY26" fmla="*/ 1262941 h 1262941"/>
              <a:gd name="connsiteX27" fmla="*/ 726068 w 1187561"/>
              <a:gd name="connsiteY27" fmla="*/ 1200342 h 1262941"/>
              <a:gd name="connsiteX28" fmla="*/ 726068 w 1187561"/>
              <a:gd name="connsiteY28" fmla="*/ 575837 h 1262941"/>
              <a:gd name="connsiteX29" fmla="*/ 698103 w 1187561"/>
              <a:gd name="connsiteY29" fmla="*/ 641417 h 1262941"/>
              <a:gd name="connsiteX30" fmla="*/ 648060 w 1187561"/>
              <a:gd name="connsiteY30" fmla="*/ 765126 h 1262941"/>
              <a:gd name="connsiteX31" fmla="*/ 605377 w 1187561"/>
              <a:gd name="connsiteY31" fmla="*/ 794935 h 1262941"/>
              <a:gd name="connsiteX32" fmla="*/ 595074 w 1187561"/>
              <a:gd name="connsiteY32" fmla="*/ 793445 h 1262941"/>
              <a:gd name="connsiteX33" fmla="*/ 591714 w 1187561"/>
              <a:gd name="connsiteY33" fmla="*/ 792084 h 1262941"/>
              <a:gd name="connsiteX34" fmla="*/ 583650 w 1187561"/>
              <a:gd name="connsiteY34" fmla="*/ 793445 h 1262941"/>
              <a:gd name="connsiteX35" fmla="*/ 539495 w 1187561"/>
              <a:gd name="connsiteY35" fmla="*/ 765126 h 1262941"/>
              <a:gd name="connsiteX36" fmla="*/ 489453 w 1187561"/>
              <a:gd name="connsiteY36" fmla="*/ 641417 h 1262941"/>
              <a:gd name="connsiteX37" fmla="*/ 490925 w 1187561"/>
              <a:gd name="connsiteY37" fmla="*/ 641417 h 1262941"/>
              <a:gd name="connsiteX38" fmla="*/ 462960 w 1187561"/>
              <a:gd name="connsiteY38" fmla="*/ 574347 h 1262941"/>
              <a:gd name="connsiteX39" fmla="*/ 462960 w 1187561"/>
              <a:gd name="connsiteY39" fmla="*/ 610118 h 1262941"/>
              <a:gd name="connsiteX40" fmla="*/ 549798 w 1187561"/>
              <a:gd name="connsiteY40" fmla="*/ 885854 h 1262941"/>
              <a:gd name="connsiteX41" fmla="*/ 482094 w 1187561"/>
              <a:gd name="connsiteY41" fmla="*/ 979753 h 1262941"/>
              <a:gd name="connsiteX42" fmla="*/ 462960 w 1187561"/>
              <a:gd name="connsiteY42" fmla="*/ 979753 h 1262941"/>
              <a:gd name="connsiteX43" fmla="*/ 462960 w 1187561"/>
              <a:gd name="connsiteY43" fmla="*/ 1198851 h 1262941"/>
              <a:gd name="connsiteX44" fmla="*/ 404086 w 1187561"/>
              <a:gd name="connsiteY44" fmla="*/ 1262941 h 1262941"/>
              <a:gd name="connsiteX45" fmla="*/ 339326 w 1187561"/>
              <a:gd name="connsiteY45" fmla="*/ 1200342 h 1262941"/>
              <a:gd name="connsiteX46" fmla="*/ 339326 w 1187561"/>
              <a:gd name="connsiteY46" fmla="*/ 979753 h 1262941"/>
              <a:gd name="connsiteX47" fmla="*/ 290755 w 1187561"/>
              <a:gd name="connsiteY47" fmla="*/ 979753 h 1262941"/>
              <a:gd name="connsiteX48" fmla="*/ 290755 w 1187561"/>
              <a:gd name="connsiteY48" fmla="*/ 1198851 h 1262941"/>
              <a:gd name="connsiteX49" fmla="*/ 230410 w 1187561"/>
              <a:gd name="connsiteY49" fmla="*/ 1262941 h 1262941"/>
              <a:gd name="connsiteX50" fmla="*/ 167121 w 1187561"/>
              <a:gd name="connsiteY50" fmla="*/ 1200342 h 1262941"/>
              <a:gd name="connsiteX51" fmla="*/ 167121 w 1187561"/>
              <a:gd name="connsiteY51" fmla="*/ 979753 h 1262941"/>
              <a:gd name="connsiteX52" fmla="*/ 147987 w 1187561"/>
              <a:gd name="connsiteY52" fmla="*/ 979753 h 1262941"/>
              <a:gd name="connsiteX53" fmla="*/ 80283 w 1187561"/>
              <a:gd name="connsiteY53" fmla="*/ 885854 h 1262941"/>
              <a:gd name="connsiteX54" fmla="*/ 167121 w 1187561"/>
              <a:gd name="connsiteY54" fmla="*/ 610118 h 1262941"/>
              <a:gd name="connsiteX55" fmla="*/ 167121 w 1187561"/>
              <a:gd name="connsiteY55" fmla="*/ 577327 h 1262941"/>
              <a:gd name="connsiteX56" fmla="*/ 90586 w 1187561"/>
              <a:gd name="connsiteY56" fmla="*/ 765126 h 1262941"/>
              <a:gd name="connsiteX57" fmla="*/ 47903 w 1187561"/>
              <a:gd name="connsiteY57" fmla="*/ 794935 h 1262941"/>
              <a:gd name="connsiteX58" fmla="*/ 28769 w 1187561"/>
              <a:gd name="connsiteY58" fmla="*/ 790464 h 1262941"/>
              <a:gd name="connsiteX59" fmla="*/ 3748 w 1187561"/>
              <a:gd name="connsiteY59" fmla="*/ 729355 h 1262941"/>
              <a:gd name="connsiteX60" fmla="*/ 177424 w 1187561"/>
              <a:gd name="connsiteY60" fmla="*/ 301592 h 1262941"/>
              <a:gd name="connsiteX61" fmla="*/ 221579 w 1187561"/>
              <a:gd name="connsiteY61" fmla="*/ 271782 h 1262941"/>
              <a:gd name="connsiteX62" fmla="*/ 873254 w 1187561"/>
              <a:gd name="connsiteY62" fmla="*/ 0 h 1262941"/>
              <a:gd name="connsiteX63" fmla="*/ 995592 w 1187561"/>
              <a:gd name="connsiteY63" fmla="*/ 123804 h 1262941"/>
              <a:gd name="connsiteX64" fmla="*/ 873254 w 1187561"/>
              <a:gd name="connsiteY64" fmla="*/ 247608 h 1262941"/>
              <a:gd name="connsiteX65" fmla="*/ 750916 w 1187561"/>
              <a:gd name="connsiteY65" fmla="*/ 123804 h 1262941"/>
              <a:gd name="connsiteX66" fmla="*/ 873254 w 1187561"/>
              <a:gd name="connsiteY66" fmla="*/ 0 h 1262941"/>
              <a:gd name="connsiteX67" fmla="*/ 315041 w 1187561"/>
              <a:gd name="connsiteY67" fmla="*/ 0 h 1262941"/>
              <a:gd name="connsiteX68" fmla="*/ 436647 w 1187561"/>
              <a:gd name="connsiteY68" fmla="*/ 123804 h 1262941"/>
              <a:gd name="connsiteX69" fmla="*/ 315041 w 1187561"/>
              <a:gd name="connsiteY69" fmla="*/ 247608 h 1262941"/>
              <a:gd name="connsiteX70" fmla="*/ 193435 w 1187561"/>
              <a:gd name="connsiteY70" fmla="*/ 123804 h 1262941"/>
              <a:gd name="connsiteX71" fmla="*/ 315041 w 1187561"/>
              <a:gd name="connsiteY71" fmla="*/ 0 h 126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1187561" h="1262941">
                <a:moveTo>
                  <a:pt x="221579" y="271782"/>
                </a:moveTo>
                <a:cubicBezTo>
                  <a:pt x="268678" y="271782"/>
                  <a:pt x="408502" y="271782"/>
                  <a:pt x="408502" y="271782"/>
                </a:cubicBezTo>
                <a:cubicBezTo>
                  <a:pt x="434995" y="271782"/>
                  <a:pt x="448241" y="289668"/>
                  <a:pt x="452657" y="301592"/>
                </a:cubicBezTo>
                <a:cubicBezTo>
                  <a:pt x="452657" y="301592"/>
                  <a:pt x="452657" y="301592"/>
                  <a:pt x="568932" y="587761"/>
                </a:cubicBezTo>
                <a:cubicBezTo>
                  <a:pt x="568932" y="587761"/>
                  <a:pt x="568932" y="587761"/>
                  <a:pt x="593148" y="647496"/>
                </a:cubicBezTo>
                <a:lnTo>
                  <a:pt x="593814" y="649138"/>
                </a:lnTo>
                <a:lnTo>
                  <a:pt x="595074" y="645889"/>
                </a:lnTo>
                <a:cubicBezTo>
                  <a:pt x="595074" y="645889"/>
                  <a:pt x="595074" y="645889"/>
                  <a:pt x="736371" y="301592"/>
                </a:cubicBezTo>
                <a:cubicBezTo>
                  <a:pt x="743730" y="282216"/>
                  <a:pt x="761392" y="271782"/>
                  <a:pt x="779055" y="271782"/>
                </a:cubicBezTo>
                <a:cubicBezTo>
                  <a:pt x="779055" y="271782"/>
                  <a:pt x="779055" y="271782"/>
                  <a:pt x="780527" y="271782"/>
                </a:cubicBezTo>
                <a:cubicBezTo>
                  <a:pt x="780527" y="271782"/>
                  <a:pt x="780527" y="271782"/>
                  <a:pt x="965979" y="271782"/>
                </a:cubicBezTo>
                <a:cubicBezTo>
                  <a:pt x="965979" y="271782"/>
                  <a:pt x="965979" y="271782"/>
                  <a:pt x="967451" y="271782"/>
                </a:cubicBezTo>
                <a:cubicBezTo>
                  <a:pt x="985114" y="271782"/>
                  <a:pt x="1002776" y="282216"/>
                  <a:pt x="1010135" y="301592"/>
                </a:cubicBezTo>
                <a:cubicBezTo>
                  <a:pt x="1010135" y="301592"/>
                  <a:pt x="1010135" y="301592"/>
                  <a:pt x="1124939" y="584780"/>
                </a:cubicBezTo>
                <a:cubicBezTo>
                  <a:pt x="1124939" y="584780"/>
                  <a:pt x="1124939" y="584780"/>
                  <a:pt x="1183813" y="729355"/>
                </a:cubicBezTo>
                <a:cubicBezTo>
                  <a:pt x="1194116" y="753202"/>
                  <a:pt x="1182341" y="781521"/>
                  <a:pt x="1158792" y="790464"/>
                </a:cubicBezTo>
                <a:cubicBezTo>
                  <a:pt x="1152904" y="793445"/>
                  <a:pt x="1147017" y="794935"/>
                  <a:pt x="1141129" y="794935"/>
                </a:cubicBezTo>
                <a:cubicBezTo>
                  <a:pt x="1121995" y="794935"/>
                  <a:pt x="1104333" y="783012"/>
                  <a:pt x="1096974" y="765126"/>
                </a:cubicBezTo>
                <a:cubicBezTo>
                  <a:pt x="1096974" y="765126"/>
                  <a:pt x="1096974" y="765126"/>
                  <a:pt x="1020438" y="577327"/>
                </a:cubicBezTo>
                <a:cubicBezTo>
                  <a:pt x="1020438" y="577327"/>
                  <a:pt x="1020438" y="577327"/>
                  <a:pt x="1020438" y="1198851"/>
                </a:cubicBezTo>
                <a:cubicBezTo>
                  <a:pt x="1020438" y="1231641"/>
                  <a:pt x="995416" y="1261451"/>
                  <a:pt x="961564" y="1262941"/>
                </a:cubicBezTo>
                <a:cubicBezTo>
                  <a:pt x="926240" y="1262941"/>
                  <a:pt x="898274" y="1234622"/>
                  <a:pt x="898274" y="1200342"/>
                </a:cubicBezTo>
                <a:cubicBezTo>
                  <a:pt x="898274" y="1200342"/>
                  <a:pt x="898274" y="1200342"/>
                  <a:pt x="898274" y="860516"/>
                </a:cubicBezTo>
                <a:cubicBezTo>
                  <a:pt x="898274" y="845611"/>
                  <a:pt x="885028" y="835178"/>
                  <a:pt x="871781" y="835178"/>
                </a:cubicBezTo>
                <a:cubicBezTo>
                  <a:pt x="858534" y="836668"/>
                  <a:pt x="848232" y="848592"/>
                  <a:pt x="848232" y="862006"/>
                </a:cubicBezTo>
                <a:cubicBezTo>
                  <a:pt x="848232" y="862006"/>
                  <a:pt x="848232" y="862006"/>
                  <a:pt x="848232" y="1198851"/>
                </a:cubicBezTo>
                <a:cubicBezTo>
                  <a:pt x="848232" y="1231641"/>
                  <a:pt x="823210" y="1261451"/>
                  <a:pt x="789358" y="1262941"/>
                </a:cubicBezTo>
                <a:cubicBezTo>
                  <a:pt x="754033" y="1262941"/>
                  <a:pt x="726068" y="1234622"/>
                  <a:pt x="726068" y="1200342"/>
                </a:cubicBezTo>
                <a:cubicBezTo>
                  <a:pt x="726068" y="1200342"/>
                  <a:pt x="726068" y="1200342"/>
                  <a:pt x="726068" y="575837"/>
                </a:cubicBezTo>
                <a:cubicBezTo>
                  <a:pt x="726068" y="575837"/>
                  <a:pt x="726068" y="575837"/>
                  <a:pt x="698103" y="641417"/>
                </a:cubicBezTo>
                <a:cubicBezTo>
                  <a:pt x="698103" y="641417"/>
                  <a:pt x="698103" y="641417"/>
                  <a:pt x="648060" y="765126"/>
                </a:cubicBezTo>
                <a:cubicBezTo>
                  <a:pt x="640701" y="783012"/>
                  <a:pt x="623039" y="794935"/>
                  <a:pt x="605377" y="794935"/>
                </a:cubicBezTo>
                <a:cubicBezTo>
                  <a:pt x="602433" y="794935"/>
                  <a:pt x="598017" y="794935"/>
                  <a:pt x="595074" y="793445"/>
                </a:cubicBezTo>
                <a:lnTo>
                  <a:pt x="591714" y="792084"/>
                </a:lnTo>
                <a:lnTo>
                  <a:pt x="583650" y="793445"/>
                </a:lnTo>
                <a:cubicBezTo>
                  <a:pt x="564516" y="793445"/>
                  <a:pt x="546854" y="783012"/>
                  <a:pt x="539495" y="765126"/>
                </a:cubicBezTo>
                <a:cubicBezTo>
                  <a:pt x="539495" y="765126"/>
                  <a:pt x="539495" y="765126"/>
                  <a:pt x="489453" y="641417"/>
                </a:cubicBezTo>
                <a:cubicBezTo>
                  <a:pt x="489453" y="641417"/>
                  <a:pt x="489453" y="641417"/>
                  <a:pt x="490925" y="641417"/>
                </a:cubicBezTo>
                <a:cubicBezTo>
                  <a:pt x="490925" y="641417"/>
                  <a:pt x="490925" y="641417"/>
                  <a:pt x="462960" y="574347"/>
                </a:cubicBezTo>
                <a:cubicBezTo>
                  <a:pt x="462960" y="574347"/>
                  <a:pt x="462960" y="574347"/>
                  <a:pt x="462960" y="610118"/>
                </a:cubicBezTo>
                <a:cubicBezTo>
                  <a:pt x="462960" y="610118"/>
                  <a:pt x="462960" y="610118"/>
                  <a:pt x="549798" y="885854"/>
                </a:cubicBezTo>
                <a:cubicBezTo>
                  <a:pt x="564516" y="933549"/>
                  <a:pt x="530664" y="979753"/>
                  <a:pt x="482094" y="979753"/>
                </a:cubicBezTo>
                <a:cubicBezTo>
                  <a:pt x="482094" y="979753"/>
                  <a:pt x="482094" y="979753"/>
                  <a:pt x="462960" y="979753"/>
                </a:cubicBezTo>
                <a:cubicBezTo>
                  <a:pt x="462960" y="979753"/>
                  <a:pt x="462960" y="979753"/>
                  <a:pt x="462960" y="1198851"/>
                </a:cubicBezTo>
                <a:cubicBezTo>
                  <a:pt x="462960" y="1231641"/>
                  <a:pt x="436467" y="1261451"/>
                  <a:pt x="404086" y="1262941"/>
                </a:cubicBezTo>
                <a:cubicBezTo>
                  <a:pt x="368762" y="1262941"/>
                  <a:pt x="339326" y="1234622"/>
                  <a:pt x="339326" y="1200342"/>
                </a:cubicBezTo>
                <a:cubicBezTo>
                  <a:pt x="339326" y="1200342"/>
                  <a:pt x="339326" y="1200342"/>
                  <a:pt x="339326" y="979753"/>
                </a:cubicBezTo>
                <a:cubicBezTo>
                  <a:pt x="339326" y="979753"/>
                  <a:pt x="339326" y="979753"/>
                  <a:pt x="290755" y="979753"/>
                </a:cubicBezTo>
                <a:cubicBezTo>
                  <a:pt x="290755" y="979753"/>
                  <a:pt x="290755" y="979753"/>
                  <a:pt x="290755" y="1198851"/>
                </a:cubicBezTo>
                <a:cubicBezTo>
                  <a:pt x="290755" y="1231641"/>
                  <a:pt x="264262" y="1261451"/>
                  <a:pt x="230410" y="1262941"/>
                </a:cubicBezTo>
                <a:cubicBezTo>
                  <a:pt x="196558" y="1262941"/>
                  <a:pt x="167121" y="1234622"/>
                  <a:pt x="167121" y="1200342"/>
                </a:cubicBezTo>
                <a:cubicBezTo>
                  <a:pt x="167121" y="1200342"/>
                  <a:pt x="167121" y="1200342"/>
                  <a:pt x="167121" y="979753"/>
                </a:cubicBezTo>
                <a:cubicBezTo>
                  <a:pt x="167121" y="979753"/>
                  <a:pt x="167121" y="979753"/>
                  <a:pt x="147987" y="979753"/>
                </a:cubicBezTo>
                <a:cubicBezTo>
                  <a:pt x="99417" y="979753"/>
                  <a:pt x="65565" y="933549"/>
                  <a:pt x="80283" y="885854"/>
                </a:cubicBezTo>
                <a:cubicBezTo>
                  <a:pt x="80283" y="885854"/>
                  <a:pt x="80283" y="885854"/>
                  <a:pt x="167121" y="610118"/>
                </a:cubicBezTo>
                <a:cubicBezTo>
                  <a:pt x="167121" y="610118"/>
                  <a:pt x="167121" y="610118"/>
                  <a:pt x="167121" y="577327"/>
                </a:cubicBezTo>
                <a:cubicBezTo>
                  <a:pt x="167121" y="577327"/>
                  <a:pt x="167121" y="577327"/>
                  <a:pt x="90586" y="765126"/>
                </a:cubicBezTo>
                <a:cubicBezTo>
                  <a:pt x="83227" y="783012"/>
                  <a:pt x="65565" y="794935"/>
                  <a:pt x="47903" y="794935"/>
                </a:cubicBezTo>
                <a:cubicBezTo>
                  <a:pt x="42015" y="794935"/>
                  <a:pt x="34656" y="793445"/>
                  <a:pt x="28769" y="790464"/>
                </a:cubicBezTo>
                <a:cubicBezTo>
                  <a:pt x="5220" y="781521"/>
                  <a:pt x="-6555" y="753202"/>
                  <a:pt x="3748" y="729355"/>
                </a:cubicBezTo>
                <a:cubicBezTo>
                  <a:pt x="3748" y="729355"/>
                  <a:pt x="3748" y="729355"/>
                  <a:pt x="177424" y="301592"/>
                </a:cubicBezTo>
                <a:cubicBezTo>
                  <a:pt x="184783" y="282216"/>
                  <a:pt x="202445" y="271782"/>
                  <a:pt x="221579" y="271782"/>
                </a:cubicBezTo>
                <a:close/>
                <a:moveTo>
                  <a:pt x="873254" y="0"/>
                </a:moveTo>
                <a:cubicBezTo>
                  <a:pt x="940819" y="0"/>
                  <a:pt x="995592" y="55429"/>
                  <a:pt x="995592" y="123804"/>
                </a:cubicBezTo>
                <a:cubicBezTo>
                  <a:pt x="995592" y="192179"/>
                  <a:pt x="940819" y="247608"/>
                  <a:pt x="873254" y="247608"/>
                </a:cubicBezTo>
                <a:cubicBezTo>
                  <a:pt x="805689" y="247608"/>
                  <a:pt x="750916" y="192179"/>
                  <a:pt x="750916" y="123804"/>
                </a:cubicBezTo>
                <a:cubicBezTo>
                  <a:pt x="750916" y="55429"/>
                  <a:pt x="805689" y="0"/>
                  <a:pt x="873254" y="0"/>
                </a:cubicBezTo>
                <a:close/>
                <a:moveTo>
                  <a:pt x="315041" y="0"/>
                </a:moveTo>
                <a:cubicBezTo>
                  <a:pt x="382202" y="0"/>
                  <a:pt x="436647" y="55429"/>
                  <a:pt x="436647" y="123804"/>
                </a:cubicBezTo>
                <a:cubicBezTo>
                  <a:pt x="436647" y="192179"/>
                  <a:pt x="382202" y="247608"/>
                  <a:pt x="315041" y="247608"/>
                </a:cubicBezTo>
                <a:cubicBezTo>
                  <a:pt x="247880" y="247608"/>
                  <a:pt x="193435" y="192179"/>
                  <a:pt x="193435" y="123804"/>
                </a:cubicBezTo>
                <a:cubicBezTo>
                  <a:pt x="193435" y="55429"/>
                  <a:pt x="247880" y="0"/>
                  <a:pt x="315041" y="0"/>
                </a:cubicBez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79D57E3-9BA1-1380-6CD4-3879DC474C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24820" y="2565027"/>
            <a:ext cx="736868" cy="783640"/>
          </a:xfrm>
          <a:custGeom>
            <a:avLst/>
            <a:gdLst>
              <a:gd name="connsiteX0" fmla="*/ 221579 w 1187561"/>
              <a:gd name="connsiteY0" fmla="*/ 271782 h 1262941"/>
              <a:gd name="connsiteX1" fmla="*/ 408502 w 1187561"/>
              <a:gd name="connsiteY1" fmla="*/ 271782 h 1262941"/>
              <a:gd name="connsiteX2" fmla="*/ 452657 w 1187561"/>
              <a:gd name="connsiteY2" fmla="*/ 301592 h 1262941"/>
              <a:gd name="connsiteX3" fmla="*/ 568932 w 1187561"/>
              <a:gd name="connsiteY3" fmla="*/ 587761 h 1262941"/>
              <a:gd name="connsiteX4" fmla="*/ 593148 w 1187561"/>
              <a:gd name="connsiteY4" fmla="*/ 647496 h 1262941"/>
              <a:gd name="connsiteX5" fmla="*/ 593814 w 1187561"/>
              <a:gd name="connsiteY5" fmla="*/ 649138 h 1262941"/>
              <a:gd name="connsiteX6" fmla="*/ 595074 w 1187561"/>
              <a:gd name="connsiteY6" fmla="*/ 645889 h 1262941"/>
              <a:gd name="connsiteX7" fmla="*/ 736371 w 1187561"/>
              <a:gd name="connsiteY7" fmla="*/ 301592 h 1262941"/>
              <a:gd name="connsiteX8" fmla="*/ 779055 w 1187561"/>
              <a:gd name="connsiteY8" fmla="*/ 271782 h 1262941"/>
              <a:gd name="connsiteX9" fmla="*/ 780527 w 1187561"/>
              <a:gd name="connsiteY9" fmla="*/ 271782 h 1262941"/>
              <a:gd name="connsiteX10" fmla="*/ 965979 w 1187561"/>
              <a:gd name="connsiteY10" fmla="*/ 271782 h 1262941"/>
              <a:gd name="connsiteX11" fmla="*/ 967451 w 1187561"/>
              <a:gd name="connsiteY11" fmla="*/ 271782 h 1262941"/>
              <a:gd name="connsiteX12" fmla="*/ 1010135 w 1187561"/>
              <a:gd name="connsiteY12" fmla="*/ 301592 h 1262941"/>
              <a:gd name="connsiteX13" fmla="*/ 1124939 w 1187561"/>
              <a:gd name="connsiteY13" fmla="*/ 584780 h 1262941"/>
              <a:gd name="connsiteX14" fmla="*/ 1183813 w 1187561"/>
              <a:gd name="connsiteY14" fmla="*/ 729355 h 1262941"/>
              <a:gd name="connsiteX15" fmla="*/ 1158792 w 1187561"/>
              <a:gd name="connsiteY15" fmla="*/ 790464 h 1262941"/>
              <a:gd name="connsiteX16" fmla="*/ 1141129 w 1187561"/>
              <a:gd name="connsiteY16" fmla="*/ 794935 h 1262941"/>
              <a:gd name="connsiteX17" fmla="*/ 1096974 w 1187561"/>
              <a:gd name="connsiteY17" fmla="*/ 765126 h 1262941"/>
              <a:gd name="connsiteX18" fmla="*/ 1020438 w 1187561"/>
              <a:gd name="connsiteY18" fmla="*/ 577327 h 1262941"/>
              <a:gd name="connsiteX19" fmla="*/ 1020438 w 1187561"/>
              <a:gd name="connsiteY19" fmla="*/ 1198851 h 1262941"/>
              <a:gd name="connsiteX20" fmla="*/ 961564 w 1187561"/>
              <a:gd name="connsiteY20" fmla="*/ 1262941 h 1262941"/>
              <a:gd name="connsiteX21" fmla="*/ 898274 w 1187561"/>
              <a:gd name="connsiteY21" fmla="*/ 1200342 h 1262941"/>
              <a:gd name="connsiteX22" fmla="*/ 898274 w 1187561"/>
              <a:gd name="connsiteY22" fmla="*/ 860516 h 1262941"/>
              <a:gd name="connsiteX23" fmla="*/ 871781 w 1187561"/>
              <a:gd name="connsiteY23" fmla="*/ 835178 h 1262941"/>
              <a:gd name="connsiteX24" fmla="*/ 848232 w 1187561"/>
              <a:gd name="connsiteY24" fmla="*/ 862006 h 1262941"/>
              <a:gd name="connsiteX25" fmla="*/ 848232 w 1187561"/>
              <a:gd name="connsiteY25" fmla="*/ 1198851 h 1262941"/>
              <a:gd name="connsiteX26" fmla="*/ 789358 w 1187561"/>
              <a:gd name="connsiteY26" fmla="*/ 1262941 h 1262941"/>
              <a:gd name="connsiteX27" fmla="*/ 726068 w 1187561"/>
              <a:gd name="connsiteY27" fmla="*/ 1200342 h 1262941"/>
              <a:gd name="connsiteX28" fmla="*/ 726068 w 1187561"/>
              <a:gd name="connsiteY28" fmla="*/ 575837 h 1262941"/>
              <a:gd name="connsiteX29" fmla="*/ 698103 w 1187561"/>
              <a:gd name="connsiteY29" fmla="*/ 641417 h 1262941"/>
              <a:gd name="connsiteX30" fmla="*/ 648060 w 1187561"/>
              <a:gd name="connsiteY30" fmla="*/ 765126 h 1262941"/>
              <a:gd name="connsiteX31" fmla="*/ 605377 w 1187561"/>
              <a:gd name="connsiteY31" fmla="*/ 794935 h 1262941"/>
              <a:gd name="connsiteX32" fmla="*/ 595074 w 1187561"/>
              <a:gd name="connsiteY32" fmla="*/ 793445 h 1262941"/>
              <a:gd name="connsiteX33" fmla="*/ 591714 w 1187561"/>
              <a:gd name="connsiteY33" fmla="*/ 792084 h 1262941"/>
              <a:gd name="connsiteX34" fmla="*/ 583650 w 1187561"/>
              <a:gd name="connsiteY34" fmla="*/ 793445 h 1262941"/>
              <a:gd name="connsiteX35" fmla="*/ 539495 w 1187561"/>
              <a:gd name="connsiteY35" fmla="*/ 765126 h 1262941"/>
              <a:gd name="connsiteX36" fmla="*/ 489453 w 1187561"/>
              <a:gd name="connsiteY36" fmla="*/ 641417 h 1262941"/>
              <a:gd name="connsiteX37" fmla="*/ 490925 w 1187561"/>
              <a:gd name="connsiteY37" fmla="*/ 641417 h 1262941"/>
              <a:gd name="connsiteX38" fmla="*/ 462960 w 1187561"/>
              <a:gd name="connsiteY38" fmla="*/ 574347 h 1262941"/>
              <a:gd name="connsiteX39" fmla="*/ 462960 w 1187561"/>
              <a:gd name="connsiteY39" fmla="*/ 610118 h 1262941"/>
              <a:gd name="connsiteX40" fmla="*/ 549798 w 1187561"/>
              <a:gd name="connsiteY40" fmla="*/ 885854 h 1262941"/>
              <a:gd name="connsiteX41" fmla="*/ 482094 w 1187561"/>
              <a:gd name="connsiteY41" fmla="*/ 979753 h 1262941"/>
              <a:gd name="connsiteX42" fmla="*/ 462960 w 1187561"/>
              <a:gd name="connsiteY42" fmla="*/ 979753 h 1262941"/>
              <a:gd name="connsiteX43" fmla="*/ 462960 w 1187561"/>
              <a:gd name="connsiteY43" fmla="*/ 1198851 h 1262941"/>
              <a:gd name="connsiteX44" fmla="*/ 404086 w 1187561"/>
              <a:gd name="connsiteY44" fmla="*/ 1262941 h 1262941"/>
              <a:gd name="connsiteX45" fmla="*/ 339326 w 1187561"/>
              <a:gd name="connsiteY45" fmla="*/ 1200342 h 1262941"/>
              <a:gd name="connsiteX46" fmla="*/ 339326 w 1187561"/>
              <a:gd name="connsiteY46" fmla="*/ 979753 h 1262941"/>
              <a:gd name="connsiteX47" fmla="*/ 290755 w 1187561"/>
              <a:gd name="connsiteY47" fmla="*/ 979753 h 1262941"/>
              <a:gd name="connsiteX48" fmla="*/ 290755 w 1187561"/>
              <a:gd name="connsiteY48" fmla="*/ 1198851 h 1262941"/>
              <a:gd name="connsiteX49" fmla="*/ 230410 w 1187561"/>
              <a:gd name="connsiteY49" fmla="*/ 1262941 h 1262941"/>
              <a:gd name="connsiteX50" fmla="*/ 167121 w 1187561"/>
              <a:gd name="connsiteY50" fmla="*/ 1200342 h 1262941"/>
              <a:gd name="connsiteX51" fmla="*/ 167121 w 1187561"/>
              <a:gd name="connsiteY51" fmla="*/ 979753 h 1262941"/>
              <a:gd name="connsiteX52" fmla="*/ 147987 w 1187561"/>
              <a:gd name="connsiteY52" fmla="*/ 979753 h 1262941"/>
              <a:gd name="connsiteX53" fmla="*/ 80283 w 1187561"/>
              <a:gd name="connsiteY53" fmla="*/ 885854 h 1262941"/>
              <a:gd name="connsiteX54" fmla="*/ 167121 w 1187561"/>
              <a:gd name="connsiteY54" fmla="*/ 610118 h 1262941"/>
              <a:gd name="connsiteX55" fmla="*/ 167121 w 1187561"/>
              <a:gd name="connsiteY55" fmla="*/ 577327 h 1262941"/>
              <a:gd name="connsiteX56" fmla="*/ 90586 w 1187561"/>
              <a:gd name="connsiteY56" fmla="*/ 765126 h 1262941"/>
              <a:gd name="connsiteX57" fmla="*/ 47903 w 1187561"/>
              <a:gd name="connsiteY57" fmla="*/ 794935 h 1262941"/>
              <a:gd name="connsiteX58" fmla="*/ 28769 w 1187561"/>
              <a:gd name="connsiteY58" fmla="*/ 790464 h 1262941"/>
              <a:gd name="connsiteX59" fmla="*/ 3748 w 1187561"/>
              <a:gd name="connsiteY59" fmla="*/ 729355 h 1262941"/>
              <a:gd name="connsiteX60" fmla="*/ 177424 w 1187561"/>
              <a:gd name="connsiteY60" fmla="*/ 301592 h 1262941"/>
              <a:gd name="connsiteX61" fmla="*/ 221579 w 1187561"/>
              <a:gd name="connsiteY61" fmla="*/ 271782 h 1262941"/>
              <a:gd name="connsiteX62" fmla="*/ 873254 w 1187561"/>
              <a:gd name="connsiteY62" fmla="*/ 0 h 1262941"/>
              <a:gd name="connsiteX63" fmla="*/ 995592 w 1187561"/>
              <a:gd name="connsiteY63" fmla="*/ 123804 h 1262941"/>
              <a:gd name="connsiteX64" fmla="*/ 873254 w 1187561"/>
              <a:gd name="connsiteY64" fmla="*/ 247608 h 1262941"/>
              <a:gd name="connsiteX65" fmla="*/ 750916 w 1187561"/>
              <a:gd name="connsiteY65" fmla="*/ 123804 h 1262941"/>
              <a:gd name="connsiteX66" fmla="*/ 873254 w 1187561"/>
              <a:gd name="connsiteY66" fmla="*/ 0 h 1262941"/>
              <a:gd name="connsiteX67" fmla="*/ 315041 w 1187561"/>
              <a:gd name="connsiteY67" fmla="*/ 0 h 1262941"/>
              <a:gd name="connsiteX68" fmla="*/ 436647 w 1187561"/>
              <a:gd name="connsiteY68" fmla="*/ 123804 h 1262941"/>
              <a:gd name="connsiteX69" fmla="*/ 315041 w 1187561"/>
              <a:gd name="connsiteY69" fmla="*/ 247608 h 1262941"/>
              <a:gd name="connsiteX70" fmla="*/ 193435 w 1187561"/>
              <a:gd name="connsiteY70" fmla="*/ 123804 h 1262941"/>
              <a:gd name="connsiteX71" fmla="*/ 315041 w 1187561"/>
              <a:gd name="connsiteY71" fmla="*/ 0 h 126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1187561" h="1262941">
                <a:moveTo>
                  <a:pt x="221579" y="271782"/>
                </a:moveTo>
                <a:cubicBezTo>
                  <a:pt x="268678" y="271782"/>
                  <a:pt x="408502" y="271782"/>
                  <a:pt x="408502" y="271782"/>
                </a:cubicBezTo>
                <a:cubicBezTo>
                  <a:pt x="434995" y="271782"/>
                  <a:pt x="448241" y="289668"/>
                  <a:pt x="452657" y="301592"/>
                </a:cubicBezTo>
                <a:cubicBezTo>
                  <a:pt x="452657" y="301592"/>
                  <a:pt x="452657" y="301592"/>
                  <a:pt x="568932" y="587761"/>
                </a:cubicBezTo>
                <a:cubicBezTo>
                  <a:pt x="568932" y="587761"/>
                  <a:pt x="568932" y="587761"/>
                  <a:pt x="593148" y="647496"/>
                </a:cubicBezTo>
                <a:lnTo>
                  <a:pt x="593814" y="649138"/>
                </a:lnTo>
                <a:lnTo>
                  <a:pt x="595074" y="645889"/>
                </a:lnTo>
                <a:cubicBezTo>
                  <a:pt x="595074" y="645889"/>
                  <a:pt x="595074" y="645889"/>
                  <a:pt x="736371" y="301592"/>
                </a:cubicBezTo>
                <a:cubicBezTo>
                  <a:pt x="743730" y="282216"/>
                  <a:pt x="761392" y="271782"/>
                  <a:pt x="779055" y="271782"/>
                </a:cubicBezTo>
                <a:cubicBezTo>
                  <a:pt x="779055" y="271782"/>
                  <a:pt x="779055" y="271782"/>
                  <a:pt x="780527" y="271782"/>
                </a:cubicBezTo>
                <a:cubicBezTo>
                  <a:pt x="780527" y="271782"/>
                  <a:pt x="780527" y="271782"/>
                  <a:pt x="965979" y="271782"/>
                </a:cubicBezTo>
                <a:cubicBezTo>
                  <a:pt x="965979" y="271782"/>
                  <a:pt x="965979" y="271782"/>
                  <a:pt x="967451" y="271782"/>
                </a:cubicBezTo>
                <a:cubicBezTo>
                  <a:pt x="985114" y="271782"/>
                  <a:pt x="1002776" y="282216"/>
                  <a:pt x="1010135" y="301592"/>
                </a:cubicBezTo>
                <a:cubicBezTo>
                  <a:pt x="1010135" y="301592"/>
                  <a:pt x="1010135" y="301592"/>
                  <a:pt x="1124939" y="584780"/>
                </a:cubicBezTo>
                <a:cubicBezTo>
                  <a:pt x="1124939" y="584780"/>
                  <a:pt x="1124939" y="584780"/>
                  <a:pt x="1183813" y="729355"/>
                </a:cubicBezTo>
                <a:cubicBezTo>
                  <a:pt x="1194116" y="753202"/>
                  <a:pt x="1182341" y="781521"/>
                  <a:pt x="1158792" y="790464"/>
                </a:cubicBezTo>
                <a:cubicBezTo>
                  <a:pt x="1152904" y="793445"/>
                  <a:pt x="1147017" y="794935"/>
                  <a:pt x="1141129" y="794935"/>
                </a:cubicBezTo>
                <a:cubicBezTo>
                  <a:pt x="1121995" y="794935"/>
                  <a:pt x="1104333" y="783012"/>
                  <a:pt x="1096974" y="765126"/>
                </a:cubicBezTo>
                <a:cubicBezTo>
                  <a:pt x="1096974" y="765126"/>
                  <a:pt x="1096974" y="765126"/>
                  <a:pt x="1020438" y="577327"/>
                </a:cubicBezTo>
                <a:cubicBezTo>
                  <a:pt x="1020438" y="577327"/>
                  <a:pt x="1020438" y="577327"/>
                  <a:pt x="1020438" y="1198851"/>
                </a:cubicBezTo>
                <a:cubicBezTo>
                  <a:pt x="1020438" y="1231641"/>
                  <a:pt x="995416" y="1261451"/>
                  <a:pt x="961564" y="1262941"/>
                </a:cubicBezTo>
                <a:cubicBezTo>
                  <a:pt x="926240" y="1262941"/>
                  <a:pt x="898274" y="1234622"/>
                  <a:pt x="898274" y="1200342"/>
                </a:cubicBezTo>
                <a:cubicBezTo>
                  <a:pt x="898274" y="1200342"/>
                  <a:pt x="898274" y="1200342"/>
                  <a:pt x="898274" y="860516"/>
                </a:cubicBezTo>
                <a:cubicBezTo>
                  <a:pt x="898274" y="845611"/>
                  <a:pt x="885028" y="835178"/>
                  <a:pt x="871781" y="835178"/>
                </a:cubicBezTo>
                <a:cubicBezTo>
                  <a:pt x="858534" y="836668"/>
                  <a:pt x="848232" y="848592"/>
                  <a:pt x="848232" y="862006"/>
                </a:cubicBezTo>
                <a:cubicBezTo>
                  <a:pt x="848232" y="862006"/>
                  <a:pt x="848232" y="862006"/>
                  <a:pt x="848232" y="1198851"/>
                </a:cubicBezTo>
                <a:cubicBezTo>
                  <a:pt x="848232" y="1231641"/>
                  <a:pt x="823210" y="1261451"/>
                  <a:pt x="789358" y="1262941"/>
                </a:cubicBezTo>
                <a:cubicBezTo>
                  <a:pt x="754033" y="1262941"/>
                  <a:pt x="726068" y="1234622"/>
                  <a:pt x="726068" y="1200342"/>
                </a:cubicBezTo>
                <a:cubicBezTo>
                  <a:pt x="726068" y="1200342"/>
                  <a:pt x="726068" y="1200342"/>
                  <a:pt x="726068" y="575837"/>
                </a:cubicBezTo>
                <a:cubicBezTo>
                  <a:pt x="726068" y="575837"/>
                  <a:pt x="726068" y="575837"/>
                  <a:pt x="698103" y="641417"/>
                </a:cubicBezTo>
                <a:cubicBezTo>
                  <a:pt x="698103" y="641417"/>
                  <a:pt x="698103" y="641417"/>
                  <a:pt x="648060" y="765126"/>
                </a:cubicBezTo>
                <a:cubicBezTo>
                  <a:pt x="640701" y="783012"/>
                  <a:pt x="623039" y="794935"/>
                  <a:pt x="605377" y="794935"/>
                </a:cubicBezTo>
                <a:cubicBezTo>
                  <a:pt x="602433" y="794935"/>
                  <a:pt x="598017" y="794935"/>
                  <a:pt x="595074" y="793445"/>
                </a:cubicBezTo>
                <a:lnTo>
                  <a:pt x="591714" y="792084"/>
                </a:lnTo>
                <a:lnTo>
                  <a:pt x="583650" y="793445"/>
                </a:lnTo>
                <a:cubicBezTo>
                  <a:pt x="564516" y="793445"/>
                  <a:pt x="546854" y="783012"/>
                  <a:pt x="539495" y="765126"/>
                </a:cubicBezTo>
                <a:cubicBezTo>
                  <a:pt x="539495" y="765126"/>
                  <a:pt x="539495" y="765126"/>
                  <a:pt x="489453" y="641417"/>
                </a:cubicBezTo>
                <a:cubicBezTo>
                  <a:pt x="489453" y="641417"/>
                  <a:pt x="489453" y="641417"/>
                  <a:pt x="490925" y="641417"/>
                </a:cubicBezTo>
                <a:cubicBezTo>
                  <a:pt x="490925" y="641417"/>
                  <a:pt x="490925" y="641417"/>
                  <a:pt x="462960" y="574347"/>
                </a:cubicBezTo>
                <a:cubicBezTo>
                  <a:pt x="462960" y="574347"/>
                  <a:pt x="462960" y="574347"/>
                  <a:pt x="462960" y="610118"/>
                </a:cubicBezTo>
                <a:cubicBezTo>
                  <a:pt x="462960" y="610118"/>
                  <a:pt x="462960" y="610118"/>
                  <a:pt x="549798" y="885854"/>
                </a:cubicBezTo>
                <a:cubicBezTo>
                  <a:pt x="564516" y="933549"/>
                  <a:pt x="530664" y="979753"/>
                  <a:pt x="482094" y="979753"/>
                </a:cubicBezTo>
                <a:cubicBezTo>
                  <a:pt x="482094" y="979753"/>
                  <a:pt x="482094" y="979753"/>
                  <a:pt x="462960" y="979753"/>
                </a:cubicBezTo>
                <a:cubicBezTo>
                  <a:pt x="462960" y="979753"/>
                  <a:pt x="462960" y="979753"/>
                  <a:pt x="462960" y="1198851"/>
                </a:cubicBezTo>
                <a:cubicBezTo>
                  <a:pt x="462960" y="1231641"/>
                  <a:pt x="436467" y="1261451"/>
                  <a:pt x="404086" y="1262941"/>
                </a:cubicBezTo>
                <a:cubicBezTo>
                  <a:pt x="368762" y="1262941"/>
                  <a:pt x="339326" y="1234622"/>
                  <a:pt x="339326" y="1200342"/>
                </a:cubicBezTo>
                <a:cubicBezTo>
                  <a:pt x="339326" y="1200342"/>
                  <a:pt x="339326" y="1200342"/>
                  <a:pt x="339326" y="979753"/>
                </a:cubicBezTo>
                <a:cubicBezTo>
                  <a:pt x="339326" y="979753"/>
                  <a:pt x="339326" y="979753"/>
                  <a:pt x="290755" y="979753"/>
                </a:cubicBezTo>
                <a:cubicBezTo>
                  <a:pt x="290755" y="979753"/>
                  <a:pt x="290755" y="979753"/>
                  <a:pt x="290755" y="1198851"/>
                </a:cubicBezTo>
                <a:cubicBezTo>
                  <a:pt x="290755" y="1231641"/>
                  <a:pt x="264262" y="1261451"/>
                  <a:pt x="230410" y="1262941"/>
                </a:cubicBezTo>
                <a:cubicBezTo>
                  <a:pt x="196558" y="1262941"/>
                  <a:pt x="167121" y="1234622"/>
                  <a:pt x="167121" y="1200342"/>
                </a:cubicBezTo>
                <a:cubicBezTo>
                  <a:pt x="167121" y="1200342"/>
                  <a:pt x="167121" y="1200342"/>
                  <a:pt x="167121" y="979753"/>
                </a:cubicBezTo>
                <a:cubicBezTo>
                  <a:pt x="167121" y="979753"/>
                  <a:pt x="167121" y="979753"/>
                  <a:pt x="147987" y="979753"/>
                </a:cubicBezTo>
                <a:cubicBezTo>
                  <a:pt x="99417" y="979753"/>
                  <a:pt x="65565" y="933549"/>
                  <a:pt x="80283" y="885854"/>
                </a:cubicBezTo>
                <a:cubicBezTo>
                  <a:pt x="80283" y="885854"/>
                  <a:pt x="80283" y="885854"/>
                  <a:pt x="167121" y="610118"/>
                </a:cubicBezTo>
                <a:cubicBezTo>
                  <a:pt x="167121" y="610118"/>
                  <a:pt x="167121" y="610118"/>
                  <a:pt x="167121" y="577327"/>
                </a:cubicBezTo>
                <a:cubicBezTo>
                  <a:pt x="167121" y="577327"/>
                  <a:pt x="167121" y="577327"/>
                  <a:pt x="90586" y="765126"/>
                </a:cubicBezTo>
                <a:cubicBezTo>
                  <a:pt x="83227" y="783012"/>
                  <a:pt x="65565" y="794935"/>
                  <a:pt x="47903" y="794935"/>
                </a:cubicBezTo>
                <a:cubicBezTo>
                  <a:pt x="42015" y="794935"/>
                  <a:pt x="34656" y="793445"/>
                  <a:pt x="28769" y="790464"/>
                </a:cubicBezTo>
                <a:cubicBezTo>
                  <a:pt x="5220" y="781521"/>
                  <a:pt x="-6555" y="753202"/>
                  <a:pt x="3748" y="729355"/>
                </a:cubicBezTo>
                <a:cubicBezTo>
                  <a:pt x="3748" y="729355"/>
                  <a:pt x="3748" y="729355"/>
                  <a:pt x="177424" y="301592"/>
                </a:cubicBezTo>
                <a:cubicBezTo>
                  <a:pt x="184783" y="282216"/>
                  <a:pt x="202445" y="271782"/>
                  <a:pt x="221579" y="271782"/>
                </a:cubicBezTo>
                <a:close/>
                <a:moveTo>
                  <a:pt x="873254" y="0"/>
                </a:moveTo>
                <a:cubicBezTo>
                  <a:pt x="940819" y="0"/>
                  <a:pt x="995592" y="55429"/>
                  <a:pt x="995592" y="123804"/>
                </a:cubicBezTo>
                <a:cubicBezTo>
                  <a:pt x="995592" y="192179"/>
                  <a:pt x="940819" y="247608"/>
                  <a:pt x="873254" y="247608"/>
                </a:cubicBezTo>
                <a:cubicBezTo>
                  <a:pt x="805689" y="247608"/>
                  <a:pt x="750916" y="192179"/>
                  <a:pt x="750916" y="123804"/>
                </a:cubicBezTo>
                <a:cubicBezTo>
                  <a:pt x="750916" y="55429"/>
                  <a:pt x="805689" y="0"/>
                  <a:pt x="873254" y="0"/>
                </a:cubicBezTo>
                <a:close/>
                <a:moveTo>
                  <a:pt x="315041" y="0"/>
                </a:moveTo>
                <a:cubicBezTo>
                  <a:pt x="382202" y="0"/>
                  <a:pt x="436647" y="55429"/>
                  <a:pt x="436647" y="123804"/>
                </a:cubicBezTo>
                <a:cubicBezTo>
                  <a:pt x="436647" y="192179"/>
                  <a:pt x="382202" y="247608"/>
                  <a:pt x="315041" y="247608"/>
                </a:cubicBezTo>
                <a:cubicBezTo>
                  <a:pt x="247880" y="247608"/>
                  <a:pt x="193435" y="192179"/>
                  <a:pt x="193435" y="123804"/>
                </a:cubicBezTo>
                <a:cubicBezTo>
                  <a:pt x="193435" y="55429"/>
                  <a:pt x="247880" y="0"/>
                  <a:pt x="315041" y="0"/>
                </a:cubicBez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0485F68-CE14-37B2-868F-AE155E327D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1512" y="3628855"/>
            <a:ext cx="736868" cy="783640"/>
          </a:xfrm>
          <a:custGeom>
            <a:avLst/>
            <a:gdLst>
              <a:gd name="connsiteX0" fmla="*/ 221579 w 1187561"/>
              <a:gd name="connsiteY0" fmla="*/ 271782 h 1262941"/>
              <a:gd name="connsiteX1" fmla="*/ 408502 w 1187561"/>
              <a:gd name="connsiteY1" fmla="*/ 271782 h 1262941"/>
              <a:gd name="connsiteX2" fmla="*/ 452657 w 1187561"/>
              <a:gd name="connsiteY2" fmla="*/ 301592 h 1262941"/>
              <a:gd name="connsiteX3" fmla="*/ 568932 w 1187561"/>
              <a:gd name="connsiteY3" fmla="*/ 587761 h 1262941"/>
              <a:gd name="connsiteX4" fmla="*/ 593148 w 1187561"/>
              <a:gd name="connsiteY4" fmla="*/ 647496 h 1262941"/>
              <a:gd name="connsiteX5" fmla="*/ 593814 w 1187561"/>
              <a:gd name="connsiteY5" fmla="*/ 649138 h 1262941"/>
              <a:gd name="connsiteX6" fmla="*/ 595074 w 1187561"/>
              <a:gd name="connsiteY6" fmla="*/ 645889 h 1262941"/>
              <a:gd name="connsiteX7" fmla="*/ 736371 w 1187561"/>
              <a:gd name="connsiteY7" fmla="*/ 301592 h 1262941"/>
              <a:gd name="connsiteX8" fmla="*/ 779055 w 1187561"/>
              <a:gd name="connsiteY8" fmla="*/ 271782 h 1262941"/>
              <a:gd name="connsiteX9" fmla="*/ 780527 w 1187561"/>
              <a:gd name="connsiteY9" fmla="*/ 271782 h 1262941"/>
              <a:gd name="connsiteX10" fmla="*/ 965979 w 1187561"/>
              <a:gd name="connsiteY10" fmla="*/ 271782 h 1262941"/>
              <a:gd name="connsiteX11" fmla="*/ 967451 w 1187561"/>
              <a:gd name="connsiteY11" fmla="*/ 271782 h 1262941"/>
              <a:gd name="connsiteX12" fmla="*/ 1010135 w 1187561"/>
              <a:gd name="connsiteY12" fmla="*/ 301592 h 1262941"/>
              <a:gd name="connsiteX13" fmla="*/ 1124939 w 1187561"/>
              <a:gd name="connsiteY13" fmla="*/ 584780 h 1262941"/>
              <a:gd name="connsiteX14" fmla="*/ 1183813 w 1187561"/>
              <a:gd name="connsiteY14" fmla="*/ 729355 h 1262941"/>
              <a:gd name="connsiteX15" fmla="*/ 1158792 w 1187561"/>
              <a:gd name="connsiteY15" fmla="*/ 790464 h 1262941"/>
              <a:gd name="connsiteX16" fmla="*/ 1141129 w 1187561"/>
              <a:gd name="connsiteY16" fmla="*/ 794935 h 1262941"/>
              <a:gd name="connsiteX17" fmla="*/ 1096974 w 1187561"/>
              <a:gd name="connsiteY17" fmla="*/ 765126 h 1262941"/>
              <a:gd name="connsiteX18" fmla="*/ 1020438 w 1187561"/>
              <a:gd name="connsiteY18" fmla="*/ 577327 h 1262941"/>
              <a:gd name="connsiteX19" fmla="*/ 1020438 w 1187561"/>
              <a:gd name="connsiteY19" fmla="*/ 1198851 h 1262941"/>
              <a:gd name="connsiteX20" fmla="*/ 961564 w 1187561"/>
              <a:gd name="connsiteY20" fmla="*/ 1262941 h 1262941"/>
              <a:gd name="connsiteX21" fmla="*/ 898274 w 1187561"/>
              <a:gd name="connsiteY21" fmla="*/ 1200342 h 1262941"/>
              <a:gd name="connsiteX22" fmla="*/ 898274 w 1187561"/>
              <a:gd name="connsiteY22" fmla="*/ 860516 h 1262941"/>
              <a:gd name="connsiteX23" fmla="*/ 871781 w 1187561"/>
              <a:gd name="connsiteY23" fmla="*/ 835178 h 1262941"/>
              <a:gd name="connsiteX24" fmla="*/ 848232 w 1187561"/>
              <a:gd name="connsiteY24" fmla="*/ 862006 h 1262941"/>
              <a:gd name="connsiteX25" fmla="*/ 848232 w 1187561"/>
              <a:gd name="connsiteY25" fmla="*/ 1198851 h 1262941"/>
              <a:gd name="connsiteX26" fmla="*/ 789358 w 1187561"/>
              <a:gd name="connsiteY26" fmla="*/ 1262941 h 1262941"/>
              <a:gd name="connsiteX27" fmla="*/ 726068 w 1187561"/>
              <a:gd name="connsiteY27" fmla="*/ 1200342 h 1262941"/>
              <a:gd name="connsiteX28" fmla="*/ 726068 w 1187561"/>
              <a:gd name="connsiteY28" fmla="*/ 575837 h 1262941"/>
              <a:gd name="connsiteX29" fmla="*/ 698103 w 1187561"/>
              <a:gd name="connsiteY29" fmla="*/ 641417 h 1262941"/>
              <a:gd name="connsiteX30" fmla="*/ 648060 w 1187561"/>
              <a:gd name="connsiteY30" fmla="*/ 765126 h 1262941"/>
              <a:gd name="connsiteX31" fmla="*/ 605377 w 1187561"/>
              <a:gd name="connsiteY31" fmla="*/ 794935 h 1262941"/>
              <a:gd name="connsiteX32" fmla="*/ 595074 w 1187561"/>
              <a:gd name="connsiteY32" fmla="*/ 793445 h 1262941"/>
              <a:gd name="connsiteX33" fmla="*/ 591714 w 1187561"/>
              <a:gd name="connsiteY33" fmla="*/ 792084 h 1262941"/>
              <a:gd name="connsiteX34" fmla="*/ 583650 w 1187561"/>
              <a:gd name="connsiteY34" fmla="*/ 793445 h 1262941"/>
              <a:gd name="connsiteX35" fmla="*/ 539495 w 1187561"/>
              <a:gd name="connsiteY35" fmla="*/ 765126 h 1262941"/>
              <a:gd name="connsiteX36" fmla="*/ 489453 w 1187561"/>
              <a:gd name="connsiteY36" fmla="*/ 641417 h 1262941"/>
              <a:gd name="connsiteX37" fmla="*/ 490925 w 1187561"/>
              <a:gd name="connsiteY37" fmla="*/ 641417 h 1262941"/>
              <a:gd name="connsiteX38" fmla="*/ 462960 w 1187561"/>
              <a:gd name="connsiteY38" fmla="*/ 574347 h 1262941"/>
              <a:gd name="connsiteX39" fmla="*/ 462960 w 1187561"/>
              <a:gd name="connsiteY39" fmla="*/ 610118 h 1262941"/>
              <a:gd name="connsiteX40" fmla="*/ 549798 w 1187561"/>
              <a:gd name="connsiteY40" fmla="*/ 885854 h 1262941"/>
              <a:gd name="connsiteX41" fmla="*/ 482094 w 1187561"/>
              <a:gd name="connsiteY41" fmla="*/ 979753 h 1262941"/>
              <a:gd name="connsiteX42" fmla="*/ 462960 w 1187561"/>
              <a:gd name="connsiteY42" fmla="*/ 979753 h 1262941"/>
              <a:gd name="connsiteX43" fmla="*/ 462960 w 1187561"/>
              <a:gd name="connsiteY43" fmla="*/ 1198851 h 1262941"/>
              <a:gd name="connsiteX44" fmla="*/ 404086 w 1187561"/>
              <a:gd name="connsiteY44" fmla="*/ 1262941 h 1262941"/>
              <a:gd name="connsiteX45" fmla="*/ 339326 w 1187561"/>
              <a:gd name="connsiteY45" fmla="*/ 1200342 h 1262941"/>
              <a:gd name="connsiteX46" fmla="*/ 339326 w 1187561"/>
              <a:gd name="connsiteY46" fmla="*/ 979753 h 1262941"/>
              <a:gd name="connsiteX47" fmla="*/ 290755 w 1187561"/>
              <a:gd name="connsiteY47" fmla="*/ 979753 h 1262941"/>
              <a:gd name="connsiteX48" fmla="*/ 290755 w 1187561"/>
              <a:gd name="connsiteY48" fmla="*/ 1198851 h 1262941"/>
              <a:gd name="connsiteX49" fmla="*/ 230410 w 1187561"/>
              <a:gd name="connsiteY49" fmla="*/ 1262941 h 1262941"/>
              <a:gd name="connsiteX50" fmla="*/ 167121 w 1187561"/>
              <a:gd name="connsiteY50" fmla="*/ 1200342 h 1262941"/>
              <a:gd name="connsiteX51" fmla="*/ 167121 w 1187561"/>
              <a:gd name="connsiteY51" fmla="*/ 979753 h 1262941"/>
              <a:gd name="connsiteX52" fmla="*/ 147987 w 1187561"/>
              <a:gd name="connsiteY52" fmla="*/ 979753 h 1262941"/>
              <a:gd name="connsiteX53" fmla="*/ 80283 w 1187561"/>
              <a:gd name="connsiteY53" fmla="*/ 885854 h 1262941"/>
              <a:gd name="connsiteX54" fmla="*/ 167121 w 1187561"/>
              <a:gd name="connsiteY54" fmla="*/ 610118 h 1262941"/>
              <a:gd name="connsiteX55" fmla="*/ 167121 w 1187561"/>
              <a:gd name="connsiteY55" fmla="*/ 577327 h 1262941"/>
              <a:gd name="connsiteX56" fmla="*/ 90586 w 1187561"/>
              <a:gd name="connsiteY56" fmla="*/ 765126 h 1262941"/>
              <a:gd name="connsiteX57" fmla="*/ 47903 w 1187561"/>
              <a:gd name="connsiteY57" fmla="*/ 794935 h 1262941"/>
              <a:gd name="connsiteX58" fmla="*/ 28769 w 1187561"/>
              <a:gd name="connsiteY58" fmla="*/ 790464 h 1262941"/>
              <a:gd name="connsiteX59" fmla="*/ 3748 w 1187561"/>
              <a:gd name="connsiteY59" fmla="*/ 729355 h 1262941"/>
              <a:gd name="connsiteX60" fmla="*/ 177424 w 1187561"/>
              <a:gd name="connsiteY60" fmla="*/ 301592 h 1262941"/>
              <a:gd name="connsiteX61" fmla="*/ 221579 w 1187561"/>
              <a:gd name="connsiteY61" fmla="*/ 271782 h 1262941"/>
              <a:gd name="connsiteX62" fmla="*/ 873254 w 1187561"/>
              <a:gd name="connsiteY62" fmla="*/ 0 h 1262941"/>
              <a:gd name="connsiteX63" fmla="*/ 995592 w 1187561"/>
              <a:gd name="connsiteY63" fmla="*/ 123804 h 1262941"/>
              <a:gd name="connsiteX64" fmla="*/ 873254 w 1187561"/>
              <a:gd name="connsiteY64" fmla="*/ 247608 h 1262941"/>
              <a:gd name="connsiteX65" fmla="*/ 750916 w 1187561"/>
              <a:gd name="connsiteY65" fmla="*/ 123804 h 1262941"/>
              <a:gd name="connsiteX66" fmla="*/ 873254 w 1187561"/>
              <a:gd name="connsiteY66" fmla="*/ 0 h 1262941"/>
              <a:gd name="connsiteX67" fmla="*/ 315041 w 1187561"/>
              <a:gd name="connsiteY67" fmla="*/ 0 h 1262941"/>
              <a:gd name="connsiteX68" fmla="*/ 436647 w 1187561"/>
              <a:gd name="connsiteY68" fmla="*/ 123804 h 1262941"/>
              <a:gd name="connsiteX69" fmla="*/ 315041 w 1187561"/>
              <a:gd name="connsiteY69" fmla="*/ 247608 h 1262941"/>
              <a:gd name="connsiteX70" fmla="*/ 193435 w 1187561"/>
              <a:gd name="connsiteY70" fmla="*/ 123804 h 1262941"/>
              <a:gd name="connsiteX71" fmla="*/ 315041 w 1187561"/>
              <a:gd name="connsiteY71" fmla="*/ 0 h 126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1187561" h="1262941">
                <a:moveTo>
                  <a:pt x="221579" y="271782"/>
                </a:moveTo>
                <a:cubicBezTo>
                  <a:pt x="268678" y="271782"/>
                  <a:pt x="408502" y="271782"/>
                  <a:pt x="408502" y="271782"/>
                </a:cubicBezTo>
                <a:cubicBezTo>
                  <a:pt x="434995" y="271782"/>
                  <a:pt x="448241" y="289668"/>
                  <a:pt x="452657" y="301592"/>
                </a:cubicBezTo>
                <a:cubicBezTo>
                  <a:pt x="452657" y="301592"/>
                  <a:pt x="452657" y="301592"/>
                  <a:pt x="568932" y="587761"/>
                </a:cubicBezTo>
                <a:cubicBezTo>
                  <a:pt x="568932" y="587761"/>
                  <a:pt x="568932" y="587761"/>
                  <a:pt x="593148" y="647496"/>
                </a:cubicBezTo>
                <a:lnTo>
                  <a:pt x="593814" y="649138"/>
                </a:lnTo>
                <a:lnTo>
                  <a:pt x="595074" y="645889"/>
                </a:lnTo>
                <a:cubicBezTo>
                  <a:pt x="595074" y="645889"/>
                  <a:pt x="595074" y="645889"/>
                  <a:pt x="736371" y="301592"/>
                </a:cubicBezTo>
                <a:cubicBezTo>
                  <a:pt x="743730" y="282216"/>
                  <a:pt x="761392" y="271782"/>
                  <a:pt x="779055" y="271782"/>
                </a:cubicBezTo>
                <a:cubicBezTo>
                  <a:pt x="779055" y="271782"/>
                  <a:pt x="779055" y="271782"/>
                  <a:pt x="780527" y="271782"/>
                </a:cubicBezTo>
                <a:cubicBezTo>
                  <a:pt x="780527" y="271782"/>
                  <a:pt x="780527" y="271782"/>
                  <a:pt x="965979" y="271782"/>
                </a:cubicBezTo>
                <a:cubicBezTo>
                  <a:pt x="965979" y="271782"/>
                  <a:pt x="965979" y="271782"/>
                  <a:pt x="967451" y="271782"/>
                </a:cubicBezTo>
                <a:cubicBezTo>
                  <a:pt x="985114" y="271782"/>
                  <a:pt x="1002776" y="282216"/>
                  <a:pt x="1010135" y="301592"/>
                </a:cubicBezTo>
                <a:cubicBezTo>
                  <a:pt x="1010135" y="301592"/>
                  <a:pt x="1010135" y="301592"/>
                  <a:pt x="1124939" y="584780"/>
                </a:cubicBezTo>
                <a:cubicBezTo>
                  <a:pt x="1124939" y="584780"/>
                  <a:pt x="1124939" y="584780"/>
                  <a:pt x="1183813" y="729355"/>
                </a:cubicBezTo>
                <a:cubicBezTo>
                  <a:pt x="1194116" y="753202"/>
                  <a:pt x="1182341" y="781521"/>
                  <a:pt x="1158792" y="790464"/>
                </a:cubicBezTo>
                <a:cubicBezTo>
                  <a:pt x="1152904" y="793445"/>
                  <a:pt x="1147017" y="794935"/>
                  <a:pt x="1141129" y="794935"/>
                </a:cubicBezTo>
                <a:cubicBezTo>
                  <a:pt x="1121995" y="794935"/>
                  <a:pt x="1104333" y="783012"/>
                  <a:pt x="1096974" y="765126"/>
                </a:cubicBezTo>
                <a:cubicBezTo>
                  <a:pt x="1096974" y="765126"/>
                  <a:pt x="1096974" y="765126"/>
                  <a:pt x="1020438" y="577327"/>
                </a:cubicBezTo>
                <a:cubicBezTo>
                  <a:pt x="1020438" y="577327"/>
                  <a:pt x="1020438" y="577327"/>
                  <a:pt x="1020438" y="1198851"/>
                </a:cubicBezTo>
                <a:cubicBezTo>
                  <a:pt x="1020438" y="1231641"/>
                  <a:pt x="995416" y="1261451"/>
                  <a:pt x="961564" y="1262941"/>
                </a:cubicBezTo>
                <a:cubicBezTo>
                  <a:pt x="926240" y="1262941"/>
                  <a:pt x="898274" y="1234622"/>
                  <a:pt x="898274" y="1200342"/>
                </a:cubicBezTo>
                <a:cubicBezTo>
                  <a:pt x="898274" y="1200342"/>
                  <a:pt x="898274" y="1200342"/>
                  <a:pt x="898274" y="860516"/>
                </a:cubicBezTo>
                <a:cubicBezTo>
                  <a:pt x="898274" y="845611"/>
                  <a:pt x="885028" y="835178"/>
                  <a:pt x="871781" y="835178"/>
                </a:cubicBezTo>
                <a:cubicBezTo>
                  <a:pt x="858534" y="836668"/>
                  <a:pt x="848232" y="848592"/>
                  <a:pt x="848232" y="862006"/>
                </a:cubicBezTo>
                <a:cubicBezTo>
                  <a:pt x="848232" y="862006"/>
                  <a:pt x="848232" y="862006"/>
                  <a:pt x="848232" y="1198851"/>
                </a:cubicBezTo>
                <a:cubicBezTo>
                  <a:pt x="848232" y="1231641"/>
                  <a:pt x="823210" y="1261451"/>
                  <a:pt x="789358" y="1262941"/>
                </a:cubicBezTo>
                <a:cubicBezTo>
                  <a:pt x="754033" y="1262941"/>
                  <a:pt x="726068" y="1234622"/>
                  <a:pt x="726068" y="1200342"/>
                </a:cubicBezTo>
                <a:cubicBezTo>
                  <a:pt x="726068" y="1200342"/>
                  <a:pt x="726068" y="1200342"/>
                  <a:pt x="726068" y="575837"/>
                </a:cubicBezTo>
                <a:cubicBezTo>
                  <a:pt x="726068" y="575837"/>
                  <a:pt x="726068" y="575837"/>
                  <a:pt x="698103" y="641417"/>
                </a:cubicBezTo>
                <a:cubicBezTo>
                  <a:pt x="698103" y="641417"/>
                  <a:pt x="698103" y="641417"/>
                  <a:pt x="648060" y="765126"/>
                </a:cubicBezTo>
                <a:cubicBezTo>
                  <a:pt x="640701" y="783012"/>
                  <a:pt x="623039" y="794935"/>
                  <a:pt x="605377" y="794935"/>
                </a:cubicBezTo>
                <a:cubicBezTo>
                  <a:pt x="602433" y="794935"/>
                  <a:pt x="598017" y="794935"/>
                  <a:pt x="595074" y="793445"/>
                </a:cubicBezTo>
                <a:lnTo>
                  <a:pt x="591714" y="792084"/>
                </a:lnTo>
                <a:lnTo>
                  <a:pt x="583650" y="793445"/>
                </a:lnTo>
                <a:cubicBezTo>
                  <a:pt x="564516" y="793445"/>
                  <a:pt x="546854" y="783012"/>
                  <a:pt x="539495" y="765126"/>
                </a:cubicBezTo>
                <a:cubicBezTo>
                  <a:pt x="539495" y="765126"/>
                  <a:pt x="539495" y="765126"/>
                  <a:pt x="489453" y="641417"/>
                </a:cubicBezTo>
                <a:cubicBezTo>
                  <a:pt x="489453" y="641417"/>
                  <a:pt x="489453" y="641417"/>
                  <a:pt x="490925" y="641417"/>
                </a:cubicBezTo>
                <a:cubicBezTo>
                  <a:pt x="490925" y="641417"/>
                  <a:pt x="490925" y="641417"/>
                  <a:pt x="462960" y="574347"/>
                </a:cubicBezTo>
                <a:cubicBezTo>
                  <a:pt x="462960" y="574347"/>
                  <a:pt x="462960" y="574347"/>
                  <a:pt x="462960" y="610118"/>
                </a:cubicBezTo>
                <a:cubicBezTo>
                  <a:pt x="462960" y="610118"/>
                  <a:pt x="462960" y="610118"/>
                  <a:pt x="549798" y="885854"/>
                </a:cubicBezTo>
                <a:cubicBezTo>
                  <a:pt x="564516" y="933549"/>
                  <a:pt x="530664" y="979753"/>
                  <a:pt x="482094" y="979753"/>
                </a:cubicBezTo>
                <a:cubicBezTo>
                  <a:pt x="482094" y="979753"/>
                  <a:pt x="482094" y="979753"/>
                  <a:pt x="462960" y="979753"/>
                </a:cubicBezTo>
                <a:cubicBezTo>
                  <a:pt x="462960" y="979753"/>
                  <a:pt x="462960" y="979753"/>
                  <a:pt x="462960" y="1198851"/>
                </a:cubicBezTo>
                <a:cubicBezTo>
                  <a:pt x="462960" y="1231641"/>
                  <a:pt x="436467" y="1261451"/>
                  <a:pt x="404086" y="1262941"/>
                </a:cubicBezTo>
                <a:cubicBezTo>
                  <a:pt x="368762" y="1262941"/>
                  <a:pt x="339326" y="1234622"/>
                  <a:pt x="339326" y="1200342"/>
                </a:cubicBezTo>
                <a:cubicBezTo>
                  <a:pt x="339326" y="1200342"/>
                  <a:pt x="339326" y="1200342"/>
                  <a:pt x="339326" y="979753"/>
                </a:cubicBezTo>
                <a:cubicBezTo>
                  <a:pt x="339326" y="979753"/>
                  <a:pt x="339326" y="979753"/>
                  <a:pt x="290755" y="979753"/>
                </a:cubicBezTo>
                <a:cubicBezTo>
                  <a:pt x="290755" y="979753"/>
                  <a:pt x="290755" y="979753"/>
                  <a:pt x="290755" y="1198851"/>
                </a:cubicBezTo>
                <a:cubicBezTo>
                  <a:pt x="290755" y="1231641"/>
                  <a:pt x="264262" y="1261451"/>
                  <a:pt x="230410" y="1262941"/>
                </a:cubicBezTo>
                <a:cubicBezTo>
                  <a:pt x="196558" y="1262941"/>
                  <a:pt x="167121" y="1234622"/>
                  <a:pt x="167121" y="1200342"/>
                </a:cubicBezTo>
                <a:cubicBezTo>
                  <a:pt x="167121" y="1200342"/>
                  <a:pt x="167121" y="1200342"/>
                  <a:pt x="167121" y="979753"/>
                </a:cubicBezTo>
                <a:cubicBezTo>
                  <a:pt x="167121" y="979753"/>
                  <a:pt x="167121" y="979753"/>
                  <a:pt x="147987" y="979753"/>
                </a:cubicBezTo>
                <a:cubicBezTo>
                  <a:pt x="99417" y="979753"/>
                  <a:pt x="65565" y="933549"/>
                  <a:pt x="80283" y="885854"/>
                </a:cubicBezTo>
                <a:cubicBezTo>
                  <a:pt x="80283" y="885854"/>
                  <a:pt x="80283" y="885854"/>
                  <a:pt x="167121" y="610118"/>
                </a:cubicBezTo>
                <a:cubicBezTo>
                  <a:pt x="167121" y="610118"/>
                  <a:pt x="167121" y="610118"/>
                  <a:pt x="167121" y="577327"/>
                </a:cubicBezTo>
                <a:cubicBezTo>
                  <a:pt x="167121" y="577327"/>
                  <a:pt x="167121" y="577327"/>
                  <a:pt x="90586" y="765126"/>
                </a:cubicBezTo>
                <a:cubicBezTo>
                  <a:pt x="83227" y="783012"/>
                  <a:pt x="65565" y="794935"/>
                  <a:pt x="47903" y="794935"/>
                </a:cubicBezTo>
                <a:cubicBezTo>
                  <a:pt x="42015" y="794935"/>
                  <a:pt x="34656" y="793445"/>
                  <a:pt x="28769" y="790464"/>
                </a:cubicBezTo>
                <a:cubicBezTo>
                  <a:pt x="5220" y="781521"/>
                  <a:pt x="-6555" y="753202"/>
                  <a:pt x="3748" y="729355"/>
                </a:cubicBezTo>
                <a:cubicBezTo>
                  <a:pt x="3748" y="729355"/>
                  <a:pt x="3748" y="729355"/>
                  <a:pt x="177424" y="301592"/>
                </a:cubicBezTo>
                <a:cubicBezTo>
                  <a:pt x="184783" y="282216"/>
                  <a:pt x="202445" y="271782"/>
                  <a:pt x="221579" y="271782"/>
                </a:cubicBezTo>
                <a:close/>
                <a:moveTo>
                  <a:pt x="873254" y="0"/>
                </a:moveTo>
                <a:cubicBezTo>
                  <a:pt x="940819" y="0"/>
                  <a:pt x="995592" y="55429"/>
                  <a:pt x="995592" y="123804"/>
                </a:cubicBezTo>
                <a:cubicBezTo>
                  <a:pt x="995592" y="192179"/>
                  <a:pt x="940819" y="247608"/>
                  <a:pt x="873254" y="247608"/>
                </a:cubicBezTo>
                <a:cubicBezTo>
                  <a:pt x="805689" y="247608"/>
                  <a:pt x="750916" y="192179"/>
                  <a:pt x="750916" y="123804"/>
                </a:cubicBezTo>
                <a:cubicBezTo>
                  <a:pt x="750916" y="55429"/>
                  <a:pt x="805689" y="0"/>
                  <a:pt x="873254" y="0"/>
                </a:cubicBezTo>
                <a:close/>
                <a:moveTo>
                  <a:pt x="315041" y="0"/>
                </a:moveTo>
                <a:cubicBezTo>
                  <a:pt x="382202" y="0"/>
                  <a:pt x="436647" y="55429"/>
                  <a:pt x="436647" y="123804"/>
                </a:cubicBezTo>
                <a:cubicBezTo>
                  <a:pt x="436647" y="192179"/>
                  <a:pt x="382202" y="247608"/>
                  <a:pt x="315041" y="247608"/>
                </a:cubicBezTo>
                <a:cubicBezTo>
                  <a:pt x="247880" y="247608"/>
                  <a:pt x="193435" y="192179"/>
                  <a:pt x="193435" y="123804"/>
                </a:cubicBezTo>
                <a:cubicBezTo>
                  <a:pt x="193435" y="55429"/>
                  <a:pt x="247880" y="0"/>
                  <a:pt x="315041" y="0"/>
                </a:cubicBez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54F5EC7-E722-7937-493C-1D9A017B46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42339" y="3628855"/>
            <a:ext cx="736868" cy="783640"/>
          </a:xfrm>
          <a:custGeom>
            <a:avLst/>
            <a:gdLst>
              <a:gd name="connsiteX0" fmla="*/ 221579 w 1187561"/>
              <a:gd name="connsiteY0" fmla="*/ 271782 h 1262941"/>
              <a:gd name="connsiteX1" fmla="*/ 408502 w 1187561"/>
              <a:gd name="connsiteY1" fmla="*/ 271782 h 1262941"/>
              <a:gd name="connsiteX2" fmla="*/ 452657 w 1187561"/>
              <a:gd name="connsiteY2" fmla="*/ 301592 h 1262941"/>
              <a:gd name="connsiteX3" fmla="*/ 568932 w 1187561"/>
              <a:gd name="connsiteY3" fmla="*/ 587761 h 1262941"/>
              <a:gd name="connsiteX4" fmla="*/ 593148 w 1187561"/>
              <a:gd name="connsiteY4" fmla="*/ 647496 h 1262941"/>
              <a:gd name="connsiteX5" fmla="*/ 593814 w 1187561"/>
              <a:gd name="connsiteY5" fmla="*/ 649138 h 1262941"/>
              <a:gd name="connsiteX6" fmla="*/ 595074 w 1187561"/>
              <a:gd name="connsiteY6" fmla="*/ 645889 h 1262941"/>
              <a:gd name="connsiteX7" fmla="*/ 736371 w 1187561"/>
              <a:gd name="connsiteY7" fmla="*/ 301592 h 1262941"/>
              <a:gd name="connsiteX8" fmla="*/ 779055 w 1187561"/>
              <a:gd name="connsiteY8" fmla="*/ 271782 h 1262941"/>
              <a:gd name="connsiteX9" fmla="*/ 780527 w 1187561"/>
              <a:gd name="connsiteY9" fmla="*/ 271782 h 1262941"/>
              <a:gd name="connsiteX10" fmla="*/ 965979 w 1187561"/>
              <a:gd name="connsiteY10" fmla="*/ 271782 h 1262941"/>
              <a:gd name="connsiteX11" fmla="*/ 967451 w 1187561"/>
              <a:gd name="connsiteY11" fmla="*/ 271782 h 1262941"/>
              <a:gd name="connsiteX12" fmla="*/ 1010135 w 1187561"/>
              <a:gd name="connsiteY12" fmla="*/ 301592 h 1262941"/>
              <a:gd name="connsiteX13" fmla="*/ 1124939 w 1187561"/>
              <a:gd name="connsiteY13" fmla="*/ 584780 h 1262941"/>
              <a:gd name="connsiteX14" fmla="*/ 1183813 w 1187561"/>
              <a:gd name="connsiteY14" fmla="*/ 729355 h 1262941"/>
              <a:gd name="connsiteX15" fmla="*/ 1158792 w 1187561"/>
              <a:gd name="connsiteY15" fmla="*/ 790464 h 1262941"/>
              <a:gd name="connsiteX16" fmla="*/ 1141129 w 1187561"/>
              <a:gd name="connsiteY16" fmla="*/ 794935 h 1262941"/>
              <a:gd name="connsiteX17" fmla="*/ 1096974 w 1187561"/>
              <a:gd name="connsiteY17" fmla="*/ 765126 h 1262941"/>
              <a:gd name="connsiteX18" fmla="*/ 1020438 w 1187561"/>
              <a:gd name="connsiteY18" fmla="*/ 577327 h 1262941"/>
              <a:gd name="connsiteX19" fmla="*/ 1020438 w 1187561"/>
              <a:gd name="connsiteY19" fmla="*/ 1198851 h 1262941"/>
              <a:gd name="connsiteX20" fmla="*/ 961564 w 1187561"/>
              <a:gd name="connsiteY20" fmla="*/ 1262941 h 1262941"/>
              <a:gd name="connsiteX21" fmla="*/ 898274 w 1187561"/>
              <a:gd name="connsiteY21" fmla="*/ 1200342 h 1262941"/>
              <a:gd name="connsiteX22" fmla="*/ 898274 w 1187561"/>
              <a:gd name="connsiteY22" fmla="*/ 860516 h 1262941"/>
              <a:gd name="connsiteX23" fmla="*/ 871781 w 1187561"/>
              <a:gd name="connsiteY23" fmla="*/ 835178 h 1262941"/>
              <a:gd name="connsiteX24" fmla="*/ 848232 w 1187561"/>
              <a:gd name="connsiteY24" fmla="*/ 862006 h 1262941"/>
              <a:gd name="connsiteX25" fmla="*/ 848232 w 1187561"/>
              <a:gd name="connsiteY25" fmla="*/ 1198851 h 1262941"/>
              <a:gd name="connsiteX26" fmla="*/ 789358 w 1187561"/>
              <a:gd name="connsiteY26" fmla="*/ 1262941 h 1262941"/>
              <a:gd name="connsiteX27" fmla="*/ 726068 w 1187561"/>
              <a:gd name="connsiteY27" fmla="*/ 1200342 h 1262941"/>
              <a:gd name="connsiteX28" fmla="*/ 726068 w 1187561"/>
              <a:gd name="connsiteY28" fmla="*/ 575837 h 1262941"/>
              <a:gd name="connsiteX29" fmla="*/ 698103 w 1187561"/>
              <a:gd name="connsiteY29" fmla="*/ 641417 h 1262941"/>
              <a:gd name="connsiteX30" fmla="*/ 648060 w 1187561"/>
              <a:gd name="connsiteY30" fmla="*/ 765126 h 1262941"/>
              <a:gd name="connsiteX31" fmla="*/ 605377 w 1187561"/>
              <a:gd name="connsiteY31" fmla="*/ 794935 h 1262941"/>
              <a:gd name="connsiteX32" fmla="*/ 595074 w 1187561"/>
              <a:gd name="connsiteY32" fmla="*/ 793445 h 1262941"/>
              <a:gd name="connsiteX33" fmla="*/ 591714 w 1187561"/>
              <a:gd name="connsiteY33" fmla="*/ 792084 h 1262941"/>
              <a:gd name="connsiteX34" fmla="*/ 583650 w 1187561"/>
              <a:gd name="connsiteY34" fmla="*/ 793445 h 1262941"/>
              <a:gd name="connsiteX35" fmla="*/ 539495 w 1187561"/>
              <a:gd name="connsiteY35" fmla="*/ 765126 h 1262941"/>
              <a:gd name="connsiteX36" fmla="*/ 489453 w 1187561"/>
              <a:gd name="connsiteY36" fmla="*/ 641417 h 1262941"/>
              <a:gd name="connsiteX37" fmla="*/ 490925 w 1187561"/>
              <a:gd name="connsiteY37" fmla="*/ 641417 h 1262941"/>
              <a:gd name="connsiteX38" fmla="*/ 462960 w 1187561"/>
              <a:gd name="connsiteY38" fmla="*/ 574347 h 1262941"/>
              <a:gd name="connsiteX39" fmla="*/ 462960 w 1187561"/>
              <a:gd name="connsiteY39" fmla="*/ 610118 h 1262941"/>
              <a:gd name="connsiteX40" fmla="*/ 549798 w 1187561"/>
              <a:gd name="connsiteY40" fmla="*/ 885854 h 1262941"/>
              <a:gd name="connsiteX41" fmla="*/ 482094 w 1187561"/>
              <a:gd name="connsiteY41" fmla="*/ 979753 h 1262941"/>
              <a:gd name="connsiteX42" fmla="*/ 462960 w 1187561"/>
              <a:gd name="connsiteY42" fmla="*/ 979753 h 1262941"/>
              <a:gd name="connsiteX43" fmla="*/ 462960 w 1187561"/>
              <a:gd name="connsiteY43" fmla="*/ 1198851 h 1262941"/>
              <a:gd name="connsiteX44" fmla="*/ 404086 w 1187561"/>
              <a:gd name="connsiteY44" fmla="*/ 1262941 h 1262941"/>
              <a:gd name="connsiteX45" fmla="*/ 339326 w 1187561"/>
              <a:gd name="connsiteY45" fmla="*/ 1200342 h 1262941"/>
              <a:gd name="connsiteX46" fmla="*/ 339326 w 1187561"/>
              <a:gd name="connsiteY46" fmla="*/ 979753 h 1262941"/>
              <a:gd name="connsiteX47" fmla="*/ 290755 w 1187561"/>
              <a:gd name="connsiteY47" fmla="*/ 979753 h 1262941"/>
              <a:gd name="connsiteX48" fmla="*/ 290755 w 1187561"/>
              <a:gd name="connsiteY48" fmla="*/ 1198851 h 1262941"/>
              <a:gd name="connsiteX49" fmla="*/ 230410 w 1187561"/>
              <a:gd name="connsiteY49" fmla="*/ 1262941 h 1262941"/>
              <a:gd name="connsiteX50" fmla="*/ 167121 w 1187561"/>
              <a:gd name="connsiteY50" fmla="*/ 1200342 h 1262941"/>
              <a:gd name="connsiteX51" fmla="*/ 167121 w 1187561"/>
              <a:gd name="connsiteY51" fmla="*/ 979753 h 1262941"/>
              <a:gd name="connsiteX52" fmla="*/ 147987 w 1187561"/>
              <a:gd name="connsiteY52" fmla="*/ 979753 h 1262941"/>
              <a:gd name="connsiteX53" fmla="*/ 80283 w 1187561"/>
              <a:gd name="connsiteY53" fmla="*/ 885854 h 1262941"/>
              <a:gd name="connsiteX54" fmla="*/ 167121 w 1187561"/>
              <a:gd name="connsiteY54" fmla="*/ 610118 h 1262941"/>
              <a:gd name="connsiteX55" fmla="*/ 167121 w 1187561"/>
              <a:gd name="connsiteY55" fmla="*/ 577327 h 1262941"/>
              <a:gd name="connsiteX56" fmla="*/ 90586 w 1187561"/>
              <a:gd name="connsiteY56" fmla="*/ 765126 h 1262941"/>
              <a:gd name="connsiteX57" fmla="*/ 47903 w 1187561"/>
              <a:gd name="connsiteY57" fmla="*/ 794935 h 1262941"/>
              <a:gd name="connsiteX58" fmla="*/ 28769 w 1187561"/>
              <a:gd name="connsiteY58" fmla="*/ 790464 h 1262941"/>
              <a:gd name="connsiteX59" fmla="*/ 3748 w 1187561"/>
              <a:gd name="connsiteY59" fmla="*/ 729355 h 1262941"/>
              <a:gd name="connsiteX60" fmla="*/ 177424 w 1187561"/>
              <a:gd name="connsiteY60" fmla="*/ 301592 h 1262941"/>
              <a:gd name="connsiteX61" fmla="*/ 221579 w 1187561"/>
              <a:gd name="connsiteY61" fmla="*/ 271782 h 1262941"/>
              <a:gd name="connsiteX62" fmla="*/ 873254 w 1187561"/>
              <a:gd name="connsiteY62" fmla="*/ 0 h 1262941"/>
              <a:gd name="connsiteX63" fmla="*/ 995592 w 1187561"/>
              <a:gd name="connsiteY63" fmla="*/ 123804 h 1262941"/>
              <a:gd name="connsiteX64" fmla="*/ 873254 w 1187561"/>
              <a:gd name="connsiteY64" fmla="*/ 247608 h 1262941"/>
              <a:gd name="connsiteX65" fmla="*/ 750916 w 1187561"/>
              <a:gd name="connsiteY65" fmla="*/ 123804 h 1262941"/>
              <a:gd name="connsiteX66" fmla="*/ 873254 w 1187561"/>
              <a:gd name="connsiteY66" fmla="*/ 0 h 1262941"/>
              <a:gd name="connsiteX67" fmla="*/ 315041 w 1187561"/>
              <a:gd name="connsiteY67" fmla="*/ 0 h 1262941"/>
              <a:gd name="connsiteX68" fmla="*/ 436647 w 1187561"/>
              <a:gd name="connsiteY68" fmla="*/ 123804 h 1262941"/>
              <a:gd name="connsiteX69" fmla="*/ 315041 w 1187561"/>
              <a:gd name="connsiteY69" fmla="*/ 247608 h 1262941"/>
              <a:gd name="connsiteX70" fmla="*/ 193435 w 1187561"/>
              <a:gd name="connsiteY70" fmla="*/ 123804 h 1262941"/>
              <a:gd name="connsiteX71" fmla="*/ 315041 w 1187561"/>
              <a:gd name="connsiteY71" fmla="*/ 0 h 126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1187561" h="1262941">
                <a:moveTo>
                  <a:pt x="221579" y="271782"/>
                </a:moveTo>
                <a:cubicBezTo>
                  <a:pt x="268678" y="271782"/>
                  <a:pt x="408502" y="271782"/>
                  <a:pt x="408502" y="271782"/>
                </a:cubicBezTo>
                <a:cubicBezTo>
                  <a:pt x="434995" y="271782"/>
                  <a:pt x="448241" y="289668"/>
                  <a:pt x="452657" y="301592"/>
                </a:cubicBezTo>
                <a:cubicBezTo>
                  <a:pt x="452657" y="301592"/>
                  <a:pt x="452657" y="301592"/>
                  <a:pt x="568932" y="587761"/>
                </a:cubicBezTo>
                <a:cubicBezTo>
                  <a:pt x="568932" y="587761"/>
                  <a:pt x="568932" y="587761"/>
                  <a:pt x="593148" y="647496"/>
                </a:cubicBezTo>
                <a:lnTo>
                  <a:pt x="593814" y="649138"/>
                </a:lnTo>
                <a:lnTo>
                  <a:pt x="595074" y="645889"/>
                </a:lnTo>
                <a:cubicBezTo>
                  <a:pt x="595074" y="645889"/>
                  <a:pt x="595074" y="645889"/>
                  <a:pt x="736371" y="301592"/>
                </a:cubicBezTo>
                <a:cubicBezTo>
                  <a:pt x="743730" y="282216"/>
                  <a:pt x="761392" y="271782"/>
                  <a:pt x="779055" y="271782"/>
                </a:cubicBezTo>
                <a:cubicBezTo>
                  <a:pt x="779055" y="271782"/>
                  <a:pt x="779055" y="271782"/>
                  <a:pt x="780527" y="271782"/>
                </a:cubicBezTo>
                <a:cubicBezTo>
                  <a:pt x="780527" y="271782"/>
                  <a:pt x="780527" y="271782"/>
                  <a:pt x="965979" y="271782"/>
                </a:cubicBezTo>
                <a:cubicBezTo>
                  <a:pt x="965979" y="271782"/>
                  <a:pt x="965979" y="271782"/>
                  <a:pt x="967451" y="271782"/>
                </a:cubicBezTo>
                <a:cubicBezTo>
                  <a:pt x="985114" y="271782"/>
                  <a:pt x="1002776" y="282216"/>
                  <a:pt x="1010135" y="301592"/>
                </a:cubicBezTo>
                <a:cubicBezTo>
                  <a:pt x="1010135" y="301592"/>
                  <a:pt x="1010135" y="301592"/>
                  <a:pt x="1124939" y="584780"/>
                </a:cubicBezTo>
                <a:cubicBezTo>
                  <a:pt x="1124939" y="584780"/>
                  <a:pt x="1124939" y="584780"/>
                  <a:pt x="1183813" y="729355"/>
                </a:cubicBezTo>
                <a:cubicBezTo>
                  <a:pt x="1194116" y="753202"/>
                  <a:pt x="1182341" y="781521"/>
                  <a:pt x="1158792" y="790464"/>
                </a:cubicBezTo>
                <a:cubicBezTo>
                  <a:pt x="1152904" y="793445"/>
                  <a:pt x="1147017" y="794935"/>
                  <a:pt x="1141129" y="794935"/>
                </a:cubicBezTo>
                <a:cubicBezTo>
                  <a:pt x="1121995" y="794935"/>
                  <a:pt x="1104333" y="783012"/>
                  <a:pt x="1096974" y="765126"/>
                </a:cubicBezTo>
                <a:cubicBezTo>
                  <a:pt x="1096974" y="765126"/>
                  <a:pt x="1096974" y="765126"/>
                  <a:pt x="1020438" y="577327"/>
                </a:cubicBezTo>
                <a:cubicBezTo>
                  <a:pt x="1020438" y="577327"/>
                  <a:pt x="1020438" y="577327"/>
                  <a:pt x="1020438" y="1198851"/>
                </a:cubicBezTo>
                <a:cubicBezTo>
                  <a:pt x="1020438" y="1231641"/>
                  <a:pt x="995416" y="1261451"/>
                  <a:pt x="961564" y="1262941"/>
                </a:cubicBezTo>
                <a:cubicBezTo>
                  <a:pt x="926240" y="1262941"/>
                  <a:pt x="898274" y="1234622"/>
                  <a:pt x="898274" y="1200342"/>
                </a:cubicBezTo>
                <a:cubicBezTo>
                  <a:pt x="898274" y="1200342"/>
                  <a:pt x="898274" y="1200342"/>
                  <a:pt x="898274" y="860516"/>
                </a:cubicBezTo>
                <a:cubicBezTo>
                  <a:pt x="898274" y="845611"/>
                  <a:pt x="885028" y="835178"/>
                  <a:pt x="871781" y="835178"/>
                </a:cubicBezTo>
                <a:cubicBezTo>
                  <a:pt x="858534" y="836668"/>
                  <a:pt x="848232" y="848592"/>
                  <a:pt x="848232" y="862006"/>
                </a:cubicBezTo>
                <a:cubicBezTo>
                  <a:pt x="848232" y="862006"/>
                  <a:pt x="848232" y="862006"/>
                  <a:pt x="848232" y="1198851"/>
                </a:cubicBezTo>
                <a:cubicBezTo>
                  <a:pt x="848232" y="1231641"/>
                  <a:pt x="823210" y="1261451"/>
                  <a:pt x="789358" y="1262941"/>
                </a:cubicBezTo>
                <a:cubicBezTo>
                  <a:pt x="754033" y="1262941"/>
                  <a:pt x="726068" y="1234622"/>
                  <a:pt x="726068" y="1200342"/>
                </a:cubicBezTo>
                <a:cubicBezTo>
                  <a:pt x="726068" y="1200342"/>
                  <a:pt x="726068" y="1200342"/>
                  <a:pt x="726068" y="575837"/>
                </a:cubicBezTo>
                <a:cubicBezTo>
                  <a:pt x="726068" y="575837"/>
                  <a:pt x="726068" y="575837"/>
                  <a:pt x="698103" y="641417"/>
                </a:cubicBezTo>
                <a:cubicBezTo>
                  <a:pt x="698103" y="641417"/>
                  <a:pt x="698103" y="641417"/>
                  <a:pt x="648060" y="765126"/>
                </a:cubicBezTo>
                <a:cubicBezTo>
                  <a:pt x="640701" y="783012"/>
                  <a:pt x="623039" y="794935"/>
                  <a:pt x="605377" y="794935"/>
                </a:cubicBezTo>
                <a:cubicBezTo>
                  <a:pt x="602433" y="794935"/>
                  <a:pt x="598017" y="794935"/>
                  <a:pt x="595074" y="793445"/>
                </a:cubicBezTo>
                <a:lnTo>
                  <a:pt x="591714" y="792084"/>
                </a:lnTo>
                <a:lnTo>
                  <a:pt x="583650" y="793445"/>
                </a:lnTo>
                <a:cubicBezTo>
                  <a:pt x="564516" y="793445"/>
                  <a:pt x="546854" y="783012"/>
                  <a:pt x="539495" y="765126"/>
                </a:cubicBezTo>
                <a:cubicBezTo>
                  <a:pt x="539495" y="765126"/>
                  <a:pt x="539495" y="765126"/>
                  <a:pt x="489453" y="641417"/>
                </a:cubicBezTo>
                <a:cubicBezTo>
                  <a:pt x="489453" y="641417"/>
                  <a:pt x="489453" y="641417"/>
                  <a:pt x="490925" y="641417"/>
                </a:cubicBezTo>
                <a:cubicBezTo>
                  <a:pt x="490925" y="641417"/>
                  <a:pt x="490925" y="641417"/>
                  <a:pt x="462960" y="574347"/>
                </a:cubicBezTo>
                <a:cubicBezTo>
                  <a:pt x="462960" y="574347"/>
                  <a:pt x="462960" y="574347"/>
                  <a:pt x="462960" y="610118"/>
                </a:cubicBezTo>
                <a:cubicBezTo>
                  <a:pt x="462960" y="610118"/>
                  <a:pt x="462960" y="610118"/>
                  <a:pt x="549798" y="885854"/>
                </a:cubicBezTo>
                <a:cubicBezTo>
                  <a:pt x="564516" y="933549"/>
                  <a:pt x="530664" y="979753"/>
                  <a:pt x="482094" y="979753"/>
                </a:cubicBezTo>
                <a:cubicBezTo>
                  <a:pt x="482094" y="979753"/>
                  <a:pt x="482094" y="979753"/>
                  <a:pt x="462960" y="979753"/>
                </a:cubicBezTo>
                <a:cubicBezTo>
                  <a:pt x="462960" y="979753"/>
                  <a:pt x="462960" y="979753"/>
                  <a:pt x="462960" y="1198851"/>
                </a:cubicBezTo>
                <a:cubicBezTo>
                  <a:pt x="462960" y="1231641"/>
                  <a:pt x="436467" y="1261451"/>
                  <a:pt x="404086" y="1262941"/>
                </a:cubicBezTo>
                <a:cubicBezTo>
                  <a:pt x="368762" y="1262941"/>
                  <a:pt x="339326" y="1234622"/>
                  <a:pt x="339326" y="1200342"/>
                </a:cubicBezTo>
                <a:cubicBezTo>
                  <a:pt x="339326" y="1200342"/>
                  <a:pt x="339326" y="1200342"/>
                  <a:pt x="339326" y="979753"/>
                </a:cubicBezTo>
                <a:cubicBezTo>
                  <a:pt x="339326" y="979753"/>
                  <a:pt x="339326" y="979753"/>
                  <a:pt x="290755" y="979753"/>
                </a:cubicBezTo>
                <a:cubicBezTo>
                  <a:pt x="290755" y="979753"/>
                  <a:pt x="290755" y="979753"/>
                  <a:pt x="290755" y="1198851"/>
                </a:cubicBezTo>
                <a:cubicBezTo>
                  <a:pt x="290755" y="1231641"/>
                  <a:pt x="264262" y="1261451"/>
                  <a:pt x="230410" y="1262941"/>
                </a:cubicBezTo>
                <a:cubicBezTo>
                  <a:pt x="196558" y="1262941"/>
                  <a:pt x="167121" y="1234622"/>
                  <a:pt x="167121" y="1200342"/>
                </a:cubicBezTo>
                <a:cubicBezTo>
                  <a:pt x="167121" y="1200342"/>
                  <a:pt x="167121" y="1200342"/>
                  <a:pt x="167121" y="979753"/>
                </a:cubicBezTo>
                <a:cubicBezTo>
                  <a:pt x="167121" y="979753"/>
                  <a:pt x="167121" y="979753"/>
                  <a:pt x="147987" y="979753"/>
                </a:cubicBezTo>
                <a:cubicBezTo>
                  <a:pt x="99417" y="979753"/>
                  <a:pt x="65565" y="933549"/>
                  <a:pt x="80283" y="885854"/>
                </a:cubicBezTo>
                <a:cubicBezTo>
                  <a:pt x="80283" y="885854"/>
                  <a:pt x="80283" y="885854"/>
                  <a:pt x="167121" y="610118"/>
                </a:cubicBezTo>
                <a:cubicBezTo>
                  <a:pt x="167121" y="610118"/>
                  <a:pt x="167121" y="610118"/>
                  <a:pt x="167121" y="577327"/>
                </a:cubicBezTo>
                <a:cubicBezTo>
                  <a:pt x="167121" y="577327"/>
                  <a:pt x="167121" y="577327"/>
                  <a:pt x="90586" y="765126"/>
                </a:cubicBezTo>
                <a:cubicBezTo>
                  <a:pt x="83227" y="783012"/>
                  <a:pt x="65565" y="794935"/>
                  <a:pt x="47903" y="794935"/>
                </a:cubicBezTo>
                <a:cubicBezTo>
                  <a:pt x="42015" y="794935"/>
                  <a:pt x="34656" y="793445"/>
                  <a:pt x="28769" y="790464"/>
                </a:cubicBezTo>
                <a:cubicBezTo>
                  <a:pt x="5220" y="781521"/>
                  <a:pt x="-6555" y="753202"/>
                  <a:pt x="3748" y="729355"/>
                </a:cubicBezTo>
                <a:cubicBezTo>
                  <a:pt x="3748" y="729355"/>
                  <a:pt x="3748" y="729355"/>
                  <a:pt x="177424" y="301592"/>
                </a:cubicBezTo>
                <a:cubicBezTo>
                  <a:pt x="184783" y="282216"/>
                  <a:pt x="202445" y="271782"/>
                  <a:pt x="221579" y="271782"/>
                </a:cubicBezTo>
                <a:close/>
                <a:moveTo>
                  <a:pt x="873254" y="0"/>
                </a:moveTo>
                <a:cubicBezTo>
                  <a:pt x="940819" y="0"/>
                  <a:pt x="995592" y="55429"/>
                  <a:pt x="995592" y="123804"/>
                </a:cubicBezTo>
                <a:cubicBezTo>
                  <a:pt x="995592" y="192179"/>
                  <a:pt x="940819" y="247608"/>
                  <a:pt x="873254" y="247608"/>
                </a:cubicBezTo>
                <a:cubicBezTo>
                  <a:pt x="805689" y="247608"/>
                  <a:pt x="750916" y="192179"/>
                  <a:pt x="750916" y="123804"/>
                </a:cubicBezTo>
                <a:cubicBezTo>
                  <a:pt x="750916" y="55429"/>
                  <a:pt x="805689" y="0"/>
                  <a:pt x="873254" y="0"/>
                </a:cubicBezTo>
                <a:close/>
                <a:moveTo>
                  <a:pt x="315041" y="0"/>
                </a:moveTo>
                <a:cubicBezTo>
                  <a:pt x="382202" y="0"/>
                  <a:pt x="436647" y="55429"/>
                  <a:pt x="436647" y="123804"/>
                </a:cubicBezTo>
                <a:cubicBezTo>
                  <a:pt x="436647" y="192179"/>
                  <a:pt x="382202" y="247608"/>
                  <a:pt x="315041" y="247608"/>
                </a:cubicBezTo>
                <a:cubicBezTo>
                  <a:pt x="247880" y="247608"/>
                  <a:pt x="193435" y="192179"/>
                  <a:pt x="193435" y="123804"/>
                </a:cubicBezTo>
                <a:cubicBezTo>
                  <a:pt x="193435" y="55429"/>
                  <a:pt x="247880" y="0"/>
                  <a:pt x="315041" y="0"/>
                </a:cubicBez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B2EE790A-2DDD-F65D-EEFD-92887B7E51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9858" y="3628855"/>
            <a:ext cx="736868" cy="783640"/>
          </a:xfrm>
          <a:custGeom>
            <a:avLst/>
            <a:gdLst>
              <a:gd name="connsiteX0" fmla="*/ 221579 w 1187561"/>
              <a:gd name="connsiteY0" fmla="*/ 271782 h 1262941"/>
              <a:gd name="connsiteX1" fmla="*/ 408502 w 1187561"/>
              <a:gd name="connsiteY1" fmla="*/ 271782 h 1262941"/>
              <a:gd name="connsiteX2" fmla="*/ 452657 w 1187561"/>
              <a:gd name="connsiteY2" fmla="*/ 301592 h 1262941"/>
              <a:gd name="connsiteX3" fmla="*/ 568932 w 1187561"/>
              <a:gd name="connsiteY3" fmla="*/ 587761 h 1262941"/>
              <a:gd name="connsiteX4" fmla="*/ 593148 w 1187561"/>
              <a:gd name="connsiteY4" fmla="*/ 647496 h 1262941"/>
              <a:gd name="connsiteX5" fmla="*/ 593814 w 1187561"/>
              <a:gd name="connsiteY5" fmla="*/ 649138 h 1262941"/>
              <a:gd name="connsiteX6" fmla="*/ 595074 w 1187561"/>
              <a:gd name="connsiteY6" fmla="*/ 645889 h 1262941"/>
              <a:gd name="connsiteX7" fmla="*/ 736371 w 1187561"/>
              <a:gd name="connsiteY7" fmla="*/ 301592 h 1262941"/>
              <a:gd name="connsiteX8" fmla="*/ 779055 w 1187561"/>
              <a:gd name="connsiteY8" fmla="*/ 271782 h 1262941"/>
              <a:gd name="connsiteX9" fmla="*/ 780527 w 1187561"/>
              <a:gd name="connsiteY9" fmla="*/ 271782 h 1262941"/>
              <a:gd name="connsiteX10" fmla="*/ 965979 w 1187561"/>
              <a:gd name="connsiteY10" fmla="*/ 271782 h 1262941"/>
              <a:gd name="connsiteX11" fmla="*/ 967451 w 1187561"/>
              <a:gd name="connsiteY11" fmla="*/ 271782 h 1262941"/>
              <a:gd name="connsiteX12" fmla="*/ 1010135 w 1187561"/>
              <a:gd name="connsiteY12" fmla="*/ 301592 h 1262941"/>
              <a:gd name="connsiteX13" fmla="*/ 1124939 w 1187561"/>
              <a:gd name="connsiteY13" fmla="*/ 584780 h 1262941"/>
              <a:gd name="connsiteX14" fmla="*/ 1183813 w 1187561"/>
              <a:gd name="connsiteY14" fmla="*/ 729355 h 1262941"/>
              <a:gd name="connsiteX15" fmla="*/ 1158792 w 1187561"/>
              <a:gd name="connsiteY15" fmla="*/ 790464 h 1262941"/>
              <a:gd name="connsiteX16" fmla="*/ 1141129 w 1187561"/>
              <a:gd name="connsiteY16" fmla="*/ 794935 h 1262941"/>
              <a:gd name="connsiteX17" fmla="*/ 1096974 w 1187561"/>
              <a:gd name="connsiteY17" fmla="*/ 765126 h 1262941"/>
              <a:gd name="connsiteX18" fmla="*/ 1020438 w 1187561"/>
              <a:gd name="connsiteY18" fmla="*/ 577327 h 1262941"/>
              <a:gd name="connsiteX19" fmla="*/ 1020438 w 1187561"/>
              <a:gd name="connsiteY19" fmla="*/ 1198851 h 1262941"/>
              <a:gd name="connsiteX20" fmla="*/ 961564 w 1187561"/>
              <a:gd name="connsiteY20" fmla="*/ 1262941 h 1262941"/>
              <a:gd name="connsiteX21" fmla="*/ 898274 w 1187561"/>
              <a:gd name="connsiteY21" fmla="*/ 1200342 h 1262941"/>
              <a:gd name="connsiteX22" fmla="*/ 898274 w 1187561"/>
              <a:gd name="connsiteY22" fmla="*/ 860516 h 1262941"/>
              <a:gd name="connsiteX23" fmla="*/ 871781 w 1187561"/>
              <a:gd name="connsiteY23" fmla="*/ 835178 h 1262941"/>
              <a:gd name="connsiteX24" fmla="*/ 848232 w 1187561"/>
              <a:gd name="connsiteY24" fmla="*/ 862006 h 1262941"/>
              <a:gd name="connsiteX25" fmla="*/ 848232 w 1187561"/>
              <a:gd name="connsiteY25" fmla="*/ 1198851 h 1262941"/>
              <a:gd name="connsiteX26" fmla="*/ 789358 w 1187561"/>
              <a:gd name="connsiteY26" fmla="*/ 1262941 h 1262941"/>
              <a:gd name="connsiteX27" fmla="*/ 726068 w 1187561"/>
              <a:gd name="connsiteY27" fmla="*/ 1200342 h 1262941"/>
              <a:gd name="connsiteX28" fmla="*/ 726068 w 1187561"/>
              <a:gd name="connsiteY28" fmla="*/ 575837 h 1262941"/>
              <a:gd name="connsiteX29" fmla="*/ 698103 w 1187561"/>
              <a:gd name="connsiteY29" fmla="*/ 641417 h 1262941"/>
              <a:gd name="connsiteX30" fmla="*/ 648060 w 1187561"/>
              <a:gd name="connsiteY30" fmla="*/ 765126 h 1262941"/>
              <a:gd name="connsiteX31" fmla="*/ 605377 w 1187561"/>
              <a:gd name="connsiteY31" fmla="*/ 794935 h 1262941"/>
              <a:gd name="connsiteX32" fmla="*/ 595074 w 1187561"/>
              <a:gd name="connsiteY32" fmla="*/ 793445 h 1262941"/>
              <a:gd name="connsiteX33" fmla="*/ 591714 w 1187561"/>
              <a:gd name="connsiteY33" fmla="*/ 792084 h 1262941"/>
              <a:gd name="connsiteX34" fmla="*/ 583650 w 1187561"/>
              <a:gd name="connsiteY34" fmla="*/ 793445 h 1262941"/>
              <a:gd name="connsiteX35" fmla="*/ 539495 w 1187561"/>
              <a:gd name="connsiteY35" fmla="*/ 765126 h 1262941"/>
              <a:gd name="connsiteX36" fmla="*/ 489453 w 1187561"/>
              <a:gd name="connsiteY36" fmla="*/ 641417 h 1262941"/>
              <a:gd name="connsiteX37" fmla="*/ 490925 w 1187561"/>
              <a:gd name="connsiteY37" fmla="*/ 641417 h 1262941"/>
              <a:gd name="connsiteX38" fmla="*/ 462960 w 1187561"/>
              <a:gd name="connsiteY38" fmla="*/ 574347 h 1262941"/>
              <a:gd name="connsiteX39" fmla="*/ 462960 w 1187561"/>
              <a:gd name="connsiteY39" fmla="*/ 610118 h 1262941"/>
              <a:gd name="connsiteX40" fmla="*/ 549798 w 1187561"/>
              <a:gd name="connsiteY40" fmla="*/ 885854 h 1262941"/>
              <a:gd name="connsiteX41" fmla="*/ 482094 w 1187561"/>
              <a:gd name="connsiteY41" fmla="*/ 979753 h 1262941"/>
              <a:gd name="connsiteX42" fmla="*/ 462960 w 1187561"/>
              <a:gd name="connsiteY42" fmla="*/ 979753 h 1262941"/>
              <a:gd name="connsiteX43" fmla="*/ 462960 w 1187561"/>
              <a:gd name="connsiteY43" fmla="*/ 1198851 h 1262941"/>
              <a:gd name="connsiteX44" fmla="*/ 404086 w 1187561"/>
              <a:gd name="connsiteY44" fmla="*/ 1262941 h 1262941"/>
              <a:gd name="connsiteX45" fmla="*/ 339326 w 1187561"/>
              <a:gd name="connsiteY45" fmla="*/ 1200342 h 1262941"/>
              <a:gd name="connsiteX46" fmla="*/ 339326 w 1187561"/>
              <a:gd name="connsiteY46" fmla="*/ 979753 h 1262941"/>
              <a:gd name="connsiteX47" fmla="*/ 290755 w 1187561"/>
              <a:gd name="connsiteY47" fmla="*/ 979753 h 1262941"/>
              <a:gd name="connsiteX48" fmla="*/ 290755 w 1187561"/>
              <a:gd name="connsiteY48" fmla="*/ 1198851 h 1262941"/>
              <a:gd name="connsiteX49" fmla="*/ 230410 w 1187561"/>
              <a:gd name="connsiteY49" fmla="*/ 1262941 h 1262941"/>
              <a:gd name="connsiteX50" fmla="*/ 167121 w 1187561"/>
              <a:gd name="connsiteY50" fmla="*/ 1200342 h 1262941"/>
              <a:gd name="connsiteX51" fmla="*/ 167121 w 1187561"/>
              <a:gd name="connsiteY51" fmla="*/ 979753 h 1262941"/>
              <a:gd name="connsiteX52" fmla="*/ 147987 w 1187561"/>
              <a:gd name="connsiteY52" fmla="*/ 979753 h 1262941"/>
              <a:gd name="connsiteX53" fmla="*/ 80283 w 1187561"/>
              <a:gd name="connsiteY53" fmla="*/ 885854 h 1262941"/>
              <a:gd name="connsiteX54" fmla="*/ 167121 w 1187561"/>
              <a:gd name="connsiteY54" fmla="*/ 610118 h 1262941"/>
              <a:gd name="connsiteX55" fmla="*/ 167121 w 1187561"/>
              <a:gd name="connsiteY55" fmla="*/ 577327 h 1262941"/>
              <a:gd name="connsiteX56" fmla="*/ 90586 w 1187561"/>
              <a:gd name="connsiteY56" fmla="*/ 765126 h 1262941"/>
              <a:gd name="connsiteX57" fmla="*/ 47903 w 1187561"/>
              <a:gd name="connsiteY57" fmla="*/ 794935 h 1262941"/>
              <a:gd name="connsiteX58" fmla="*/ 28769 w 1187561"/>
              <a:gd name="connsiteY58" fmla="*/ 790464 h 1262941"/>
              <a:gd name="connsiteX59" fmla="*/ 3748 w 1187561"/>
              <a:gd name="connsiteY59" fmla="*/ 729355 h 1262941"/>
              <a:gd name="connsiteX60" fmla="*/ 177424 w 1187561"/>
              <a:gd name="connsiteY60" fmla="*/ 301592 h 1262941"/>
              <a:gd name="connsiteX61" fmla="*/ 221579 w 1187561"/>
              <a:gd name="connsiteY61" fmla="*/ 271782 h 1262941"/>
              <a:gd name="connsiteX62" fmla="*/ 873254 w 1187561"/>
              <a:gd name="connsiteY62" fmla="*/ 0 h 1262941"/>
              <a:gd name="connsiteX63" fmla="*/ 995592 w 1187561"/>
              <a:gd name="connsiteY63" fmla="*/ 123804 h 1262941"/>
              <a:gd name="connsiteX64" fmla="*/ 873254 w 1187561"/>
              <a:gd name="connsiteY64" fmla="*/ 247608 h 1262941"/>
              <a:gd name="connsiteX65" fmla="*/ 750916 w 1187561"/>
              <a:gd name="connsiteY65" fmla="*/ 123804 h 1262941"/>
              <a:gd name="connsiteX66" fmla="*/ 873254 w 1187561"/>
              <a:gd name="connsiteY66" fmla="*/ 0 h 1262941"/>
              <a:gd name="connsiteX67" fmla="*/ 315041 w 1187561"/>
              <a:gd name="connsiteY67" fmla="*/ 0 h 1262941"/>
              <a:gd name="connsiteX68" fmla="*/ 436647 w 1187561"/>
              <a:gd name="connsiteY68" fmla="*/ 123804 h 1262941"/>
              <a:gd name="connsiteX69" fmla="*/ 315041 w 1187561"/>
              <a:gd name="connsiteY69" fmla="*/ 247608 h 1262941"/>
              <a:gd name="connsiteX70" fmla="*/ 193435 w 1187561"/>
              <a:gd name="connsiteY70" fmla="*/ 123804 h 1262941"/>
              <a:gd name="connsiteX71" fmla="*/ 315041 w 1187561"/>
              <a:gd name="connsiteY71" fmla="*/ 0 h 126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1187561" h="1262941">
                <a:moveTo>
                  <a:pt x="221579" y="271782"/>
                </a:moveTo>
                <a:cubicBezTo>
                  <a:pt x="268678" y="271782"/>
                  <a:pt x="408502" y="271782"/>
                  <a:pt x="408502" y="271782"/>
                </a:cubicBezTo>
                <a:cubicBezTo>
                  <a:pt x="434995" y="271782"/>
                  <a:pt x="448241" y="289668"/>
                  <a:pt x="452657" y="301592"/>
                </a:cubicBezTo>
                <a:cubicBezTo>
                  <a:pt x="452657" y="301592"/>
                  <a:pt x="452657" y="301592"/>
                  <a:pt x="568932" y="587761"/>
                </a:cubicBezTo>
                <a:cubicBezTo>
                  <a:pt x="568932" y="587761"/>
                  <a:pt x="568932" y="587761"/>
                  <a:pt x="593148" y="647496"/>
                </a:cubicBezTo>
                <a:lnTo>
                  <a:pt x="593814" y="649138"/>
                </a:lnTo>
                <a:lnTo>
                  <a:pt x="595074" y="645889"/>
                </a:lnTo>
                <a:cubicBezTo>
                  <a:pt x="595074" y="645889"/>
                  <a:pt x="595074" y="645889"/>
                  <a:pt x="736371" y="301592"/>
                </a:cubicBezTo>
                <a:cubicBezTo>
                  <a:pt x="743730" y="282216"/>
                  <a:pt x="761392" y="271782"/>
                  <a:pt x="779055" y="271782"/>
                </a:cubicBezTo>
                <a:cubicBezTo>
                  <a:pt x="779055" y="271782"/>
                  <a:pt x="779055" y="271782"/>
                  <a:pt x="780527" y="271782"/>
                </a:cubicBezTo>
                <a:cubicBezTo>
                  <a:pt x="780527" y="271782"/>
                  <a:pt x="780527" y="271782"/>
                  <a:pt x="965979" y="271782"/>
                </a:cubicBezTo>
                <a:cubicBezTo>
                  <a:pt x="965979" y="271782"/>
                  <a:pt x="965979" y="271782"/>
                  <a:pt x="967451" y="271782"/>
                </a:cubicBezTo>
                <a:cubicBezTo>
                  <a:pt x="985114" y="271782"/>
                  <a:pt x="1002776" y="282216"/>
                  <a:pt x="1010135" y="301592"/>
                </a:cubicBezTo>
                <a:cubicBezTo>
                  <a:pt x="1010135" y="301592"/>
                  <a:pt x="1010135" y="301592"/>
                  <a:pt x="1124939" y="584780"/>
                </a:cubicBezTo>
                <a:cubicBezTo>
                  <a:pt x="1124939" y="584780"/>
                  <a:pt x="1124939" y="584780"/>
                  <a:pt x="1183813" y="729355"/>
                </a:cubicBezTo>
                <a:cubicBezTo>
                  <a:pt x="1194116" y="753202"/>
                  <a:pt x="1182341" y="781521"/>
                  <a:pt x="1158792" y="790464"/>
                </a:cubicBezTo>
                <a:cubicBezTo>
                  <a:pt x="1152904" y="793445"/>
                  <a:pt x="1147017" y="794935"/>
                  <a:pt x="1141129" y="794935"/>
                </a:cubicBezTo>
                <a:cubicBezTo>
                  <a:pt x="1121995" y="794935"/>
                  <a:pt x="1104333" y="783012"/>
                  <a:pt x="1096974" y="765126"/>
                </a:cubicBezTo>
                <a:cubicBezTo>
                  <a:pt x="1096974" y="765126"/>
                  <a:pt x="1096974" y="765126"/>
                  <a:pt x="1020438" y="577327"/>
                </a:cubicBezTo>
                <a:cubicBezTo>
                  <a:pt x="1020438" y="577327"/>
                  <a:pt x="1020438" y="577327"/>
                  <a:pt x="1020438" y="1198851"/>
                </a:cubicBezTo>
                <a:cubicBezTo>
                  <a:pt x="1020438" y="1231641"/>
                  <a:pt x="995416" y="1261451"/>
                  <a:pt x="961564" y="1262941"/>
                </a:cubicBezTo>
                <a:cubicBezTo>
                  <a:pt x="926240" y="1262941"/>
                  <a:pt x="898274" y="1234622"/>
                  <a:pt x="898274" y="1200342"/>
                </a:cubicBezTo>
                <a:cubicBezTo>
                  <a:pt x="898274" y="1200342"/>
                  <a:pt x="898274" y="1200342"/>
                  <a:pt x="898274" y="860516"/>
                </a:cubicBezTo>
                <a:cubicBezTo>
                  <a:pt x="898274" y="845611"/>
                  <a:pt x="885028" y="835178"/>
                  <a:pt x="871781" y="835178"/>
                </a:cubicBezTo>
                <a:cubicBezTo>
                  <a:pt x="858534" y="836668"/>
                  <a:pt x="848232" y="848592"/>
                  <a:pt x="848232" y="862006"/>
                </a:cubicBezTo>
                <a:cubicBezTo>
                  <a:pt x="848232" y="862006"/>
                  <a:pt x="848232" y="862006"/>
                  <a:pt x="848232" y="1198851"/>
                </a:cubicBezTo>
                <a:cubicBezTo>
                  <a:pt x="848232" y="1231641"/>
                  <a:pt x="823210" y="1261451"/>
                  <a:pt x="789358" y="1262941"/>
                </a:cubicBezTo>
                <a:cubicBezTo>
                  <a:pt x="754033" y="1262941"/>
                  <a:pt x="726068" y="1234622"/>
                  <a:pt x="726068" y="1200342"/>
                </a:cubicBezTo>
                <a:cubicBezTo>
                  <a:pt x="726068" y="1200342"/>
                  <a:pt x="726068" y="1200342"/>
                  <a:pt x="726068" y="575837"/>
                </a:cubicBezTo>
                <a:cubicBezTo>
                  <a:pt x="726068" y="575837"/>
                  <a:pt x="726068" y="575837"/>
                  <a:pt x="698103" y="641417"/>
                </a:cubicBezTo>
                <a:cubicBezTo>
                  <a:pt x="698103" y="641417"/>
                  <a:pt x="698103" y="641417"/>
                  <a:pt x="648060" y="765126"/>
                </a:cubicBezTo>
                <a:cubicBezTo>
                  <a:pt x="640701" y="783012"/>
                  <a:pt x="623039" y="794935"/>
                  <a:pt x="605377" y="794935"/>
                </a:cubicBezTo>
                <a:cubicBezTo>
                  <a:pt x="602433" y="794935"/>
                  <a:pt x="598017" y="794935"/>
                  <a:pt x="595074" y="793445"/>
                </a:cubicBezTo>
                <a:lnTo>
                  <a:pt x="591714" y="792084"/>
                </a:lnTo>
                <a:lnTo>
                  <a:pt x="583650" y="793445"/>
                </a:lnTo>
                <a:cubicBezTo>
                  <a:pt x="564516" y="793445"/>
                  <a:pt x="546854" y="783012"/>
                  <a:pt x="539495" y="765126"/>
                </a:cubicBezTo>
                <a:cubicBezTo>
                  <a:pt x="539495" y="765126"/>
                  <a:pt x="539495" y="765126"/>
                  <a:pt x="489453" y="641417"/>
                </a:cubicBezTo>
                <a:cubicBezTo>
                  <a:pt x="489453" y="641417"/>
                  <a:pt x="489453" y="641417"/>
                  <a:pt x="490925" y="641417"/>
                </a:cubicBezTo>
                <a:cubicBezTo>
                  <a:pt x="490925" y="641417"/>
                  <a:pt x="490925" y="641417"/>
                  <a:pt x="462960" y="574347"/>
                </a:cubicBezTo>
                <a:cubicBezTo>
                  <a:pt x="462960" y="574347"/>
                  <a:pt x="462960" y="574347"/>
                  <a:pt x="462960" y="610118"/>
                </a:cubicBezTo>
                <a:cubicBezTo>
                  <a:pt x="462960" y="610118"/>
                  <a:pt x="462960" y="610118"/>
                  <a:pt x="549798" y="885854"/>
                </a:cubicBezTo>
                <a:cubicBezTo>
                  <a:pt x="564516" y="933549"/>
                  <a:pt x="530664" y="979753"/>
                  <a:pt x="482094" y="979753"/>
                </a:cubicBezTo>
                <a:cubicBezTo>
                  <a:pt x="482094" y="979753"/>
                  <a:pt x="482094" y="979753"/>
                  <a:pt x="462960" y="979753"/>
                </a:cubicBezTo>
                <a:cubicBezTo>
                  <a:pt x="462960" y="979753"/>
                  <a:pt x="462960" y="979753"/>
                  <a:pt x="462960" y="1198851"/>
                </a:cubicBezTo>
                <a:cubicBezTo>
                  <a:pt x="462960" y="1231641"/>
                  <a:pt x="436467" y="1261451"/>
                  <a:pt x="404086" y="1262941"/>
                </a:cubicBezTo>
                <a:cubicBezTo>
                  <a:pt x="368762" y="1262941"/>
                  <a:pt x="339326" y="1234622"/>
                  <a:pt x="339326" y="1200342"/>
                </a:cubicBezTo>
                <a:cubicBezTo>
                  <a:pt x="339326" y="1200342"/>
                  <a:pt x="339326" y="1200342"/>
                  <a:pt x="339326" y="979753"/>
                </a:cubicBezTo>
                <a:cubicBezTo>
                  <a:pt x="339326" y="979753"/>
                  <a:pt x="339326" y="979753"/>
                  <a:pt x="290755" y="979753"/>
                </a:cubicBezTo>
                <a:cubicBezTo>
                  <a:pt x="290755" y="979753"/>
                  <a:pt x="290755" y="979753"/>
                  <a:pt x="290755" y="1198851"/>
                </a:cubicBezTo>
                <a:cubicBezTo>
                  <a:pt x="290755" y="1231641"/>
                  <a:pt x="264262" y="1261451"/>
                  <a:pt x="230410" y="1262941"/>
                </a:cubicBezTo>
                <a:cubicBezTo>
                  <a:pt x="196558" y="1262941"/>
                  <a:pt x="167121" y="1234622"/>
                  <a:pt x="167121" y="1200342"/>
                </a:cubicBezTo>
                <a:cubicBezTo>
                  <a:pt x="167121" y="1200342"/>
                  <a:pt x="167121" y="1200342"/>
                  <a:pt x="167121" y="979753"/>
                </a:cubicBezTo>
                <a:cubicBezTo>
                  <a:pt x="167121" y="979753"/>
                  <a:pt x="167121" y="979753"/>
                  <a:pt x="147987" y="979753"/>
                </a:cubicBezTo>
                <a:cubicBezTo>
                  <a:pt x="99417" y="979753"/>
                  <a:pt x="65565" y="933549"/>
                  <a:pt x="80283" y="885854"/>
                </a:cubicBezTo>
                <a:cubicBezTo>
                  <a:pt x="80283" y="885854"/>
                  <a:pt x="80283" y="885854"/>
                  <a:pt x="167121" y="610118"/>
                </a:cubicBezTo>
                <a:cubicBezTo>
                  <a:pt x="167121" y="610118"/>
                  <a:pt x="167121" y="610118"/>
                  <a:pt x="167121" y="577327"/>
                </a:cubicBezTo>
                <a:cubicBezTo>
                  <a:pt x="167121" y="577327"/>
                  <a:pt x="167121" y="577327"/>
                  <a:pt x="90586" y="765126"/>
                </a:cubicBezTo>
                <a:cubicBezTo>
                  <a:pt x="83227" y="783012"/>
                  <a:pt x="65565" y="794935"/>
                  <a:pt x="47903" y="794935"/>
                </a:cubicBezTo>
                <a:cubicBezTo>
                  <a:pt x="42015" y="794935"/>
                  <a:pt x="34656" y="793445"/>
                  <a:pt x="28769" y="790464"/>
                </a:cubicBezTo>
                <a:cubicBezTo>
                  <a:pt x="5220" y="781521"/>
                  <a:pt x="-6555" y="753202"/>
                  <a:pt x="3748" y="729355"/>
                </a:cubicBezTo>
                <a:cubicBezTo>
                  <a:pt x="3748" y="729355"/>
                  <a:pt x="3748" y="729355"/>
                  <a:pt x="177424" y="301592"/>
                </a:cubicBezTo>
                <a:cubicBezTo>
                  <a:pt x="184783" y="282216"/>
                  <a:pt x="202445" y="271782"/>
                  <a:pt x="221579" y="271782"/>
                </a:cubicBezTo>
                <a:close/>
                <a:moveTo>
                  <a:pt x="873254" y="0"/>
                </a:moveTo>
                <a:cubicBezTo>
                  <a:pt x="940819" y="0"/>
                  <a:pt x="995592" y="55429"/>
                  <a:pt x="995592" y="123804"/>
                </a:cubicBezTo>
                <a:cubicBezTo>
                  <a:pt x="995592" y="192179"/>
                  <a:pt x="940819" y="247608"/>
                  <a:pt x="873254" y="247608"/>
                </a:cubicBezTo>
                <a:cubicBezTo>
                  <a:pt x="805689" y="247608"/>
                  <a:pt x="750916" y="192179"/>
                  <a:pt x="750916" y="123804"/>
                </a:cubicBezTo>
                <a:cubicBezTo>
                  <a:pt x="750916" y="55429"/>
                  <a:pt x="805689" y="0"/>
                  <a:pt x="873254" y="0"/>
                </a:cubicBezTo>
                <a:close/>
                <a:moveTo>
                  <a:pt x="315041" y="0"/>
                </a:moveTo>
                <a:cubicBezTo>
                  <a:pt x="382202" y="0"/>
                  <a:pt x="436647" y="55429"/>
                  <a:pt x="436647" y="123804"/>
                </a:cubicBezTo>
                <a:cubicBezTo>
                  <a:pt x="436647" y="192179"/>
                  <a:pt x="382202" y="247608"/>
                  <a:pt x="315041" y="247608"/>
                </a:cubicBezTo>
                <a:cubicBezTo>
                  <a:pt x="247880" y="247608"/>
                  <a:pt x="193435" y="192179"/>
                  <a:pt x="193435" y="123804"/>
                </a:cubicBezTo>
                <a:cubicBezTo>
                  <a:pt x="193435" y="55429"/>
                  <a:pt x="247880" y="0"/>
                  <a:pt x="315041" y="0"/>
                </a:cubicBez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60624B27-2642-15DB-F7EA-E5BABC2F38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0685" y="3628855"/>
            <a:ext cx="736868" cy="783640"/>
          </a:xfrm>
          <a:custGeom>
            <a:avLst/>
            <a:gdLst>
              <a:gd name="connsiteX0" fmla="*/ 221579 w 1187561"/>
              <a:gd name="connsiteY0" fmla="*/ 271782 h 1262941"/>
              <a:gd name="connsiteX1" fmla="*/ 408502 w 1187561"/>
              <a:gd name="connsiteY1" fmla="*/ 271782 h 1262941"/>
              <a:gd name="connsiteX2" fmla="*/ 452657 w 1187561"/>
              <a:gd name="connsiteY2" fmla="*/ 301592 h 1262941"/>
              <a:gd name="connsiteX3" fmla="*/ 568932 w 1187561"/>
              <a:gd name="connsiteY3" fmla="*/ 587761 h 1262941"/>
              <a:gd name="connsiteX4" fmla="*/ 593148 w 1187561"/>
              <a:gd name="connsiteY4" fmla="*/ 647496 h 1262941"/>
              <a:gd name="connsiteX5" fmla="*/ 593814 w 1187561"/>
              <a:gd name="connsiteY5" fmla="*/ 649138 h 1262941"/>
              <a:gd name="connsiteX6" fmla="*/ 595074 w 1187561"/>
              <a:gd name="connsiteY6" fmla="*/ 645889 h 1262941"/>
              <a:gd name="connsiteX7" fmla="*/ 736371 w 1187561"/>
              <a:gd name="connsiteY7" fmla="*/ 301592 h 1262941"/>
              <a:gd name="connsiteX8" fmla="*/ 779055 w 1187561"/>
              <a:gd name="connsiteY8" fmla="*/ 271782 h 1262941"/>
              <a:gd name="connsiteX9" fmla="*/ 780527 w 1187561"/>
              <a:gd name="connsiteY9" fmla="*/ 271782 h 1262941"/>
              <a:gd name="connsiteX10" fmla="*/ 965979 w 1187561"/>
              <a:gd name="connsiteY10" fmla="*/ 271782 h 1262941"/>
              <a:gd name="connsiteX11" fmla="*/ 967451 w 1187561"/>
              <a:gd name="connsiteY11" fmla="*/ 271782 h 1262941"/>
              <a:gd name="connsiteX12" fmla="*/ 1010135 w 1187561"/>
              <a:gd name="connsiteY12" fmla="*/ 301592 h 1262941"/>
              <a:gd name="connsiteX13" fmla="*/ 1124939 w 1187561"/>
              <a:gd name="connsiteY13" fmla="*/ 584780 h 1262941"/>
              <a:gd name="connsiteX14" fmla="*/ 1183813 w 1187561"/>
              <a:gd name="connsiteY14" fmla="*/ 729355 h 1262941"/>
              <a:gd name="connsiteX15" fmla="*/ 1158792 w 1187561"/>
              <a:gd name="connsiteY15" fmla="*/ 790464 h 1262941"/>
              <a:gd name="connsiteX16" fmla="*/ 1141129 w 1187561"/>
              <a:gd name="connsiteY16" fmla="*/ 794935 h 1262941"/>
              <a:gd name="connsiteX17" fmla="*/ 1096974 w 1187561"/>
              <a:gd name="connsiteY17" fmla="*/ 765126 h 1262941"/>
              <a:gd name="connsiteX18" fmla="*/ 1020438 w 1187561"/>
              <a:gd name="connsiteY18" fmla="*/ 577327 h 1262941"/>
              <a:gd name="connsiteX19" fmla="*/ 1020438 w 1187561"/>
              <a:gd name="connsiteY19" fmla="*/ 1198851 h 1262941"/>
              <a:gd name="connsiteX20" fmla="*/ 961564 w 1187561"/>
              <a:gd name="connsiteY20" fmla="*/ 1262941 h 1262941"/>
              <a:gd name="connsiteX21" fmla="*/ 898274 w 1187561"/>
              <a:gd name="connsiteY21" fmla="*/ 1200342 h 1262941"/>
              <a:gd name="connsiteX22" fmla="*/ 898274 w 1187561"/>
              <a:gd name="connsiteY22" fmla="*/ 860516 h 1262941"/>
              <a:gd name="connsiteX23" fmla="*/ 871781 w 1187561"/>
              <a:gd name="connsiteY23" fmla="*/ 835178 h 1262941"/>
              <a:gd name="connsiteX24" fmla="*/ 848232 w 1187561"/>
              <a:gd name="connsiteY24" fmla="*/ 862006 h 1262941"/>
              <a:gd name="connsiteX25" fmla="*/ 848232 w 1187561"/>
              <a:gd name="connsiteY25" fmla="*/ 1198851 h 1262941"/>
              <a:gd name="connsiteX26" fmla="*/ 789358 w 1187561"/>
              <a:gd name="connsiteY26" fmla="*/ 1262941 h 1262941"/>
              <a:gd name="connsiteX27" fmla="*/ 726068 w 1187561"/>
              <a:gd name="connsiteY27" fmla="*/ 1200342 h 1262941"/>
              <a:gd name="connsiteX28" fmla="*/ 726068 w 1187561"/>
              <a:gd name="connsiteY28" fmla="*/ 575837 h 1262941"/>
              <a:gd name="connsiteX29" fmla="*/ 698103 w 1187561"/>
              <a:gd name="connsiteY29" fmla="*/ 641417 h 1262941"/>
              <a:gd name="connsiteX30" fmla="*/ 648060 w 1187561"/>
              <a:gd name="connsiteY30" fmla="*/ 765126 h 1262941"/>
              <a:gd name="connsiteX31" fmla="*/ 605377 w 1187561"/>
              <a:gd name="connsiteY31" fmla="*/ 794935 h 1262941"/>
              <a:gd name="connsiteX32" fmla="*/ 595074 w 1187561"/>
              <a:gd name="connsiteY32" fmla="*/ 793445 h 1262941"/>
              <a:gd name="connsiteX33" fmla="*/ 591714 w 1187561"/>
              <a:gd name="connsiteY33" fmla="*/ 792084 h 1262941"/>
              <a:gd name="connsiteX34" fmla="*/ 583650 w 1187561"/>
              <a:gd name="connsiteY34" fmla="*/ 793445 h 1262941"/>
              <a:gd name="connsiteX35" fmla="*/ 539495 w 1187561"/>
              <a:gd name="connsiteY35" fmla="*/ 765126 h 1262941"/>
              <a:gd name="connsiteX36" fmla="*/ 489453 w 1187561"/>
              <a:gd name="connsiteY36" fmla="*/ 641417 h 1262941"/>
              <a:gd name="connsiteX37" fmla="*/ 490925 w 1187561"/>
              <a:gd name="connsiteY37" fmla="*/ 641417 h 1262941"/>
              <a:gd name="connsiteX38" fmla="*/ 462960 w 1187561"/>
              <a:gd name="connsiteY38" fmla="*/ 574347 h 1262941"/>
              <a:gd name="connsiteX39" fmla="*/ 462960 w 1187561"/>
              <a:gd name="connsiteY39" fmla="*/ 610118 h 1262941"/>
              <a:gd name="connsiteX40" fmla="*/ 549798 w 1187561"/>
              <a:gd name="connsiteY40" fmla="*/ 885854 h 1262941"/>
              <a:gd name="connsiteX41" fmla="*/ 482094 w 1187561"/>
              <a:gd name="connsiteY41" fmla="*/ 979753 h 1262941"/>
              <a:gd name="connsiteX42" fmla="*/ 462960 w 1187561"/>
              <a:gd name="connsiteY42" fmla="*/ 979753 h 1262941"/>
              <a:gd name="connsiteX43" fmla="*/ 462960 w 1187561"/>
              <a:gd name="connsiteY43" fmla="*/ 1198851 h 1262941"/>
              <a:gd name="connsiteX44" fmla="*/ 404086 w 1187561"/>
              <a:gd name="connsiteY44" fmla="*/ 1262941 h 1262941"/>
              <a:gd name="connsiteX45" fmla="*/ 339326 w 1187561"/>
              <a:gd name="connsiteY45" fmla="*/ 1200342 h 1262941"/>
              <a:gd name="connsiteX46" fmla="*/ 339326 w 1187561"/>
              <a:gd name="connsiteY46" fmla="*/ 979753 h 1262941"/>
              <a:gd name="connsiteX47" fmla="*/ 290755 w 1187561"/>
              <a:gd name="connsiteY47" fmla="*/ 979753 h 1262941"/>
              <a:gd name="connsiteX48" fmla="*/ 290755 w 1187561"/>
              <a:gd name="connsiteY48" fmla="*/ 1198851 h 1262941"/>
              <a:gd name="connsiteX49" fmla="*/ 230410 w 1187561"/>
              <a:gd name="connsiteY49" fmla="*/ 1262941 h 1262941"/>
              <a:gd name="connsiteX50" fmla="*/ 167121 w 1187561"/>
              <a:gd name="connsiteY50" fmla="*/ 1200342 h 1262941"/>
              <a:gd name="connsiteX51" fmla="*/ 167121 w 1187561"/>
              <a:gd name="connsiteY51" fmla="*/ 979753 h 1262941"/>
              <a:gd name="connsiteX52" fmla="*/ 147987 w 1187561"/>
              <a:gd name="connsiteY52" fmla="*/ 979753 h 1262941"/>
              <a:gd name="connsiteX53" fmla="*/ 80283 w 1187561"/>
              <a:gd name="connsiteY53" fmla="*/ 885854 h 1262941"/>
              <a:gd name="connsiteX54" fmla="*/ 167121 w 1187561"/>
              <a:gd name="connsiteY54" fmla="*/ 610118 h 1262941"/>
              <a:gd name="connsiteX55" fmla="*/ 167121 w 1187561"/>
              <a:gd name="connsiteY55" fmla="*/ 577327 h 1262941"/>
              <a:gd name="connsiteX56" fmla="*/ 90586 w 1187561"/>
              <a:gd name="connsiteY56" fmla="*/ 765126 h 1262941"/>
              <a:gd name="connsiteX57" fmla="*/ 47903 w 1187561"/>
              <a:gd name="connsiteY57" fmla="*/ 794935 h 1262941"/>
              <a:gd name="connsiteX58" fmla="*/ 28769 w 1187561"/>
              <a:gd name="connsiteY58" fmla="*/ 790464 h 1262941"/>
              <a:gd name="connsiteX59" fmla="*/ 3748 w 1187561"/>
              <a:gd name="connsiteY59" fmla="*/ 729355 h 1262941"/>
              <a:gd name="connsiteX60" fmla="*/ 177424 w 1187561"/>
              <a:gd name="connsiteY60" fmla="*/ 301592 h 1262941"/>
              <a:gd name="connsiteX61" fmla="*/ 221579 w 1187561"/>
              <a:gd name="connsiteY61" fmla="*/ 271782 h 1262941"/>
              <a:gd name="connsiteX62" fmla="*/ 873254 w 1187561"/>
              <a:gd name="connsiteY62" fmla="*/ 0 h 1262941"/>
              <a:gd name="connsiteX63" fmla="*/ 995592 w 1187561"/>
              <a:gd name="connsiteY63" fmla="*/ 123804 h 1262941"/>
              <a:gd name="connsiteX64" fmla="*/ 873254 w 1187561"/>
              <a:gd name="connsiteY64" fmla="*/ 247608 h 1262941"/>
              <a:gd name="connsiteX65" fmla="*/ 750916 w 1187561"/>
              <a:gd name="connsiteY65" fmla="*/ 123804 h 1262941"/>
              <a:gd name="connsiteX66" fmla="*/ 873254 w 1187561"/>
              <a:gd name="connsiteY66" fmla="*/ 0 h 1262941"/>
              <a:gd name="connsiteX67" fmla="*/ 315041 w 1187561"/>
              <a:gd name="connsiteY67" fmla="*/ 0 h 1262941"/>
              <a:gd name="connsiteX68" fmla="*/ 436647 w 1187561"/>
              <a:gd name="connsiteY68" fmla="*/ 123804 h 1262941"/>
              <a:gd name="connsiteX69" fmla="*/ 315041 w 1187561"/>
              <a:gd name="connsiteY69" fmla="*/ 247608 h 1262941"/>
              <a:gd name="connsiteX70" fmla="*/ 193435 w 1187561"/>
              <a:gd name="connsiteY70" fmla="*/ 123804 h 1262941"/>
              <a:gd name="connsiteX71" fmla="*/ 315041 w 1187561"/>
              <a:gd name="connsiteY71" fmla="*/ 0 h 126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1187561" h="1262941">
                <a:moveTo>
                  <a:pt x="221579" y="271782"/>
                </a:moveTo>
                <a:cubicBezTo>
                  <a:pt x="268678" y="271782"/>
                  <a:pt x="408502" y="271782"/>
                  <a:pt x="408502" y="271782"/>
                </a:cubicBezTo>
                <a:cubicBezTo>
                  <a:pt x="434995" y="271782"/>
                  <a:pt x="448241" y="289668"/>
                  <a:pt x="452657" y="301592"/>
                </a:cubicBezTo>
                <a:cubicBezTo>
                  <a:pt x="452657" y="301592"/>
                  <a:pt x="452657" y="301592"/>
                  <a:pt x="568932" y="587761"/>
                </a:cubicBezTo>
                <a:cubicBezTo>
                  <a:pt x="568932" y="587761"/>
                  <a:pt x="568932" y="587761"/>
                  <a:pt x="593148" y="647496"/>
                </a:cubicBezTo>
                <a:lnTo>
                  <a:pt x="593814" y="649138"/>
                </a:lnTo>
                <a:lnTo>
                  <a:pt x="595074" y="645889"/>
                </a:lnTo>
                <a:cubicBezTo>
                  <a:pt x="595074" y="645889"/>
                  <a:pt x="595074" y="645889"/>
                  <a:pt x="736371" y="301592"/>
                </a:cubicBezTo>
                <a:cubicBezTo>
                  <a:pt x="743730" y="282216"/>
                  <a:pt x="761392" y="271782"/>
                  <a:pt x="779055" y="271782"/>
                </a:cubicBezTo>
                <a:cubicBezTo>
                  <a:pt x="779055" y="271782"/>
                  <a:pt x="779055" y="271782"/>
                  <a:pt x="780527" y="271782"/>
                </a:cubicBezTo>
                <a:cubicBezTo>
                  <a:pt x="780527" y="271782"/>
                  <a:pt x="780527" y="271782"/>
                  <a:pt x="965979" y="271782"/>
                </a:cubicBezTo>
                <a:cubicBezTo>
                  <a:pt x="965979" y="271782"/>
                  <a:pt x="965979" y="271782"/>
                  <a:pt x="967451" y="271782"/>
                </a:cubicBezTo>
                <a:cubicBezTo>
                  <a:pt x="985114" y="271782"/>
                  <a:pt x="1002776" y="282216"/>
                  <a:pt x="1010135" y="301592"/>
                </a:cubicBezTo>
                <a:cubicBezTo>
                  <a:pt x="1010135" y="301592"/>
                  <a:pt x="1010135" y="301592"/>
                  <a:pt x="1124939" y="584780"/>
                </a:cubicBezTo>
                <a:cubicBezTo>
                  <a:pt x="1124939" y="584780"/>
                  <a:pt x="1124939" y="584780"/>
                  <a:pt x="1183813" y="729355"/>
                </a:cubicBezTo>
                <a:cubicBezTo>
                  <a:pt x="1194116" y="753202"/>
                  <a:pt x="1182341" y="781521"/>
                  <a:pt x="1158792" y="790464"/>
                </a:cubicBezTo>
                <a:cubicBezTo>
                  <a:pt x="1152904" y="793445"/>
                  <a:pt x="1147017" y="794935"/>
                  <a:pt x="1141129" y="794935"/>
                </a:cubicBezTo>
                <a:cubicBezTo>
                  <a:pt x="1121995" y="794935"/>
                  <a:pt x="1104333" y="783012"/>
                  <a:pt x="1096974" y="765126"/>
                </a:cubicBezTo>
                <a:cubicBezTo>
                  <a:pt x="1096974" y="765126"/>
                  <a:pt x="1096974" y="765126"/>
                  <a:pt x="1020438" y="577327"/>
                </a:cubicBezTo>
                <a:cubicBezTo>
                  <a:pt x="1020438" y="577327"/>
                  <a:pt x="1020438" y="577327"/>
                  <a:pt x="1020438" y="1198851"/>
                </a:cubicBezTo>
                <a:cubicBezTo>
                  <a:pt x="1020438" y="1231641"/>
                  <a:pt x="995416" y="1261451"/>
                  <a:pt x="961564" y="1262941"/>
                </a:cubicBezTo>
                <a:cubicBezTo>
                  <a:pt x="926240" y="1262941"/>
                  <a:pt x="898274" y="1234622"/>
                  <a:pt x="898274" y="1200342"/>
                </a:cubicBezTo>
                <a:cubicBezTo>
                  <a:pt x="898274" y="1200342"/>
                  <a:pt x="898274" y="1200342"/>
                  <a:pt x="898274" y="860516"/>
                </a:cubicBezTo>
                <a:cubicBezTo>
                  <a:pt x="898274" y="845611"/>
                  <a:pt x="885028" y="835178"/>
                  <a:pt x="871781" y="835178"/>
                </a:cubicBezTo>
                <a:cubicBezTo>
                  <a:pt x="858534" y="836668"/>
                  <a:pt x="848232" y="848592"/>
                  <a:pt x="848232" y="862006"/>
                </a:cubicBezTo>
                <a:cubicBezTo>
                  <a:pt x="848232" y="862006"/>
                  <a:pt x="848232" y="862006"/>
                  <a:pt x="848232" y="1198851"/>
                </a:cubicBezTo>
                <a:cubicBezTo>
                  <a:pt x="848232" y="1231641"/>
                  <a:pt x="823210" y="1261451"/>
                  <a:pt x="789358" y="1262941"/>
                </a:cubicBezTo>
                <a:cubicBezTo>
                  <a:pt x="754033" y="1262941"/>
                  <a:pt x="726068" y="1234622"/>
                  <a:pt x="726068" y="1200342"/>
                </a:cubicBezTo>
                <a:cubicBezTo>
                  <a:pt x="726068" y="1200342"/>
                  <a:pt x="726068" y="1200342"/>
                  <a:pt x="726068" y="575837"/>
                </a:cubicBezTo>
                <a:cubicBezTo>
                  <a:pt x="726068" y="575837"/>
                  <a:pt x="726068" y="575837"/>
                  <a:pt x="698103" y="641417"/>
                </a:cubicBezTo>
                <a:cubicBezTo>
                  <a:pt x="698103" y="641417"/>
                  <a:pt x="698103" y="641417"/>
                  <a:pt x="648060" y="765126"/>
                </a:cubicBezTo>
                <a:cubicBezTo>
                  <a:pt x="640701" y="783012"/>
                  <a:pt x="623039" y="794935"/>
                  <a:pt x="605377" y="794935"/>
                </a:cubicBezTo>
                <a:cubicBezTo>
                  <a:pt x="602433" y="794935"/>
                  <a:pt x="598017" y="794935"/>
                  <a:pt x="595074" y="793445"/>
                </a:cubicBezTo>
                <a:lnTo>
                  <a:pt x="591714" y="792084"/>
                </a:lnTo>
                <a:lnTo>
                  <a:pt x="583650" y="793445"/>
                </a:lnTo>
                <a:cubicBezTo>
                  <a:pt x="564516" y="793445"/>
                  <a:pt x="546854" y="783012"/>
                  <a:pt x="539495" y="765126"/>
                </a:cubicBezTo>
                <a:cubicBezTo>
                  <a:pt x="539495" y="765126"/>
                  <a:pt x="539495" y="765126"/>
                  <a:pt x="489453" y="641417"/>
                </a:cubicBezTo>
                <a:cubicBezTo>
                  <a:pt x="489453" y="641417"/>
                  <a:pt x="489453" y="641417"/>
                  <a:pt x="490925" y="641417"/>
                </a:cubicBezTo>
                <a:cubicBezTo>
                  <a:pt x="490925" y="641417"/>
                  <a:pt x="490925" y="641417"/>
                  <a:pt x="462960" y="574347"/>
                </a:cubicBezTo>
                <a:cubicBezTo>
                  <a:pt x="462960" y="574347"/>
                  <a:pt x="462960" y="574347"/>
                  <a:pt x="462960" y="610118"/>
                </a:cubicBezTo>
                <a:cubicBezTo>
                  <a:pt x="462960" y="610118"/>
                  <a:pt x="462960" y="610118"/>
                  <a:pt x="549798" y="885854"/>
                </a:cubicBezTo>
                <a:cubicBezTo>
                  <a:pt x="564516" y="933549"/>
                  <a:pt x="530664" y="979753"/>
                  <a:pt x="482094" y="979753"/>
                </a:cubicBezTo>
                <a:cubicBezTo>
                  <a:pt x="482094" y="979753"/>
                  <a:pt x="482094" y="979753"/>
                  <a:pt x="462960" y="979753"/>
                </a:cubicBezTo>
                <a:cubicBezTo>
                  <a:pt x="462960" y="979753"/>
                  <a:pt x="462960" y="979753"/>
                  <a:pt x="462960" y="1198851"/>
                </a:cubicBezTo>
                <a:cubicBezTo>
                  <a:pt x="462960" y="1231641"/>
                  <a:pt x="436467" y="1261451"/>
                  <a:pt x="404086" y="1262941"/>
                </a:cubicBezTo>
                <a:cubicBezTo>
                  <a:pt x="368762" y="1262941"/>
                  <a:pt x="339326" y="1234622"/>
                  <a:pt x="339326" y="1200342"/>
                </a:cubicBezTo>
                <a:cubicBezTo>
                  <a:pt x="339326" y="1200342"/>
                  <a:pt x="339326" y="1200342"/>
                  <a:pt x="339326" y="979753"/>
                </a:cubicBezTo>
                <a:cubicBezTo>
                  <a:pt x="339326" y="979753"/>
                  <a:pt x="339326" y="979753"/>
                  <a:pt x="290755" y="979753"/>
                </a:cubicBezTo>
                <a:cubicBezTo>
                  <a:pt x="290755" y="979753"/>
                  <a:pt x="290755" y="979753"/>
                  <a:pt x="290755" y="1198851"/>
                </a:cubicBezTo>
                <a:cubicBezTo>
                  <a:pt x="290755" y="1231641"/>
                  <a:pt x="264262" y="1261451"/>
                  <a:pt x="230410" y="1262941"/>
                </a:cubicBezTo>
                <a:cubicBezTo>
                  <a:pt x="196558" y="1262941"/>
                  <a:pt x="167121" y="1234622"/>
                  <a:pt x="167121" y="1200342"/>
                </a:cubicBezTo>
                <a:cubicBezTo>
                  <a:pt x="167121" y="1200342"/>
                  <a:pt x="167121" y="1200342"/>
                  <a:pt x="167121" y="979753"/>
                </a:cubicBezTo>
                <a:cubicBezTo>
                  <a:pt x="167121" y="979753"/>
                  <a:pt x="167121" y="979753"/>
                  <a:pt x="147987" y="979753"/>
                </a:cubicBezTo>
                <a:cubicBezTo>
                  <a:pt x="99417" y="979753"/>
                  <a:pt x="65565" y="933549"/>
                  <a:pt x="80283" y="885854"/>
                </a:cubicBezTo>
                <a:cubicBezTo>
                  <a:pt x="80283" y="885854"/>
                  <a:pt x="80283" y="885854"/>
                  <a:pt x="167121" y="610118"/>
                </a:cubicBezTo>
                <a:cubicBezTo>
                  <a:pt x="167121" y="610118"/>
                  <a:pt x="167121" y="610118"/>
                  <a:pt x="167121" y="577327"/>
                </a:cubicBezTo>
                <a:cubicBezTo>
                  <a:pt x="167121" y="577327"/>
                  <a:pt x="167121" y="577327"/>
                  <a:pt x="90586" y="765126"/>
                </a:cubicBezTo>
                <a:cubicBezTo>
                  <a:pt x="83227" y="783012"/>
                  <a:pt x="65565" y="794935"/>
                  <a:pt x="47903" y="794935"/>
                </a:cubicBezTo>
                <a:cubicBezTo>
                  <a:pt x="42015" y="794935"/>
                  <a:pt x="34656" y="793445"/>
                  <a:pt x="28769" y="790464"/>
                </a:cubicBezTo>
                <a:cubicBezTo>
                  <a:pt x="5220" y="781521"/>
                  <a:pt x="-6555" y="753202"/>
                  <a:pt x="3748" y="729355"/>
                </a:cubicBezTo>
                <a:cubicBezTo>
                  <a:pt x="3748" y="729355"/>
                  <a:pt x="3748" y="729355"/>
                  <a:pt x="177424" y="301592"/>
                </a:cubicBezTo>
                <a:cubicBezTo>
                  <a:pt x="184783" y="282216"/>
                  <a:pt x="202445" y="271782"/>
                  <a:pt x="221579" y="271782"/>
                </a:cubicBezTo>
                <a:close/>
                <a:moveTo>
                  <a:pt x="873254" y="0"/>
                </a:moveTo>
                <a:cubicBezTo>
                  <a:pt x="940819" y="0"/>
                  <a:pt x="995592" y="55429"/>
                  <a:pt x="995592" y="123804"/>
                </a:cubicBezTo>
                <a:cubicBezTo>
                  <a:pt x="995592" y="192179"/>
                  <a:pt x="940819" y="247608"/>
                  <a:pt x="873254" y="247608"/>
                </a:cubicBezTo>
                <a:cubicBezTo>
                  <a:pt x="805689" y="247608"/>
                  <a:pt x="750916" y="192179"/>
                  <a:pt x="750916" y="123804"/>
                </a:cubicBezTo>
                <a:cubicBezTo>
                  <a:pt x="750916" y="55429"/>
                  <a:pt x="805689" y="0"/>
                  <a:pt x="873254" y="0"/>
                </a:cubicBezTo>
                <a:close/>
                <a:moveTo>
                  <a:pt x="315041" y="0"/>
                </a:moveTo>
                <a:cubicBezTo>
                  <a:pt x="382202" y="0"/>
                  <a:pt x="436647" y="55429"/>
                  <a:pt x="436647" y="123804"/>
                </a:cubicBezTo>
                <a:cubicBezTo>
                  <a:pt x="436647" y="192179"/>
                  <a:pt x="382202" y="247608"/>
                  <a:pt x="315041" y="247608"/>
                </a:cubicBezTo>
                <a:cubicBezTo>
                  <a:pt x="247880" y="247608"/>
                  <a:pt x="193435" y="192179"/>
                  <a:pt x="193435" y="123804"/>
                </a:cubicBezTo>
                <a:cubicBezTo>
                  <a:pt x="193435" y="55429"/>
                  <a:pt x="247880" y="0"/>
                  <a:pt x="315041" y="0"/>
                </a:cubicBez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6E44D09D-CDF2-79C5-5FE4-4408CCD991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3166" y="3628855"/>
            <a:ext cx="736868" cy="783640"/>
          </a:xfrm>
          <a:custGeom>
            <a:avLst/>
            <a:gdLst>
              <a:gd name="connsiteX0" fmla="*/ 221579 w 1187561"/>
              <a:gd name="connsiteY0" fmla="*/ 271782 h 1262941"/>
              <a:gd name="connsiteX1" fmla="*/ 408502 w 1187561"/>
              <a:gd name="connsiteY1" fmla="*/ 271782 h 1262941"/>
              <a:gd name="connsiteX2" fmla="*/ 452657 w 1187561"/>
              <a:gd name="connsiteY2" fmla="*/ 301592 h 1262941"/>
              <a:gd name="connsiteX3" fmla="*/ 568932 w 1187561"/>
              <a:gd name="connsiteY3" fmla="*/ 587761 h 1262941"/>
              <a:gd name="connsiteX4" fmla="*/ 593148 w 1187561"/>
              <a:gd name="connsiteY4" fmla="*/ 647496 h 1262941"/>
              <a:gd name="connsiteX5" fmla="*/ 593814 w 1187561"/>
              <a:gd name="connsiteY5" fmla="*/ 649138 h 1262941"/>
              <a:gd name="connsiteX6" fmla="*/ 595074 w 1187561"/>
              <a:gd name="connsiteY6" fmla="*/ 645889 h 1262941"/>
              <a:gd name="connsiteX7" fmla="*/ 736371 w 1187561"/>
              <a:gd name="connsiteY7" fmla="*/ 301592 h 1262941"/>
              <a:gd name="connsiteX8" fmla="*/ 779055 w 1187561"/>
              <a:gd name="connsiteY8" fmla="*/ 271782 h 1262941"/>
              <a:gd name="connsiteX9" fmla="*/ 780527 w 1187561"/>
              <a:gd name="connsiteY9" fmla="*/ 271782 h 1262941"/>
              <a:gd name="connsiteX10" fmla="*/ 965979 w 1187561"/>
              <a:gd name="connsiteY10" fmla="*/ 271782 h 1262941"/>
              <a:gd name="connsiteX11" fmla="*/ 967451 w 1187561"/>
              <a:gd name="connsiteY11" fmla="*/ 271782 h 1262941"/>
              <a:gd name="connsiteX12" fmla="*/ 1010135 w 1187561"/>
              <a:gd name="connsiteY12" fmla="*/ 301592 h 1262941"/>
              <a:gd name="connsiteX13" fmla="*/ 1124939 w 1187561"/>
              <a:gd name="connsiteY13" fmla="*/ 584780 h 1262941"/>
              <a:gd name="connsiteX14" fmla="*/ 1183813 w 1187561"/>
              <a:gd name="connsiteY14" fmla="*/ 729355 h 1262941"/>
              <a:gd name="connsiteX15" fmla="*/ 1158792 w 1187561"/>
              <a:gd name="connsiteY15" fmla="*/ 790464 h 1262941"/>
              <a:gd name="connsiteX16" fmla="*/ 1141129 w 1187561"/>
              <a:gd name="connsiteY16" fmla="*/ 794935 h 1262941"/>
              <a:gd name="connsiteX17" fmla="*/ 1096974 w 1187561"/>
              <a:gd name="connsiteY17" fmla="*/ 765126 h 1262941"/>
              <a:gd name="connsiteX18" fmla="*/ 1020438 w 1187561"/>
              <a:gd name="connsiteY18" fmla="*/ 577327 h 1262941"/>
              <a:gd name="connsiteX19" fmla="*/ 1020438 w 1187561"/>
              <a:gd name="connsiteY19" fmla="*/ 1198851 h 1262941"/>
              <a:gd name="connsiteX20" fmla="*/ 961564 w 1187561"/>
              <a:gd name="connsiteY20" fmla="*/ 1262941 h 1262941"/>
              <a:gd name="connsiteX21" fmla="*/ 898274 w 1187561"/>
              <a:gd name="connsiteY21" fmla="*/ 1200342 h 1262941"/>
              <a:gd name="connsiteX22" fmla="*/ 898274 w 1187561"/>
              <a:gd name="connsiteY22" fmla="*/ 860516 h 1262941"/>
              <a:gd name="connsiteX23" fmla="*/ 871781 w 1187561"/>
              <a:gd name="connsiteY23" fmla="*/ 835178 h 1262941"/>
              <a:gd name="connsiteX24" fmla="*/ 848232 w 1187561"/>
              <a:gd name="connsiteY24" fmla="*/ 862006 h 1262941"/>
              <a:gd name="connsiteX25" fmla="*/ 848232 w 1187561"/>
              <a:gd name="connsiteY25" fmla="*/ 1198851 h 1262941"/>
              <a:gd name="connsiteX26" fmla="*/ 789358 w 1187561"/>
              <a:gd name="connsiteY26" fmla="*/ 1262941 h 1262941"/>
              <a:gd name="connsiteX27" fmla="*/ 726068 w 1187561"/>
              <a:gd name="connsiteY27" fmla="*/ 1200342 h 1262941"/>
              <a:gd name="connsiteX28" fmla="*/ 726068 w 1187561"/>
              <a:gd name="connsiteY28" fmla="*/ 575837 h 1262941"/>
              <a:gd name="connsiteX29" fmla="*/ 698103 w 1187561"/>
              <a:gd name="connsiteY29" fmla="*/ 641417 h 1262941"/>
              <a:gd name="connsiteX30" fmla="*/ 648060 w 1187561"/>
              <a:gd name="connsiteY30" fmla="*/ 765126 h 1262941"/>
              <a:gd name="connsiteX31" fmla="*/ 605377 w 1187561"/>
              <a:gd name="connsiteY31" fmla="*/ 794935 h 1262941"/>
              <a:gd name="connsiteX32" fmla="*/ 595074 w 1187561"/>
              <a:gd name="connsiteY32" fmla="*/ 793445 h 1262941"/>
              <a:gd name="connsiteX33" fmla="*/ 591714 w 1187561"/>
              <a:gd name="connsiteY33" fmla="*/ 792084 h 1262941"/>
              <a:gd name="connsiteX34" fmla="*/ 583650 w 1187561"/>
              <a:gd name="connsiteY34" fmla="*/ 793445 h 1262941"/>
              <a:gd name="connsiteX35" fmla="*/ 539495 w 1187561"/>
              <a:gd name="connsiteY35" fmla="*/ 765126 h 1262941"/>
              <a:gd name="connsiteX36" fmla="*/ 489453 w 1187561"/>
              <a:gd name="connsiteY36" fmla="*/ 641417 h 1262941"/>
              <a:gd name="connsiteX37" fmla="*/ 490925 w 1187561"/>
              <a:gd name="connsiteY37" fmla="*/ 641417 h 1262941"/>
              <a:gd name="connsiteX38" fmla="*/ 462960 w 1187561"/>
              <a:gd name="connsiteY38" fmla="*/ 574347 h 1262941"/>
              <a:gd name="connsiteX39" fmla="*/ 462960 w 1187561"/>
              <a:gd name="connsiteY39" fmla="*/ 610118 h 1262941"/>
              <a:gd name="connsiteX40" fmla="*/ 549798 w 1187561"/>
              <a:gd name="connsiteY40" fmla="*/ 885854 h 1262941"/>
              <a:gd name="connsiteX41" fmla="*/ 482094 w 1187561"/>
              <a:gd name="connsiteY41" fmla="*/ 979753 h 1262941"/>
              <a:gd name="connsiteX42" fmla="*/ 462960 w 1187561"/>
              <a:gd name="connsiteY42" fmla="*/ 979753 h 1262941"/>
              <a:gd name="connsiteX43" fmla="*/ 462960 w 1187561"/>
              <a:gd name="connsiteY43" fmla="*/ 1198851 h 1262941"/>
              <a:gd name="connsiteX44" fmla="*/ 404086 w 1187561"/>
              <a:gd name="connsiteY44" fmla="*/ 1262941 h 1262941"/>
              <a:gd name="connsiteX45" fmla="*/ 339326 w 1187561"/>
              <a:gd name="connsiteY45" fmla="*/ 1200342 h 1262941"/>
              <a:gd name="connsiteX46" fmla="*/ 339326 w 1187561"/>
              <a:gd name="connsiteY46" fmla="*/ 979753 h 1262941"/>
              <a:gd name="connsiteX47" fmla="*/ 290755 w 1187561"/>
              <a:gd name="connsiteY47" fmla="*/ 979753 h 1262941"/>
              <a:gd name="connsiteX48" fmla="*/ 290755 w 1187561"/>
              <a:gd name="connsiteY48" fmla="*/ 1198851 h 1262941"/>
              <a:gd name="connsiteX49" fmla="*/ 230410 w 1187561"/>
              <a:gd name="connsiteY49" fmla="*/ 1262941 h 1262941"/>
              <a:gd name="connsiteX50" fmla="*/ 167121 w 1187561"/>
              <a:gd name="connsiteY50" fmla="*/ 1200342 h 1262941"/>
              <a:gd name="connsiteX51" fmla="*/ 167121 w 1187561"/>
              <a:gd name="connsiteY51" fmla="*/ 979753 h 1262941"/>
              <a:gd name="connsiteX52" fmla="*/ 147987 w 1187561"/>
              <a:gd name="connsiteY52" fmla="*/ 979753 h 1262941"/>
              <a:gd name="connsiteX53" fmla="*/ 80283 w 1187561"/>
              <a:gd name="connsiteY53" fmla="*/ 885854 h 1262941"/>
              <a:gd name="connsiteX54" fmla="*/ 167121 w 1187561"/>
              <a:gd name="connsiteY54" fmla="*/ 610118 h 1262941"/>
              <a:gd name="connsiteX55" fmla="*/ 167121 w 1187561"/>
              <a:gd name="connsiteY55" fmla="*/ 577327 h 1262941"/>
              <a:gd name="connsiteX56" fmla="*/ 90586 w 1187561"/>
              <a:gd name="connsiteY56" fmla="*/ 765126 h 1262941"/>
              <a:gd name="connsiteX57" fmla="*/ 47903 w 1187561"/>
              <a:gd name="connsiteY57" fmla="*/ 794935 h 1262941"/>
              <a:gd name="connsiteX58" fmla="*/ 28769 w 1187561"/>
              <a:gd name="connsiteY58" fmla="*/ 790464 h 1262941"/>
              <a:gd name="connsiteX59" fmla="*/ 3748 w 1187561"/>
              <a:gd name="connsiteY59" fmla="*/ 729355 h 1262941"/>
              <a:gd name="connsiteX60" fmla="*/ 177424 w 1187561"/>
              <a:gd name="connsiteY60" fmla="*/ 301592 h 1262941"/>
              <a:gd name="connsiteX61" fmla="*/ 221579 w 1187561"/>
              <a:gd name="connsiteY61" fmla="*/ 271782 h 1262941"/>
              <a:gd name="connsiteX62" fmla="*/ 873254 w 1187561"/>
              <a:gd name="connsiteY62" fmla="*/ 0 h 1262941"/>
              <a:gd name="connsiteX63" fmla="*/ 995592 w 1187561"/>
              <a:gd name="connsiteY63" fmla="*/ 123804 h 1262941"/>
              <a:gd name="connsiteX64" fmla="*/ 873254 w 1187561"/>
              <a:gd name="connsiteY64" fmla="*/ 247608 h 1262941"/>
              <a:gd name="connsiteX65" fmla="*/ 750916 w 1187561"/>
              <a:gd name="connsiteY65" fmla="*/ 123804 h 1262941"/>
              <a:gd name="connsiteX66" fmla="*/ 873254 w 1187561"/>
              <a:gd name="connsiteY66" fmla="*/ 0 h 1262941"/>
              <a:gd name="connsiteX67" fmla="*/ 315041 w 1187561"/>
              <a:gd name="connsiteY67" fmla="*/ 0 h 1262941"/>
              <a:gd name="connsiteX68" fmla="*/ 436647 w 1187561"/>
              <a:gd name="connsiteY68" fmla="*/ 123804 h 1262941"/>
              <a:gd name="connsiteX69" fmla="*/ 315041 w 1187561"/>
              <a:gd name="connsiteY69" fmla="*/ 247608 h 1262941"/>
              <a:gd name="connsiteX70" fmla="*/ 193435 w 1187561"/>
              <a:gd name="connsiteY70" fmla="*/ 123804 h 1262941"/>
              <a:gd name="connsiteX71" fmla="*/ 315041 w 1187561"/>
              <a:gd name="connsiteY71" fmla="*/ 0 h 126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1187561" h="1262941">
                <a:moveTo>
                  <a:pt x="221579" y="271782"/>
                </a:moveTo>
                <a:cubicBezTo>
                  <a:pt x="268678" y="271782"/>
                  <a:pt x="408502" y="271782"/>
                  <a:pt x="408502" y="271782"/>
                </a:cubicBezTo>
                <a:cubicBezTo>
                  <a:pt x="434995" y="271782"/>
                  <a:pt x="448241" y="289668"/>
                  <a:pt x="452657" y="301592"/>
                </a:cubicBezTo>
                <a:cubicBezTo>
                  <a:pt x="452657" y="301592"/>
                  <a:pt x="452657" y="301592"/>
                  <a:pt x="568932" y="587761"/>
                </a:cubicBezTo>
                <a:cubicBezTo>
                  <a:pt x="568932" y="587761"/>
                  <a:pt x="568932" y="587761"/>
                  <a:pt x="593148" y="647496"/>
                </a:cubicBezTo>
                <a:lnTo>
                  <a:pt x="593814" y="649138"/>
                </a:lnTo>
                <a:lnTo>
                  <a:pt x="595074" y="645889"/>
                </a:lnTo>
                <a:cubicBezTo>
                  <a:pt x="595074" y="645889"/>
                  <a:pt x="595074" y="645889"/>
                  <a:pt x="736371" y="301592"/>
                </a:cubicBezTo>
                <a:cubicBezTo>
                  <a:pt x="743730" y="282216"/>
                  <a:pt x="761392" y="271782"/>
                  <a:pt x="779055" y="271782"/>
                </a:cubicBezTo>
                <a:cubicBezTo>
                  <a:pt x="779055" y="271782"/>
                  <a:pt x="779055" y="271782"/>
                  <a:pt x="780527" y="271782"/>
                </a:cubicBezTo>
                <a:cubicBezTo>
                  <a:pt x="780527" y="271782"/>
                  <a:pt x="780527" y="271782"/>
                  <a:pt x="965979" y="271782"/>
                </a:cubicBezTo>
                <a:cubicBezTo>
                  <a:pt x="965979" y="271782"/>
                  <a:pt x="965979" y="271782"/>
                  <a:pt x="967451" y="271782"/>
                </a:cubicBezTo>
                <a:cubicBezTo>
                  <a:pt x="985114" y="271782"/>
                  <a:pt x="1002776" y="282216"/>
                  <a:pt x="1010135" y="301592"/>
                </a:cubicBezTo>
                <a:cubicBezTo>
                  <a:pt x="1010135" y="301592"/>
                  <a:pt x="1010135" y="301592"/>
                  <a:pt x="1124939" y="584780"/>
                </a:cubicBezTo>
                <a:cubicBezTo>
                  <a:pt x="1124939" y="584780"/>
                  <a:pt x="1124939" y="584780"/>
                  <a:pt x="1183813" y="729355"/>
                </a:cubicBezTo>
                <a:cubicBezTo>
                  <a:pt x="1194116" y="753202"/>
                  <a:pt x="1182341" y="781521"/>
                  <a:pt x="1158792" y="790464"/>
                </a:cubicBezTo>
                <a:cubicBezTo>
                  <a:pt x="1152904" y="793445"/>
                  <a:pt x="1147017" y="794935"/>
                  <a:pt x="1141129" y="794935"/>
                </a:cubicBezTo>
                <a:cubicBezTo>
                  <a:pt x="1121995" y="794935"/>
                  <a:pt x="1104333" y="783012"/>
                  <a:pt x="1096974" y="765126"/>
                </a:cubicBezTo>
                <a:cubicBezTo>
                  <a:pt x="1096974" y="765126"/>
                  <a:pt x="1096974" y="765126"/>
                  <a:pt x="1020438" y="577327"/>
                </a:cubicBezTo>
                <a:cubicBezTo>
                  <a:pt x="1020438" y="577327"/>
                  <a:pt x="1020438" y="577327"/>
                  <a:pt x="1020438" y="1198851"/>
                </a:cubicBezTo>
                <a:cubicBezTo>
                  <a:pt x="1020438" y="1231641"/>
                  <a:pt x="995416" y="1261451"/>
                  <a:pt x="961564" y="1262941"/>
                </a:cubicBezTo>
                <a:cubicBezTo>
                  <a:pt x="926240" y="1262941"/>
                  <a:pt x="898274" y="1234622"/>
                  <a:pt x="898274" y="1200342"/>
                </a:cubicBezTo>
                <a:cubicBezTo>
                  <a:pt x="898274" y="1200342"/>
                  <a:pt x="898274" y="1200342"/>
                  <a:pt x="898274" y="860516"/>
                </a:cubicBezTo>
                <a:cubicBezTo>
                  <a:pt x="898274" y="845611"/>
                  <a:pt x="885028" y="835178"/>
                  <a:pt x="871781" y="835178"/>
                </a:cubicBezTo>
                <a:cubicBezTo>
                  <a:pt x="858534" y="836668"/>
                  <a:pt x="848232" y="848592"/>
                  <a:pt x="848232" y="862006"/>
                </a:cubicBezTo>
                <a:cubicBezTo>
                  <a:pt x="848232" y="862006"/>
                  <a:pt x="848232" y="862006"/>
                  <a:pt x="848232" y="1198851"/>
                </a:cubicBezTo>
                <a:cubicBezTo>
                  <a:pt x="848232" y="1231641"/>
                  <a:pt x="823210" y="1261451"/>
                  <a:pt x="789358" y="1262941"/>
                </a:cubicBezTo>
                <a:cubicBezTo>
                  <a:pt x="754033" y="1262941"/>
                  <a:pt x="726068" y="1234622"/>
                  <a:pt x="726068" y="1200342"/>
                </a:cubicBezTo>
                <a:cubicBezTo>
                  <a:pt x="726068" y="1200342"/>
                  <a:pt x="726068" y="1200342"/>
                  <a:pt x="726068" y="575837"/>
                </a:cubicBezTo>
                <a:cubicBezTo>
                  <a:pt x="726068" y="575837"/>
                  <a:pt x="726068" y="575837"/>
                  <a:pt x="698103" y="641417"/>
                </a:cubicBezTo>
                <a:cubicBezTo>
                  <a:pt x="698103" y="641417"/>
                  <a:pt x="698103" y="641417"/>
                  <a:pt x="648060" y="765126"/>
                </a:cubicBezTo>
                <a:cubicBezTo>
                  <a:pt x="640701" y="783012"/>
                  <a:pt x="623039" y="794935"/>
                  <a:pt x="605377" y="794935"/>
                </a:cubicBezTo>
                <a:cubicBezTo>
                  <a:pt x="602433" y="794935"/>
                  <a:pt x="598017" y="794935"/>
                  <a:pt x="595074" y="793445"/>
                </a:cubicBezTo>
                <a:lnTo>
                  <a:pt x="591714" y="792084"/>
                </a:lnTo>
                <a:lnTo>
                  <a:pt x="583650" y="793445"/>
                </a:lnTo>
                <a:cubicBezTo>
                  <a:pt x="564516" y="793445"/>
                  <a:pt x="546854" y="783012"/>
                  <a:pt x="539495" y="765126"/>
                </a:cubicBezTo>
                <a:cubicBezTo>
                  <a:pt x="539495" y="765126"/>
                  <a:pt x="539495" y="765126"/>
                  <a:pt x="489453" y="641417"/>
                </a:cubicBezTo>
                <a:cubicBezTo>
                  <a:pt x="489453" y="641417"/>
                  <a:pt x="489453" y="641417"/>
                  <a:pt x="490925" y="641417"/>
                </a:cubicBezTo>
                <a:cubicBezTo>
                  <a:pt x="490925" y="641417"/>
                  <a:pt x="490925" y="641417"/>
                  <a:pt x="462960" y="574347"/>
                </a:cubicBezTo>
                <a:cubicBezTo>
                  <a:pt x="462960" y="574347"/>
                  <a:pt x="462960" y="574347"/>
                  <a:pt x="462960" y="610118"/>
                </a:cubicBezTo>
                <a:cubicBezTo>
                  <a:pt x="462960" y="610118"/>
                  <a:pt x="462960" y="610118"/>
                  <a:pt x="549798" y="885854"/>
                </a:cubicBezTo>
                <a:cubicBezTo>
                  <a:pt x="564516" y="933549"/>
                  <a:pt x="530664" y="979753"/>
                  <a:pt x="482094" y="979753"/>
                </a:cubicBezTo>
                <a:cubicBezTo>
                  <a:pt x="482094" y="979753"/>
                  <a:pt x="482094" y="979753"/>
                  <a:pt x="462960" y="979753"/>
                </a:cubicBezTo>
                <a:cubicBezTo>
                  <a:pt x="462960" y="979753"/>
                  <a:pt x="462960" y="979753"/>
                  <a:pt x="462960" y="1198851"/>
                </a:cubicBezTo>
                <a:cubicBezTo>
                  <a:pt x="462960" y="1231641"/>
                  <a:pt x="436467" y="1261451"/>
                  <a:pt x="404086" y="1262941"/>
                </a:cubicBezTo>
                <a:cubicBezTo>
                  <a:pt x="368762" y="1262941"/>
                  <a:pt x="339326" y="1234622"/>
                  <a:pt x="339326" y="1200342"/>
                </a:cubicBezTo>
                <a:cubicBezTo>
                  <a:pt x="339326" y="1200342"/>
                  <a:pt x="339326" y="1200342"/>
                  <a:pt x="339326" y="979753"/>
                </a:cubicBezTo>
                <a:cubicBezTo>
                  <a:pt x="339326" y="979753"/>
                  <a:pt x="339326" y="979753"/>
                  <a:pt x="290755" y="979753"/>
                </a:cubicBezTo>
                <a:cubicBezTo>
                  <a:pt x="290755" y="979753"/>
                  <a:pt x="290755" y="979753"/>
                  <a:pt x="290755" y="1198851"/>
                </a:cubicBezTo>
                <a:cubicBezTo>
                  <a:pt x="290755" y="1231641"/>
                  <a:pt x="264262" y="1261451"/>
                  <a:pt x="230410" y="1262941"/>
                </a:cubicBezTo>
                <a:cubicBezTo>
                  <a:pt x="196558" y="1262941"/>
                  <a:pt x="167121" y="1234622"/>
                  <a:pt x="167121" y="1200342"/>
                </a:cubicBezTo>
                <a:cubicBezTo>
                  <a:pt x="167121" y="1200342"/>
                  <a:pt x="167121" y="1200342"/>
                  <a:pt x="167121" y="979753"/>
                </a:cubicBezTo>
                <a:cubicBezTo>
                  <a:pt x="167121" y="979753"/>
                  <a:pt x="167121" y="979753"/>
                  <a:pt x="147987" y="979753"/>
                </a:cubicBezTo>
                <a:cubicBezTo>
                  <a:pt x="99417" y="979753"/>
                  <a:pt x="65565" y="933549"/>
                  <a:pt x="80283" y="885854"/>
                </a:cubicBezTo>
                <a:cubicBezTo>
                  <a:pt x="80283" y="885854"/>
                  <a:pt x="80283" y="885854"/>
                  <a:pt x="167121" y="610118"/>
                </a:cubicBezTo>
                <a:cubicBezTo>
                  <a:pt x="167121" y="610118"/>
                  <a:pt x="167121" y="610118"/>
                  <a:pt x="167121" y="577327"/>
                </a:cubicBezTo>
                <a:cubicBezTo>
                  <a:pt x="167121" y="577327"/>
                  <a:pt x="167121" y="577327"/>
                  <a:pt x="90586" y="765126"/>
                </a:cubicBezTo>
                <a:cubicBezTo>
                  <a:pt x="83227" y="783012"/>
                  <a:pt x="65565" y="794935"/>
                  <a:pt x="47903" y="794935"/>
                </a:cubicBezTo>
                <a:cubicBezTo>
                  <a:pt x="42015" y="794935"/>
                  <a:pt x="34656" y="793445"/>
                  <a:pt x="28769" y="790464"/>
                </a:cubicBezTo>
                <a:cubicBezTo>
                  <a:pt x="5220" y="781521"/>
                  <a:pt x="-6555" y="753202"/>
                  <a:pt x="3748" y="729355"/>
                </a:cubicBezTo>
                <a:cubicBezTo>
                  <a:pt x="3748" y="729355"/>
                  <a:pt x="3748" y="729355"/>
                  <a:pt x="177424" y="301592"/>
                </a:cubicBezTo>
                <a:cubicBezTo>
                  <a:pt x="184783" y="282216"/>
                  <a:pt x="202445" y="271782"/>
                  <a:pt x="221579" y="271782"/>
                </a:cubicBezTo>
                <a:close/>
                <a:moveTo>
                  <a:pt x="873254" y="0"/>
                </a:moveTo>
                <a:cubicBezTo>
                  <a:pt x="940819" y="0"/>
                  <a:pt x="995592" y="55429"/>
                  <a:pt x="995592" y="123804"/>
                </a:cubicBezTo>
                <a:cubicBezTo>
                  <a:pt x="995592" y="192179"/>
                  <a:pt x="940819" y="247608"/>
                  <a:pt x="873254" y="247608"/>
                </a:cubicBezTo>
                <a:cubicBezTo>
                  <a:pt x="805689" y="247608"/>
                  <a:pt x="750916" y="192179"/>
                  <a:pt x="750916" y="123804"/>
                </a:cubicBezTo>
                <a:cubicBezTo>
                  <a:pt x="750916" y="55429"/>
                  <a:pt x="805689" y="0"/>
                  <a:pt x="873254" y="0"/>
                </a:cubicBezTo>
                <a:close/>
                <a:moveTo>
                  <a:pt x="315041" y="0"/>
                </a:moveTo>
                <a:cubicBezTo>
                  <a:pt x="382202" y="0"/>
                  <a:pt x="436647" y="55429"/>
                  <a:pt x="436647" y="123804"/>
                </a:cubicBezTo>
                <a:cubicBezTo>
                  <a:pt x="436647" y="192179"/>
                  <a:pt x="382202" y="247608"/>
                  <a:pt x="315041" y="247608"/>
                </a:cubicBezTo>
                <a:cubicBezTo>
                  <a:pt x="247880" y="247608"/>
                  <a:pt x="193435" y="192179"/>
                  <a:pt x="193435" y="123804"/>
                </a:cubicBezTo>
                <a:cubicBezTo>
                  <a:pt x="193435" y="55429"/>
                  <a:pt x="247880" y="0"/>
                  <a:pt x="315041" y="0"/>
                </a:cubicBez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78E6D3B8-C4F8-CDBB-3ACA-D9A030DE2C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63993" y="3628855"/>
            <a:ext cx="736868" cy="783640"/>
          </a:xfrm>
          <a:custGeom>
            <a:avLst/>
            <a:gdLst>
              <a:gd name="connsiteX0" fmla="*/ 221579 w 1187561"/>
              <a:gd name="connsiteY0" fmla="*/ 271782 h 1262941"/>
              <a:gd name="connsiteX1" fmla="*/ 408502 w 1187561"/>
              <a:gd name="connsiteY1" fmla="*/ 271782 h 1262941"/>
              <a:gd name="connsiteX2" fmla="*/ 452657 w 1187561"/>
              <a:gd name="connsiteY2" fmla="*/ 301592 h 1262941"/>
              <a:gd name="connsiteX3" fmla="*/ 568932 w 1187561"/>
              <a:gd name="connsiteY3" fmla="*/ 587761 h 1262941"/>
              <a:gd name="connsiteX4" fmla="*/ 593148 w 1187561"/>
              <a:gd name="connsiteY4" fmla="*/ 647496 h 1262941"/>
              <a:gd name="connsiteX5" fmla="*/ 593814 w 1187561"/>
              <a:gd name="connsiteY5" fmla="*/ 649138 h 1262941"/>
              <a:gd name="connsiteX6" fmla="*/ 595074 w 1187561"/>
              <a:gd name="connsiteY6" fmla="*/ 645889 h 1262941"/>
              <a:gd name="connsiteX7" fmla="*/ 736371 w 1187561"/>
              <a:gd name="connsiteY7" fmla="*/ 301592 h 1262941"/>
              <a:gd name="connsiteX8" fmla="*/ 779055 w 1187561"/>
              <a:gd name="connsiteY8" fmla="*/ 271782 h 1262941"/>
              <a:gd name="connsiteX9" fmla="*/ 780527 w 1187561"/>
              <a:gd name="connsiteY9" fmla="*/ 271782 h 1262941"/>
              <a:gd name="connsiteX10" fmla="*/ 965979 w 1187561"/>
              <a:gd name="connsiteY10" fmla="*/ 271782 h 1262941"/>
              <a:gd name="connsiteX11" fmla="*/ 967451 w 1187561"/>
              <a:gd name="connsiteY11" fmla="*/ 271782 h 1262941"/>
              <a:gd name="connsiteX12" fmla="*/ 1010135 w 1187561"/>
              <a:gd name="connsiteY12" fmla="*/ 301592 h 1262941"/>
              <a:gd name="connsiteX13" fmla="*/ 1124939 w 1187561"/>
              <a:gd name="connsiteY13" fmla="*/ 584780 h 1262941"/>
              <a:gd name="connsiteX14" fmla="*/ 1183813 w 1187561"/>
              <a:gd name="connsiteY14" fmla="*/ 729355 h 1262941"/>
              <a:gd name="connsiteX15" fmla="*/ 1158792 w 1187561"/>
              <a:gd name="connsiteY15" fmla="*/ 790464 h 1262941"/>
              <a:gd name="connsiteX16" fmla="*/ 1141129 w 1187561"/>
              <a:gd name="connsiteY16" fmla="*/ 794935 h 1262941"/>
              <a:gd name="connsiteX17" fmla="*/ 1096974 w 1187561"/>
              <a:gd name="connsiteY17" fmla="*/ 765126 h 1262941"/>
              <a:gd name="connsiteX18" fmla="*/ 1020438 w 1187561"/>
              <a:gd name="connsiteY18" fmla="*/ 577327 h 1262941"/>
              <a:gd name="connsiteX19" fmla="*/ 1020438 w 1187561"/>
              <a:gd name="connsiteY19" fmla="*/ 1198851 h 1262941"/>
              <a:gd name="connsiteX20" fmla="*/ 961564 w 1187561"/>
              <a:gd name="connsiteY20" fmla="*/ 1262941 h 1262941"/>
              <a:gd name="connsiteX21" fmla="*/ 898274 w 1187561"/>
              <a:gd name="connsiteY21" fmla="*/ 1200342 h 1262941"/>
              <a:gd name="connsiteX22" fmla="*/ 898274 w 1187561"/>
              <a:gd name="connsiteY22" fmla="*/ 860516 h 1262941"/>
              <a:gd name="connsiteX23" fmla="*/ 871781 w 1187561"/>
              <a:gd name="connsiteY23" fmla="*/ 835178 h 1262941"/>
              <a:gd name="connsiteX24" fmla="*/ 848232 w 1187561"/>
              <a:gd name="connsiteY24" fmla="*/ 862006 h 1262941"/>
              <a:gd name="connsiteX25" fmla="*/ 848232 w 1187561"/>
              <a:gd name="connsiteY25" fmla="*/ 1198851 h 1262941"/>
              <a:gd name="connsiteX26" fmla="*/ 789358 w 1187561"/>
              <a:gd name="connsiteY26" fmla="*/ 1262941 h 1262941"/>
              <a:gd name="connsiteX27" fmla="*/ 726068 w 1187561"/>
              <a:gd name="connsiteY27" fmla="*/ 1200342 h 1262941"/>
              <a:gd name="connsiteX28" fmla="*/ 726068 w 1187561"/>
              <a:gd name="connsiteY28" fmla="*/ 575837 h 1262941"/>
              <a:gd name="connsiteX29" fmla="*/ 698103 w 1187561"/>
              <a:gd name="connsiteY29" fmla="*/ 641417 h 1262941"/>
              <a:gd name="connsiteX30" fmla="*/ 648060 w 1187561"/>
              <a:gd name="connsiteY30" fmla="*/ 765126 h 1262941"/>
              <a:gd name="connsiteX31" fmla="*/ 605377 w 1187561"/>
              <a:gd name="connsiteY31" fmla="*/ 794935 h 1262941"/>
              <a:gd name="connsiteX32" fmla="*/ 595074 w 1187561"/>
              <a:gd name="connsiteY32" fmla="*/ 793445 h 1262941"/>
              <a:gd name="connsiteX33" fmla="*/ 591714 w 1187561"/>
              <a:gd name="connsiteY33" fmla="*/ 792084 h 1262941"/>
              <a:gd name="connsiteX34" fmla="*/ 583650 w 1187561"/>
              <a:gd name="connsiteY34" fmla="*/ 793445 h 1262941"/>
              <a:gd name="connsiteX35" fmla="*/ 539495 w 1187561"/>
              <a:gd name="connsiteY35" fmla="*/ 765126 h 1262941"/>
              <a:gd name="connsiteX36" fmla="*/ 489453 w 1187561"/>
              <a:gd name="connsiteY36" fmla="*/ 641417 h 1262941"/>
              <a:gd name="connsiteX37" fmla="*/ 490925 w 1187561"/>
              <a:gd name="connsiteY37" fmla="*/ 641417 h 1262941"/>
              <a:gd name="connsiteX38" fmla="*/ 462960 w 1187561"/>
              <a:gd name="connsiteY38" fmla="*/ 574347 h 1262941"/>
              <a:gd name="connsiteX39" fmla="*/ 462960 w 1187561"/>
              <a:gd name="connsiteY39" fmla="*/ 610118 h 1262941"/>
              <a:gd name="connsiteX40" fmla="*/ 549798 w 1187561"/>
              <a:gd name="connsiteY40" fmla="*/ 885854 h 1262941"/>
              <a:gd name="connsiteX41" fmla="*/ 482094 w 1187561"/>
              <a:gd name="connsiteY41" fmla="*/ 979753 h 1262941"/>
              <a:gd name="connsiteX42" fmla="*/ 462960 w 1187561"/>
              <a:gd name="connsiteY42" fmla="*/ 979753 h 1262941"/>
              <a:gd name="connsiteX43" fmla="*/ 462960 w 1187561"/>
              <a:gd name="connsiteY43" fmla="*/ 1198851 h 1262941"/>
              <a:gd name="connsiteX44" fmla="*/ 404086 w 1187561"/>
              <a:gd name="connsiteY44" fmla="*/ 1262941 h 1262941"/>
              <a:gd name="connsiteX45" fmla="*/ 339326 w 1187561"/>
              <a:gd name="connsiteY45" fmla="*/ 1200342 h 1262941"/>
              <a:gd name="connsiteX46" fmla="*/ 339326 w 1187561"/>
              <a:gd name="connsiteY46" fmla="*/ 979753 h 1262941"/>
              <a:gd name="connsiteX47" fmla="*/ 290755 w 1187561"/>
              <a:gd name="connsiteY47" fmla="*/ 979753 h 1262941"/>
              <a:gd name="connsiteX48" fmla="*/ 290755 w 1187561"/>
              <a:gd name="connsiteY48" fmla="*/ 1198851 h 1262941"/>
              <a:gd name="connsiteX49" fmla="*/ 230410 w 1187561"/>
              <a:gd name="connsiteY49" fmla="*/ 1262941 h 1262941"/>
              <a:gd name="connsiteX50" fmla="*/ 167121 w 1187561"/>
              <a:gd name="connsiteY50" fmla="*/ 1200342 h 1262941"/>
              <a:gd name="connsiteX51" fmla="*/ 167121 w 1187561"/>
              <a:gd name="connsiteY51" fmla="*/ 979753 h 1262941"/>
              <a:gd name="connsiteX52" fmla="*/ 147987 w 1187561"/>
              <a:gd name="connsiteY52" fmla="*/ 979753 h 1262941"/>
              <a:gd name="connsiteX53" fmla="*/ 80283 w 1187561"/>
              <a:gd name="connsiteY53" fmla="*/ 885854 h 1262941"/>
              <a:gd name="connsiteX54" fmla="*/ 167121 w 1187561"/>
              <a:gd name="connsiteY54" fmla="*/ 610118 h 1262941"/>
              <a:gd name="connsiteX55" fmla="*/ 167121 w 1187561"/>
              <a:gd name="connsiteY55" fmla="*/ 577327 h 1262941"/>
              <a:gd name="connsiteX56" fmla="*/ 90586 w 1187561"/>
              <a:gd name="connsiteY56" fmla="*/ 765126 h 1262941"/>
              <a:gd name="connsiteX57" fmla="*/ 47903 w 1187561"/>
              <a:gd name="connsiteY57" fmla="*/ 794935 h 1262941"/>
              <a:gd name="connsiteX58" fmla="*/ 28769 w 1187561"/>
              <a:gd name="connsiteY58" fmla="*/ 790464 h 1262941"/>
              <a:gd name="connsiteX59" fmla="*/ 3748 w 1187561"/>
              <a:gd name="connsiteY59" fmla="*/ 729355 h 1262941"/>
              <a:gd name="connsiteX60" fmla="*/ 177424 w 1187561"/>
              <a:gd name="connsiteY60" fmla="*/ 301592 h 1262941"/>
              <a:gd name="connsiteX61" fmla="*/ 221579 w 1187561"/>
              <a:gd name="connsiteY61" fmla="*/ 271782 h 1262941"/>
              <a:gd name="connsiteX62" fmla="*/ 873254 w 1187561"/>
              <a:gd name="connsiteY62" fmla="*/ 0 h 1262941"/>
              <a:gd name="connsiteX63" fmla="*/ 995592 w 1187561"/>
              <a:gd name="connsiteY63" fmla="*/ 123804 h 1262941"/>
              <a:gd name="connsiteX64" fmla="*/ 873254 w 1187561"/>
              <a:gd name="connsiteY64" fmla="*/ 247608 h 1262941"/>
              <a:gd name="connsiteX65" fmla="*/ 750916 w 1187561"/>
              <a:gd name="connsiteY65" fmla="*/ 123804 h 1262941"/>
              <a:gd name="connsiteX66" fmla="*/ 873254 w 1187561"/>
              <a:gd name="connsiteY66" fmla="*/ 0 h 1262941"/>
              <a:gd name="connsiteX67" fmla="*/ 315041 w 1187561"/>
              <a:gd name="connsiteY67" fmla="*/ 0 h 1262941"/>
              <a:gd name="connsiteX68" fmla="*/ 436647 w 1187561"/>
              <a:gd name="connsiteY68" fmla="*/ 123804 h 1262941"/>
              <a:gd name="connsiteX69" fmla="*/ 315041 w 1187561"/>
              <a:gd name="connsiteY69" fmla="*/ 247608 h 1262941"/>
              <a:gd name="connsiteX70" fmla="*/ 193435 w 1187561"/>
              <a:gd name="connsiteY70" fmla="*/ 123804 h 1262941"/>
              <a:gd name="connsiteX71" fmla="*/ 315041 w 1187561"/>
              <a:gd name="connsiteY71" fmla="*/ 0 h 126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1187561" h="1262941">
                <a:moveTo>
                  <a:pt x="221579" y="271782"/>
                </a:moveTo>
                <a:cubicBezTo>
                  <a:pt x="268678" y="271782"/>
                  <a:pt x="408502" y="271782"/>
                  <a:pt x="408502" y="271782"/>
                </a:cubicBezTo>
                <a:cubicBezTo>
                  <a:pt x="434995" y="271782"/>
                  <a:pt x="448241" y="289668"/>
                  <a:pt x="452657" y="301592"/>
                </a:cubicBezTo>
                <a:cubicBezTo>
                  <a:pt x="452657" y="301592"/>
                  <a:pt x="452657" y="301592"/>
                  <a:pt x="568932" y="587761"/>
                </a:cubicBezTo>
                <a:cubicBezTo>
                  <a:pt x="568932" y="587761"/>
                  <a:pt x="568932" y="587761"/>
                  <a:pt x="593148" y="647496"/>
                </a:cubicBezTo>
                <a:lnTo>
                  <a:pt x="593814" y="649138"/>
                </a:lnTo>
                <a:lnTo>
                  <a:pt x="595074" y="645889"/>
                </a:lnTo>
                <a:cubicBezTo>
                  <a:pt x="595074" y="645889"/>
                  <a:pt x="595074" y="645889"/>
                  <a:pt x="736371" y="301592"/>
                </a:cubicBezTo>
                <a:cubicBezTo>
                  <a:pt x="743730" y="282216"/>
                  <a:pt x="761392" y="271782"/>
                  <a:pt x="779055" y="271782"/>
                </a:cubicBezTo>
                <a:cubicBezTo>
                  <a:pt x="779055" y="271782"/>
                  <a:pt x="779055" y="271782"/>
                  <a:pt x="780527" y="271782"/>
                </a:cubicBezTo>
                <a:cubicBezTo>
                  <a:pt x="780527" y="271782"/>
                  <a:pt x="780527" y="271782"/>
                  <a:pt x="965979" y="271782"/>
                </a:cubicBezTo>
                <a:cubicBezTo>
                  <a:pt x="965979" y="271782"/>
                  <a:pt x="965979" y="271782"/>
                  <a:pt x="967451" y="271782"/>
                </a:cubicBezTo>
                <a:cubicBezTo>
                  <a:pt x="985114" y="271782"/>
                  <a:pt x="1002776" y="282216"/>
                  <a:pt x="1010135" y="301592"/>
                </a:cubicBezTo>
                <a:cubicBezTo>
                  <a:pt x="1010135" y="301592"/>
                  <a:pt x="1010135" y="301592"/>
                  <a:pt x="1124939" y="584780"/>
                </a:cubicBezTo>
                <a:cubicBezTo>
                  <a:pt x="1124939" y="584780"/>
                  <a:pt x="1124939" y="584780"/>
                  <a:pt x="1183813" y="729355"/>
                </a:cubicBezTo>
                <a:cubicBezTo>
                  <a:pt x="1194116" y="753202"/>
                  <a:pt x="1182341" y="781521"/>
                  <a:pt x="1158792" y="790464"/>
                </a:cubicBezTo>
                <a:cubicBezTo>
                  <a:pt x="1152904" y="793445"/>
                  <a:pt x="1147017" y="794935"/>
                  <a:pt x="1141129" y="794935"/>
                </a:cubicBezTo>
                <a:cubicBezTo>
                  <a:pt x="1121995" y="794935"/>
                  <a:pt x="1104333" y="783012"/>
                  <a:pt x="1096974" y="765126"/>
                </a:cubicBezTo>
                <a:cubicBezTo>
                  <a:pt x="1096974" y="765126"/>
                  <a:pt x="1096974" y="765126"/>
                  <a:pt x="1020438" y="577327"/>
                </a:cubicBezTo>
                <a:cubicBezTo>
                  <a:pt x="1020438" y="577327"/>
                  <a:pt x="1020438" y="577327"/>
                  <a:pt x="1020438" y="1198851"/>
                </a:cubicBezTo>
                <a:cubicBezTo>
                  <a:pt x="1020438" y="1231641"/>
                  <a:pt x="995416" y="1261451"/>
                  <a:pt x="961564" y="1262941"/>
                </a:cubicBezTo>
                <a:cubicBezTo>
                  <a:pt x="926240" y="1262941"/>
                  <a:pt x="898274" y="1234622"/>
                  <a:pt x="898274" y="1200342"/>
                </a:cubicBezTo>
                <a:cubicBezTo>
                  <a:pt x="898274" y="1200342"/>
                  <a:pt x="898274" y="1200342"/>
                  <a:pt x="898274" y="860516"/>
                </a:cubicBezTo>
                <a:cubicBezTo>
                  <a:pt x="898274" y="845611"/>
                  <a:pt x="885028" y="835178"/>
                  <a:pt x="871781" y="835178"/>
                </a:cubicBezTo>
                <a:cubicBezTo>
                  <a:pt x="858534" y="836668"/>
                  <a:pt x="848232" y="848592"/>
                  <a:pt x="848232" y="862006"/>
                </a:cubicBezTo>
                <a:cubicBezTo>
                  <a:pt x="848232" y="862006"/>
                  <a:pt x="848232" y="862006"/>
                  <a:pt x="848232" y="1198851"/>
                </a:cubicBezTo>
                <a:cubicBezTo>
                  <a:pt x="848232" y="1231641"/>
                  <a:pt x="823210" y="1261451"/>
                  <a:pt x="789358" y="1262941"/>
                </a:cubicBezTo>
                <a:cubicBezTo>
                  <a:pt x="754033" y="1262941"/>
                  <a:pt x="726068" y="1234622"/>
                  <a:pt x="726068" y="1200342"/>
                </a:cubicBezTo>
                <a:cubicBezTo>
                  <a:pt x="726068" y="1200342"/>
                  <a:pt x="726068" y="1200342"/>
                  <a:pt x="726068" y="575837"/>
                </a:cubicBezTo>
                <a:cubicBezTo>
                  <a:pt x="726068" y="575837"/>
                  <a:pt x="726068" y="575837"/>
                  <a:pt x="698103" y="641417"/>
                </a:cubicBezTo>
                <a:cubicBezTo>
                  <a:pt x="698103" y="641417"/>
                  <a:pt x="698103" y="641417"/>
                  <a:pt x="648060" y="765126"/>
                </a:cubicBezTo>
                <a:cubicBezTo>
                  <a:pt x="640701" y="783012"/>
                  <a:pt x="623039" y="794935"/>
                  <a:pt x="605377" y="794935"/>
                </a:cubicBezTo>
                <a:cubicBezTo>
                  <a:pt x="602433" y="794935"/>
                  <a:pt x="598017" y="794935"/>
                  <a:pt x="595074" y="793445"/>
                </a:cubicBezTo>
                <a:lnTo>
                  <a:pt x="591714" y="792084"/>
                </a:lnTo>
                <a:lnTo>
                  <a:pt x="583650" y="793445"/>
                </a:lnTo>
                <a:cubicBezTo>
                  <a:pt x="564516" y="793445"/>
                  <a:pt x="546854" y="783012"/>
                  <a:pt x="539495" y="765126"/>
                </a:cubicBezTo>
                <a:cubicBezTo>
                  <a:pt x="539495" y="765126"/>
                  <a:pt x="539495" y="765126"/>
                  <a:pt x="489453" y="641417"/>
                </a:cubicBezTo>
                <a:cubicBezTo>
                  <a:pt x="489453" y="641417"/>
                  <a:pt x="489453" y="641417"/>
                  <a:pt x="490925" y="641417"/>
                </a:cubicBezTo>
                <a:cubicBezTo>
                  <a:pt x="490925" y="641417"/>
                  <a:pt x="490925" y="641417"/>
                  <a:pt x="462960" y="574347"/>
                </a:cubicBezTo>
                <a:cubicBezTo>
                  <a:pt x="462960" y="574347"/>
                  <a:pt x="462960" y="574347"/>
                  <a:pt x="462960" y="610118"/>
                </a:cubicBezTo>
                <a:cubicBezTo>
                  <a:pt x="462960" y="610118"/>
                  <a:pt x="462960" y="610118"/>
                  <a:pt x="549798" y="885854"/>
                </a:cubicBezTo>
                <a:cubicBezTo>
                  <a:pt x="564516" y="933549"/>
                  <a:pt x="530664" y="979753"/>
                  <a:pt x="482094" y="979753"/>
                </a:cubicBezTo>
                <a:cubicBezTo>
                  <a:pt x="482094" y="979753"/>
                  <a:pt x="482094" y="979753"/>
                  <a:pt x="462960" y="979753"/>
                </a:cubicBezTo>
                <a:cubicBezTo>
                  <a:pt x="462960" y="979753"/>
                  <a:pt x="462960" y="979753"/>
                  <a:pt x="462960" y="1198851"/>
                </a:cubicBezTo>
                <a:cubicBezTo>
                  <a:pt x="462960" y="1231641"/>
                  <a:pt x="436467" y="1261451"/>
                  <a:pt x="404086" y="1262941"/>
                </a:cubicBezTo>
                <a:cubicBezTo>
                  <a:pt x="368762" y="1262941"/>
                  <a:pt x="339326" y="1234622"/>
                  <a:pt x="339326" y="1200342"/>
                </a:cubicBezTo>
                <a:cubicBezTo>
                  <a:pt x="339326" y="1200342"/>
                  <a:pt x="339326" y="1200342"/>
                  <a:pt x="339326" y="979753"/>
                </a:cubicBezTo>
                <a:cubicBezTo>
                  <a:pt x="339326" y="979753"/>
                  <a:pt x="339326" y="979753"/>
                  <a:pt x="290755" y="979753"/>
                </a:cubicBezTo>
                <a:cubicBezTo>
                  <a:pt x="290755" y="979753"/>
                  <a:pt x="290755" y="979753"/>
                  <a:pt x="290755" y="1198851"/>
                </a:cubicBezTo>
                <a:cubicBezTo>
                  <a:pt x="290755" y="1231641"/>
                  <a:pt x="264262" y="1261451"/>
                  <a:pt x="230410" y="1262941"/>
                </a:cubicBezTo>
                <a:cubicBezTo>
                  <a:pt x="196558" y="1262941"/>
                  <a:pt x="167121" y="1234622"/>
                  <a:pt x="167121" y="1200342"/>
                </a:cubicBezTo>
                <a:cubicBezTo>
                  <a:pt x="167121" y="1200342"/>
                  <a:pt x="167121" y="1200342"/>
                  <a:pt x="167121" y="979753"/>
                </a:cubicBezTo>
                <a:cubicBezTo>
                  <a:pt x="167121" y="979753"/>
                  <a:pt x="167121" y="979753"/>
                  <a:pt x="147987" y="979753"/>
                </a:cubicBezTo>
                <a:cubicBezTo>
                  <a:pt x="99417" y="979753"/>
                  <a:pt x="65565" y="933549"/>
                  <a:pt x="80283" y="885854"/>
                </a:cubicBezTo>
                <a:cubicBezTo>
                  <a:pt x="80283" y="885854"/>
                  <a:pt x="80283" y="885854"/>
                  <a:pt x="167121" y="610118"/>
                </a:cubicBezTo>
                <a:cubicBezTo>
                  <a:pt x="167121" y="610118"/>
                  <a:pt x="167121" y="610118"/>
                  <a:pt x="167121" y="577327"/>
                </a:cubicBezTo>
                <a:cubicBezTo>
                  <a:pt x="167121" y="577327"/>
                  <a:pt x="167121" y="577327"/>
                  <a:pt x="90586" y="765126"/>
                </a:cubicBezTo>
                <a:cubicBezTo>
                  <a:pt x="83227" y="783012"/>
                  <a:pt x="65565" y="794935"/>
                  <a:pt x="47903" y="794935"/>
                </a:cubicBezTo>
                <a:cubicBezTo>
                  <a:pt x="42015" y="794935"/>
                  <a:pt x="34656" y="793445"/>
                  <a:pt x="28769" y="790464"/>
                </a:cubicBezTo>
                <a:cubicBezTo>
                  <a:pt x="5220" y="781521"/>
                  <a:pt x="-6555" y="753202"/>
                  <a:pt x="3748" y="729355"/>
                </a:cubicBezTo>
                <a:cubicBezTo>
                  <a:pt x="3748" y="729355"/>
                  <a:pt x="3748" y="729355"/>
                  <a:pt x="177424" y="301592"/>
                </a:cubicBezTo>
                <a:cubicBezTo>
                  <a:pt x="184783" y="282216"/>
                  <a:pt x="202445" y="271782"/>
                  <a:pt x="221579" y="271782"/>
                </a:cubicBezTo>
                <a:close/>
                <a:moveTo>
                  <a:pt x="873254" y="0"/>
                </a:moveTo>
                <a:cubicBezTo>
                  <a:pt x="940819" y="0"/>
                  <a:pt x="995592" y="55429"/>
                  <a:pt x="995592" y="123804"/>
                </a:cubicBezTo>
                <a:cubicBezTo>
                  <a:pt x="995592" y="192179"/>
                  <a:pt x="940819" y="247608"/>
                  <a:pt x="873254" y="247608"/>
                </a:cubicBezTo>
                <a:cubicBezTo>
                  <a:pt x="805689" y="247608"/>
                  <a:pt x="750916" y="192179"/>
                  <a:pt x="750916" y="123804"/>
                </a:cubicBezTo>
                <a:cubicBezTo>
                  <a:pt x="750916" y="55429"/>
                  <a:pt x="805689" y="0"/>
                  <a:pt x="873254" y="0"/>
                </a:cubicBezTo>
                <a:close/>
                <a:moveTo>
                  <a:pt x="315041" y="0"/>
                </a:moveTo>
                <a:cubicBezTo>
                  <a:pt x="382202" y="0"/>
                  <a:pt x="436647" y="55429"/>
                  <a:pt x="436647" y="123804"/>
                </a:cubicBezTo>
                <a:cubicBezTo>
                  <a:pt x="436647" y="192179"/>
                  <a:pt x="382202" y="247608"/>
                  <a:pt x="315041" y="247608"/>
                </a:cubicBezTo>
                <a:cubicBezTo>
                  <a:pt x="247880" y="247608"/>
                  <a:pt x="193435" y="192179"/>
                  <a:pt x="193435" y="123804"/>
                </a:cubicBezTo>
                <a:cubicBezTo>
                  <a:pt x="193435" y="55429"/>
                  <a:pt x="247880" y="0"/>
                  <a:pt x="315041" y="0"/>
                </a:cubicBez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8EBF3A4A-9545-5982-5C73-AB0F0F4067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24820" y="3628855"/>
            <a:ext cx="736868" cy="783640"/>
          </a:xfrm>
          <a:custGeom>
            <a:avLst/>
            <a:gdLst>
              <a:gd name="connsiteX0" fmla="*/ 221579 w 1187561"/>
              <a:gd name="connsiteY0" fmla="*/ 271782 h 1262941"/>
              <a:gd name="connsiteX1" fmla="*/ 408502 w 1187561"/>
              <a:gd name="connsiteY1" fmla="*/ 271782 h 1262941"/>
              <a:gd name="connsiteX2" fmla="*/ 452657 w 1187561"/>
              <a:gd name="connsiteY2" fmla="*/ 301592 h 1262941"/>
              <a:gd name="connsiteX3" fmla="*/ 568932 w 1187561"/>
              <a:gd name="connsiteY3" fmla="*/ 587761 h 1262941"/>
              <a:gd name="connsiteX4" fmla="*/ 593148 w 1187561"/>
              <a:gd name="connsiteY4" fmla="*/ 647496 h 1262941"/>
              <a:gd name="connsiteX5" fmla="*/ 593814 w 1187561"/>
              <a:gd name="connsiteY5" fmla="*/ 649138 h 1262941"/>
              <a:gd name="connsiteX6" fmla="*/ 595074 w 1187561"/>
              <a:gd name="connsiteY6" fmla="*/ 645889 h 1262941"/>
              <a:gd name="connsiteX7" fmla="*/ 736371 w 1187561"/>
              <a:gd name="connsiteY7" fmla="*/ 301592 h 1262941"/>
              <a:gd name="connsiteX8" fmla="*/ 779055 w 1187561"/>
              <a:gd name="connsiteY8" fmla="*/ 271782 h 1262941"/>
              <a:gd name="connsiteX9" fmla="*/ 780527 w 1187561"/>
              <a:gd name="connsiteY9" fmla="*/ 271782 h 1262941"/>
              <a:gd name="connsiteX10" fmla="*/ 965979 w 1187561"/>
              <a:gd name="connsiteY10" fmla="*/ 271782 h 1262941"/>
              <a:gd name="connsiteX11" fmla="*/ 967451 w 1187561"/>
              <a:gd name="connsiteY11" fmla="*/ 271782 h 1262941"/>
              <a:gd name="connsiteX12" fmla="*/ 1010135 w 1187561"/>
              <a:gd name="connsiteY12" fmla="*/ 301592 h 1262941"/>
              <a:gd name="connsiteX13" fmla="*/ 1124939 w 1187561"/>
              <a:gd name="connsiteY13" fmla="*/ 584780 h 1262941"/>
              <a:gd name="connsiteX14" fmla="*/ 1183813 w 1187561"/>
              <a:gd name="connsiteY14" fmla="*/ 729355 h 1262941"/>
              <a:gd name="connsiteX15" fmla="*/ 1158792 w 1187561"/>
              <a:gd name="connsiteY15" fmla="*/ 790464 h 1262941"/>
              <a:gd name="connsiteX16" fmla="*/ 1141129 w 1187561"/>
              <a:gd name="connsiteY16" fmla="*/ 794935 h 1262941"/>
              <a:gd name="connsiteX17" fmla="*/ 1096974 w 1187561"/>
              <a:gd name="connsiteY17" fmla="*/ 765126 h 1262941"/>
              <a:gd name="connsiteX18" fmla="*/ 1020438 w 1187561"/>
              <a:gd name="connsiteY18" fmla="*/ 577327 h 1262941"/>
              <a:gd name="connsiteX19" fmla="*/ 1020438 w 1187561"/>
              <a:gd name="connsiteY19" fmla="*/ 1198851 h 1262941"/>
              <a:gd name="connsiteX20" fmla="*/ 961564 w 1187561"/>
              <a:gd name="connsiteY20" fmla="*/ 1262941 h 1262941"/>
              <a:gd name="connsiteX21" fmla="*/ 898274 w 1187561"/>
              <a:gd name="connsiteY21" fmla="*/ 1200342 h 1262941"/>
              <a:gd name="connsiteX22" fmla="*/ 898274 w 1187561"/>
              <a:gd name="connsiteY22" fmla="*/ 860516 h 1262941"/>
              <a:gd name="connsiteX23" fmla="*/ 871781 w 1187561"/>
              <a:gd name="connsiteY23" fmla="*/ 835178 h 1262941"/>
              <a:gd name="connsiteX24" fmla="*/ 848232 w 1187561"/>
              <a:gd name="connsiteY24" fmla="*/ 862006 h 1262941"/>
              <a:gd name="connsiteX25" fmla="*/ 848232 w 1187561"/>
              <a:gd name="connsiteY25" fmla="*/ 1198851 h 1262941"/>
              <a:gd name="connsiteX26" fmla="*/ 789358 w 1187561"/>
              <a:gd name="connsiteY26" fmla="*/ 1262941 h 1262941"/>
              <a:gd name="connsiteX27" fmla="*/ 726068 w 1187561"/>
              <a:gd name="connsiteY27" fmla="*/ 1200342 h 1262941"/>
              <a:gd name="connsiteX28" fmla="*/ 726068 w 1187561"/>
              <a:gd name="connsiteY28" fmla="*/ 575837 h 1262941"/>
              <a:gd name="connsiteX29" fmla="*/ 698103 w 1187561"/>
              <a:gd name="connsiteY29" fmla="*/ 641417 h 1262941"/>
              <a:gd name="connsiteX30" fmla="*/ 648060 w 1187561"/>
              <a:gd name="connsiteY30" fmla="*/ 765126 h 1262941"/>
              <a:gd name="connsiteX31" fmla="*/ 605377 w 1187561"/>
              <a:gd name="connsiteY31" fmla="*/ 794935 h 1262941"/>
              <a:gd name="connsiteX32" fmla="*/ 595074 w 1187561"/>
              <a:gd name="connsiteY32" fmla="*/ 793445 h 1262941"/>
              <a:gd name="connsiteX33" fmla="*/ 591714 w 1187561"/>
              <a:gd name="connsiteY33" fmla="*/ 792084 h 1262941"/>
              <a:gd name="connsiteX34" fmla="*/ 583650 w 1187561"/>
              <a:gd name="connsiteY34" fmla="*/ 793445 h 1262941"/>
              <a:gd name="connsiteX35" fmla="*/ 539495 w 1187561"/>
              <a:gd name="connsiteY35" fmla="*/ 765126 h 1262941"/>
              <a:gd name="connsiteX36" fmla="*/ 489453 w 1187561"/>
              <a:gd name="connsiteY36" fmla="*/ 641417 h 1262941"/>
              <a:gd name="connsiteX37" fmla="*/ 490925 w 1187561"/>
              <a:gd name="connsiteY37" fmla="*/ 641417 h 1262941"/>
              <a:gd name="connsiteX38" fmla="*/ 462960 w 1187561"/>
              <a:gd name="connsiteY38" fmla="*/ 574347 h 1262941"/>
              <a:gd name="connsiteX39" fmla="*/ 462960 w 1187561"/>
              <a:gd name="connsiteY39" fmla="*/ 610118 h 1262941"/>
              <a:gd name="connsiteX40" fmla="*/ 549798 w 1187561"/>
              <a:gd name="connsiteY40" fmla="*/ 885854 h 1262941"/>
              <a:gd name="connsiteX41" fmla="*/ 482094 w 1187561"/>
              <a:gd name="connsiteY41" fmla="*/ 979753 h 1262941"/>
              <a:gd name="connsiteX42" fmla="*/ 462960 w 1187561"/>
              <a:gd name="connsiteY42" fmla="*/ 979753 h 1262941"/>
              <a:gd name="connsiteX43" fmla="*/ 462960 w 1187561"/>
              <a:gd name="connsiteY43" fmla="*/ 1198851 h 1262941"/>
              <a:gd name="connsiteX44" fmla="*/ 404086 w 1187561"/>
              <a:gd name="connsiteY44" fmla="*/ 1262941 h 1262941"/>
              <a:gd name="connsiteX45" fmla="*/ 339326 w 1187561"/>
              <a:gd name="connsiteY45" fmla="*/ 1200342 h 1262941"/>
              <a:gd name="connsiteX46" fmla="*/ 339326 w 1187561"/>
              <a:gd name="connsiteY46" fmla="*/ 979753 h 1262941"/>
              <a:gd name="connsiteX47" fmla="*/ 290755 w 1187561"/>
              <a:gd name="connsiteY47" fmla="*/ 979753 h 1262941"/>
              <a:gd name="connsiteX48" fmla="*/ 290755 w 1187561"/>
              <a:gd name="connsiteY48" fmla="*/ 1198851 h 1262941"/>
              <a:gd name="connsiteX49" fmla="*/ 230410 w 1187561"/>
              <a:gd name="connsiteY49" fmla="*/ 1262941 h 1262941"/>
              <a:gd name="connsiteX50" fmla="*/ 167121 w 1187561"/>
              <a:gd name="connsiteY50" fmla="*/ 1200342 h 1262941"/>
              <a:gd name="connsiteX51" fmla="*/ 167121 w 1187561"/>
              <a:gd name="connsiteY51" fmla="*/ 979753 h 1262941"/>
              <a:gd name="connsiteX52" fmla="*/ 147987 w 1187561"/>
              <a:gd name="connsiteY52" fmla="*/ 979753 h 1262941"/>
              <a:gd name="connsiteX53" fmla="*/ 80283 w 1187561"/>
              <a:gd name="connsiteY53" fmla="*/ 885854 h 1262941"/>
              <a:gd name="connsiteX54" fmla="*/ 167121 w 1187561"/>
              <a:gd name="connsiteY54" fmla="*/ 610118 h 1262941"/>
              <a:gd name="connsiteX55" fmla="*/ 167121 w 1187561"/>
              <a:gd name="connsiteY55" fmla="*/ 577327 h 1262941"/>
              <a:gd name="connsiteX56" fmla="*/ 90586 w 1187561"/>
              <a:gd name="connsiteY56" fmla="*/ 765126 h 1262941"/>
              <a:gd name="connsiteX57" fmla="*/ 47903 w 1187561"/>
              <a:gd name="connsiteY57" fmla="*/ 794935 h 1262941"/>
              <a:gd name="connsiteX58" fmla="*/ 28769 w 1187561"/>
              <a:gd name="connsiteY58" fmla="*/ 790464 h 1262941"/>
              <a:gd name="connsiteX59" fmla="*/ 3748 w 1187561"/>
              <a:gd name="connsiteY59" fmla="*/ 729355 h 1262941"/>
              <a:gd name="connsiteX60" fmla="*/ 177424 w 1187561"/>
              <a:gd name="connsiteY60" fmla="*/ 301592 h 1262941"/>
              <a:gd name="connsiteX61" fmla="*/ 221579 w 1187561"/>
              <a:gd name="connsiteY61" fmla="*/ 271782 h 1262941"/>
              <a:gd name="connsiteX62" fmla="*/ 873254 w 1187561"/>
              <a:gd name="connsiteY62" fmla="*/ 0 h 1262941"/>
              <a:gd name="connsiteX63" fmla="*/ 995592 w 1187561"/>
              <a:gd name="connsiteY63" fmla="*/ 123804 h 1262941"/>
              <a:gd name="connsiteX64" fmla="*/ 873254 w 1187561"/>
              <a:gd name="connsiteY64" fmla="*/ 247608 h 1262941"/>
              <a:gd name="connsiteX65" fmla="*/ 750916 w 1187561"/>
              <a:gd name="connsiteY65" fmla="*/ 123804 h 1262941"/>
              <a:gd name="connsiteX66" fmla="*/ 873254 w 1187561"/>
              <a:gd name="connsiteY66" fmla="*/ 0 h 1262941"/>
              <a:gd name="connsiteX67" fmla="*/ 315041 w 1187561"/>
              <a:gd name="connsiteY67" fmla="*/ 0 h 1262941"/>
              <a:gd name="connsiteX68" fmla="*/ 436647 w 1187561"/>
              <a:gd name="connsiteY68" fmla="*/ 123804 h 1262941"/>
              <a:gd name="connsiteX69" fmla="*/ 315041 w 1187561"/>
              <a:gd name="connsiteY69" fmla="*/ 247608 h 1262941"/>
              <a:gd name="connsiteX70" fmla="*/ 193435 w 1187561"/>
              <a:gd name="connsiteY70" fmla="*/ 123804 h 1262941"/>
              <a:gd name="connsiteX71" fmla="*/ 315041 w 1187561"/>
              <a:gd name="connsiteY71" fmla="*/ 0 h 126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1187561" h="1262941">
                <a:moveTo>
                  <a:pt x="221579" y="271782"/>
                </a:moveTo>
                <a:cubicBezTo>
                  <a:pt x="268678" y="271782"/>
                  <a:pt x="408502" y="271782"/>
                  <a:pt x="408502" y="271782"/>
                </a:cubicBezTo>
                <a:cubicBezTo>
                  <a:pt x="434995" y="271782"/>
                  <a:pt x="448241" y="289668"/>
                  <a:pt x="452657" y="301592"/>
                </a:cubicBezTo>
                <a:cubicBezTo>
                  <a:pt x="452657" y="301592"/>
                  <a:pt x="452657" y="301592"/>
                  <a:pt x="568932" y="587761"/>
                </a:cubicBezTo>
                <a:cubicBezTo>
                  <a:pt x="568932" y="587761"/>
                  <a:pt x="568932" y="587761"/>
                  <a:pt x="593148" y="647496"/>
                </a:cubicBezTo>
                <a:lnTo>
                  <a:pt x="593814" y="649138"/>
                </a:lnTo>
                <a:lnTo>
                  <a:pt x="595074" y="645889"/>
                </a:lnTo>
                <a:cubicBezTo>
                  <a:pt x="595074" y="645889"/>
                  <a:pt x="595074" y="645889"/>
                  <a:pt x="736371" y="301592"/>
                </a:cubicBezTo>
                <a:cubicBezTo>
                  <a:pt x="743730" y="282216"/>
                  <a:pt x="761392" y="271782"/>
                  <a:pt x="779055" y="271782"/>
                </a:cubicBezTo>
                <a:cubicBezTo>
                  <a:pt x="779055" y="271782"/>
                  <a:pt x="779055" y="271782"/>
                  <a:pt x="780527" y="271782"/>
                </a:cubicBezTo>
                <a:cubicBezTo>
                  <a:pt x="780527" y="271782"/>
                  <a:pt x="780527" y="271782"/>
                  <a:pt x="965979" y="271782"/>
                </a:cubicBezTo>
                <a:cubicBezTo>
                  <a:pt x="965979" y="271782"/>
                  <a:pt x="965979" y="271782"/>
                  <a:pt x="967451" y="271782"/>
                </a:cubicBezTo>
                <a:cubicBezTo>
                  <a:pt x="985114" y="271782"/>
                  <a:pt x="1002776" y="282216"/>
                  <a:pt x="1010135" y="301592"/>
                </a:cubicBezTo>
                <a:cubicBezTo>
                  <a:pt x="1010135" y="301592"/>
                  <a:pt x="1010135" y="301592"/>
                  <a:pt x="1124939" y="584780"/>
                </a:cubicBezTo>
                <a:cubicBezTo>
                  <a:pt x="1124939" y="584780"/>
                  <a:pt x="1124939" y="584780"/>
                  <a:pt x="1183813" y="729355"/>
                </a:cubicBezTo>
                <a:cubicBezTo>
                  <a:pt x="1194116" y="753202"/>
                  <a:pt x="1182341" y="781521"/>
                  <a:pt x="1158792" y="790464"/>
                </a:cubicBezTo>
                <a:cubicBezTo>
                  <a:pt x="1152904" y="793445"/>
                  <a:pt x="1147017" y="794935"/>
                  <a:pt x="1141129" y="794935"/>
                </a:cubicBezTo>
                <a:cubicBezTo>
                  <a:pt x="1121995" y="794935"/>
                  <a:pt x="1104333" y="783012"/>
                  <a:pt x="1096974" y="765126"/>
                </a:cubicBezTo>
                <a:cubicBezTo>
                  <a:pt x="1096974" y="765126"/>
                  <a:pt x="1096974" y="765126"/>
                  <a:pt x="1020438" y="577327"/>
                </a:cubicBezTo>
                <a:cubicBezTo>
                  <a:pt x="1020438" y="577327"/>
                  <a:pt x="1020438" y="577327"/>
                  <a:pt x="1020438" y="1198851"/>
                </a:cubicBezTo>
                <a:cubicBezTo>
                  <a:pt x="1020438" y="1231641"/>
                  <a:pt x="995416" y="1261451"/>
                  <a:pt x="961564" y="1262941"/>
                </a:cubicBezTo>
                <a:cubicBezTo>
                  <a:pt x="926240" y="1262941"/>
                  <a:pt x="898274" y="1234622"/>
                  <a:pt x="898274" y="1200342"/>
                </a:cubicBezTo>
                <a:cubicBezTo>
                  <a:pt x="898274" y="1200342"/>
                  <a:pt x="898274" y="1200342"/>
                  <a:pt x="898274" y="860516"/>
                </a:cubicBezTo>
                <a:cubicBezTo>
                  <a:pt x="898274" y="845611"/>
                  <a:pt x="885028" y="835178"/>
                  <a:pt x="871781" y="835178"/>
                </a:cubicBezTo>
                <a:cubicBezTo>
                  <a:pt x="858534" y="836668"/>
                  <a:pt x="848232" y="848592"/>
                  <a:pt x="848232" y="862006"/>
                </a:cubicBezTo>
                <a:cubicBezTo>
                  <a:pt x="848232" y="862006"/>
                  <a:pt x="848232" y="862006"/>
                  <a:pt x="848232" y="1198851"/>
                </a:cubicBezTo>
                <a:cubicBezTo>
                  <a:pt x="848232" y="1231641"/>
                  <a:pt x="823210" y="1261451"/>
                  <a:pt x="789358" y="1262941"/>
                </a:cubicBezTo>
                <a:cubicBezTo>
                  <a:pt x="754033" y="1262941"/>
                  <a:pt x="726068" y="1234622"/>
                  <a:pt x="726068" y="1200342"/>
                </a:cubicBezTo>
                <a:cubicBezTo>
                  <a:pt x="726068" y="1200342"/>
                  <a:pt x="726068" y="1200342"/>
                  <a:pt x="726068" y="575837"/>
                </a:cubicBezTo>
                <a:cubicBezTo>
                  <a:pt x="726068" y="575837"/>
                  <a:pt x="726068" y="575837"/>
                  <a:pt x="698103" y="641417"/>
                </a:cubicBezTo>
                <a:cubicBezTo>
                  <a:pt x="698103" y="641417"/>
                  <a:pt x="698103" y="641417"/>
                  <a:pt x="648060" y="765126"/>
                </a:cubicBezTo>
                <a:cubicBezTo>
                  <a:pt x="640701" y="783012"/>
                  <a:pt x="623039" y="794935"/>
                  <a:pt x="605377" y="794935"/>
                </a:cubicBezTo>
                <a:cubicBezTo>
                  <a:pt x="602433" y="794935"/>
                  <a:pt x="598017" y="794935"/>
                  <a:pt x="595074" y="793445"/>
                </a:cubicBezTo>
                <a:lnTo>
                  <a:pt x="591714" y="792084"/>
                </a:lnTo>
                <a:lnTo>
                  <a:pt x="583650" y="793445"/>
                </a:lnTo>
                <a:cubicBezTo>
                  <a:pt x="564516" y="793445"/>
                  <a:pt x="546854" y="783012"/>
                  <a:pt x="539495" y="765126"/>
                </a:cubicBezTo>
                <a:cubicBezTo>
                  <a:pt x="539495" y="765126"/>
                  <a:pt x="539495" y="765126"/>
                  <a:pt x="489453" y="641417"/>
                </a:cubicBezTo>
                <a:cubicBezTo>
                  <a:pt x="489453" y="641417"/>
                  <a:pt x="489453" y="641417"/>
                  <a:pt x="490925" y="641417"/>
                </a:cubicBezTo>
                <a:cubicBezTo>
                  <a:pt x="490925" y="641417"/>
                  <a:pt x="490925" y="641417"/>
                  <a:pt x="462960" y="574347"/>
                </a:cubicBezTo>
                <a:cubicBezTo>
                  <a:pt x="462960" y="574347"/>
                  <a:pt x="462960" y="574347"/>
                  <a:pt x="462960" y="610118"/>
                </a:cubicBezTo>
                <a:cubicBezTo>
                  <a:pt x="462960" y="610118"/>
                  <a:pt x="462960" y="610118"/>
                  <a:pt x="549798" y="885854"/>
                </a:cubicBezTo>
                <a:cubicBezTo>
                  <a:pt x="564516" y="933549"/>
                  <a:pt x="530664" y="979753"/>
                  <a:pt x="482094" y="979753"/>
                </a:cubicBezTo>
                <a:cubicBezTo>
                  <a:pt x="482094" y="979753"/>
                  <a:pt x="482094" y="979753"/>
                  <a:pt x="462960" y="979753"/>
                </a:cubicBezTo>
                <a:cubicBezTo>
                  <a:pt x="462960" y="979753"/>
                  <a:pt x="462960" y="979753"/>
                  <a:pt x="462960" y="1198851"/>
                </a:cubicBezTo>
                <a:cubicBezTo>
                  <a:pt x="462960" y="1231641"/>
                  <a:pt x="436467" y="1261451"/>
                  <a:pt x="404086" y="1262941"/>
                </a:cubicBezTo>
                <a:cubicBezTo>
                  <a:pt x="368762" y="1262941"/>
                  <a:pt x="339326" y="1234622"/>
                  <a:pt x="339326" y="1200342"/>
                </a:cubicBezTo>
                <a:cubicBezTo>
                  <a:pt x="339326" y="1200342"/>
                  <a:pt x="339326" y="1200342"/>
                  <a:pt x="339326" y="979753"/>
                </a:cubicBezTo>
                <a:cubicBezTo>
                  <a:pt x="339326" y="979753"/>
                  <a:pt x="339326" y="979753"/>
                  <a:pt x="290755" y="979753"/>
                </a:cubicBezTo>
                <a:cubicBezTo>
                  <a:pt x="290755" y="979753"/>
                  <a:pt x="290755" y="979753"/>
                  <a:pt x="290755" y="1198851"/>
                </a:cubicBezTo>
                <a:cubicBezTo>
                  <a:pt x="290755" y="1231641"/>
                  <a:pt x="264262" y="1261451"/>
                  <a:pt x="230410" y="1262941"/>
                </a:cubicBezTo>
                <a:cubicBezTo>
                  <a:pt x="196558" y="1262941"/>
                  <a:pt x="167121" y="1234622"/>
                  <a:pt x="167121" y="1200342"/>
                </a:cubicBezTo>
                <a:cubicBezTo>
                  <a:pt x="167121" y="1200342"/>
                  <a:pt x="167121" y="1200342"/>
                  <a:pt x="167121" y="979753"/>
                </a:cubicBezTo>
                <a:cubicBezTo>
                  <a:pt x="167121" y="979753"/>
                  <a:pt x="167121" y="979753"/>
                  <a:pt x="147987" y="979753"/>
                </a:cubicBezTo>
                <a:cubicBezTo>
                  <a:pt x="99417" y="979753"/>
                  <a:pt x="65565" y="933549"/>
                  <a:pt x="80283" y="885854"/>
                </a:cubicBezTo>
                <a:cubicBezTo>
                  <a:pt x="80283" y="885854"/>
                  <a:pt x="80283" y="885854"/>
                  <a:pt x="167121" y="610118"/>
                </a:cubicBezTo>
                <a:cubicBezTo>
                  <a:pt x="167121" y="610118"/>
                  <a:pt x="167121" y="610118"/>
                  <a:pt x="167121" y="577327"/>
                </a:cubicBezTo>
                <a:cubicBezTo>
                  <a:pt x="167121" y="577327"/>
                  <a:pt x="167121" y="577327"/>
                  <a:pt x="90586" y="765126"/>
                </a:cubicBezTo>
                <a:cubicBezTo>
                  <a:pt x="83227" y="783012"/>
                  <a:pt x="65565" y="794935"/>
                  <a:pt x="47903" y="794935"/>
                </a:cubicBezTo>
                <a:cubicBezTo>
                  <a:pt x="42015" y="794935"/>
                  <a:pt x="34656" y="793445"/>
                  <a:pt x="28769" y="790464"/>
                </a:cubicBezTo>
                <a:cubicBezTo>
                  <a:pt x="5220" y="781521"/>
                  <a:pt x="-6555" y="753202"/>
                  <a:pt x="3748" y="729355"/>
                </a:cubicBezTo>
                <a:cubicBezTo>
                  <a:pt x="3748" y="729355"/>
                  <a:pt x="3748" y="729355"/>
                  <a:pt x="177424" y="301592"/>
                </a:cubicBezTo>
                <a:cubicBezTo>
                  <a:pt x="184783" y="282216"/>
                  <a:pt x="202445" y="271782"/>
                  <a:pt x="221579" y="271782"/>
                </a:cubicBezTo>
                <a:close/>
                <a:moveTo>
                  <a:pt x="873254" y="0"/>
                </a:moveTo>
                <a:cubicBezTo>
                  <a:pt x="940819" y="0"/>
                  <a:pt x="995592" y="55429"/>
                  <a:pt x="995592" y="123804"/>
                </a:cubicBezTo>
                <a:cubicBezTo>
                  <a:pt x="995592" y="192179"/>
                  <a:pt x="940819" y="247608"/>
                  <a:pt x="873254" y="247608"/>
                </a:cubicBezTo>
                <a:cubicBezTo>
                  <a:pt x="805689" y="247608"/>
                  <a:pt x="750916" y="192179"/>
                  <a:pt x="750916" y="123804"/>
                </a:cubicBezTo>
                <a:cubicBezTo>
                  <a:pt x="750916" y="55429"/>
                  <a:pt x="805689" y="0"/>
                  <a:pt x="873254" y="0"/>
                </a:cubicBezTo>
                <a:close/>
                <a:moveTo>
                  <a:pt x="315041" y="0"/>
                </a:moveTo>
                <a:cubicBezTo>
                  <a:pt x="382202" y="0"/>
                  <a:pt x="436647" y="55429"/>
                  <a:pt x="436647" y="123804"/>
                </a:cubicBezTo>
                <a:cubicBezTo>
                  <a:pt x="436647" y="192179"/>
                  <a:pt x="382202" y="247608"/>
                  <a:pt x="315041" y="247608"/>
                </a:cubicBezTo>
                <a:cubicBezTo>
                  <a:pt x="247880" y="247608"/>
                  <a:pt x="193435" y="192179"/>
                  <a:pt x="193435" y="123804"/>
                </a:cubicBezTo>
                <a:cubicBezTo>
                  <a:pt x="193435" y="55429"/>
                  <a:pt x="247880" y="0"/>
                  <a:pt x="315041" y="0"/>
                </a:cubicBez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933C5A07-0ECE-C253-9624-A511DB8D8B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1512" y="2565027"/>
            <a:ext cx="736868" cy="783640"/>
          </a:xfrm>
          <a:custGeom>
            <a:avLst/>
            <a:gdLst>
              <a:gd name="connsiteX0" fmla="*/ 221579 w 1187561"/>
              <a:gd name="connsiteY0" fmla="*/ 271782 h 1262941"/>
              <a:gd name="connsiteX1" fmla="*/ 408502 w 1187561"/>
              <a:gd name="connsiteY1" fmla="*/ 271782 h 1262941"/>
              <a:gd name="connsiteX2" fmla="*/ 452657 w 1187561"/>
              <a:gd name="connsiteY2" fmla="*/ 301592 h 1262941"/>
              <a:gd name="connsiteX3" fmla="*/ 568932 w 1187561"/>
              <a:gd name="connsiteY3" fmla="*/ 587761 h 1262941"/>
              <a:gd name="connsiteX4" fmla="*/ 593148 w 1187561"/>
              <a:gd name="connsiteY4" fmla="*/ 647496 h 1262941"/>
              <a:gd name="connsiteX5" fmla="*/ 593814 w 1187561"/>
              <a:gd name="connsiteY5" fmla="*/ 649138 h 1262941"/>
              <a:gd name="connsiteX6" fmla="*/ 595074 w 1187561"/>
              <a:gd name="connsiteY6" fmla="*/ 645889 h 1262941"/>
              <a:gd name="connsiteX7" fmla="*/ 736371 w 1187561"/>
              <a:gd name="connsiteY7" fmla="*/ 301592 h 1262941"/>
              <a:gd name="connsiteX8" fmla="*/ 779055 w 1187561"/>
              <a:gd name="connsiteY8" fmla="*/ 271782 h 1262941"/>
              <a:gd name="connsiteX9" fmla="*/ 780527 w 1187561"/>
              <a:gd name="connsiteY9" fmla="*/ 271782 h 1262941"/>
              <a:gd name="connsiteX10" fmla="*/ 965979 w 1187561"/>
              <a:gd name="connsiteY10" fmla="*/ 271782 h 1262941"/>
              <a:gd name="connsiteX11" fmla="*/ 967451 w 1187561"/>
              <a:gd name="connsiteY11" fmla="*/ 271782 h 1262941"/>
              <a:gd name="connsiteX12" fmla="*/ 1010135 w 1187561"/>
              <a:gd name="connsiteY12" fmla="*/ 301592 h 1262941"/>
              <a:gd name="connsiteX13" fmla="*/ 1124939 w 1187561"/>
              <a:gd name="connsiteY13" fmla="*/ 584780 h 1262941"/>
              <a:gd name="connsiteX14" fmla="*/ 1183813 w 1187561"/>
              <a:gd name="connsiteY14" fmla="*/ 729355 h 1262941"/>
              <a:gd name="connsiteX15" fmla="*/ 1158792 w 1187561"/>
              <a:gd name="connsiteY15" fmla="*/ 790464 h 1262941"/>
              <a:gd name="connsiteX16" fmla="*/ 1141129 w 1187561"/>
              <a:gd name="connsiteY16" fmla="*/ 794935 h 1262941"/>
              <a:gd name="connsiteX17" fmla="*/ 1096974 w 1187561"/>
              <a:gd name="connsiteY17" fmla="*/ 765126 h 1262941"/>
              <a:gd name="connsiteX18" fmla="*/ 1020438 w 1187561"/>
              <a:gd name="connsiteY18" fmla="*/ 577327 h 1262941"/>
              <a:gd name="connsiteX19" fmla="*/ 1020438 w 1187561"/>
              <a:gd name="connsiteY19" fmla="*/ 1198851 h 1262941"/>
              <a:gd name="connsiteX20" fmla="*/ 961564 w 1187561"/>
              <a:gd name="connsiteY20" fmla="*/ 1262941 h 1262941"/>
              <a:gd name="connsiteX21" fmla="*/ 898274 w 1187561"/>
              <a:gd name="connsiteY21" fmla="*/ 1200342 h 1262941"/>
              <a:gd name="connsiteX22" fmla="*/ 898274 w 1187561"/>
              <a:gd name="connsiteY22" fmla="*/ 860516 h 1262941"/>
              <a:gd name="connsiteX23" fmla="*/ 871781 w 1187561"/>
              <a:gd name="connsiteY23" fmla="*/ 835178 h 1262941"/>
              <a:gd name="connsiteX24" fmla="*/ 848232 w 1187561"/>
              <a:gd name="connsiteY24" fmla="*/ 862006 h 1262941"/>
              <a:gd name="connsiteX25" fmla="*/ 848232 w 1187561"/>
              <a:gd name="connsiteY25" fmla="*/ 1198851 h 1262941"/>
              <a:gd name="connsiteX26" fmla="*/ 789358 w 1187561"/>
              <a:gd name="connsiteY26" fmla="*/ 1262941 h 1262941"/>
              <a:gd name="connsiteX27" fmla="*/ 726068 w 1187561"/>
              <a:gd name="connsiteY27" fmla="*/ 1200342 h 1262941"/>
              <a:gd name="connsiteX28" fmla="*/ 726068 w 1187561"/>
              <a:gd name="connsiteY28" fmla="*/ 575837 h 1262941"/>
              <a:gd name="connsiteX29" fmla="*/ 698103 w 1187561"/>
              <a:gd name="connsiteY29" fmla="*/ 641417 h 1262941"/>
              <a:gd name="connsiteX30" fmla="*/ 648060 w 1187561"/>
              <a:gd name="connsiteY30" fmla="*/ 765126 h 1262941"/>
              <a:gd name="connsiteX31" fmla="*/ 605377 w 1187561"/>
              <a:gd name="connsiteY31" fmla="*/ 794935 h 1262941"/>
              <a:gd name="connsiteX32" fmla="*/ 595074 w 1187561"/>
              <a:gd name="connsiteY32" fmla="*/ 793445 h 1262941"/>
              <a:gd name="connsiteX33" fmla="*/ 591714 w 1187561"/>
              <a:gd name="connsiteY33" fmla="*/ 792084 h 1262941"/>
              <a:gd name="connsiteX34" fmla="*/ 583650 w 1187561"/>
              <a:gd name="connsiteY34" fmla="*/ 793445 h 1262941"/>
              <a:gd name="connsiteX35" fmla="*/ 539495 w 1187561"/>
              <a:gd name="connsiteY35" fmla="*/ 765126 h 1262941"/>
              <a:gd name="connsiteX36" fmla="*/ 489453 w 1187561"/>
              <a:gd name="connsiteY36" fmla="*/ 641417 h 1262941"/>
              <a:gd name="connsiteX37" fmla="*/ 490925 w 1187561"/>
              <a:gd name="connsiteY37" fmla="*/ 641417 h 1262941"/>
              <a:gd name="connsiteX38" fmla="*/ 462960 w 1187561"/>
              <a:gd name="connsiteY38" fmla="*/ 574347 h 1262941"/>
              <a:gd name="connsiteX39" fmla="*/ 462960 w 1187561"/>
              <a:gd name="connsiteY39" fmla="*/ 610118 h 1262941"/>
              <a:gd name="connsiteX40" fmla="*/ 549798 w 1187561"/>
              <a:gd name="connsiteY40" fmla="*/ 885854 h 1262941"/>
              <a:gd name="connsiteX41" fmla="*/ 482094 w 1187561"/>
              <a:gd name="connsiteY41" fmla="*/ 979753 h 1262941"/>
              <a:gd name="connsiteX42" fmla="*/ 462960 w 1187561"/>
              <a:gd name="connsiteY42" fmla="*/ 979753 h 1262941"/>
              <a:gd name="connsiteX43" fmla="*/ 462960 w 1187561"/>
              <a:gd name="connsiteY43" fmla="*/ 1198851 h 1262941"/>
              <a:gd name="connsiteX44" fmla="*/ 404086 w 1187561"/>
              <a:gd name="connsiteY44" fmla="*/ 1262941 h 1262941"/>
              <a:gd name="connsiteX45" fmla="*/ 339326 w 1187561"/>
              <a:gd name="connsiteY45" fmla="*/ 1200342 h 1262941"/>
              <a:gd name="connsiteX46" fmla="*/ 339326 w 1187561"/>
              <a:gd name="connsiteY46" fmla="*/ 979753 h 1262941"/>
              <a:gd name="connsiteX47" fmla="*/ 290755 w 1187561"/>
              <a:gd name="connsiteY47" fmla="*/ 979753 h 1262941"/>
              <a:gd name="connsiteX48" fmla="*/ 290755 w 1187561"/>
              <a:gd name="connsiteY48" fmla="*/ 1198851 h 1262941"/>
              <a:gd name="connsiteX49" fmla="*/ 230410 w 1187561"/>
              <a:gd name="connsiteY49" fmla="*/ 1262941 h 1262941"/>
              <a:gd name="connsiteX50" fmla="*/ 167121 w 1187561"/>
              <a:gd name="connsiteY50" fmla="*/ 1200342 h 1262941"/>
              <a:gd name="connsiteX51" fmla="*/ 167121 w 1187561"/>
              <a:gd name="connsiteY51" fmla="*/ 979753 h 1262941"/>
              <a:gd name="connsiteX52" fmla="*/ 147987 w 1187561"/>
              <a:gd name="connsiteY52" fmla="*/ 979753 h 1262941"/>
              <a:gd name="connsiteX53" fmla="*/ 80283 w 1187561"/>
              <a:gd name="connsiteY53" fmla="*/ 885854 h 1262941"/>
              <a:gd name="connsiteX54" fmla="*/ 167121 w 1187561"/>
              <a:gd name="connsiteY54" fmla="*/ 610118 h 1262941"/>
              <a:gd name="connsiteX55" fmla="*/ 167121 w 1187561"/>
              <a:gd name="connsiteY55" fmla="*/ 577327 h 1262941"/>
              <a:gd name="connsiteX56" fmla="*/ 90586 w 1187561"/>
              <a:gd name="connsiteY56" fmla="*/ 765126 h 1262941"/>
              <a:gd name="connsiteX57" fmla="*/ 47903 w 1187561"/>
              <a:gd name="connsiteY57" fmla="*/ 794935 h 1262941"/>
              <a:gd name="connsiteX58" fmla="*/ 28769 w 1187561"/>
              <a:gd name="connsiteY58" fmla="*/ 790464 h 1262941"/>
              <a:gd name="connsiteX59" fmla="*/ 3748 w 1187561"/>
              <a:gd name="connsiteY59" fmla="*/ 729355 h 1262941"/>
              <a:gd name="connsiteX60" fmla="*/ 177424 w 1187561"/>
              <a:gd name="connsiteY60" fmla="*/ 301592 h 1262941"/>
              <a:gd name="connsiteX61" fmla="*/ 221579 w 1187561"/>
              <a:gd name="connsiteY61" fmla="*/ 271782 h 1262941"/>
              <a:gd name="connsiteX62" fmla="*/ 873254 w 1187561"/>
              <a:gd name="connsiteY62" fmla="*/ 0 h 1262941"/>
              <a:gd name="connsiteX63" fmla="*/ 995592 w 1187561"/>
              <a:gd name="connsiteY63" fmla="*/ 123804 h 1262941"/>
              <a:gd name="connsiteX64" fmla="*/ 873254 w 1187561"/>
              <a:gd name="connsiteY64" fmla="*/ 247608 h 1262941"/>
              <a:gd name="connsiteX65" fmla="*/ 750916 w 1187561"/>
              <a:gd name="connsiteY65" fmla="*/ 123804 h 1262941"/>
              <a:gd name="connsiteX66" fmla="*/ 873254 w 1187561"/>
              <a:gd name="connsiteY66" fmla="*/ 0 h 1262941"/>
              <a:gd name="connsiteX67" fmla="*/ 315041 w 1187561"/>
              <a:gd name="connsiteY67" fmla="*/ 0 h 1262941"/>
              <a:gd name="connsiteX68" fmla="*/ 436647 w 1187561"/>
              <a:gd name="connsiteY68" fmla="*/ 123804 h 1262941"/>
              <a:gd name="connsiteX69" fmla="*/ 315041 w 1187561"/>
              <a:gd name="connsiteY69" fmla="*/ 247608 h 1262941"/>
              <a:gd name="connsiteX70" fmla="*/ 193435 w 1187561"/>
              <a:gd name="connsiteY70" fmla="*/ 123804 h 1262941"/>
              <a:gd name="connsiteX71" fmla="*/ 315041 w 1187561"/>
              <a:gd name="connsiteY71" fmla="*/ 0 h 126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1187561" h="1262941">
                <a:moveTo>
                  <a:pt x="221579" y="271782"/>
                </a:moveTo>
                <a:cubicBezTo>
                  <a:pt x="268678" y="271782"/>
                  <a:pt x="408502" y="271782"/>
                  <a:pt x="408502" y="271782"/>
                </a:cubicBezTo>
                <a:cubicBezTo>
                  <a:pt x="434995" y="271782"/>
                  <a:pt x="448241" y="289668"/>
                  <a:pt x="452657" y="301592"/>
                </a:cubicBezTo>
                <a:cubicBezTo>
                  <a:pt x="452657" y="301592"/>
                  <a:pt x="452657" y="301592"/>
                  <a:pt x="568932" y="587761"/>
                </a:cubicBezTo>
                <a:cubicBezTo>
                  <a:pt x="568932" y="587761"/>
                  <a:pt x="568932" y="587761"/>
                  <a:pt x="593148" y="647496"/>
                </a:cubicBezTo>
                <a:lnTo>
                  <a:pt x="593814" y="649138"/>
                </a:lnTo>
                <a:lnTo>
                  <a:pt x="595074" y="645889"/>
                </a:lnTo>
                <a:cubicBezTo>
                  <a:pt x="595074" y="645889"/>
                  <a:pt x="595074" y="645889"/>
                  <a:pt x="736371" y="301592"/>
                </a:cubicBezTo>
                <a:cubicBezTo>
                  <a:pt x="743730" y="282216"/>
                  <a:pt x="761392" y="271782"/>
                  <a:pt x="779055" y="271782"/>
                </a:cubicBezTo>
                <a:cubicBezTo>
                  <a:pt x="779055" y="271782"/>
                  <a:pt x="779055" y="271782"/>
                  <a:pt x="780527" y="271782"/>
                </a:cubicBezTo>
                <a:cubicBezTo>
                  <a:pt x="780527" y="271782"/>
                  <a:pt x="780527" y="271782"/>
                  <a:pt x="965979" y="271782"/>
                </a:cubicBezTo>
                <a:cubicBezTo>
                  <a:pt x="965979" y="271782"/>
                  <a:pt x="965979" y="271782"/>
                  <a:pt x="967451" y="271782"/>
                </a:cubicBezTo>
                <a:cubicBezTo>
                  <a:pt x="985114" y="271782"/>
                  <a:pt x="1002776" y="282216"/>
                  <a:pt x="1010135" y="301592"/>
                </a:cubicBezTo>
                <a:cubicBezTo>
                  <a:pt x="1010135" y="301592"/>
                  <a:pt x="1010135" y="301592"/>
                  <a:pt x="1124939" y="584780"/>
                </a:cubicBezTo>
                <a:cubicBezTo>
                  <a:pt x="1124939" y="584780"/>
                  <a:pt x="1124939" y="584780"/>
                  <a:pt x="1183813" y="729355"/>
                </a:cubicBezTo>
                <a:cubicBezTo>
                  <a:pt x="1194116" y="753202"/>
                  <a:pt x="1182341" y="781521"/>
                  <a:pt x="1158792" y="790464"/>
                </a:cubicBezTo>
                <a:cubicBezTo>
                  <a:pt x="1152904" y="793445"/>
                  <a:pt x="1147017" y="794935"/>
                  <a:pt x="1141129" y="794935"/>
                </a:cubicBezTo>
                <a:cubicBezTo>
                  <a:pt x="1121995" y="794935"/>
                  <a:pt x="1104333" y="783012"/>
                  <a:pt x="1096974" y="765126"/>
                </a:cubicBezTo>
                <a:cubicBezTo>
                  <a:pt x="1096974" y="765126"/>
                  <a:pt x="1096974" y="765126"/>
                  <a:pt x="1020438" y="577327"/>
                </a:cubicBezTo>
                <a:cubicBezTo>
                  <a:pt x="1020438" y="577327"/>
                  <a:pt x="1020438" y="577327"/>
                  <a:pt x="1020438" y="1198851"/>
                </a:cubicBezTo>
                <a:cubicBezTo>
                  <a:pt x="1020438" y="1231641"/>
                  <a:pt x="995416" y="1261451"/>
                  <a:pt x="961564" y="1262941"/>
                </a:cubicBezTo>
                <a:cubicBezTo>
                  <a:pt x="926240" y="1262941"/>
                  <a:pt x="898274" y="1234622"/>
                  <a:pt x="898274" y="1200342"/>
                </a:cubicBezTo>
                <a:cubicBezTo>
                  <a:pt x="898274" y="1200342"/>
                  <a:pt x="898274" y="1200342"/>
                  <a:pt x="898274" y="860516"/>
                </a:cubicBezTo>
                <a:cubicBezTo>
                  <a:pt x="898274" y="845611"/>
                  <a:pt x="885028" y="835178"/>
                  <a:pt x="871781" y="835178"/>
                </a:cubicBezTo>
                <a:cubicBezTo>
                  <a:pt x="858534" y="836668"/>
                  <a:pt x="848232" y="848592"/>
                  <a:pt x="848232" y="862006"/>
                </a:cubicBezTo>
                <a:cubicBezTo>
                  <a:pt x="848232" y="862006"/>
                  <a:pt x="848232" y="862006"/>
                  <a:pt x="848232" y="1198851"/>
                </a:cubicBezTo>
                <a:cubicBezTo>
                  <a:pt x="848232" y="1231641"/>
                  <a:pt x="823210" y="1261451"/>
                  <a:pt x="789358" y="1262941"/>
                </a:cubicBezTo>
                <a:cubicBezTo>
                  <a:pt x="754033" y="1262941"/>
                  <a:pt x="726068" y="1234622"/>
                  <a:pt x="726068" y="1200342"/>
                </a:cubicBezTo>
                <a:cubicBezTo>
                  <a:pt x="726068" y="1200342"/>
                  <a:pt x="726068" y="1200342"/>
                  <a:pt x="726068" y="575837"/>
                </a:cubicBezTo>
                <a:cubicBezTo>
                  <a:pt x="726068" y="575837"/>
                  <a:pt x="726068" y="575837"/>
                  <a:pt x="698103" y="641417"/>
                </a:cubicBezTo>
                <a:cubicBezTo>
                  <a:pt x="698103" y="641417"/>
                  <a:pt x="698103" y="641417"/>
                  <a:pt x="648060" y="765126"/>
                </a:cubicBezTo>
                <a:cubicBezTo>
                  <a:pt x="640701" y="783012"/>
                  <a:pt x="623039" y="794935"/>
                  <a:pt x="605377" y="794935"/>
                </a:cubicBezTo>
                <a:cubicBezTo>
                  <a:pt x="602433" y="794935"/>
                  <a:pt x="598017" y="794935"/>
                  <a:pt x="595074" y="793445"/>
                </a:cubicBezTo>
                <a:lnTo>
                  <a:pt x="591714" y="792084"/>
                </a:lnTo>
                <a:lnTo>
                  <a:pt x="583650" y="793445"/>
                </a:lnTo>
                <a:cubicBezTo>
                  <a:pt x="564516" y="793445"/>
                  <a:pt x="546854" y="783012"/>
                  <a:pt x="539495" y="765126"/>
                </a:cubicBezTo>
                <a:cubicBezTo>
                  <a:pt x="539495" y="765126"/>
                  <a:pt x="539495" y="765126"/>
                  <a:pt x="489453" y="641417"/>
                </a:cubicBezTo>
                <a:cubicBezTo>
                  <a:pt x="489453" y="641417"/>
                  <a:pt x="489453" y="641417"/>
                  <a:pt x="490925" y="641417"/>
                </a:cubicBezTo>
                <a:cubicBezTo>
                  <a:pt x="490925" y="641417"/>
                  <a:pt x="490925" y="641417"/>
                  <a:pt x="462960" y="574347"/>
                </a:cubicBezTo>
                <a:cubicBezTo>
                  <a:pt x="462960" y="574347"/>
                  <a:pt x="462960" y="574347"/>
                  <a:pt x="462960" y="610118"/>
                </a:cubicBezTo>
                <a:cubicBezTo>
                  <a:pt x="462960" y="610118"/>
                  <a:pt x="462960" y="610118"/>
                  <a:pt x="549798" y="885854"/>
                </a:cubicBezTo>
                <a:cubicBezTo>
                  <a:pt x="564516" y="933549"/>
                  <a:pt x="530664" y="979753"/>
                  <a:pt x="482094" y="979753"/>
                </a:cubicBezTo>
                <a:cubicBezTo>
                  <a:pt x="482094" y="979753"/>
                  <a:pt x="482094" y="979753"/>
                  <a:pt x="462960" y="979753"/>
                </a:cubicBezTo>
                <a:cubicBezTo>
                  <a:pt x="462960" y="979753"/>
                  <a:pt x="462960" y="979753"/>
                  <a:pt x="462960" y="1198851"/>
                </a:cubicBezTo>
                <a:cubicBezTo>
                  <a:pt x="462960" y="1231641"/>
                  <a:pt x="436467" y="1261451"/>
                  <a:pt x="404086" y="1262941"/>
                </a:cubicBezTo>
                <a:cubicBezTo>
                  <a:pt x="368762" y="1262941"/>
                  <a:pt x="339326" y="1234622"/>
                  <a:pt x="339326" y="1200342"/>
                </a:cubicBezTo>
                <a:cubicBezTo>
                  <a:pt x="339326" y="1200342"/>
                  <a:pt x="339326" y="1200342"/>
                  <a:pt x="339326" y="979753"/>
                </a:cubicBezTo>
                <a:cubicBezTo>
                  <a:pt x="339326" y="979753"/>
                  <a:pt x="339326" y="979753"/>
                  <a:pt x="290755" y="979753"/>
                </a:cubicBezTo>
                <a:cubicBezTo>
                  <a:pt x="290755" y="979753"/>
                  <a:pt x="290755" y="979753"/>
                  <a:pt x="290755" y="1198851"/>
                </a:cubicBezTo>
                <a:cubicBezTo>
                  <a:pt x="290755" y="1231641"/>
                  <a:pt x="264262" y="1261451"/>
                  <a:pt x="230410" y="1262941"/>
                </a:cubicBezTo>
                <a:cubicBezTo>
                  <a:pt x="196558" y="1262941"/>
                  <a:pt x="167121" y="1234622"/>
                  <a:pt x="167121" y="1200342"/>
                </a:cubicBezTo>
                <a:cubicBezTo>
                  <a:pt x="167121" y="1200342"/>
                  <a:pt x="167121" y="1200342"/>
                  <a:pt x="167121" y="979753"/>
                </a:cubicBezTo>
                <a:cubicBezTo>
                  <a:pt x="167121" y="979753"/>
                  <a:pt x="167121" y="979753"/>
                  <a:pt x="147987" y="979753"/>
                </a:cubicBezTo>
                <a:cubicBezTo>
                  <a:pt x="99417" y="979753"/>
                  <a:pt x="65565" y="933549"/>
                  <a:pt x="80283" y="885854"/>
                </a:cubicBezTo>
                <a:cubicBezTo>
                  <a:pt x="80283" y="885854"/>
                  <a:pt x="80283" y="885854"/>
                  <a:pt x="167121" y="610118"/>
                </a:cubicBezTo>
                <a:cubicBezTo>
                  <a:pt x="167121" y="610118"/>
                  <a:pt x="167121" y="610118"/>
                  <a:pt x="167121" y="577327"/>
                </a:cubicBezTo>
                <a:cubicBezTo>
                  <a:pt x="167121" y="577327"/>
                  <a:pt x="167121" y="577327"/>
                  <a:pt x="90586" y="765126"/>
                </a:cubicBezTo>
                <a:cubicBezTo>
                  <a:pt x="83227" y="783012"/>
                  <a:pt x="65565" y="794935"/>
                  <a:pt x="47903" y="794935"/>
                </a:cubicBezTo>
                <a:cubicBezTo>
                  <a:pt x="42015" y="794935"/>
                  <a:pt x="34656" y="793445"/>
                  <a:pt x="28769" y="790464"/>
                </a:cubicBezTo>
                <a:cubicBezTo>
                  <a:pt x="5220" y="781521"/>
                  <a:pt x="-6555" y="753202"/>
                  <a:pt x="3748" y="729355"/>
                </a:cubicBezTo>
                <a:cubicBezTo>
                  <a:pt x="3748" y="729355"/>
                  <a:pt x="3748" y="729355"/>
                  <a:pt x="177424" y="301592"/>
                </a:cubicBezTo>
                <a:cubicBezTo>
                  <a:pt x="184783" y="282216"/>
                  <a:pt x="202445" y="271782"/>
                  <a:pt x="221579" y="271782"/>
                </a:cubicBezTo>
                <a:close/>
                <a:moveTo>
                  <a:pt x="873254" y="0"/>
                </a:moveTo>
                <a:cubicBezTo>
                  <a:pt x="940819" y="0"/>
                  <a:pt x="995592" y="55429"/>
                  <a:pt x="995592" y="123804"/>
                </a:cubicBezTo>
                <a:cubicBezTo>
                  <a:pt x="995592" y="192179"/>
                  <a:pt x="940819" y="247608"/>
                  <a:pt x="873254" y="247608"/>
                </a:cubicBezTo>
                <a:cubicBezTo>
                  <a:pt x="805689" y="247608"/>
                  <a:pt x="750916" y="192179"/>
                  <a:pt x="750916" y="123804"/>
                </a:cubicBezTo>
                <a:cubicBezTo>
                  <a:pt x="750916" y="55429"/>
                  <a:pt x="805689" y="0"/>
                  <a:pt x="873254" y="0"/>
                </a:cubicBezTo>
                <a:close/>
                <a:moveTo>
                  <a:pt x="315041" y="0"/>
                </a:moveTo>
                <a:cubicBezTo>
                  <a:pt x="382202" y="0"/>
                  <a:pt x="436647" y="55429"/>
                  <a:pt x="436647" y="123804"/>
                </a:cubicBezTo>
                <a:cubicBezTo>
                  <a:pt x="436647" y="192179"/>
                  <a:pt x="382202" y="247608"/>
                  <a:pt x="315041" y="247608"/>
                </a:cubicBezTo>
                <a:cubicBezTo>
                  <a:pt x="247880" y="247608"/>
                  <a:pt x="193435" y="192179"/>
                  <a:pt x="193435" y="123804"/>
                </a:cubicBezTo>
                <a:cubicBezTo>
                  <a:pt x="193435" y="55429"/>
                  <a:pt x="247880" y="0"/>
                  <a:pt x="315041" y="0"/>
                </a:cubicBezTo>
                <a:close/>
              </a:path>
            </a:pathLst>
          </a:custGeom>
          <a:solidFill>
            <a:schemeClr val="accent1">
              <a:alpha val="52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788AB43F-06CB-A6BE-B0FD-15DF58EC6F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42339" y="2565027"/>
            <a:ext cx="736868" cy="783640"/>
          </a:xfrm>
          <a:custGeom>
            <a:avLst/>
            <a:gdLst>
              <a:gd name="connsiteX0" fmla="*/ 221579 w 1187561"/>
              <a:gd name="connsiteY0" fmla="*/ 271782 h 1262941"/>
              <a:gd name="connsiteX1" fmla="*/ 408502 w 1187561"/>
              <a:gd name="connsiteY1" fmla="*/ 271782 h 1262941"/>
              <a:gd name="connsiteX2" fmla="*/ 452657 w 1187561"/>
              <a:gd name="connsiteY2" fmla="*/ 301592 h 1262941"/>
              <a:gd name="connsiteX3" fmla="*/ 568932 w 1187561"/>
              <a:gd name="connsiteY3" fmla="*/ 587761 h 1262941"/>
              <a:gd name="connsiteX4" fmla="*/ 593148 w 1187561"/>
              <a:gd name="connsiteY4" fmla="*/ 647496 h 1262941"/>
              <a:gd name="connsiteX5" fmla="*/ 593814 w 1187561"/>
              <a:gd name="connsiteY5" fmla="*/ 649138 h 1262941"/>
              <a:gd name="connsiteX6" fmla="*/ 595074 w 1187561"/>
              <a:gd name="connsiteY6" fmla="*/ 645889 h 1262941"/>
              <a:gd name="connsiteX7" fmla="*/ 736371 w 1187561"/>
              <a:gd name="connsiteY7" fmla="*/ 301592 h 1262941"/>
              <a:gd name="connsiteX8" fmla="*/ 779055 w 1187561"/>
              <a:gd name="connsiteY8" fmla="*/ 271782 h 1262941"/>
              <a:gd name="connsiteX9" fmla="*/ 780527 w 1187561"/>
              <a:gd name="connsiteY9" fmla="*/ 271782 h 1262941"/>
              <a:gd name="connsiteX10" fmla="*/ 965979 w 1187561"/>
              <a:gd name="connsiteY10" fmla="*/ 271782 h 1262941"/>
              <a:gd name="connsiteX11" fmla="*/ 967451 w 1187561"/>
              <a:gd name="connsiteY11" fmla="*/ 271782 h 1262941"/>
              <a:gd name="connsiteX12" fmla="*/ 1010135 w 1187561"/>
              <a:gd name="connsiteY12" fmla="*/ 301592 h 1262941"/>
              <a:gd name="connsiteX13" fmla="*/ 1124939 w 1187561"/>
              <a:gd name="connsiteY13" fmla="*/ 584780 h 1262941"/>
              <a:gd name="connsiteX14" fmla="*/ 1183813 w 1187561"/>
              <a:gd name="connsiteY14" fmla="*/ 729355 h 1262941"/>
              <a:gd name="connsiteX15" fmla="*/ 1158792 w 1187561"/>
              <a:gd name="connsiteY15" fmla="*/ 790464 h 1262941"/>
              <a:gd name="connsiteX16" fmla="*/ 1141129 w 1187561"/>
              <a:gd name="connsiteY16" fmla="*/ 794935 h 1262941"/>
              <a:gd name="connsiteX17" fmla="*/ 1096974 w 1187561"/>
              <a:gd name="connsiteY17" fmla="*/ 765126 h 1262941"/>
              <a:gd name="connsiteX18" fmla="*/ 1020438 w 1187561"/>
              <a:gd name="connsiteY18" fmla="*/ 577327 h 1262941"/>
              <a:gd name="connsiteX19" fmla="*/ 1020438 w 1187561"/>
              <a:gd name="connsiteY19" fmla="*/ 1198851 h 1262941"/>
              <a:gd name="connsiteX20" fmla="*/ 961564 w 1187561"/>
              <a:gd name="connsiteY20" fmla="*/ 1262941 h 1262941"/>
              <a:gd name="connsiteX21" fmla="*/ 898274 w 1187561"/>
              <a:gd name="connsiteY21" fmla="*/ 1200342 h 1262941"/>
              <a:gd name="connsiteX22" fmla="*/ 898274 w 1187561"/>
              <a:gd name="connsiteY22" fmla="*/ 860516 h 1262941"/>
              <a:gd name="connsiteX23" fmla="*/ 871781 w 1187561"/>
              <a:gd name="connsiteY23" fmla="*/ 835178 h 1262941"/>
              <a:gd name="connsiteX24" fmla="*/ 848232 w 1187561"/>
              <a:gd name="connsiteY24" fmla="*/ 862006 h 1262941"/>
              <a:gd name="connsiteX25" fmla="*/ 848232 w 1187561"/>
              <a:gd name="connsiteY25" fmla="*/ 1198851 h 1262941"/>
              <a:gd name="connsiteX26" fmla="*/ 789358 w 1187561"/>
              <a:gd name="connsiteY26" fmla="*/ 1262941 h 1262941"/>
              <a:gd name="connsiteX27" fmla="*/ 726068 w 1187561"/>
              <a:gd name="connsiteY27" fmla="*/ 1200342 h 1262941"/>
              <a:gd name="connsiteX28" fmla="*/ 726068 w 1187561"/>
              <a:gd name="connsiteY28" fmla="*/ 575837 h 1262941"/>
              <a:gd name="connsiteX29" fmla="*/ 698103 w 1187561"/>
              <a:gd name="connsiteY29" fmla="*/ 641417 h 1262941"/>
              <a:gd name="connsiteX30" fmla="*/ 648060 w 1187561"/>
              <a:gd name="connsiteY30" fmla="*/ 765126 h 1262941"/>
              <a:gd name="connsiteX31" fmla="*/ 605377 w 1187561"/>
              <a:gd name="connsiteY31" fmla="*/ 794935 h 1262941"/>
              <a:gd name="connsiteX32" fmla="*/ 595074 w 1187561"/>
              <a:gd name="connsiteY32" fmla="*/ 793445 h 1262941"/>
              <a:gd name="connsiteX33" fmla="*/ 591714 w 1187561"/>
              <a:gd name="connsiteY33" fmla="*/ 792084 h 1262941"/>
              <a:gd name="connsiteX34" fmla="*/ 583650 w 1187561"/>
              <a:gd name="connsiteY34" fmla="*/ 793445 h 1262941"/>
              <a:gd name="connsiteX35" fmla="*/ 539495 w 1187561"/>
              <a:gd name="connsiteY35" fmla="*/ 765126 h 1262941"/>
              <a:gd name="connsiteX36" fmla="*/ 489453 w 1187561"/>
              <a:gd name="connsiteY36" fmla="*/ 641417 h 1262941"/>
              <a:gd name="connsiteX37" fmla="*/ 490925 w 1187561"/>
              <a:gd name="connsiteY37" fmla="*/ 641417 h 1262941"/>
              <a:gd name="connsiteX38" fmla="*/ 462960 w 1187561"/>
              <a:gd name="connsiteY38" fmla="*/ 574347 h 1262941"/>
              <a:gd name="connsiteX39" fmla="*/ 462960 w 1187561"/>
              <a:gd name="connsiteY39" fmla="*/ 610118 h 1262941"/>
              <a:gd name="connsiteX40" fmla="*/ 549798 w 1187561"/>
              <a:gd name="connsiteY40" fmla="*/ 885854 h 1262941"/>
              <a:gd name="connsiteX41" fmla="*/ 482094 w 1187561"/>
              <a:gd name="connsiteY41" fmla="*/ 979753 h 1262941"/>
              <a:gd name="connsiteX42" fmla="*/ 462960 w 1187561"/>
              <a:gd name="connsiteY42" fmla="*/ 979753 h 1262941"/>
              <a:gd name="connsiteX43" fmla="*/ 462960 w 1187561"/>
              <a:gd name="connsiteY43" fmla="*/ 1198851 h 1262941"/>
              <a:gd name="connsiteX44" fmla="*/ 404086 w 1187561"/>
              <a:gd name="connsiteY44" fmla="*/ 1262941 h 1262941"/>
              <a:gd name="connsiteX45" fmla="*/ 339326 w 1187561"/>
              <a:gd name="connsiteY45" fmla="*/ 1200342 h 1262941"/>
              <a:gd name="connsiteX46" fmla="*/ 339326 w 1187561"/>
              <a:gd name="connsiteY46" fmla="*/ 979753 h 1262941"/>
              <a:gd name="connsiteX47" fmla="*/ 290755 w 1187561"/>
              <a:gd name="connsiteY47" fmla="*/ 979753 h 1262941"/>
              <a:gd name="connsiteX48" fmla="*/ 290755 w 1187561"/>
              <a:gd name="connsiteY48" fmla="*/ 1198851 h 1262941"/>
              <a:gd name="connsiteX49" fmla="*/ 230410 w 1187561"/>
              <a:gd name="connsiteY49" fmla="*/ 1262941 h 1262941"/>
              <a:gd name="connsiteX50" fmla="*/ 167121 w 1187561"/>
              <a:gd name="connsiteY50" fmla="*/ 1200342 h 1262941"/>
              <a:gd name="connsiteX51" fmla="*/ 167121 w 1187561"/>
              <a:gd name="connsiteY51" fmla="*/ 979753 h 1262941"/>
              <a:gd name="connsiteX52" fmla="*/ 147987 w 1187561"/>
              <a:gd name="connsiteY52" fmla="*/ 979753 h 1262941"/>
              <a:gd name="connsiteX53" fmla="*/ 80283 w 1187561"/>
              <a:gd name="connsiteY53" fmla="*/ 885854 h 1262941"/>
              <a:gd name="connsiteX54" fmla="*/ 167121 w 1187561"/>
              <a:gd name="connsiteY54" fmla="*/ 610118 h 1262941"/>
              <a:gd name="connsiteX55" fmla="*/ 167121 w 1187561"/>
              <a:gd name="connsiteY55" fmla="*/ 577327 h 1262941"/>
              <a:gd name="connsiteX56" fmla="*/ 90586 w 1187561"/>
              <a:gd name="connsiteY56" fmla="*/ 765126 h 1262941"/>
              <a:gd name="connsiteX57" fmla="*/ 47903 w 1187561"/>
              <a:gd name="connsiteY57" fmla="*/ 794935 h 1262941"/>
              <a:gd name="connsiteX58" fmla="*/ 28769 w 1187561"/>
              <a:gd name="connsiteY58" fmla="*/ 790464 h 1262941"/>
              <a:gd name="connsiteX59" fmla="*/ 3748 w 1187561"/>
              <a:gd name="connsiteY59" fmla="*/ 729355 h 1262941"/>
              <a:gd name="connsiteX60" fmla="*/ 177424 w 1187561"/>
              <a:gd name="connsiteY60" fmla="*/ 301592 h 1262941"/>
              <a:gd name="connsiteX61" fmla="*/ 221579 w 1187561"/>
              <a:gd name="connsiteY61" fmla="*/ 271782 h 1262941"/>
              <a:gd name="connsiteX62" fmla="*/ 873254 w 1187561"/>
              <a:gd name="connsiteY62" fmla="*/ 0 h 1262941"/>
              <a:gd name="connsiteX63" fmla="*/ 995592 w 1187561"/>
              <a:gd name="connsiteY63" fmla="*/ 123804 h 1262941"/>
              <a:gd name="connsiteX64" fmla="*/ 873254 w 1187561"/>
              <a:gd name="connsiteY64" fmla="*/ 247608 h 1262941"/>
              <a:gd name="connsiteX65" fmla="*/ 750916 w 1187561"/>
              <a:gd name="connsiteY65" fmla="*/ 123804 h 1262941"/>
              <a:gd name="connsiteX66" fmla="*/ 873254 w 1187561"/>
              <a:gd name="connsiteY66" fmla="*/ 0 h 1262941"/>
              <a:gd name="connsiteX67" fmla="*/ 315041 w 1187561"/>
              <a:gd name="connsiteY67" fmla="*/ 0 h 1262941"/>
              <a:gd name="connsiteX68" fmla="*/ 436647 w 1187561"/>
              <a:gd name="connsiteY68" fmla="*/ 123804 h 1262941"/>
              <a:gd name="connsiteX69" fmla="*/ 315041 w 1187561"/>
              <a:gd name="connsiteY69" fmla="*/ 247608 h 1262941"/>
              <a:gd name="connsiteX70" fmla="*/ 193435 w 1187561"/>
              <a:gd name="connsiteY70" fmla="*/ 123804 h 1262941"/>
              <a:gd name="connsiteX71" fmla="*/ 315041 w 1187561"/>
              <a:gd name="connsiteY71" fmla="*/ 0 h 126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1187561" h="1262941">
                <a:moveTo>
                  <a:pt x="221579" y="271782"/>
                </a:moveTo>
                <a:cubicBezTo>
                  <a:pt x="268678" y="271782"/>
                  <a:pt x="408502" y="271782"/>
                  <a:pt x="408502" y="271782"/>
                </a:cubicBezTo>
                <a:cubicBezTo>
                  <a:pt x="434995" y="271782"/>
                  <a:pt x="448241" y="289668"/>
                  <a:pt x="452657" y="301592"/>
                </a:cubicBezTo>
                <a:cubicBezTo>
                  <a:pt x="452657" y="301592"/>
                  <a:pt x="452657" y="301592"/>
                  <a:pt x="568932" y="587761"/>
                </a:cubicBezTo>
                <a:cubicBezTo>
                  <a:pt x="568932" y="587761"/>
                  <a:pt x="568932" y="587761"/>
                  <a:pt x="593148" y="647496"/>
                </a:cubicBezTo>
                <a:lnTo>
                  <a:pt x="593814" y="649138"/>
                </a:lnTo>
                <a:lnTo>
                  <a:pt x="595074" y="645889"/>
                </a:lnTo>
                <a:cubicBezTo>
                  <a:pt x="595074" y="645889"/>
                  <a:pt x="595074" y="645889"/>
                  <a:pt x="736371" y="301592"/>
                </a:cubicBezTo>
                <a:cubicBezTo>
                  <a:pt x="743730" y="282216"/>
                  <a:pt x="761392" y="271782"/>
                  <a:pt x="779055" y="271782"/>
                </a:cubicBezTo>
                <a:cubicBezTo>
                  <a:pt x="779055" y="271782"/>
                  <a:pt x="779055" y="271782"/>
                  <a:pt x="780527" y="271782"/>
                </a:cubicBezTo>
                <a:cubicBezTo>
                  <a:pt x="780527" y="271782"/>
                  <a:pt x="780527" y="271782"/>
                  <a:pt x="965979" y="271782"/>
                </a:cubicBezTo>
                <a:cubicBezTo>
                  <a:pt x="965979" y="271782"/>
                  <a:pt x="965979" y="271782"/>
                  <a:pt x="967451" y="271782"/>
                </a:cubicBezTo>
                <a:cubicBezTo>
                  <a:pt x="985114" y="271782"/>
                  <a:pt x="1002776" y="282216"/>
                  <a:pt x="1010135" y="301592"/>
                </a:cubicBezTo>
                <a:cubicBezTo>
                  <a:pt x="1010135" y="301592"/>
                  <a:pt x="1010135" y="301592"/>
                  <a:pt x="1124939" y="584780"/>
                </a:cubicBezTo>
                <a:cubicBezTo>
                  <a:pt x="1124939" y="584780"/>
                  <a:pt x="1124939" y="584780"/>
                  <a:pt x="1183813" y="729355"/>
                </a:cubicBezTo>
                <a:cubicBezTo>
                  <a:pt x="1194116" y="753202"/>
                  <a:pt x="1182341" y="781521"/>
                  <a:pt x="1158792" y="790464"/>
                </a:cubicBezTo>
                <a:cubicBezTo>
                  <a:pt x="1152904" y="793445"/>
                  <a:pt x="1147017" y="794935"/>
                  <a:pt x="1141129" y="794935"/>
                </a:cubicBezTo>
                <a:cubicBezTo>
                  <a:pt x="1121995" y="794935"/>
                  <a:pt x="1104333" y="783012"/>
                  <a:pt x="1096974" y="765126"/>
                </a:cubicBezTo>
                <a:cubicBezTo>
                  <a:pt x="1096974" y="765126"/>
                  <a:pt x="1096974" y="765126"/>
                  <a:pt x="1020438" y="577327"/>
                </a:cubicBezTo>
                <a:cubicBezTo>
                  <a:pt x="1020438" y="577327"/>
                  <a:pt x="1020438" y="577327"/>
                  <a:pt x="1020438" y="1198851"/>
                </a:cubicBezTo>
                <a:cubicBezTo>
                  <a:pt x="1020438" y="1231641"/>
                  <a:pt x="995416" y="1261451"/>
                  <a:pt x="961564" y="1262941"/>
                </a:cubicBezTo>
                <a:cubicBezTo>
                  <a:pt x="926240" y="1262941"/>
                  <a:pt x="898274" y="1234622"/>
                  <a:pt x="898274" y="1200342"/>
                </a:cubicBezTo>
                <a:cubicBezTo>
                  <a:pt x="898274" y="1200342"/>
                  <a:pt x="898274" y="1200342"/>
                  <a:pt x="898274" y="860516"/>
                </a:cubicBezTo>
                <a:cubicBezTo>
                  <a:pt x="898274" y="845611"/>
                  <a:pt x="885028" y="835178"/>
                  <a:pt x="871781" y="835178"/>
                </a:cubicBezTo>
                <a:cubicBezTo>
                  <a:pt x="858534" y="836668"/>
                  <a:pt x="848232" y="848592"/>
                  <a:pt x="848232" y="862006"/>
                </a:cubicBezTo>
                <a:cubicBezTo>
                  <a:pt x="848232" y="862006"/>
                  <a:pt x="848232" y="862006"/>
                  <a:pt x="848232" y="1198851"/>
                </a:cubicBezTo>
                <a:cubicBezTo>
                  <a:pt x="848232" y="1231641"/>
                  <a:pt x="823210" y="1261451"/>
                  <a:pt x="789358" y="1262941"/>
                </a:cubicBezTo>
                <a:cubicBezTo>
                  <a:pt x="754033" y="1262941"/>
                  <a:pt x="726068" y="1234622"/>
                  <a:pt x="726068" y="1200342"/>
                </a:cubicBezTo>
                <a:cubicBezTo>
                  <a:pt x="726068" y="1200342"/>
                  <a:pt x="726068" y="1200342"/>
                  <a:pt x="726068" y="575837"/>
                </a:cubicBezTo>
                <a:cubicBezTo>
                  <a:pt x="726068" y="575837"/>
                  <a:pt x="726068" y="575837"/>
                  <a:pt x="698103" y="641417"/>
                </a:cubicBezTo>
                <a:cubicBezTo>
                  <a:pt x="698103" y="641417"/>
                  <a:pt x="698103" y="641417"/>
                  <a:pt x="648060" y="765126"/>
                </a:cubicBezTo>
                <a:cubicBezTo>
                  <a:pt x="640701" y="783012"/>
                  <a:pt x="623039" y="794935"/>
                  <a:pt x="605377" y="794935"/>
                </a:cubicBezTo>
                <a:cubicBezTo>
                  <a:pt x="602433" y="794935"/>
                  <a:pt x="598017" y="794935"/>
                  <a:pt x="595074" y="793445"/>
                </a:cubicBezTo>
                <a:lnTo>
                  <a:pt x="591714" y="792084"/>
                </a:lnTo>
                <a:lnTo>
                  <a:pt x="583650" y="793445"/>
                </a:lnTo>
                <a:cubicBezTo>
                  <a:pt x="564516" y="793445"/>
                  <a:pt x="546854" y="783012"/>
                  <a:pt x="539495" y="765126"/>
                </a:cubicBezTo>
                <a:cubicBezTo>
                  <a:pt x="539495" y="765126"/>
                  <a:pt x="539495" y="765126"/>
                  <a:pt x="489453" y="641417"/>
                </a:cubicBezTo>
                <a:cubicBezTo>
                  <a:pt x="489453" y="641417"/>
                  <a:pt x="489453" y="641417"/>
                  <a:pt x="490925" y="641417"/>
                </a:cubicBezTo>
                <a:cubicBezTo>
                  <a:pt x="490925" y="641417"/>
                  <a:pt x="490925" y="641417"/>
                  <a:pt x="462960" y="574347"/>
                </a:cubicBezTo>
                <a:cubicBezTo>
                  <a:pt x="462960" y="574347"/>
                  <a:pt x="462960" y="574347"/>
                  <a:pt x="462960" y="610118"/>
                </a:cubicBezTo>
                <a:cubicBezTo>
                  <a:pt x="462960" y="610118"/>
                  <a:pt x="462960" y="610118"/>
                  <a:pt x="549798" y="885854"/>
                </a:cubicBezTo>
                <a:cubicBezTo>
                  <a:pt x="564516" y="933549"/>
                  <a:pt x="530664" y="979753"/>
                  <a:pt x="482094" y="979753"/>
                </a:cubicBezTo>
                <a:cubicBezTo>
                  <a:pt x="482094" y="979753"/>
                  <a:pt x="482094" y="979753"/>
                  <a:pt x="462960" y="979753"/>
                </a:cubicBezTo>
                <a:cubicBezTo>
                  <a:pt x="462960" y="979753"/>
                  <a:pt x="462960" y="979753"/>
                  <a:pt x="462960" y="1198851"/>
                </a:cubicBezTo>
                <a:cubicBezTo>
                  <a:pt x="462960" y="1231641"/>
                  <a:pt x="436467" y="1261451"/>
                  <a:pt x="404086" y="1262941"/>
                </a:cubicBezTo>
                <a:cubicBezTo>
                  <a:pt x="368762" y="1262941"/>
                  <a:pt x="339326" y="1234622"/>
                  <a:pt x="339326" y="1200342"/>
                </a:cubicBezTo>
                <a:cubicBezTo>
                  <a:pt x="339326" y="1200342"/>
                  <a:pt x="339326" y="1200342"/>
                  <a:pt x="339326" y="979753"/>
                </a:cubicBezTo>
                <a:cubicBezTo>
                  <a:pt x="339326" y="979753"/>
                  <a:pt x="339326" y="979753"/>
                  <a:pt x="290755" y="979753"/>
                </a:cubicBezTo>
                <a:cubicBezTo>
                  <a:pt x="290755" y="979753"/>
                  <a:pt x="290755" y="979753"/>
                  <a:pt x="290755" y="1198851"/>
                </a:cubicBezTo>
                <a:cubicBezTo>
                  <a:pt x="290755" y="1231641"/>
                  <a:pt x="264262" y="1261451"/>
                  <a:pt x="230410" y="1262941"/>
                </a:cubicBezTo>
                <a:cubicBezTo>
                  <a:pt x="196558" y="1262941"/>
                  <a:pt x="167121" y="1234622"/>
                  <a:pt x="167121" y="1200342"/>
                </a:cubicBezTo>
                <a:cubicBezTo>
                  <a:pt x="167121" y="1200342"/>
                  <a:pt x="167121" y="1200342"/>
                  <a:pt x="167121" y="979753"/>
                </a:cubicBezTo>
                <a:cubicBezTo>
                  <a:pt x="167121" y="979753"/>
                  <a:pt x="167121" y="979753"/>
                  <a:pt x="147987" y="979753"/>
                </a:cubicBezTo>
                <a:cubicBezTo>
                  <a:pt x="99417" y="979753"/>
                  <a:pt x="65565" y="933549"/>
                  <a:pt x="80283" y="885854"/>
                </a:cubicBezTo>
                <a:cubicBezTo>
                  <a:pt x="80283" y="885854"/>
                  <a:pt x="80283" y="885854"/>
                  <a:pt x="167121" y="610118"/>
                </a:cubicBezTo>
                <a:cubicBezTo>
                  <a:pt x="167121" y="610118"/>
                  <a:pt x="167121" y="610118"/>
                  <a:pt x="167121" y="577327"/>
                </a:cubicBezTo>
                <a:cubicBezTo>
                  <a:pt x="167121" y="577327"/>
                  <a:pt x="167121" y="577327"/>
                  <a:pt x="90586" y="765126"/>
                </a:cubicBezTo>
                <a:cubicBezTo>
                  <a:pt x="83227" y="783012"/>
                  <a:pt x="65565" y="794935"/>
                  <a:pt x="47903" y="794935"/>
                </a:cubicBezTo>
                <a:cubicBezTo>
                  <a:pt x="42015" y="794935"/>
                  <a:pt x="34656" y="793445"/>
                  <a:pt x="28769" y="790464"/>
                </a:cubicBezTo>
                <a:cubicBezTo>
                  <a:pt x="5220" y="781521"/>
                  <a:pt x="-6555" y="753202"/>
                  <a:pt x="3748" y="729355"/>
                </a:cubicBezTo>
                <a:cubicBezTo>
                  <a:pt x="3748" y="729355"/>
                  <a:pt x="3748" y="729355"/>
                  <a:pt x="177424" y="301592"/>
                </a:cubicBezTo>
                <a:cubicBezTo>
                  <a:pt x="184783" y="282216"/>
                  <a:pt x="202445" y="271782"/>
                  <a:pt x="221579" y="271782"/>
                </a:cubicBezTo>
                <a:close/>
                <a:moveTo>
                  <a:pt x="873254" y="0"/>
                </a:moveTo>
                <a:cubicBezTo>
                  <a:pt x="940819" y="0"/>
                  <a:pt x="995592" y="55429"/>
                  <a:pt x="995592" y="123804"/>
                </a:cubicBezTo>
                <a:cubicBezTo>
                  <a:pt x="995592" y="192179"/>
                  <a:pt x="940819" y="247608"/>
                  <a:pt x="873254" y="247608"/>
                </a:cubicBezTo>
                <a:cubicBezTo>
                  <a:pt x="805689" y="247608"/>
                  <a:pt x="750916" y="192179"/>
                  <a:pt x="750916" y="123804"/>
                </a:cubicBezTo>
                <a:cubicBezTo>
                  <a:pt x="750916" y="55429"/>
                  <a:pt x="805689" y="0"/>
                  <a:pt x="873254" y="0"/>
                </a:cubicBezTo>
                <a:close/>
                <a:moveTo>
                  <a:pt x="315041" y="0"/>
                </a:moveTo>
                <a:cubicBezTo>
                  <a:pt x="382202" y="0"/>
                  <a:pt x="436647" y="55429"/>
                  <a:pt x="436647" y="123804"/>
                </a:cubicBezTo>
                <a:cubicBezTo>
                  <a:pt x="436647" y="192179"/>
                  <a:pt x="382202" y="247608"/>
                  <a:pt x="315041" y="247608"/>
                </a:cubicBezTo>
                <a:cubicBezTo>
                  <a:pt x="247880" y="247608"/>
                  <a:pt x="193435" y="192179"/>
                  <a:pt x="193435" y="123804"/>
                </a:cubicBezTo>
                <a:cubicBezTo>
                  <a:pt x="193435" y="55429"/>
                  <a:pt x="247880" y="0"/>
                  <a:pt x="315041" y="0"/>
                </a:cubicBezTo>
                <a:close/>
              </a:path>
            </a:pathLst>
          </a:custGeom>
          <a:solidFill>
            <a:schemeClr val="accent1">
              <a:alpha val="52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9B43C043-7D08-02B5-4F39-6D12E64945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9858" y="2565027"/>
            <a:ext cx="736868" cy="783640"/>
          </a:xfrm>
          <a:custGeom>
            <a:avLst/>
            <a:gdLst>
              <a:gd name="connsiteX0" fmla="*/ 221579 w 1187561"/>
              <a:gd name="connsiteY0" fmla="*/ 271782 h 1262941"/>
              <a:gd name="connsiteX1" fmla="*/ 408502 w 1187561"/>
              <a:gd name="connsiteY1" fmla="*/ 271782 h 1262941"/>
              <a:gd name="connsiteX2" fmla="*/ 452657 w 1187561"/>
              <a:gd name="connsiteY2" fmla="*/ 301592 h 1262941"/>
              <a:gd name="connsiteX3" fmla="*/ 568932 w 1187561"/>
              <a:gd name="connsiteY3" fmla="*/ 587761 h 1262941"/>
              <a:gd name="connsiteX4" fmla="*/ 593148 w 1187561"/>
              <a:gd name="connsiteY4" fmla="*/ 647496 h 1262941"/>
              <a:gd name="connsiteX5" fmla="*/ 593814 w 1187561"/>
              <a:gd name="connsiteY5" fmla="*/ 649138 h 1262941"/>
              <a:gd name="connsiteX6" fmla="*/ 595074 w 1187561"/>
              <a:gd name="connsiteY6" fmla="*/ 645889 h 1262941"/>
              <a:gd name="connsiteX7" fmla="*/ 736371 w 1187561"/>
              <a:gd name="connsiteY7" fmla="*/ 301592 h 1262941"/>
              <a:gd name="connsiteX8" fmla="*/ 779055 w 1187561"/>
              <a:gd name="connsiteY8" fmla="*/ 271782 h 1262941"/>
              <a:gd name="connsiteX9" fmla="*/ 780527 w 1187561"/>
              <a:gd name="connsiteY9" fmla="*/ 271782 h 1262941"/>
              <a:gd name="connsiteX10" fmla="*/ 965979 w 1187561"/>
              <a:gd name="connsiteY10" fmla="*/ 271782 h 1262941"/>
              <a:gd name="connsiteX11" fmla="*/ 967451 w 1187561"/>
              <a:gd name="connsiteY11" fmla="*/ 271782 h 1262941"/>
              <a:gd name="connsiteX12" fmla="*/ 1010135 w 1187561"/>
              <a:gd name="connsiteY12" fmla="*/ 301592 h 1262941"/>
              <a:gd name="connsiteX13" fmla="*/ 1124939 w 1187561"/>
              <a:gd name="connsiteY13" fmla="*/ 584780 h 1262941"/>
              <a:gd name="connsiteX14" fmla="*/ 1183813 w 1187561"/>
              <a:gd name="connsiteY14" fmla="*/ 729355 h 1262941"/>
              <a:gd name="connsiteX15" fmla="*/ 1158792 w 1187561"/>
              <a:gd name="connsiteY15" fmla="*/ 790464 h 1262941"/>
              <a:gd name="connsiteX16" fmla="*/ 1141129 w 1187561"/>
              <a:gd name="connsiteY16" fmla="*/ 794935 h 1262941"/>
              <a:gd name="connsiteX17" fmla="*/ 1096974 w 1187561"/>
              <a:gd name="connsiteY17" fmla="*/ 765126 h 1262941"/>
              <a:gd name="connsiteX18" fmla="*/ 1020438 w 1187561"/>
              <a:gd name="connsiteY18" fmla="*/ 577327 h 1262941"/>
              <a:gd name="connsiteX19" fmla="*/ 1020438 w 1187561"/>
              <a:gd name="connsiteY19" fmla="*/ 1198851 h 1262941"/>
              <a:gd name="connsiteX20" fmla="*/ 961564 w 1187561"/>
              <a:gd name="connsiteY20" fmla="*/ 1262941 h 1262941"/>
              <a:gd name="connsiteX21" fmla="*/ 898274 w 1187561"/>
              <a:gd name="connsiteY21" fmla="*/ 1200342 h 1262941"/>
              <a:gd name="connsiteX22" fmla="*/ 898274 w 1187561"/>
              <a:gd name="connsiteY22" fmla="*/ 860516 h 1262941"/>
              <a:gd name="connsiteX23" fmla="*/ 871781 w 1187561"/>
              <a:gd name="connsiteY23" fmla="*/ 835178 h 1262941"/>
              <a:gd name="connsiteX24" fmla="*/ 848232 w 1187561"/>
              <a:gd name="connsiteY24" fmla="*/ 862006 h 1262941"/>
              <a:gd name="connsiteX25" fmla="*/ 848232 w 1187561"/>
              <a:gd name="connsiteY25" fmla="*/ 1198851 h 1262941"/>
              <a:gd name="connsiteX26" fmla="*/ 789358 w 1187561"/>
              <a:gd name="connsiteY26" fmla="*/ 1262941 h 1262941"/>
              <a:gd name="connsiteX27" fmla="*/ 726068 w 1187561"/>
              <a:gd name="connsiteY27" fmla="*/ 1200342 h 1262941"/>
              <a:gd name="connsiteX28" fmla="*/ 726068 w 1187561"/>
              <a:gd name="connsiteY28" fmla="*/ 575837 h 1262941"/>
              <a:gd name="connsiteX29" fmla="*/ 698103 w 1187561"/>
              <a:gd name="connsiteY29" fmla="*/ 641417 h 1262941"/>
              <a:gd name="connsiteX30" fmla="*/ 648060 w 1187561"/>
              <a:gd name="connsiteY30" fmla="*/ 765126 h 1262941"/>
              <a:gd name="connsiteX31" fmla="*/ 605377 w 1187561"/>
              <a:gd name="connsiteY31" fmla="*/ 794935 h 1262941"/>
              <a:gd name="connsiteX32" fmla="*/ 595074 w 1187561"/>
              <a:gd name="connsiteY32" fmla="*/ 793445 h 1262941"/>
              <a:gd name="connsiteX33" fmla="*/ 591714 w 1187561"/>
              <a:gd name="connsiteY33" fmla="*/ 792084 h 1262941"/>
              <a:gd name="connsiteX34" fmla="*/ 583650 w 1187561"/>
              <a:gd name="connsiteY34" fmla="*/ 793445 h 1262941"/>
              <a:gd name="connsiteX35" fmla="*/ 539495 w 1187561"/>
              <a:gd name="connsiteY35" fmla="*/ 765126 h 1262941"/>
              <a:gd name="connsiteX36" fmla="*/ 489453 w 1187561"/>
              <a:gd name="connsiteY36" fmla="*/ 641417 h 1262941"/>
              <a:gd name="connsiteX37" fmla="*/ 490925 w 1187561"/>
              <a:gd name="connsiteY37" fmla="*/ 641417 h 1262941"/>
              <a:gd name="connsiteX38" fmla="*/ 462960 w 1187561"/>
              <a:gd name="connsiteY38" fmla="*/ 574347 h 1262941"/>
              <a:gd name="connsiteX39" fmla="*/ 462960 w 1187561"/>
              <a:gd name="connsiteY39" fmla="*/ 610118 h 1262941"/>
              <a:gd name="connsiteX40" fmla="*/ 549798 w 1187561"/>
              <a:gd name="connsiteY40" fmla="*/ 885854 h 1262941"/>
              <a:gd name="connsiteX41" fmla="*/ 482094 w 1187561"/>
              <a:gd name="connsiteY41" fmla="*/ 979753 h 1262941"/>
              <a:gd name="connsiteX42" fmla="*/ 462960 w 1187561"/>
              <a:gd name="connsiteY42" fmla="*/ 979753 h 1262941"/>
              <a:gd name="connsiteX43" fmla="*/ 462960 w 1187561"/>
              <a:gd name="connsiteY43" fmla="*/ 1198851 h 1262941"/>
              <a:gd name="connsiteX44" fmla="*/ 404086 w 1187561"/>
              <a:gd name="connsiteY44" fmla="*/ 1262941 h 1262941"/>
              <a:gd name="connsiteX45" fmla="*/ 339326 w 1187561"/>
              <a:gd name="connsiteY45" fmla="*/ 1200342 h 1262941"/>
              <a:gd name="connsiteX46" fmla="*/ 339326 w 1187561"/>
              <a:gd name="connsiteY46" fmla="*/ 979753 h 1262941"/>
              <a:gd name="connsiteX47" fmla="*/ 290755 w 1187561"/>
              <a:gd name="connsiteY47" fmla="*/ 979753 h 1262941"/>
              <a:gd name="connsiteX48" fmla="*/ 290755 w 1187561"/>
              <a:gd name="connsiteY48" fmla="*/ 1198851 h 1262941"/>
              <a:gd name="connsiteX49" fmla="*/ 230410 w 1187561"/>
              <a:gd name="connsiteY49" fmla="*/ 1262941 h 1262941"/>
              <a:gd name="connsiteX50" fmla="*/ 167121 w 1187561"/>
              <a:gd name="connsiteY50" fmla="*/ 1200342 h 1262941"/>
              <a:gd name="connsiteX51" fmla="*/ 167121 w 1187561"/>
              <a:gd name="connsiteY51" fmla="*/ 979753 h 1262941"/>
              <a:gd name="connsiteX52" fmla="*/ 147987 w 1187561"/>
              <a:gd name="connsiteY52" fmla="*/ 979753 h 1262941"/>
              <a:gd name="connsiteX53" fmla="*/ 80283 w 1187561"/>
              <a:gd name="connsiteY53" fmla="*/ 885854 h 1262941"/>
              <a:gd name="connsiteX54" fmla="*/ 167121 w 1187561"/>
              <a:gd name="connsiteY54" fmla="*/ 610118 h 1262941"/>
              <a:gd name="connsiteX55" fmla="*/ 167121 w 1187561"/>
              <a:gd name="connsiteY55" fmla="*/ 577327 h 1262941"/>
              <a:gd name="connsiteX56" fmla="*/ 90586 w 1187561"/>
              <a:gd name="connsiteY56" fmla="*/ 765126 h 1262941"/>
              <a:gd name="connsiteX57" fmla="*/ 47903 w 1187561"/>
              <a:gd name="connsiteY57" fmla="*/ 794935 h 1262941"/>
              <a:gd name="connsiteX58" fmla="*/ 28769 w 1187561"/>
              <a:gd name="connsiteY58" fmla="*/ 790464 h 1262941"/>
              <a:gd name="connsiteX59" fmla="*/ 3748 w 1187561"/>
              <a:gd name="connsiteY59" fmla="*/ 729355 h 1262941"/>
              <a:gd name="connsiteX60" fmla="*/ 177424 w 1187561"/>
              <a:gd name="connsiteY60" fmla="*/ 301592 h 1262941"/>
              <a:gd name="connsiteX61" fmla="*/ 221579 w 1187561"/>
              <a:gd name="connsiteY61" fmla="*/ 271782 h 1262941"/>
              <a:gd name="connsiteX62" fmla="*/ 873254 w 1187561"/>
              <a:gd name="connsiteY62" fmla="*/ 0 h 1262941"/>
              <a:gd name="connsiteX63" fmla="*/ 995592 w 1187561"/>
              <a:gd name="connsiteY63" fmla="*/ 123804 h 1262941"/>
              <a:gd name="connsiteX64" fmla="*/ 873254 w 1187561"/>
              <a:gd name="connsiteY64" fmla="*/ 247608 h 1262941"/>
              <a:gd name="connsiteX65" fmla="*/ 750916 w 1187561"/>
              <a:gd name="connsiteY65" fmla="*/ 123804 h 1262941"/>
              <a:gd name="connsiteX66" fmla="*/ 873254 w 1187561"/>
              <a:gd name="connsiteY66" fmla="*/ 0 h 1262941"/>
              <a:gd name="connsiteX67" fmla="*/ 315041 w 1187561"/>
              <a:gd name="connsiteY67" fmla="*/ 0 h 1262941"/>
              <a:gd name="connsiteX68" fmla="*/ 436647 w 1187561"/>
              <a:gd name="connsiteY68" fmla="*/ 123804 h 1262941"/>
              <a:gd name="connsiteX69" fmla="*/ 315041 w 1187561"/>
              <a:gd name="connsiteY69" fmla="*/ 247608 h 1262941"/>
              <a:gd name="connsiteX70" fmla="*/ 193435 w 1187561"/>
              <a:gd name="connsiteY70" fmla="*/ 123804 h 1262941"/>
              <a:gd name="connsiteX71" fmla="*/ 315041 w 1187561"/>
              <a:gd name="connsiteY71" fmla="*/ 0 h 126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1187561" h="1262941">
                <a:moveTo>
                  <a:pt x="221579" y="271782"/>
                </a:moveTo>
                <a:cubicBezTo>
                  <a:pt x="268678" y="271782"/>
                  <a:pt x="408502" y="271782"/>
                  <a:pt x="408502" y="271782"/>
                </a:cubicBezTo>
                <a:cubicBezTo>
                  <a:pt x="434995" y="271782"/>
                  <a:pt x="448241" y="289668"/>
                  <a:pt x="452657" y="301592"/>
                </a:cubicBezTo>
                <a:cubicBezTo>
                  <a:pt x="452657" y="301592"/>
                  <a:pt x="452657" y="301592"/>
                  <a:pt x="568932" y="587761"/>
                </a:cubicBezTo>
                <a:cubicBezTo>
                  <a:pt x="568932" y="587761"/>
                  <a:pt x="568932" y="587761"/>
                  <a:pt x="593148" y="647496"/>
                </a:cubicBezTo>
                <a:lnTo>
                  <a:pt x="593814" y="649138"/>
                </a:lnTo>
                <a:lnTo>
                  <a:pt x="595074" y="645889"/>
                </a:lnTo>
                <a:cubicBezTo>
                  <a:pt x="595074" y="645889"/>
                  <a:pt x="595074" y="645889"/>
                  <a:pt x="736371" y="301592"/>
                </a:cubicBezTo>
                <a:cubicBezTo>
                  <a:pt x="743730" y="282216"/>
                  <a:pt x="761392" y="271782"/>
                  <a:pt x="779055" y="271782"/>
                </a:cubicBezTo>
                <a:cubicBezTo>
                  <a:pt x="779055" y="271782"/>
                  <a:pt x="779055" y="271782"/>
                  <a:pt x="780527" y="271782"/>
                </a:cubicBezTo>
                <a:cubicBezTo>
                  <a:pt x="780527" y="271782"/>
                  <a:pt x="780527" y="271782"/>
                  <a:pt x="965979" y="271782"/>
                </a:cubicBezTo>
                <a:cubicBezTo>
                  <a:pt x="965979" y="271782"/>
                  <a:pt x="965979" y="271782"/>
                  <a:pt x="967451" y="271782"/>
                </a:cubicBezTo>
                <a:cubicBezTo>
                  <a:pt x="985114" y="271782"/>
                  <a:pt x="1002776" y="282216"/>
                  <a:pt x="1010135" y="301592"/>
                </a:cubicBezTo>
                <a:cubicBezTo>
                  <a:pt x="1010135" y="301592"/>
                  <a:pt x="1010135" y="301592"/>
                  <a:pt x="1124939" y="584780"/>
                </a:cubicBezTo>
                <a:cubicBezTo>
                  <a:pt x="1124939" y="584780"/>
                  <a:pt x="1124939" y="584780"/>
                  <a:pt x="1183813" y="729355"/>
                </a:cubicBezTo>
                <a:cubicBezTo>
                  <a:pt x="1194116" y="753202"/>
                  <a:pt x="1182341" y="781521"/>
                  <a:pt x="1158792" y="790464"/>
                </a:cubicBezTo>
                <a:cubicBezTo>
                  <a:pt x="1152904" y="793445"/>
                  <a:pt x="1147017" y="794935"/>
                  <a:pt x="1141129" y="794935"/>
                </a:cubicBezTo>
                <a:cubicBezTo>
                  <a:pt x="1121995" y="794935"/>
                  <a:pt x="1104333" y="783012"/>
                  <a:pt x="1096974" y="765126"/>
                </a:cubicBezTo>
                <a:cubicBezTo>
                  <a:pt x="1096974" y="765126"/>
                  <a:pt x="1096974" y="765126"/>
                  <a:pt x="1020438" y="577327"/>
                </a:cubicBezTo>
                <a:cubicBezTo>
                  <a:pt x="1020438" y="577327"/>
                  <a:pt x="1020438" y="577327"/>
                  <a:pt x="1020438" y="1198851"/>
                </a:cubicBezTo>
                <a:cubicBezTo>
                  <a:pt x="1020438" y="1231641"/>
                  <a:pt x="995416" y="1261451"/>
                  <a:pt x="961564" y="1262941"/>
                </a:cubicBezTo>
                <a:cubicBezTo>
                  <a:pt x="926240" y="1262941"/>
                  <a:pt x="898274" y="1234622"/>
                  <a:pt x="898274" y="1200342"/>
                </a:cubicBezTo>
                <a:cubicBezTo>
                  <a:pt x="898274" y="1200342"/>
                  <a:pt x="898274" y="1200342"/>
                  <a:pt x="898274" y="860516"/>
                </a:cubicBezTo>
                <a:cubicBezTo>
                  <a:pt x="898274" y="845611"/>
                  <a:pt x="885028" y="835178"/>
                  <a:pt x="871781" y="835178"/>
                </a:cubicBezTo>
                <a:cubicBezTo>
                  <a:pt x="858534" y="836668"/>
                  <a:pt x="848232" y="848592"/>
                  <a:pt x="848232" y="862006"/>
                </a:cubicBezTo>
                <a:cubicBezTo>
                  <a:pt x="848232" y="862006"/>
                  <a:pt x="848232" y="862006"/>
                  <a:pt x="848232" y="1198851"/>
                </a:cubicBezTo>
                <a:cubicBezTo>
                  <a:pt x="848232" y="1231641"/>
                  <a:pt x="823210" y="1261451"/>
                  <a:pt x="789358" y="1262941"/>
                </a:cubicBezTo>
                <a:cubicBezTo>
                  <a:pt x="754033" y="1262941"/>
                  <a:pt x="726068" y="1234622"/>
                  <a:pt x="726068" y="1200342"/>
                </a:cubicBezTo>
                <a:cubicBezTo>
                  <a:pt x="726068" y="1200342"/>
                  <a:pt x="726068" y="1200342"/>
                  <a:pt x="726068" y="575837"/>
                </a:cubicBezTo>
                <a:cubicBezTo>
                  <a:pt x="726068" y="575837"/>
                  <a:pt x="726068" y="575837"/>
                  <a:pt x="698103" y="641417"/>
                </a:cubicBezTo>
                <a:cubicBezTo>
                  <a:pt x="698103" y="641417"/>
                  <a:pt x="698103" y="641417"/>
                  <a:pt x="648060" y="765126"/>
                </a:cubicBezTo>
                <a:cubicBezTo>
                  <a:pt x="640701" y="783012"/>
                  <a:pt x="623039" y="794935"/>
                  <a:pt x="605377" y="794935"/>
                </a:cubicBezTo>
                <a:cubicBezTo>
                  <a:pt x="602433" y="794935"/>
                  <a:pt x="598017" y="794935"/>
                  <a:pt x="595074" y="793445"/>
                </a:cubicBezTo>
                <a:lnTo>
                  <a:pt x="591714" y="792084"/>
                </a:lnTo>
                <a:lnTo>
                  <a:pt x="583650" y="793445"/>
                </a:lnTo>
                <a:cubicBezTo>
                  <a:pt x="564516" y="793445"/>
                  <a:pt x="546854" y="783012"/>
                  <a:pt x="539495" y="765126"/>
                </a:cubicBezTo>
                <a:cubicBezTo>
                  <a:pt x="539495" y="765126"/>
                  <a:pt x="539495" y="765126"/>
                  <a:pt x="489453" y="641417"/>
                </a:cubicBezTo>
                <a:cubicBezTo>
                  <a:pt x="489453" y="641417"/>
                  <a:pt x="489453" y="641417"/>
                  <a:pt x="490925" y="641417"/>
                </a:cubicBezTo>
                <a:cubicBezTo>
                  <a:pt x="490925" y="641417"/>
                  <a:pt x="490925" y="641417"/>
                  <a:pt x="462960" y="574347"/>
                </a:cubicBezTo>
                <a:cubicBezTo>
                  <a:pt x="462960" y="574347"/>
                  <a:pt x="462960" y="574347"/>
                  <a:pt x="462960" y="610118"/>
                </a:cubicBezTo>
                <a:cubicBezTo>
                  <a:pt x="462960" y="610118"/>
                  <a:pt x="462960" y="610118"/>
                  <a:pt x="549798" y="885854"/>
                </a:cubicBezTo>
                <a:cubicBezTo>
                  <a:pt x="564516" y="933549"/>
                  <a:pt x="530664" y="979753"/>
                  <a:pt x="482094" y="979753"/>
                </a:cubicBezTo>
                <a:cubicBezTo>
                  <a:pt x="482094" y="979753"/>
                  <a:pt x="482094" y="979753"/>
                  <a:pt x="462960" y="979753"/>
                </a:cubicBezTo>
                <a:cubicBezTo>
                  <a:pt x="462960" y="979753"/>
                  <a:pt x="462960" y="979753"/>
                  <a:pt x="462960" y="1198851"/>
                </a:cubicBezTo>
                <a:cubicBezTo>
                  <a:pt x="462960" y="1231641"/>
                  <a:pt x="436467" y="1261451"/>
                  <a:pt x="404086" y="1262941"/>
                </a:cubicBezTo>
                <a:cubicBezTo>
                  <a:pt x="368762" y="1262941"/>
                  <a:pt x="339326" y="1234622"/>
                  <a:pt x="339326" y="1200342"/>
                </a:cubicBezTo>
                <a:cubicBezTo>
                  <a:pt x="339326" y="1200342"/>
                  <a:pt x="339326" y="1200342"/>
                  <a:pt x="339326" y="979753"/>
                </a:cubicBezTo>
                <a:cubicBezTo>
                  <a:pt x="339326" y="979753"/>
                  <a:pt x="339326" y="979753"/>
                  <a:pt x="290755" y="979753"/>
                </a:cubicBezTo>
                <a:cubicBezTo>
                  <a:pt x="290755" y="979753"/>
                  <a:pt x="290755" y="979753"/>
                  <a:pt x="290755" y="1198851"/>
                </a:cubicBezTo>
                <a:cubicBezTo>
                  <a:pt x="290755" y="1231641"/>
                  <a:pt x="264262" y="1261451"/>
                  <a:pt x="230410" y="1262941"/>
                </a:cubicBezTo>
                <a:cubicBezTo>
                  <a:pt x="196558" y="1262941"/>
                  <a:pt x="167121" y="1234622"/>
                  <a:pt x="167121" y="1200342"/>
                </a:cubicBezTo>
                <a:cubicBezTo>
                  <a:pt x="167121" y="1200342"/>
                  <a:pt x="167121" y="1200342"/>
                  <a:pt x="167121" y="979753"/>
                </a:cubicBezTo>
                <a:cubicBezTo>
                  <a:pt x="167121" y="979753"/>
                  <a:pt x="167121" y="979753"/>
                  <a:pt x="147987" y="979753"/>
                </a:cubicBezTo>
                <a:cubicBezTo>
                  <a:pt x="99417" y="979753"/>
                  <a:pt x="65565" y="933549"/>
                  <a:pt x="80283" y="885854"/>
                </a:cubicBezTo>
                <a:cubicBezTo>
                  <a:pt x="80283" y="885854"/>
                  <a:pt x="80283" y="885854"/>
                  <a:pt x="167121" y="610118"/>
                </a:cubicBezTo>
                <a:cubicBezTo>
                  <a:pt x="167121" y="610118"/>
                  <a:pt x="167121" y="610118"/>
                  <a:pt x="167121" y="577327"/>
                </a:cubicBezTo>
                <a:cubicBezTo>
                  <a:pt x="167121" y="577327"/>
                  <a:pt x="167121" y="577327"/>
                  <a:pt x="90586" y="765126"/>
                </a:cubicBezTo>
                <a:cubicBezTo>
                  <a:pt x="83227" y="783012"/>
                  <a:pt x="65565" y="794935"/>
                  <a:pt x="47903" y="794935"/>
                </a:cubicBezTo>
                <a:cubicBezTo>
                  <a:pt x="42015" y="794935"/>
                  <a:pt x="34656" y="793445"/>
                  <a:pt x="28769" y="790464"/>
                </a:cubicBezTo>
                <a:cubicBezTo>
                  <a:pt x="5220" y="781521"/>
                  <a:pt x="-6555" y="753202"/>
                  <a:pt x="3748" y="729355"/>
                </a:cubicBezTo>
                <a:cubicBezTo>
                  <a:pt x="3748" y="729355"/>
                  <a:pt x="3748" y="729355"/>
                  <a:pt x="177424" y="301592"/>
                </a:cubicBezTo>
                <a:cubicBezTo>
                  <a:pt x="184783" y="282216"/>
                  <a:pt x="202445" y="271782"/>
                  <a:pt x="221579" y="271782"/>
                </a:cubicBezTo>
                <a:close/>
                <a:moveTo>
                  <a:pt x="873254" y="0"/>
                </a:moveTo>
                <a:cubicBezTo>
                  <a:pt x="940819" y="0"/>
                  <a:pt x="995592" y="55429"/>
                  <a:pt x="995592" y="123804"/>
                </a:cubicBezTo>
                <a:cubicBezTo>
                  <a:pt x="995592" y="192179"/>
                  <a:pt x="940819" y="247608"/>
                  <a:pt x="873254" y="247608"/>
                </a:cubicBezTo>
                <a:cubicBezTo>
                  <a:pt x="805689" y="247608"/>
                  <a:pt x="750916" y="192179"/>
                  <a:pt x="750916" y="123804"/>
                </a:cubicBezTo>
                <a:cubicBezTo>
                  <a:pt x="750916" y="55429"/>
                  <a:pt x="805689" y="0"/>
                  <a:pt x="873254" y="0"/>
                </a:cubicBezTo>
                <a:close/>
                <a:moveTo>
                  <a:pt x="315041" y="0"/>
                </a:moveTo>
                <a:cubicBezTo>
                  <a:pt x="382202" y="0"/>
                  <a:pt x="436647" y="55429"/>
                  <a:pt x="436647" y="123804"/>
                </a:cubicBezTo>
                <a:cubicBezTo>
                  <a:pt x="436647" y="192179"/>
                  <a:pt x="382202" y="247608"/>
                  <a:pt x="315041" y="247608"/>
                </a:cubicBezTo>
                <a:cubicBezTo>
                  <a:pt x="247880" y="247608"/>
                  <a:pt x="193435" y="192179"/>
                  <a:pt x="193435" y="123804"/>
                </a:cubicBezTo>
                <a:cubicBezTo>
                  <a:pt x="193435" y="55429"/>
                  <a:pt x="247880" y="0"/>
                  <a:pt x="315041" y="0"/>
                </a:cubicBezTo>
                <a:close/>
              </a:path>
            </a:pathLst>
          </a:custGeom>
          <a:solidFill>
            <a:schemeClr val="accent1">
              <a:alpha val="52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313CBBD0-703F-B900-3543-EB14DCA8EA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0685" y="2565027"/>
            <a:ext cx="736868" cy="783640"/>
          </a:xfrm>
          <a:custGeom>
            <a:avLst/>
            <a:gdLst>
              <a:gd name="connsiteX0" fmla="*/ 221579 w 1187561"/>
              <a:gd name="connsiteY0" fmla="*/ 271782 h 1262941"/>
              <a:gd name="connsiteX1" fmla="*/ 408502 w 1187561"/>
              <a:gd name="connsiteY1" fmla="*/ 271782 h 1262941"/>
              <a:gd name="connsiteX2" fmla="*/ 452657 w 1187561"/>
              <a:gd name="connsiteY2" fmla="*/ 301592 h 1262941"/>
              <a:gd name="connsiteX3" fmla="*/ 568932 w 1187561"/>
              <a:gd name="connsiteY3" fmla="*/ 587761 h 1262941"/>
              <a:gd name="connsiteX4" fmla="*/ 593148 w 1187561"/>
              <a:gd name="connsiteY4" fmla="*/ 647496 h 1262941"/>
              <a:gd name="connsiteX5" fmla="*/ 593814 w 1187561"/>
              <a:gd name="connsiteY5" fmla="*/ 649138 h 1262941"/>
              <a:gd name="connsiteX6" fmla="*/ 595074 w 1187561"/>
              <a:gd name="connsiteY6" fmla="*/ 645889 h 1262941"/>
              <a:gd name="connsiteX7" fmla="*/ 736371 w 1187561"/>
              <a:gd name="connsiteY7" fmla="*/ 301592 h 1262941"/>
              <a:gd name="connsiteX8" fmla="*/ 779055 w 1187561"/>
              <a:gd name="connsiteY8" fmla="*/ 271782 h 1262941"/>
              <a:gd name="connsiteX9" fmla="*/ 780527 w 1187561"/>
              <a:gd name="connsiteY9" fmla="*/ 271782 h 1262941"/>
              <a:gd name="connsiteX10" fmla="*/ 965979 w 1187561"/>
              <a:gd name="connsiteY10" fmla="*/ 271782 h 1262941"/>
              <a:gd name="connsiteX11" fmla="*/ 967451 w 1187561"/>
              <a:gd name="connsiteY11" fmla="*/ 271782 h 1262941"/>
              <a:gd name="connsiteX12" fmla="*/ 1010135 w 1187561"/>
              <a:gd name="connsiteY12" fmla="*/ 301592 h 1262941"/>
              <a:gd name="connsiteX13" fmla="*/ 1124939 w 1187561"/>
              <a:gd name="connsiteY13" fmla="*/ 584780 h 1262941"/>
              <a:gd name="connsiteX14" fmla="*/ 1183813 w 1187561"/>
              <a:gd name="connsiteY14" fmla="*/ 729355 h 1262941"/>
              <a:gd name="connsiteX15" fmla="*/ 1158792 w 1187561"/>
              <a:gd name="connsiteY15" fmla="*/ 790464 h 1262941"/>
              <a:gd name="connsiteX16" fmla="*/ 1141129 w 1187561"/>
              <a:gd name="connsiteY16" fmla="*/ 794935 h 1262941"/>
              <a:gd name="connsiteX17" fmla="*/ 1096974 w 1187561"/>
              <a:gd name="connsiteY17" fmla="*/ 765126 h 1262941"/>
              <a:gd name="connsiteX18" fmla="*/ 1020438 w 1187561"/>
              <a:gd name="connsiteY18" fmla="*/ 577327 h 1262941"/>
              <a:gd name="connsiteX19" fmla="*/ 1020438 w 1187561"/>
              <a:gd name="connsiteY19" fmla="*/ 1198851 h 1262941"/>
              <a:gd name="connsiteX20" fmla="*/ 961564 w 1187561"/>
              <a:gd name="connsiteY20" fmla="*/ 1262941 h 1262941"/>
              <a:gd name="connsiteX21" fmla="*/ 898274 w 1187561"/>
              <a:gd name="connsiteY21" fmla="*/ 1200342 h 1262941"/>
              <a:gd name="connsiteX22" fmla="*/ 898274 w 1187561"/>
              <a:gd name="connsiteY22" fmla="*/ 860516 h 1262941"/>
              <a:gd name="connsiteX23" fmla="*/ 871781 w 1187561"/>
              <a:gd name="connsiteY23" fmla="*/ 835178 h 1262941"/>
              <a:gd name="connsiteX24" fmla="*/ 848232 w 1187561"/>
              <a:gd name="connsiteY24" fmla="*/ 862006 h 1262941"/>
              <a:gd name="connsiteX25" fmla="*/ 848232 w 1187561"/>
              <a:gd name="connsiteY25" fmla="*/ 1198851 h 1262941"/>
              <a:gd name="connsiteX26" fmla="*/ 789358 w 1187561"/>
              <a:gd name="connsiteY26" fmla="*/ 1262941 h 1262941"/>
              <a:gd name="connsiteX27" fmla="*/ 726068 w 1187561"/>
              <a:gd name="connsiteY27" fmla="*/ 1200342 h 1262941"/>
              <a:gd name="connsiteX28" fmla="*/ 726068 w 1187561"/>
              <a:gd name="connsiteY28" fmla="*/ 575837 h 1262941"/>
              <a:gd name="connsiteX29" fmla="*/ 698103 w 1187561"/>
              <a:gd name="connsiteY29" fmla="*/ 641417 h 1262941"/>
              <a:gd name="connsiteX30" fmla="*/ 648060 w 1187561"/>
              <a:gd name="connsiteY30" fmla="*/ 765126 h 1262941"/>
              <a:gd name="connsiteX31" fmla="*/ 605377 w 1187561"/>
              <a:gd name="connsiteY31" fmla="*/ 794935 h 1262941"/>
              <a:gd name="connsiteX32" fmla="*/ 595074 w 1187561"/>
              <a:gd name="connsiteY32" fmla="*/ 793445 h 1262941"/>
              <a:gd name="connsiteX33" fmla="*/ 591714 w 1187561"/>
              <a:gd name="connsiteY33" fmla="*/ 792084 h 1262941"/>
              <a:gd name="connsiteX34" fmla="*/ 583650 w 1187561"/>
              <a:gd name="connsiteY34" fmla="*/ 793445 h 1262941"/>
              <a:gd name="connsiteX35" fmla="*/ 539495 w 1187561"/>
              <a:gd name="connsiteY35" fmla="*/ 765126 h 1262941"/>
              <a:gd name="connsiteX36" fmla="*/ 489453 w 1187561"/>
              <a:gd name="connsiteY36" fmla="*/ 641417 h 1262941"/>
              <a:gd name="connsiteX37" fmla="*/ 490925 w 1187561"/>
              <a:gd name="connsiteY37" fmla="*/ 641417 h 1262941"/>
              <a:gd name="connsiteX38" fmla="*/ 462960 w 1187561"/>
              <a:gd name="connsiteY38" fmla="*/ 574347 h 1262941"/>
              <a:gd name="connsiteX39" fmla="*/ 462960 w 1187561"/>
              <a:gd name="connsiteY39" fmla="*/ 610118 h 1262941"/>
              <a:gd name="connsiteX40" fmla="*/ 549798 w 1187561"/>
              <a:gd name="connsiteY40" fmla="*/ 885854 h 1262941"/>
              <a:gd name="connsiteX41" fmla="*/ 482094 w 1187561"/>
              <a:gd name="connsiteY41" fmla="*/ 979753 h 1262941"/>
              <a:gd name="connsiteX42" fmla="*/ 462960 w 1187561"/>
              <a:gd name="connsiteY42" fmla="*/ 979753 h 1262941"/>
              <a:gd name="connsiteX43" fmla="*/ 462960 w 1187561"/>
              <a:gd name="connsiteY43" fmla="*/ 1198851 h 1262941"/>
              <a:gd name="connsiteX44" fmla="*/ 404086 w 1187561"/>
              <a:gd name="connsiteY44" fmla="*/ 1262941 h 1262941"/>
              <a:gd name="connsiteX45" fmla="*/ 339326 w 1187561"/>
              <a:gd name="connsiteY45" fmla="*/ 1200342 h 1262941"/>
              <a:gd name="connsiteX46" fmla="*/ 339326 w 1187561"/>
              <a:gd name="connsiteY46" fmla="*/ 979753 h 1262941"/>
              <a:gd name="connsiteX47" fmla="*/ 290755 w 1187561"/>
              <a:gd name="connsiteY47" fmla="*/ 979753 h 1262941"/>
              <a:gd name="connsiteX48" fmla="*/ 290755 w 1187561"/>
              <a:gd name="connsiteY48" fmla="*/ 1198851 h 1262941"/>
              <a:gd name="connsiteX49" fmla="*/ 230410 w 1187561"/>
              <a:gd name="connsiteY49" fmla="*/ 1262941 h 1262941"/>
              <a:gd name="connsiteX50" fmla="*/ 167121 w 1187561"/>
              <a:gd name="connsiteY50" fmla="*/ 1200342 h 1262941"/>
              <a:gd name="connsiteX51" fmla="*/ 167121 w 1187561"/>
              <a:gd name="connsiteY51" fmla="*/ 979753 h 1262941"/>
              <a:gd name="connsiteX52" fmla="*/ 147987 w 1187561"/>
              <a:gd name="connsiteY52" fmla="*/ 979753 h 1262941"/>
              <a:gd name="connsiteX53" fmla="*/ 80283 w 1187561"/>
              <a:gd name="connsiteY53" fmla="*/ 885854 h 1262941"/>
              <a:gd name="connsiteX54" fmla="*/ 167121 w 1187561"/>
              <a:gd name="connsiteY54" fmla="*/ 610118 h 1262941"/>
              <a:gd name="connsiteX55" fmla="*/ 167121 w 1187561"/>
              <a:gd name="connsiteY55" fmla="*/ 577327 h 1262941"/>
              <a:gd name="connsiteX56" fmla="*/ 90586 w 1187561"/>
              <a:gd name="connsiteY56" fmla="*/ 765126 h 1262941"/>
              <a:gd name="connsiteX57" fmla="*/ 47903 w 1187561"/>
              <a:gd name="connsiteY57" fmla="*/ 794935 h 1262941"/>
              <a:gd name="connsiteX58" fmla="*/ 28769 w 1187561"/>
              <a:gd name="connsiteY58" fmla="*/ 790464 h 1262941"/>
              <a:gd name="connsiteX59" fmla="*/ 3748 w 1187561"/>
              <a:gd name="connsiteY59" fmla="*/ 729355 h 1262941"/>
              <a:gd name="connsiteX60" fmla="*/ 177424 w 1187561"/>
              <a:gd name="connsiteY60" fmla="*/ 301592 h 1262941"/>
              <a:gd name="connsiteX61" fmla="*/ 221579 w 1187561"/>
              <a:gd name="connsiteY61" fmla="*/ 271782 h 1262941"/>
              <a:gd name="connsiteX62" fmla="*/ 873254 w 1187561"/>
              <a:gd name="connsiteY62" fmla="*/ 0 h 1262941"/>
              <a:gd name="connsiteX63" fmla="*/ 995592 w 1187561"/>
              <a:gd name="connsiteY63" fmla="*/ 123804 h 1262941"/>
              <a:gd name="connsiteX64" fmla="*/ 873254 w 1187561"/>
              <a:gd name="connsiteY64" fmla="*/ 247608 h 1262941"/>
              <a:gd name="connsiteX65" fmla="*/ 750916 w 1187561"/>
              <a:gd name="connsiteY65" fmla="*/ 123804 h 1262941"/>
              <a:gd name="connsiteX66" fmla="*/ 873254 w 1187561"/>
              <a:gd name="connsiteY66" fmla="*/ 0 h 1262941"/>
              <a:gd name="connsiteX67" fmla="*/ 315041 w 1187561"/>
              <a:gd name="connsiteY67" fmla="*/ 0 h 1262941"/>
              <a:gd name="connsiteX68" fmla="*/ 436647 w 1187561"/>
              <a:gd name="connsiteY68" fmla="*/ 123804 h 1262941"/>
              <a:gd name="connsiteX69" fmla="*/ 315041 w 1187561"/>
              <a:gd name="connsiteY69" fmla="*/ 247608 h 1262941"/>
              <a:gd name="connsiteX70" fmla="*/ 193435 w 1187561"/>
              <a:gd name="connsiteY70" fmla="*/ 123804 h 1262941"/>
              <a:gd name="connsiteX71" fmla="*/ 315041 w 1187561"/>
              <a:gd name="connsiteY71" fmla="*/ 0 h 126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1187561" h="1262941">
                <a:moveTo>
                  <a:pt x="221579" y="271782"/>
                </a:moveTo>
                <a:cubicBezTo>
                  <a:pt x="268678" y="271782"/>
                  <a:pt x="408502" y="271782"/>
                  <a:pt x="408502" y="271782"/>
                </a:cubicBezTo>
                <a:cubicBezTo>
                  <a:pt x="434995" y="271782"/>
                  <a:pt x="448241" y="289668"/>
                  <a:pt x="452657" y="301592"/>
                </a:cubicBezTo>
                <a:cubicBezTo>
                  <a:pt x="452657" y="301592"/>
                  <a:pt x="452657" y="301592"/>
                  <a:pt x="568932" y="587761"/>
                </a:cubicBezTo>
                <a:cubicBezTo>
                  <a:pt x="568932" y="587761"/>
                  <a:pt x="568932" y="587761"/>
                  <a:pt x="593148" y="647496"/>
                </a:cubicBezTo>
                <a:lnTo>
                  <a:pt x="593814" y="649138"/>
                </a:lnTo>
                <a:lnTo>
                  <a:pt x="595074" y="645889"/>
                </a:lnTo>
                <a:cubicBezTo>
                  <a:pt x="595074" y="645889"/>
                  <a:pt x="595074" y="645889"/>
                  <a:pt x="736371" y="301592"/>
                </a:cubicBezTo>
                <a:cubicBezTo>
                  <a:pt x="743730" y="282216"/>
                  <a:pt x="761392" y="271782"/>
                  <a:pt x="779055" y="271782"/>
                </a:cubicBezTo>
                <a:cubicBezTo>
                  <a:pt x="779055" y="271782"/>
                  <a:pt x="779055" y="271782"/>
                  <a:pt x="780527" y="271782"/>
                </a:cubicBezTo>
                <a:cubicBezTo>
                  <a:pt x="780527" y="271782"/>
                  <a:pt x="780527" y="271782"/>
                  <a:pt x="965979" y="271782"/>
                </a:cubicBezTo>
                <a:cubicBezTo>
                  <a:pt x="965979" y="271782"/>
                  <a:pt x="965979" y="271782"/>
                  <a:pt x="967451" y="271782"/>
                </a:cubicBezTo>
                <a:cubicBezTo>
                  <a:pt x="985114" y="271782"/>
                  <a:pt x="1002776" y="282216"/>
                  <a:pt x="1010135" y="301592"/>
                </a:cubicBezTo>
                <a:cubicBezTo>
                  <a:pt x="1010135" y="301592"/>
                  <a:pt x="1010135" y="301592"/>
                  <a:pt x="1124939" y="584780"/>
                </a:cubicBezTo>
                <a:cubicBezTo>
                  <a:pt x="1124939" y="584780"/>
                  <a:pt x="1124939" y="584780"/>
                  <a:pt x="1183813" y="729355"/>
                </a:cubicBezTo>
                <a:cubicBezTo>
                  <a:pt x="1194116" y="753202"/>
                  <a:pt x="1182341" y="781521"/>
                  <a:pt x="1158792" y="790464"/>
                </a:cubicBezTo>
                <a:cubicBezTo>
                  <a:pt x="1152904" y="793445"/>
                  <a:pt x="1147017" y="794935"/>
                  <a:pt x="1141129" y="794935"/>
                </a:cubicBezTo>
                <a:cubicBezTo>
                  <a:pt x="1121995" y="794935"/>
                  <a:pt x="1104333" y="783012"/>
                  <a:pt x="1096974" y="765126"/>
                </a:cubicBezTo>
                <a:cubicBezTo>
                  <a:pt x="1096974" y="765126"/>
                  <a:pt x="1096974" y="765126"/>
                  <a:pt x="1020438" y="577327"/>
                </a:cubicBezTo>
                <a:cubicBezTo>
                  <a:pt x="1020438" y="577327"/>
                  <a:pt x="1020438" y="577327"/>
                  <a:pt x="1020438" y="1198851"/>
                </a:cubicBezTo>
                <a:cubicBezTo>
                  <a:pt x="1020438" y="1231641"/>
                  <a:pt x="995416" y="1261451"/>
                  <a:pt x="961564" y="1262941"/>
                </a:cubicBezTo>
                <a:cubicBezTo>
                  <a:pt x="926240" y="1262941"/>
                  <a:pt x="898274" y="1234622"/>
                  <a:pt x="898274" y="1200342"/>
                </a:cubicBezTo>
                <a:cubicBezTo>
                  <a:pt x="898274" y="1200342"/>
                  <a:pt x="898274" y="1200342"/>
                  <a:pt x="898274" y="860516"/>
                </a:cubicBezTo>
                <a:cubicBezTo>
                  <a:pt x="898274" y="845611"/>
                  <a:pt x="885028" y="835178"/>
                  <a:pt x="871781" y="835178"/>
                </a:cubicBezTo>
                <a:cubicBezTo>
                  <a:pt x="858534" y="836668"/>
                  <a:pt x="848232" y="848592"/>
                  <a:pt x="848232" y="862006"/>
                </a:cubicBezTo>
                <a:cubicBezTo>
                  <a:pt x="848232" y="862006"/>
                  <a:pt x="848232" y="862006"/>
                  <a:pt x="848232" y="1198851"/>
                </a:cubicBezTo>
                <a:cubicBezTo>
                  <a:pt x="848232" y="1231641"/>
                  <a:pt x="823210" y="1261451"/>
                  <a:pt x="789358" y="1262941"/>
                </a:cubicBezTo>
                <a:cubicBezTo>
                  <a:pt x="754033" y="1262941"/>
                  <a:pt x="726068" y="1234622"/>
                  <a:pt x="726068" y="1200342"/>
                </a:cubicBezTo>
                <a:cubicBezTo>
                  <a:pt x="726068" y="1200342"/>
                  <a:pt x="726068" y="1200342"/>
                  <a:pt x="726068" y="575837"/>
                </a:cubicBezTo>
                <a:cubicBezTo>
                  <a:pt x="726068" y="575837"/>
                  <a:pt x="726068" y="575837"/>
                  <a:pt x="698103" y="641417"/>
                </a:cubicBezTo>
                <a:cubicBezTo>
                  <a:pt x="698103" y="641417"/>
                  <a:pt x="698103" y="641417"/>
                  <a:pt x="648060" y="765126"/>
                </a:cubicBezTo>
                <a:cubicBezTo>
                  <a:pt x="640701" y="783012"/>
                  <a:pt x="623039" y="794935"/>
                  <a:pt x="605377" y="794935"/>
                </a:cubicBezTo>
                <a:cubicBezTo>
                  <a:pt x="602433" y="794935"/>
                  <a:pt x="598017" y="794935"/>
                  <a:pt x="595074" y="793445"/>
                </a:cubicBezTo>
                <a:lnTo>
                  <a:pt x="591714" y="792084"/>
                </a:lnTo>
                <a:lnTo>
                  <a:pt x="583650" y="793445"/>
                </a:lnTo>
                <a:cubicBezTo>
                  <a:pt x="564516" y="793445"/>
                  <a:pt x="546854" y="783012"/>
                  <a:pt x="539495" y="765126"/>
                </a:cubicBezTo>
                <a:cubicBezTo>
                  <a:pt x="539495" y="765126"/>
                  <a:pt x="539495" y="765126"/>
                  <a:pt x="489453" y="641417"/>
                </a:cubicBezTo>
                <a:cubicBezTo>
                  <a:pt x="489453" y="641417"/>
                  <a:pt x="489453" y="641417"/>
                  <a:pt x="490925" y="641417"/>
                </a:cubicBezTo>
                <a:cubicBezTo>
                  <a:pt x="490925" y="641417"/>
                  <a:pt x="490925" y="641417"/>
                  <a:pt x="462960" y="574347"/>
                </a:cubicBezTo>
                <a:cubicBezTo>
                  <a:pt x="462960" y="574347"/>
                  <a:pt x="462960" y="574347"/>
                  <a:pt x="462960" y="610118"/>
                </a:cubicBezTo>
                <a:cubicBezTo>
                  <a:pt x="462960" y="610118"/>
                  <a:pt x="462960" y="610118"/>
                  <a:pt x="549798" y="885854"/>
                </a:cubicBezTo>
                <a:cubicBezTo>
                  <a:pt x="564516" y="933549"/>
                  <a:pt x="530664" y="979753"/>
                  <a:pt x="482094" y="979753"/>
                </a:cubicBezTo>
                <a:cubicBezTo>
                  <a:pt x="482094" y="979753"/>
                  <a:pt x="482094" y="979753"/>
                  <a:pt x="462960" y="979753"/>
                </a:cubicBezTo>
                <a:cubicBezTo>
                  <a:pt x="462960" y="979753"/>
                  <a:pt x="462960" y="979753"/>
                  <a:pt x="462960" y="1198851"/>
                </a:cubicBezTo>
                <a:cubicBezTo>
                  <a:pt x="462960" y="1231641"/>
                  <a:pt x="436467" y="1261451"/>
                  <a:pt x="404086" y="1262941"/>
                </a:cubicBezTo>
                <a:cubicBezTo>
                  <a:pt x="368762" y="1262941"/>
                  <a:pt x="339326" y="1234622"/>
                  <a:pt x="339326" y="1200342"/>
                </a:cubicBezTo>
                <a:cubicBezTo>
                  <a:pt x="339326" y="1200342"/>
                  <a:pt x="339326" y="1200342"/>
                  <a:pt x="339326" y="979753"/>
                </a:cubicBezTo>
                <a:cubicBezTo>
                  <a:pt x="339326" y="979753"/>
                  <a:pt x="339326" y="979753"/>
                  <a:pt x="290755" y="979753"/>
                </a:cubicBezTo>
                <a:cubicBezTo>
                  <a:pt x="290755" y="979753"/>
                  <a:pt x="290755" y="979753"/>
                  <a:pt x="290755" y="1198851"/>
                </a:cubicBezTo>
                <a:cubicBezTo>
                  <a:pt x="290755" y="1231641"/>
                  <a:pt x="264262" y="1261451"/>
                  <a:pt x="230410" y="1262941"/>
                </a:cubicBezTo>
                <a:cubicBezTo>
                  <a:pt x="196558" y="1262941"/>
                  <a:pt x="167121" y="1234622"/>
                  <a:pt x="167121" y="1200342"/>
                </a:cubicBezTo>
                <a:cubicBezTo>
                  <a:pt x="167121" y="1200342"/>
                  <a:pt x="167121" y="1200342"/>
                  <a:pt x="167121" y="979753"/>
                </a:cubicBezTo>
                <a:cubicBezTo>
                  <a:pt x="167121" y="979753"/>
                  <a:pt x="167121" y="979753"/>
                  <a:pt x="147987" y="979753"/>
                </a:cubicBezTo>
                <a:cubicBezTo>
                  <a:pt x="99417" y="979753"/>
                  <a:pt x="65565" y="933549"/>
                  <a:pt x="80283" y="885854"/>
                </a:cubicBezTo>
                <a:cubicBezTo>
                  <a:pt x="80283" y="885854"/>
                  <a:pt x="80283" y="885854"/>
                  <a:pt x="167121" y="610118"/>
                </a:cubicBezTo>
                <a:cubicBezTo>
                  <a:pt x="167121" y="610118"/>
                  <a:pt x="167121" y="610118"/>
                  <a:pt x="167121" y="577327"/>
                </a:cubicBezTo>
                <a:cubicBezTo>
                  <a:pt x="167121" y="577327"/>
                  <a:pt x="167121" y="577327"/>
                  <a:pt x="90586" y="765126"/>
                </a:cubicBezTo>
                <a:cubicBezTo>
                  <a:pt x="83227" y="783012"/>
                  <a:pt x="65565" y="794935"/>
                  <a:pt x="47903" y="794935"/>
                </a:cubicBezTo>
                <a:cubicBezTo>
                  <a:pt x="42015" y="794935"/>
                  <a:pt x="34656" y="793445"/>
                  <a:pt x="28769" y="790464"/>
                </a:cubicBezTo>
                <a:cubicBezTo>
                  <a:pt x="5220" y="781521"/>
                  <a:pt x="-6555" y="753202"/>
                  <a:pt x="3748" y="729355"/>
                </a:cubicBezTo>
                <a:cubicBezTo>
                  <a:pt x="3748" y="729355"/>
                  <a:pt x="3748" y="729355"/>
                  <a:pt x="177424" y="301592"/>
                </a:cubicBezTo>
                <a:cubicBezTo>
                  <a:pt x="184783" y="282216"/>
                  <a:pt x="202445" y="271782"/>
                  <a:pt x="221579" y="271782"/>
                </a:cubicBezTo>
                <a:close/>
                <a:moveTo>
                  <a:pt x="873254" y="0"/>
                </a:moveTo>
                <a:cubicBezTo>
                  <a:pt x="940819" y="0"/>
                  <a:pt x="995592" y="55429"/>
                  <a:pt x="995592" y="123804"/>
                </a:cubicBezTo>
                <a:cubicBezTo>
                  <a:pt x="995592" y="192179"/>
                  <a:pt x="940819" y="247608"/>
                  <a:pt x="873254" y="247608"/>
                </a:cubicBezTo>
                <a:cubicBezTo>
                  <a:pt x="805689" y="247608"/>
                  <a:pt x="750916" y="192179"/>
                  <a:pt x="750916" y="123804"/>
                </a:cubicBezTo>
                <a:cubicBezTo>
                  <a:pt x="750916" y="55429"/>
                  <a:pt x="805689" y="0"/>
                  <a:pt x="873254" y="0"/>
                </a:cubicBezTo>
                <a:close/>
                <a:moveTo>
                  <a:pt x="315041" y="0"/>
                </a:moveTo>
                <a:cubicBezTo>
                  <a:pt x="382202" y="0"/>
                  <a:pt x="436647" y="55429"/>
                  <a:pt x="436647" y="123804"/>
                </a:cubicBezTo>
                <a:cubicBezTo>
                  <a:pt x="436647" y="192179"/>
                  <a:pt x="382202" y="247608"/>
                  <a:pt x="315041" y="247608"/>
                </a:cubicBezTo>
                <a:cubicBezTo>
                  <a:pt x="247880" y="247608"/>
                  <a:pt x="193435" y="192179"/>
                  <a:pt x="193435" y="123804"/>
                </a:cubicBezTo>
                <a:cubicBezTo>
                  <a:pt x="193435" y="55429"/>
                  <a:pt x="247880" y="0"/>
                  <a:pt x="315041" y="0"/>
                </a:cubicBezTo>
                <a:close/>
              </a:path>
            </a:pathLst>
          </a:custGeom>
          <a:solidFill>
            <a:schemeClr val="accent1">
              <a:alpha val="52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F42AF905-BED4-C11F-6C90-3BEFC3D1A5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3166" y="2565027"/>
            <a:ext cx="736868" cy="783640"/>
          </a:xfrm>
          <a:custGeom>
            <a:avLst/>
            <a:gdLst>
              <a:gd name="connsiteX0" fmla="*/ 221579 w 1187561"/>
              <a:gd name="connsiteY0" fmla="*/ 271782 h 1262941"/>
              <a:gd name="connsiteX1" fmla="*/ 408502 w 1187561"/>
              <a:gd name="connsiteY1" fmla="*/ 271782 h 1262941"/>
              <a:gd name="connsiteX2" fmla="*/ 452657 w 1187561"/>
              <a:gd name="connsiteY2" fmla="*/ 301592 h 1262941"/>
              <a:gd name="connsiteX3" fmla="*/ 568932 w 1187561"/>
              <a:gd name="connsiteY3" fmla="*/ 587761 h 1262941"/>
              <a:gd name="connsiteX4" fmla="*/ 593148 w 1187561"/>
              <a:gd name="connsiteY4" fmla="*/ 647496 h 1262941"/>
              <a:gd name="connsiteX5" fmla="*/ 593814 w 1187561"/>
              <a:gd name="connsiteY5" fmla="*/ 649138 h 1262941"/>
              <a:gd name="connsiteX6" fmla="*/ 595074 w 1187561"/>
              <a:gd name="connsiteY6" fmla="*/ 645889 h 1262941"/>
              <a:gd name="connsiteX7" fmla="*/ 736371 w 1187561"/>
              <a:gd name="connsiteY7" fmla="*/ 301592 h 1262941"/>
              <a:gd name="connsiteX8" fmla="*/ 779055 w 1187561"/>
              <a:gd name="connsiteY8" fmla="*/ 271782 h 1262941"/>
              <a:gd name="connsiteX9" fmla="*/ 780527 w 1187561"/>
              <a:gd name="connsiteY9" fmla="*/ 271782 h 1262941"/>
              <a:gd name="connsiteX10" fmla="*/ 965979 w 1187561"/>
              <a:gd name="connsiteY10" fmla="*/ 271782 h 1262941"/>
              <a:gd name="connsiteX11" fmla="*/ 967451 w 1187561"/>
              <a:gd name="connsiteY11" fmla="*/ 271782 h 1262941"/>
              <a:gd name="connsiteX12" fmla="*/ 1010135 w 1187561"/>
              <a:gd name="connsiteY12" fmla="*/ 301592 h 1262941"/>
              <a:gd name="connsiteX13" fmla="*/ 1124939 w 1187561"/>
              <a:gd name="connsiteY13" fmla="*/ 584780 h 1262941"/>
              <a:gd name="connsiteX14" fmla="*/ 1183813 w 1187561"/>
              <a:gd name="connsiteY14" fmla="*/ 729355 h 1262941"/>
              <a:gd name="connsiteX15" fmla="*/ 1158792 w 1187561"/>
              <a:gd name="connsiteY15" fmla="*/ 790464 h 1262941"/>
              <a:gd name="connsiteX16" fmla="*/ 1141129 w 1187561"/>
              <a:gd name="connsiteY16" fmla="*/ 794935 h 1262941"/>
              <a:gd name="connsiteX17" fmla="*/ 1096974 w 1187561"/>
              <a:gd name="connsiteY17" fmla="*/ 765126 h 1262941"/>
              <a:gd name="connsiteX18" fmla="*/ 1020438 w 1187561"/>
              <a:gd name="connsiteY18" fmla="*/ 577327 h 1262941"/>
              <a:gd name="connsiteX19" fmla="*/ 1020438 w 1187561"/>
              <a:gd name="connsiteY19" fmla="*/ 1198851 h 1262941"/>
              <a:gd name="connsiteX20" fmla="*/ 961564 w 1187561"/>
              <a:gd name="connsiteY20" fmla="*/ 1262941 h 1262941"/>
              <a:gd name="connsiteX21" fmla="*/ 898274 w 1187561"/>
              <a:gd name="connsiteY21" fmla="*/ 1200342 h 1262941"/>
              <a:gd name="connsiteX22" fmla="*/ 898274 w 1187561"/>
              <a:gd name="connsiteY22" fmla="*/ 860516 h 1262941"/>
              <a:gd name="connsiteX23" fmla="*/ 871781 w 1187561"/>
              <a:gd name="connsiteY23" fmla="*/ 835178 h 1262941"/>
              <a:gd name="connsiteX24" fmla="*/ 848232 w 1187561"/>
              <a:gd name="connsiteY24" fmla="*/ 862006 h 1262941"/>
              <a:gd name="connsiteX25" fmla="*/ 848232 w 1187561"/>
              <a:gd name="connsiteY25" fmla="*/ 1198851 h 1262941"/>
              <a:gd name="connsiteX26" fmla="*/ 789358 w 1187561"/>
              <a:gd name="connsiteY26" fmla="*/ 1262941 h 1262941"/>
              <a:gd name="connsiteX27" fmla="*/ 726068 w 1187561"/>
              <a:gd name="connsiteY27" fmla="*/ 1200342 h 1262941"/>
              <a:gd name="connsiteX28" fmla="*/ 726068 w 1187561"/>
              <a:gd name="connsiteY28" fmla="*/ 575837 h 1262941"/>
              <a:gd name="connsiteX29" fmla="*/ 698103 w 1187561"/>
              <a:gd name="connsiteY29" fmla="*/ 641417 h 1262941"/>
              <a:gd name="connsiteX30" fmla="*/ 648060 w 1187561"/>
              <a:gd name="connsiteY30" fmla="*/ 765126 h 1262941"/>
              <a:gd name="connsiteX31" fmla="*/ 605377 w 1187561"/>
              <a:gd name="connsiteY31" fmla="*/ 794935 h 1262941"/>
              <a:gd name="connsiteX32" fmla="*/ 595074 w 1187561"/>
              <a:gd name="connsiteY32" fmla="*/ 793445 h 1262941"/>
              <a:gd name="connsiteX33" fmla="*/ 591714 w 1187561"/>
              <a:gd name="connsiteY33" fmla="*/ 792084 h 1262941"/>
              <a:gd name="connsiteX34" fmla="*/ 583650 w 1187561"/>
              <a:gd name="connsiteY34" fmla="*/ 793445 h 1262941"/>
              <a:gd name="connsiteX35" fmla="*/ 539495 w 1187561"/>
              <a:gd name="connsiteY35" fmla="*/ 765126 h 1262941"/>
              <a:gd name="connsiteX36" fmla="*/ 489453 w 1187561"/>
              <a:gd name="connsiteY36" fmla="*/ 641417 h 1262941"/>
              <a:gd name="connsiteX37" fmla="*/ 490925 w 1187561"/>
              <a:gd name="connsiteY37" fmla="*/ 641417 h 1262941"/>
              <a:gd name="connsiteX38" fmla="*/ 462960 w 1187561"/>
              <a:gd name="connsiteY38" fmla="*/ 574347 h 1262941"/>
              <a:gd name="connsiteX39" fmla="*/ 462960 w 1187561"/>
              <a:gd name="connsiteY39" fmla="*/ 610118 h 1262941"/>
              <a:gd name="connsiteX40" fmla="*/ 549798 w 1187561"/>
              <a:gd name="connsiteY40" fmla="*/ 885854 h 1262941"/>
              <a:gd name="connsiteX41" fmla="*/ 482094 w 1187561"/>
              <a:gd name="connsiteY41" fmla="*/ 979753 h 1262941"/>
              <a:gd name="connsiteX42" fmla="*/ 462960 w 1187561"/>
              <a:gd name="connsiteY42" fmla="*/ 979753 h 1262941"/>
              <a:gd name="connsiteX43" fmla="*/ 462960 w 1187561"/>
              <a:gd name="connsiteY43" fmla="*/ 1198851 h 1262941"/>
              <a:gd name="connsiteX44" fmla="*/ 404086 w 1187561"/>
              <a:gd name="connsiteY44" fmla="*/ 1262941 h 1262941"/>
              <a:gd name="connsiteX45" fmla="*/ 339326 w 1187561"/>
              <a:gd name="connsiteY45" fmla="*/ 1200342 h 1262941"/>
              <a:gd name="connsiteX46" fmla="*/ 339326 w 1187561"/>
              <a:gd name="connsiteY46" fmla="*/ 979753 h 1262941"/>
              <a:gd name="connsiteX47" fmla="*/ 290755 w 1187561"/>
              <a:gd name="connsiteY47" fmla="*/ 979753 h 1262941"/>
              <a:gd name="connsiteX48" fmla="*/ 290755 w 1187561"/>
              <a:gd name="connsiteY48" fmla="*/ 1198851 h 1262941"/>
              <a:gd name="connsiteX49" fmla="*/ 230410 w 1187561"/>
              <a:gd name="connsiteY49" fmla="*/ 1262941 h 1262941"/>
              <a:gd name="connsiteX50" fmla="*/ 167121 w 1187561"/>
              <a:gd name="connsiteY50" fmla="*/ 1200342 h 1262941"/>
              <a:gd name="connsiteX51" fmla="*/ 167121 w 1187561"/>
              <a:gd name="connsiteY51" fmla="*/ 979753 h 1262941"/>
              <a:gd name="connsiteX52" fmla="*/ 147987 w 1187561"/>
              <a:gd name="connsiteY52" fmla="*/ 979753 h 1262941"/>
              <a:gd name="connsiteX53" fmla="*/ 80283 w 1187561"/>
              <a:gd name="connsiteY53" fmla="*/ 885854 h 1262941"/>
              <a:gd name="connsiteX54" fmla="*/ 167121 w 1187561"/>
              <a:gd name="connsiteY54" fmla="*/ 610118 h 1262941"/>
              <a:gd name="connsiteX55" fmla="*/ 167121 w 1187561"/>
              <a:gd name="connsiteY55" fmla="*/ 577327 h 1262941"/>
              <a:gd name="connsiteX56" fmla="*/ 90586 w 1187561"/>
              <a:gd name="connsiteY56" fmla="*/ 765126 h 1262941"/>
              <a:gd name="connsiteX57" fmla="*/ 47903 w 1187561"/>
              <a:gd name="connsiteY57" fmla="*/ 794935 h 1262941"/>
              <a:gd name="connsiteX58" fmla="*/ 28769 w 1187561"/>
              <a:gd name="connsiteY58" fmla="*/ 790464 h 1262941"/>
              <a:gd name="connsiteX59" fmla="*/ 3748 w 1187561"/>
              <a:gd name="connsiteY59" fmla="*/ 729355 h 1262941"/>
              <a:gd name="connsiteX60" fmla="*/ 177424 w 1187561"/>
              <a:gd name="connsiteY60" fmla="*/ 301592 h 1262941"/>
              <a:gd name="connsiteX61" fmla="*/ 221579 w 1187561"/>
              <a:gd name="connsiteY61" fmla="*/ 271782 h 1262941"/>
              <a:gd name="connsiteX62" fmla="*/ 873254 w 1187561"/>
              <a:gd name="connsiteY62" fmla="*/ 0 h 1262941"/>
              <a:gd name="connsiteX63" fmla="*/ 995592 w 1187561"/>
              <a:gd name="connsiteY63" fmla="*/ 123804 h 1262941"/>
              <a:gd name="connsiteX64" fmla="*/ 873254 w 1187561"/>
              <a:gd name="connsiteY64" fmla="*/ 247608 h 1262941"/>
              <a:gd name="connsiteX65" fmla="*/ 750916 w 1187561"/>
              <a:gd name="connsiteY65" fmla="*/ 123804 h 1262941"/>
              <a:gd name="connsiteX66" fmla="*/ 873254 w 1187561"/>
              <a:gd name="connsiteY66" fmla="*/ 0 h 1262941"/>
              <a:gd name="connsiteX67" fmla="*/ 315041 w 1187561"/>
              <a:gd name="connsiteY67" fmla="*/ 0 h 1262941"/>
              <a:gd name="connsiteX68" fmla="*/ 436647 w 1187561"/>
              <a:gd name="connsiteY68" fmla="*/ 123804 h 1262941"/>
              <a:gd name="connsiteX69" fmla="*/ 315041 w 1187561"/>
              <a:gd name="connsiteY69" fmla="*/ 247608 h 1262941"/>
              <a:gd name="connsiteX70" fmla="*/ 193435 w 1187561"/>
              <a:gd name="connsiteY70" fmla="*/ 123804 h 1262941"/>
              <a:gd name="connsiteX71" fmla="*/ 315041 w 1187561"/>
              <a:gd name="connsiteY71" fmla="*/ 0 h 126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1187561" h="1262941">
                <a:moveTo>
                  <a:pt x="221579" y="271782"/>
                </a:moveTo>
                <a:cubicBezTo>
                  <a:pt x="268678" y="271782"/>
                  <a:pt x="408502" y="271782"/>
                  <a:pt x="408502" y="271782"/>
                </a:cubicBezTo>
                <a:cubicBezTo>
                  <a:pt x="434995" y="271782"/>
                  <a:pt x="448241" y="289668"/>
                  <a:pt x="452657" y="301592"/>
                </a:cubicBezTo>
                <a:cubicBezTo>
                  <a:pt x="452657" y="301592"/>
                  <a:pt x="452657" y="301592"/>
                  <a:pt x="568932" y="587761"/>
                </a:cubicBezTo>
                <a:cubicBezTo>
                  <a:pt x="568932" y="587761"/>
                  <a:pt x="568932" y="587761"/>
                  <a:pt x="593148" y="647496"/>
                </a:cubicBezTo>
                <a:lnTo>
                  <a:pt x="593814" y="649138"/>
                </a:lnTo>
                <a:lnTo>
                  <a:pt x="595074" y="645889"/>
                </a:lnTo>
                <a:cubicBezTo>
                  <a:pt x="595074" y="645889"/>
                  <a:pt x="595074" y="645889"/>
                  <a:pt x="736371" y="301592"/>
                </a:cubicBezTo>
                <a:cubicBezTo>
                  <a:pt x="743730" y="282216"/>
                  <a:pt x="761392" y="271782"/>
                  <a:pt x="779055" y="271782"/>
                </a:cubicBezTo>
                <a:cubicBezTo>
                  <a:pt x="779055" y="271782"/>
                  <a:pt x="779055" y="271782"/>
                  <a:pt x="780527" y="271782"/>
                </a:cubicBezTo>
                <a:cubicBezTo>
                  <a:pt x="780527" y="271782"/>
                  <a:pt x="780527" y="271782"/>
                  <a:pt x="965979" y="271782"/>
                </a:cubicBezTo>
                <a:cubicBezTo>
                  <a:pt x="965979" y="271782"/>
                  <a:pt x="965979" y="271782"/>
                  <a:pt x="967451" y="271782"/>
                </a:cubicBezTo>
                <a:cubicBezTo>
                  <a:pt x="985114" y="271782"/>
                  <a:pt x="1002776" y="282216"/>
                  <a:pt x="1010135" y="301592"/>
                </a:cubicBezTo>
                <a:cubicBezTo>
                  <a:pt x="1010135" y="301592"/>
                  <a:pt x="1010135" y="301592"/>
                  <a:pt x="1124939" y="584780"/>
                </a:cubicBezTo>
                <a:cubicBezTo>
                  <a:pt x="1124939" y="584780"/>
                  <a:pt x="1124939" y="584780"/>
                  <a:pt x="1183813" y="729355"/>
                </a:cubicBezTo>
                <a:cubicBezTo>
                  <a:pt x="1194116" y="753202"/>
                  <a:pt x="1182341" y="781521"/>
                  <a:pt x="1158792" y="790464"/>
                </a:cubicBezTo>
                <a:cubicBezTo>
                  <a:pt x="1152904" y="793445"/>
                  <a:pt x="1147017" y="794935"/>
                  <a:pt x="1141129" y="794935"/>
                </a:cubicBezTo>
                <a:cubicBezTo>
                  <a:pt x="1121995" y="794935"/>
                  <a:pt x="1104333" y="783012"/>
                  <a:pt x="1096974" y="765126"/>
                </a:cubicBezTo>
                <a:cubicBezTo>
                  <a:pt x="1096974" y="765126"/>
                  <a:pt x="1096974" y="765126"/>
                  <a:pt x="1020438" y="577327"/>
                </a:cubicBezTo>
                <a:cubicBezTo>
                  <a:pt x="1020438" y="577327"/>
                  <a:pt x="1020438" y="577327"/>
                  <a:pt x="1020438" y="1198851"/>
                </a:cubicBezTo>
                <a:cubicBezTo>
                  <a:pt x="1020438" y="1231641"/>
                  <a:pt x="995416" y="1261451"/>
                  <a:pt x="961564" y="1262941"/>
                </a:cubicBezTo>
                <a:cubicBezTo>
                  <a:pt x="926240" y="1262941"/>
                  <a:pt x="898274" y="1234622"/>
                  <a:pt x="898274" y="1200342"/>
                </a:cubicBezTo>
                <a:cubicBezTo>
                  <a:pt x="898274" y="1200342"/>
                  <a:pt x="898274" y="1200342"/>
                  <a:pt x="898274" y="860516"/>
                </a:cubicBezTo>
                <a:cubicBezTo>
                  <a:pt x="898274" y="845611"/>
                  <a:pt x="885028" y="835178"/>
                  <a:pt x="871781" y="835178"/>
                </a:cubicBezTo>
                <a:cubicBezTo>
                  <a:pt x="858534" y="836668"/>
                  <a:pt x="848232" y="848592"/>
                  <a:pt x="848232" y="862006"/>
                </a:cubicBezTo>
                <a:cubicBezTo>
                  <a:pt x="848232" y="862006"/>
                  <a:pt x="848232" y="862006"/>
                  <a:pt x="848232" y="1198851"/>
                </a:cubicBezTo>
                <a:cubicBezTo>
                  <a:pt x="848232" y="1231641"/>
                  <a:pt x="823210" y="1261451"/>
                  <a:pt x="789358" y="1262941"/>
                </a:cubicBezTo>
                <a:cubicBezTo>
                  <a:pt x="754033" y="1262941"/>
                  <a:pt x="726068" y="1234622"/>
                  <a:pt x="726068" y="1200342"/>
                </a:cubicBezTo>
                <a:cubicBezTo>
                  <a:pt x="726068" y="1200342"/>
                  <a:pt x="726068" y="1200342"/>
                  <a:pt x="726068" y="575837"/>
                </a:cubicBezTo>
                <a:cubicBezTo>
                  <a:pt x="726068" y="575837"/>
                  <a:pt x="726068" y="575837"/>
                  <a:pt x="698103" y="641417"/>
                </a:cubicBezTo>
                <a:cubicBezTo>
                  <a:pt x="698103" y="641417"/>
                  <a:pt x="698103" y="641417"/>
                  <a:pt x="648060" y="765126"/>
                </a:cubicBezTo>
                <a:cubicBezTo>
                  <a:pt x="640701" y="783012"/>
                  <a:pt x="623039" y="794935"/>
                  <a:pt x="605377" y="794935"/>
                </a:cubicBezTo>
                <a:cubicBezTo>
                  <a:pt x="602433" y="794935"/>
                  <a:pt x="598017" y="794935"/>
                  <a:pt x="595074" y="793445"/>
                </a:cubicBezTo>
                <a:lnTo>
                  <a:pt x="591714" y="792084"/>
                </a:lnTo>
                <a:lnTo>
                  <a:pt x="583650" y="793445"/>
                </a:lnTo>
                <a:cubicBezTo>
                  <a:pt x="564516" y="793445"/>
                  <a:pt x="546854" y="783012"/>
                  <a:pt x="539495" y="765126"/>
                </a:cubicBezTo>
                <a:cubicBezTo>
                  <a:pt x="539495" y="765126"/>
                  <a:pt x="539495" y="765126"/>
                  <a:pt x="489453" y="641417"/>
                </a:cubicBezTo>
                <a:cubicBezTo>
                  <a:pt x="489453" y="641417"/>
                  <a:pt x="489453" y="641417"/>
                  <a:pt x="490925" y="641417"/>
                </a:cubicBezTo>
                <a:cubicBezTo>
                  <a:pt x="490925" y="641417"/>
                  <a:pt x="490925" y="641417"/>
                  <a:pt x="462960" y="574347"/>
                </a:cubicBezTo>
                <a:cubicBezTo>
                  <a:pt x="462960" y="574347"/>
                  <a:pt x="462960" y="574347"/>
                  <a:pt x="462960" y="610118"/>
                </a:cubicBezTo>
                <a:cubicBezTo>
                  <a:pt x="462960" y="610118"/>
                  <a:pt x="462960" y="610118"/>
                  <a:pt x="549798" y="885854"/>
                </a:cubicBezTo>
                <a:cubicBezTo>
                  <a:pt x="564516" y="933549"/>
                  <a:pt x="530664" y="979753"/>
                  <a:pt x="482094" y="979753"/>
                </a:cubicBezTo>
                <a:cubicBezTo>
                  <a:pt x="482094" y="979753"/>
                  <a:pt x="482094" y="979753"/>
                  <a:pt x="462960" y="979753"/>
                </a:cubicBezTo>
                <a:cubicBezTo>
                  <a:pt x="462960" y="979753"/>
                  <a:pt x="462960" y="979753"/>
                  <a:pt x="462960" y="1198851"/>
                </a:cubicBezTo>
                <a:cubicBezTo>
                  <a:pt x="462960" y="1231641"/>
                  <a:pt x="436467" y="1261451"/>
                  <a:pt x="404086" y="1262941"/>
                </a:cubicBezTo>
                <a:cubicBezTo>
                  <a:pt x="368762" y="1262941"/>
                  <a:pt x="339326" y="1234622"/>
                  <a:pt x="339326" y="1200342"/>
                </a:cubicBezTo>
                <a:cubicBezTo>
                  <a:pt x="339326" y="1200342"/>
                  <a:pt x="339326" y="1200342"/>
                  <a:pt x="339326" y="979753"/>
                </a:cubicBezTo>
                <a:cubicBezTo>
                  <a:pt x="339326" y="979753"/>
                  <a:pt x="339326" y="979753"/>
                  <a:pt x="290755" y="979753"/>
                </a:cubicBezTo>
                <a:cubicBezTo>
                  <a:pt x="290755" y="979753"/>
                  <a:pt x="290755" y="979753"/>
                  <a:pt x="290755" y="1198851"/>
                </a:cubicBezTo>
                <a:cubicBezTo>
                  <a:pt x="290755" y="1231641"/>
                  <a:pt x="264262" y="1261451"/>
                  <a:pt x="230410" y="1262941"/>
                </a:cubicBezTo>
                <a:cubicBezTo>
                  <a:pt x="196558" y="1262941"/>
                  <a:pt x="167121" y="1234622"/>
                  <a:pt x="167121" y="1200342"/>
                </a:cubicBezTo>
                <a:cubicBezTo>
                  <a:pt x="167121" y="1200342"/>
                  <a:pt x="167121" y="1200342"/>
                  <a:pt x="167121" y="979753"/>
                </a:cubicBezTo>
                <a:cubicBezTo>
                  <a:pt x="167121" y="979753"/>
                  <a:pt x="167121" y="979753"/>
                  <a:pt x="147987" y="979753"/>
                </a:cubicBezTo>
                <a:cubicBezTo>
                  <a:pt x="99417" y="979753"/>
                  <a:pt x="65565" y="933549"/>
                  <a:pt x="80283" y="885854"/>
                </a:cubicBezTo>
                <a:cubicBezTo>
                  <a:pt x="80283" y="885854"/>
                  <a:pt x="80283" y="885854"/>
                  <a:pt x="167121" y="610118"/>
                </a:cubicBezTo>
                <a:cubicBezTo>
                  <a:pt x="167121" y="610118"/>
                  <a:pt x="167121" y="610118"/>
                  <a:pt x="167121" y="577327"/>
                </a:cubicBezTo>
                <a:cubicBezTo>
                  <a:pt x="167121" y="577327"/>
                  <a:pt x="167121" y="577327"/>
                  <a:pt x="90586" y="765126"/>
                </a:cubicBezTo>
                <a:cubicBezTo>
                  <a:pt x="83227" y="783012"/>
                  <a:pt x="65565" y="794935"/>
                  <a:pt x="47903" y="794935"/>
                </a:cubicBezTo>
                <a:cubicBezTo>
                  <a:pt x="42015" y="794935"/>
                  <a:pt x="34656" y="793445"/>
                  <a:pt x="28769" y="790464"/>
                </a:cubicBezTo>
                <a:cubicBezTo>
                  <a:pt x="5220" y="781521"/>
                  <a:pt x="-6555" y="753202"/>
                  <a:pt x="3748" y="729355"/>
                </a:cubicBezTo>
                <a:cubicBezTo>
                  <a:pt x="3748" y="729355"/>
                  <a:pt x="3748" y="729355"/>
                  <a:pt x="177424" y="301592"/>
                </a:cubicBezTo>
                <a:cubicBezTo>
                  <a:pt x="184783" y="282216"/>
                  <a:pt x="202445" y="271782"/>
                  <a:pt x="221579" y="271782"/>
                </a:cubicBezTo>
                <a:close/>
                <a:moveTo>
                  <a:pt x="873254" y="0"/>
                </a:moveTo>
                <a:cubicBezTo>
                  <a:pt x="940819" y="0"/>
                  <a:pt x="995592" y="55429"/>
                  <a:pt x="995592" y="123804"/>
                </a:cubicBezTo>
                <a:cubicBezTo>
                  <a:pt x="995592" y="192179"/>
                  <a:pt x="940819" y="247608"/>
                  <a:pt x="873254" y="247608"/>
                </a:cubicBezTo>
                <a:cubicBezTo>
                  <a:pt x="805689" y="247608"/>
                  <a:pt x="750916" y="192179"/>
                  <a:pt x="750916" y="123804"/>
                </a:cubicBezTo>
                <a:cubicBezTo>
                  <a:pt x="750916" y="55429"/>
                  <a:pt x="805689" y="0"/>
                  <a:pt x="873254" y="0"/>
                </a:cubicBezTo>
                <a:close/>
                <a:moveTo>
                  <a:pt x="315041" y="0"/>
                </a:moveTo>
                <a:cubicBezTo>
                  <a:pt x="382202" y="0"/>
                  <a:pt x="436647" y="55429"/>
                  <a:pt x="436647" y="123804"/>
                </a:cubicBezTo>
                <a:cubicBezTo>
                  <a:pt x="436647" y="192179"/>
                  <a:pt x="382202" y="247608"/>
                  <a:pt x="315041" y="247608"/>
                </a:cubicBezTo>
                <a:cubicBezTo>
                  <a:pt x="247880" y="247608"/>
                  <a:pt x="193435" y="192179"/>
                  <a:pt x="193435" y="123804"/>
                </a:cubicBezTo>
                <a:cubicBezTo>
                  <a:pt x="193435" y="55429"/>
                  <a:pt x="247880" y="0"/>
                  <a:pt x="315041" y="0"/>
                </a:cubicBezTo>
                <a:close/>
              </a:path>
            </a:pathLst>
          </a:custGeom>
          <a:solidFill>
            <a:schemeClr val="accent1">
              <a:alpha val="52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B6B8643E-6B2A-6375-73C8-3C924B29FA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63993" y="2565027"/>
            <a:ext cx="736868" cy="783640"/>
          </a:xfrm>
          <a:custGeom>
            <a:avLst/>
            <a:gdLst>
              <a:gd name="connsiteX0" fmla="*/ 221579 w 1187561"/>
              <a:gd name="connsiteY0" fmla="*/ 271782 h 1262941"/>
              <a:gd name="connsiteX1" fmla="*/ 408502 w 1187561"/>
              <a:gd name="connsiteY1" fmla="*/ 271782 h 1262941"/>
              <a:gd name="connsiteX2" fmla="*/ 452657 w 1187561"/>
              <a:gd name="connsiteY2" fmla="*/ 301592 h 1262941"/>
              <a:gd name="connsiteX3" fmla="*/ 568932 w 1187561"/>
              <a:gd name="connsiteY3" fmla="*/ 587761 h 1262941"/>
              <a:gd name="connsiteX4" fmla="*/ 593148 w 1187561"/>
              <a:gd name="connsiteY4" fmla="*/ 647496 h 1262941"/>
              <a:gd name="connsiteX5" fmla="*/ 593814 w 1187561"/>
              <a:gd name="connsiteY5" fmla="*/ 649138 h 1262941"/>
              <a:gd name="connsiteX6" fmla="*/ 595074 w 1187561"/>
              <a:gd name="connsiteY6" fmla="*/ 645889 h 1262941"/>
              <a:gd name="connsiteX7" fmla="*/ 736371 w 1187561"/>
              <a:gd name="connsiteY7" fmla="*/ 301592 h 1262941"/>
              <a:gd name="connsiteX8" fmla="*/ 779055 w 1187561"/>
              <a:gd name="connsiteY8" fmla="*/ 271782 h 1262941"/>
              <a:gd name="connsiteX9" fmla="*/ 780527 w 1187561"/>
              <a:gd name="connsiteY9" fmla="*/ 271782 h 1262941"/>
              <a:gd name="connsiteX10" fmla="*/ 965979 w 1187561"/>
              <a:gd name="connsiteY10" fmla="*/ 271782 h 1262941"/>
              <a:gd name="connsiteX11" fmla="*/ 967451 w 1187561"/>
              <a:gd name="connsiteY11" fmla="*/ 271782 h 1262941"/>
              <a:gd name="connsiteX12" fmla="*/ 1010135 w 1187561"/>
              <a:gd name="connsiteY12" fmla="*/ 301592 h 1262941"/>
              <a:gd name="connsiteX13" fmla="*/ 1124939 w 1187561"/>
              <a:gd name="connsiteY13" fmla="*/ 584780 h 1262941"/>
              <a:gd name="connsiteX14" fmla="*/ 1183813 w 1187561"/>
              <a:gd name="connsiteY14" fmla="*/ 729355 h 1262941"/>
              <a:gd name="connsiteX15" fmla="*/ 1158792 w 1187561"/>
              <a:gd name="connsiteY15" fmla="*/ 790464 h 1262941"/>
              <a:gd name="connsiteX16" fmla="*/ 1141129 w 1187561"/>
              <a:gd name="connsiteY16" fmla="*/ 794935 h 1262941"/>
              <a:gd name="connsiteX17" fmla="*/ 1096974 w 1187561"/>
              <a:gd name="connsiteY17" fmla="*/ 765126 h 1262941"/>
              <a:gd name="connsiteX18" fmla="*/ 1020438 w 1187561"/>
              <a:gd name="connsiteY18" fmla="*/ 577327 h 1262941"/>
              <a:gd name="connsiteX19" fmla="*/ 1020438 w 1187561"/>
              <a:gd name="connsiteY19" fmla="*/ 1198851 h 1262941"/>
              <a:gd name="connsiteX20" fmla="*/ 961564 w 1187561"/>
              <a:gd name="connsiteY20" fmla="*/ 1262941 h 1262941"/>
              <a:gd name="connsiteX21" fmla="*/ 898274 w 1187561"/>
              <a:gd name="connsiteY21" fmla="*/ 1200342 h 1262941"/>
              <a:gd name="connsiteX22" fmla="*/ 898274 w 1187561"/>
              <a:gd name="connsiteY22" fmla="*/ 860516 h 1262941"/>
              <a:gd name="connsiteX23" fmla="*/ 871781 w 1187561"/>
              <a:gd name="connsiteY23" fmla="*/ 835178 h 1262941"/>
              <a:gd name="connsiteX24" fmla="*/ 848232 w 1187561"/>
              <a:gd name="connsiteY24" fmla="*/ 862006 h 1262941"/>
              <a:gd name="connsiteX25" fmla="*/ 848232 w 1187561"/>
              <a:gd name="connsiteY25" fmla="*/ 1198851 h 1262941"/>
              <a:gd name="connsiteX26" fmla="*/ 789358 w 1187561"/>
              <a:gd name="connsiteY26" fmla="*/ 1262941 h 1262941"/>
              <a:gd name="connsiteX27" fmla="*/ 726068 w 1187561"/>
              <a:gd name="connsiteY27" fmla="*/ 1200342 h 1262941"/>
              <a:gd name="connsiteX28" fmla="*/ 726068 w 1187561"/>
              <a:gd name="connsiteY28" fmla="*/ 575837 h 1262941"/>
              <a:gd name="connsiteX29" fmla="*/ 698103 w 1187561"/>
              <a:gd name="connsiteY29" fmla="*/ 641417 h 1262941"/>
              <a:gd name="connsiteX30" fmla="*/ 648060 w 1187561"/>
              <a:gd name="connsiteY30" fmla="*/ 765126 h 1262941"/>
              <a:gd name="connsiteX31" fmla="*/ 605377 w 1187561"/>
              <a:gd name="connsiteY31" fmla="*/ 794935 h 1262941"/>
              <a:gd name="connsiteX32" fmla="*/ 595074 w 1187561"/>
              <a:gd name="connsiteY32" fmla="*/ 793445 h 1262941"/>
              <a:gd name="connsiteX33" fmla="*/ 591714 w 1187561"/>
              <a:gd name="connsiteY33" fmla="*/ 792084 h 1262941"/>
              <a:gd name="connsiteX34" fmla="*/ 583650 w 1187561"/>
              <a:gd name="connsiteY34" fmla="*/ 793445 h 1262941"/>
              <a:gd name="connsiteX35" fmla="*/ 539495 w 1187561"/>
              <a:gd name="connsiteY35" fmla="*/ 765126 h 1262941"/>
              <a:gd name="connsiteX36" fmla="*/ 489453 w 1187561"/>
              <a:gd name="connsiteY36" fmla="*/ 641417 h 1262941"/>
              <a:gd name="connsiteX37" fmla="*/ 490925 w 1187561"/>
              <a:gd name="connsiteY37" fmla="*/ 641417 h 1262941"/>
              <a:gd name="connsiteX38" fmla="*/ 462960 w 1187561"/>
              <a:gd name="connsiteY38" fmla="*/ 574347 h 1262941"/>
              <a:gd name="connsiteX39" fmla="*/ 462960 w 1187561"/>
              <a:gd name="connsiteY39" fmla="*/ 610118 h 1262941"/>
              <a:gd name="connsiteX40" fmla="*/ 549798 w 1187561"/>
              <a:gd name="connsiteY40" fmla="*/ 885854 h 1262941"/>
              <a:gd name="connsiteX41" fmla="*/ 482094 w 1187561"/>
              <a:gd name="connsiteY41" fmla="*/ 979753 h 1262941"/>
              <a:gd name="connsiteX42" fmla="*/ 462960 w 1187561"/>
              <a:gd name="connsiteY42" fmla="*/ 979753 h 1262941"/>
              <a:gd name="connsiteX43" fmla="*/ 462960 w 1187561"/>
              <a:gd name="connsiteY43" fmla="*/ 1198851 h 1262941"/>
              <a:gd name="connsiteX44" fmla="*/ 404086 w 1187561"/>
              <a:gd name="connsiteY44" fmla="*/ 1262941 h 1262941"/>
              <a:gd name="connsiteX45" fmla="*/ 339326 w 1187561"/>
              <a:gd name="connsiteY45" fmla="*/ 1200342 h 1262941"/>
              <a:gd name="connsiteX46" fmla="*/ 339326 w 1187561"/>
              <a:gd name="connsiteY46" fmla="*/ 979753 h 1262941"/>
              <a:gd name="connsiteX47" fmla="*/ 290755 w 1187561"/>
              <a:gd name="connsiteY47" fmla="*/ 979753 h 1262941"/>
              <a:gd name="connsiteX48" fmla="*/ 290755 w 1187561"/>
              <a:gd name="connsiteY48" fmla="*/ 1198851 h 1262941"/>
              <a:gd name="connsiteX49" fmla="*/ 230410 w 1187561"/>
              <a:gd name="connsiteY49" fmla="*/ 1262941 h 1262941"/>
              <a:gd name="connsiteX50" fmla="*/ 167121 w 1187561"/>
              <a:gd name="connsiteY50" fmla="*/ 1200342 h 1262941"/>
              <a:gd name="connsiteX51" fmla="*/ 167121 w 1187561"/>
              <a:gd name="connsiteY51" fmla="*/ 979753 h 1262941"/>
              <a:gd name="connsiteX52" fmla="*/ 147987 w 1187561"/>
              <a:gd name="connsiteY52" fmla="*/ 979753 h 1262941"/>
              <a:gd name="connsiteX53" fmla="*/ 80283 w 1187561"/>
              <a:gd name="connsiteY53" fmla="*/ 885854 h 1262941"/>
              <a:gd name="connsiteX54" fmla="*/ 167121 w 1187561"/>
              <a:gd name="connsiteY54" fmla="*/ 610118 h 1262941"/>
              <a:gd name="connsiteX55" fmla="*/ 167121 w 1187561"/>
              <a:gd name="connsiteY55" fmla="*/ 577327 h 1262941"/>
              <a:gd name="connsiteX56" fmla="*/ 90586 w 1187561"/>
              <a:gd name="connsiteY56" fmla="*/ 765126 h 1262941"/>
              <a:gd name="connsiteX57" fmla="*/ 47903 w 1187561"/>
              <a:gd name="connsiteY57" fmla="*/ 794935 h 1262941"/>
              <a:gd name="connsiteX58" fmla="*/ 28769 w 1187561"/>
              <a:gd name="connsiteY58" fmla="*/ 790464 h 1262941"/>
              <a:gd name="connsiteX59" fmla="*/ 3748 w 1187561"/>
              <a:gd name="connsiteY59" fmla="*/ 729355 h 1262941"/>
              <a:gd name="connsiteX60" fmla="*/ 177424 w 1187561"/>
              <a:gd name="connsiteY60" fmla="*/ 301592 h 1262941"/>
              <a:gd name="connsiteX61" fmla="*/ 221579 w 1187561"/>
              <a:gd name="connsiteY61" fmla="*/ 271782 h 1262941"/>
              <a:gd name="connsiteX62" fmla="*/ 873254 w 1187561"/>
              <a:gd name="connsiteY62" fmla="*/ 0 h 1262941"/>
              <a:gd name="connsiteX63" fmla="*/ 995592 w 1187561"/>
              <a:gd name="connsiteY63" fmla="*/ 123804 h 1262941"/>
              <a:gd name="connsiteX64" fmla="*/ 873254 w 1187561"/>
              <a:gd name="connsiteY64" fmla="*/ 247608 h 1262941"/>
              <a:gd name="connsiteX65" fmla="*/ 750916 w 1187561"/>
              <a:gd name="connsiteY65" fmla="*/ 123804 h 1262941"/>
              <a:gd name="connsiteX66" fmla="*/ 873254 w 1187561"/>
              <a:gd name="connsiteY66" fmla="*/ 0 h 1262941"/>
              <a:gd name="connsiteX67" fmla="*/ 315041 w 1187561"/>
              <a:gd name="connsiteY67" fmla="*/ 0 h 1262941"/>
              <a:gd name="connsiteX68" fmla="*/ 436647 w 1187561"/>
              <a:gd name="connsiteY68" fmla="*/ 123804 h 1262941"/>
              <a:gd name="connsiteX69" fmla="*/ 315041 w 1187561"/>
              <a:gd name="connsiteY69" fmla="*/ 247608 h 1262941"/>
              <a:gd name="connsiteX70" fmla="*/ 193435 w 1187561"/>
              <a:gd name="connsiteY70" fmla="*/ 123804 h 1262941"/>
              <a:gd name="connsiteX71" fmla="*/ 315041 w 1187561"/>
              <a:gd name="connsiteY71" fmla="*/ 0 h 126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1187561" h="1262941">
                <a:moveTo>
                  <a:pt x="221579" y="271782"/>
                </a:moveTo>
                <a:cubicBezTo>
                  <a:pt x="268678" y="271782"/>
                  <a:pt x="408502" y="271782"/>
                  <a:pt x="408502" y="271782"/>
                </a:cubicBezTo>
                <a:cubicBezTo>
                  <a:pt x="434995" y="271782"/>
                  <a:pt x="448241" y="289668"/>
                  <a:pt x="452657" y="301592"/>
                </a:cubicBezTo>
                <a:cubicBezTo>
                  <a:pt x="452657" y="301592"/>
                  <a:pt x="452657" y="301592"/>
                  <a:pt x="568932" y="587761"/>
                </a:cubicBezTo>
                <a:cubicBezTo>
                  <a:pt x="568932" y="587761"/>
                  <a:pt x="568932" y="587761"/>
                  <a:pt x="593148" y="647496"/>
                </a:cubicBezTo>
                <a:lnTo>
                  <a:pt x="593814" y="649138"/>
                </a:lnTo>
                <a:lnTo>
                  <a:pt x="595074" y="645889"/>
                </a:lnTo>
                <a:cubicBezTo>
                  <a:pt x="595074" y="645889"/>
                  <a:pt x="595074" y="645889"/>
                  <a:pt x="736371" y="301592"/>
                </a:cubicBezTo>
                <a:cubicBezTo>
                  <a:pt x="743730" y="282216"/>
                  <a:pt x="761392" y="271782"/>
                  <a:pt x="779055" y="271782"/>
                </a:cubicBezTo>
                <a:cubicBezTo>
                  <a:pt x="779055" y="271782"/>
                  <a:pt x="779055" y="271782"/>
                  <a:pt x="780527" y="271782"/>
                </a:cubicBezTo>
                <a:cubicBezTo>
                  <a:pt x="780527" y="271782"/>
                  <a:pt x="780527" y="271782"/>
                  <a:pt x="965979" y="271782"/>
                </a:cubicBezTo>
                <a:cubicBezTo>
                  <a:pt x="965979" y="271782"/>
                  <a:pt x="965979" y="271782"/>
                  <a:pt x="967451" y="271782"/>
                </a:cubicBezTo>
                <a:cubicBezTo>
                  <a:pt x="985114" y="271782"/>
                  <a:pt x="1002776" y="282216"/>
                  <a:pt x="1010135" y="301592"/>
                </a:cubicBezTo>
                <a:cubicBezTo>
                  <a:pt x="1010135" y="301592"/>
                  <a:pt x="1010135" y="301592"/>
                  <a:pt x="1124939" y="584780"/>
                </a:cubicBezTo>
                <a:cubicBezTo>
                  <a:pt x="1124939" y="584780"/>
                  <a:pt x="1124939" y="584780"/>
                  <a:pt x="1183813" y="729355"/>
                </a:cubicBezTo>
                <a:cubicBezTo>
                  <a:pt x="1194116" y="753202"/>
                  <a:pt x="1182341" y="781521"/>
                  <a:pt x="1158792" y="790464"/>
                </a:cubicBezTo>
                <a:cubicBezTo>
                  <a:pt x="1152904" y="793445"/>
                  <a:pt x="1147017" y="794935"/>
                  <a:pt x="1141129" y="794935"/>
                </a:cubicBezTo>
                <a:cubicBezTo>
                  <a:pt x="1121995" y="794935"/>
                  <a:pt x="1104333" y="783012"/>
                  <a:pt x="1096974" y="765126"/>
                </a:cubicBezTo>
                <a:cubicBezTo>
                  <a:pt x="1096974" y="765126"/>
                  <a:pt x="1096974" y="765126"/>
                  <a:pt x="1020438" y="577327"/>
                </a:cubicBezTo>
                <a:cubicBezTo>
                  <a:pt x="1020438" y="577327"/>
                  <a:pt x="1020438" y="577327"/>
                  <a:pt x="1020438" y="1198851"/>
                </a:cubicBezTo>
                <a:cubicBezTo>
                  <a:pt x="1020438" y="1231641"/>
                  <a:pt x="995416" y="1261451"/>
                  <a:pt x="961564" y="1262941"/>
                </a:cubicBezTo>
                <a:cubicBezTo>
                  <a:pt x="926240" y="1262941"/>
                  <a:pt x="898274" y="1234622"/>
                  <a:pt x="898274" y="1200342"/>
                </a:cubicBezTo>
                <a:cubicBezTo>
                  <a:pt x="898274" y="1200342"/>
                  <a:pt x="898274" y="1200342"/>
                  <a:pt x="898274" y="860516"/>
                </a:cubicBezTo>
                <a:cubicBezTo>
                  <a:pt x="898274" y="845611"/>
                  <a:pt x="885028" y="835178"/>
                  <a:pt x="871781" y="835178"/>
                </a:cubicBezTo>
                <a:cubicBezTo>
                  <a:pt x="858534" y="836668"/>
                  <a:pt x="848232" y="848592"/>
                  <a:pt x="848232" y="862006"/>
                </a:cubicBezTo>
                <a:cubicBezTo>
                  <a:pt x="848232" y="862006"/>
                  <a:pt x="848232" y="862006"/>
                  <a:pt x="848232" y="1198851"/>
                </a:cubicBezTo>
                <a:cubicBezTo>
                  <a:pt x="848232" y="1231641"/>
                  <a:pt x="823210" y="1261451"/>
                  <a:pt x="789358" y="1262941"/>
                </a:cubicBezTo>
                <a:cubicBezTo>
                  <a:pt x="754033" y="1262941"/>
                  <a:pt x="726068" y="1234622"/>
                  <a:pt x="726068" y="1200342"/>
                </a:cubicBezTo>
                <a:cubicBezTo>
                  <a:pt x="726068" y="1200342"/>
                  <a:pt x="726068" y="1200342"/>
                  <a:pt x="726068" y="575837"/>
                </a:cubicBezTo>
                <a:cubicBezTo>
                  <a:pt x="726068" y="575837"/>
                  <a:pt x="726068" y="575837"/>
                  <a:pt x="698103" y="641417"/>
                </a:cubicBezTo>
                <a:cubicBezTo>
                  <a:pt x="698103" y="641417"/>
                  <a:pt x="698103" y="641417"/>
                  <a:pt x="648060" y="765126"/>
                </a:cubicBezTo>
                <a:cubicBezTo>
                  <a:pt x="640701" y="783012"/>
                  <a:pt x="623039" y="794935"/>
                  <a:pt x="605377" y="794935"/>
                </a:cubicBezTo>
                <a:cubicBezTo>
                  <a:pt x="602433" y="794935"/>
                  <a:pt x="598017" y="794935"/>
                  <a:pt x="595074" y="793445"/>
                </a:cubicBezTo>
                <a:lnTo>
                  <a:pt x="591714" y="792084"/>
                </a:lnTo>
                <a:lnTo>
                  <a:pt x="583650" y="793445"/>
                </a:lnTo>
                <a:cubicBezTo>
                  <a:pt x="564516" y="793445"/>
                  <a:pt x="546854" y="783012"/>
                  <a:pt x="539495" y="765126"/>
                </a:cubicBezTo>
                <a:cubicBezTo>
                  <a:pt x="539495" y="765126"/>
                  <a:pt x="539495" y="765126"/>
                  <a:pt x="489453" y="641417"/>
                </a:cubicBezTo>
                <a:cubicBezTo>
                  <a:pt x="489453" y="641417"/>
                  <a:pt x="489453" y="641417"/>
                  <a:pt x="490925" y="641417"/>
                </a:cubicBezTo>
                <a:cubicBezTo>
                  <a:pt x="490925" y="641417"/>
                  <a:pt x="490925" y="641417"/>
                  <a:pt x="462960" y="574347"/>
                </a:cubicBezTo>
                <a:cubicBezTo>
                  <a:pt x="462960" y="574347"/>
                  <a:pt x="462960" y="574347"/>
                  <a:pt x="462960" y="610118"/>
                </a:cubicBezTo>
                <a:cubicBezTo>
                  <a:pt x="462960" y="610118"/>
                  <a:pt x="462960" y="610118"/>
                  <a:pt x="549798" y="885854"/>
                </a:cubicBezTo>
                <a:cubicBezTo>
                  <a:pt x="564516" y="933549"/>
                  <a:pt x="530664" y="979753"/>
                  <a:pt x="482094" y="979753"/>
                </a:cubicBezTo>
                <a:cubicBezTo>
                  <a:pt x="482094" y="979753"/>
                  <a:pt x="482094" y="979753"/>
                  <a:pt x="462960" y="979753"/>
                </a:cubicBezTo>
                <a:cubicBezTo>
                  <a:pt x="462960" y="979753"/>
                  <a:pt x="462960" y="979753"/>
                  <a:pt x="462960" y="1198851"/>
                </a:cubicBezTo>
                <a:cubicBezTo>
                  <a:pt x="462960" y="1231641"/>
                  <a:pt x="436467" y="1261451"/>
                  <a:pt x="404086" y="1262941"/>
                </a:cubicBezTo>
                <a:cubicBezTo>
                  <a:pt x="368762" y="1262941"/>
                  <a:pt x="339326" y="1234622"/>
                  <a:pt x="339326" y="1200342"/>
                </a:cubicBezTo>
                <a:cubicBezTo>
                  <a:pt x="339326" y="1200342"/>
                  <a:pt x="339326" y="1200342"/>
                  <a:pt x="339326" y="979753"/>
                </a:cubicBezTo>
                <a:cubicBezTo>
                  <a:pt x="339326" y="979753"/>
                  <a:pt x="339326" y="979753"/>
                  <a:pt x="290755" y="979753"/>
                </a:cubicBezTo>
                <a:cubicBezTo>
                  <a:pt x="290755" y="979753"/>
                  <a:pt x="290755" y="979753"/>
                  <a:pt x="290755" y="1198851"/>
                </a:cubicBezTo>
                <a:cubicBezTo>
                  <a:pt x="290755" y="1231641"/>
                  <a:pt x="264262" y="1261451"/>
                  <a:pt x="230410" y="1262941"/>
                </a:cubicBezTo>
                <a:cubicBezTo>
                  <a:pt x="196558" y="1262941"/>
                  <a:pt x="167121" y="1234622"/>
                  <a:pt x="167121" y="1200342"/>
                </a:cubicBezTo>
                <a:cubicBezTo>
                  <a:pt x="167121" y="1200342"/>
                  <a:pt x="167121" y="1200342"/>
                  <a:pt x="167121" y="979753"/>
                </a:cubicBezTo>
                <a:cubicBezTo>
                  <a:pt x="167121" y="979753"/>
                  <a:pt x="167121" y="979753"/>
                  <a:pt x="147987" y="979753"/>
                </a:cubicBezTo>
                <a:cubicBezTo>
                  <a:pt x="99417" y="979753"/>
                  <a:pt x="65565" y="933549"/>
                  <a:pt x="80283" y="885854"/>
                </a:cubicBezTo>
                <a:cubicBezTo>
                  <a:pt x="80283" y="885854"/>
                  <a:pt x="80283" y="885854"/>
                  <a:pt x="167121" y="610118"/>
                </a:cubicBezTo>
                <a:cubicBezTo>
                  <a:pt x="167121" y="610118"/>
                  <a:pt x="167121" y="610118"/>
                  <a:pt x="167121" y="577327"/>
                </a:cubicBezTo>
                <a:cubicBezTo>
                  <a:pt x="167121" y="577327"/>
                  <a:pt x="167121" y="577327"/>
                  <a:pt x="90586" y="765126"/>
                </a:cubicBezTo>
                <a:cubicBezTo>
                  <a:pt x="83227" y="783012"/>
                  <a:pt x="65565" y="794935"/>
                  <a:pt x="47903" y="794935"/>
                </a:cubicBezTo>
                <a:cubicBezTo>
                  <a:pt x="42015" y="794935"/>
                  <a:pt x="34656" y="793445"/>
                  <a:pt x="28769" y="790464"/>
                </a:cubicBezTo>
                <a:cubicBezTo>
                  <a:pt x="5220" y="781521"/>
                  <a:pt x="-6555" y="753202"/>
                  <a:pt x="3748" y="729355"/>
                </a:cubicBezTo>
                <a:cubicBezTo>
                  <a:pt x="3748" y="729355"/>
                  <a:pt x="3748" y="729355"/>
                  <a:pt x="177424" y="301592"/>
                </a:cubicBezTo>
                <a:cubicBezTo>
                  <a:pt x="184783" y="282216"/>
                  <a:pt x="202445" y="271782"/>
                  <a:pt x="221579" y="271782"/>
                </a:cubicBezTo>
                <a:close/>
                <a:moveTo>
                  <a:pt x="873254" y="0"/>
                </a:moveTo>
                <a:cubicBezTo>
                  <a:pt x="940819" y="0"/>
                  <a:pt x="995592" y="55429"/>
                  <a:pt x="995592" y="123804"/>
                </a:cubicBezTo>
                <a:cubicBezTo>
                  <a:pt x="995592" y="192179"/>
                  <a:pt x="940819" y="247608"/>
                  <a:pt x="873254" y="247608"/>
                </a:cubicBezTo>
                <a:cubicBezTo>
                  <a:pt x="805689" y="247608"/>
                  <a:pt x="750916" y="192179"/>
                  <a:pt x="750916" y="123804"/>
                </a:cubicBezTo>
                <a:cubicBezTo>
                  <a:pt x="750916" y="55429"/>
                  <a:pt x="805689" y="0"/>
                  <a:pt x="873254" y="0"/>
                </a:cubicBezTo>
                <a:close/>
                <a:moveTo>
                  <a:pt x="315041" y="0"/>
                </a:moveTo>
                <a:cubicBezTo>
                  <a:pt x="382202" y="0"/>
                  <a:pt x="436647" y="55429"/>
                  <a:pt x="436647" y="123804"/>
                </a:cubicBezTo>
                <a:cubicBezTo>
                  <a:pt x="436647" y="192179"/>
                  <a:pt x="382202" y="247608"/>
                  <a:pt x="315041" y="247608"/>
                </a:cubicBezTo>
                <a:cubicBezTo>
                  <a:pt x="247880" y="247608"/>
                  <a:pt x="193435" y="192179"/>
                  <a:pt x="193435" y="123804"/>
                </a:cubicBezTo>
                <a:cubicBezTo>
                  <a:pt x="193435" y="55429"/>
                  <a:pt x="247880" y="0"/>
                  <a:pt x="315041" y="0"/>
                </a:cubicBezTo>
                <a:close/>
              </a:path>
            </a:pathLst>
          </a:custGeom>
          <a:solidFill>
            <a:schemeClr val="accent1">
              <a:alpha val="52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D7B07F35-FA83-79C5-0BBA-15127F61C0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24820" y="2565027"/>
            <a:ext cx="736868" cy="783640"/>
          </a:xfrm>
          <a:custGeom>
            <a:avLst/>
            <a:gdLst>
              <a:gd name="connsiteX0" fmla="*/ 221579 w 1187561"/>
              <a:gd name="connsiteY0" fmla="*/ 271782 h 1262941"/>
              <a:gd name="connsiteX1" fmla="*/ 408502 w 1187561"/>
              <a:gd name="connsiteY1" fmla="*/ 271782 h 1262941"/>
              <a:gd name="connsiteX2" fmla="*/ 452657 w 1187561"/>
              <a:gd name="connsiteY2" fmla="*/ 301592 h 1262941"/>
              <a:gd name="connsiteX3" fmla="*/ 568932 w 1187561"/>
              <a:gd name="connsiteY3" fmla="*/ 587761 h 1262941"/>
              <a:gd name="connsiteX4" fmla="*/ 593148 w 1187561"/>
              <a:gd name="connsiteY4" fmla="*/ 647496 h 1262941"/>
              <a:gd name="connsiteX5" fmla="*/ 593814 w 1187561"/>
              <a:gd name="connsiteY5" fmla="*/ 649138 h 1262941"/>
              <a:gd name="connsiteX6" fmla="*/ 595074 w 1187561"/>
              <a:gd name="connsiteY6" fmla="*/ 645889 h 1262941"/>
              <a:gd name="connsiteX7" fmla="*/ 736371 w 1187561"/>
              <a:gd name="connsiteY7" fmla="*/ 301592 h 1262941"/>
              <a:gd name="connsiteX8" fmla="*/ 779055 w 1187561"/>
              <a:gd name="connsiteY8" fmla="*/ 271782 h 1262941"/>
              <a:gd name="connsiteX9" fmla="*/ 780527 w 1187561"/>
              <a:gd name="connsiteY9" fmla="*/ 271782 h 1262941"/>
              <a:gd name="connsiteX10" fmla="*/ 965979 w 1187561"/>
              <a:gd name="connsiteY10" fmla="*/ 271782 h 1262941"/>
              <a:gd name="connsiteX11" fmla="*/ 967451 w 1187561"/>
              <a:gd name="connsiteY11" fmla="*/ 271782 h 1262941"/>
              <a:gd name="connsiteX12" fmla="*/ 1010135 w 1187561"/>
              <a:gd name="connsiteY12" fmla="*/ 301592 h 1262941"/>
              <a:gd name="connsiteX13" fmla="*/ 1124939 w 1187561"/>
              <a:gd name="connsiteY13" fmla="*/ 584780 h 1262941"/>
              <a:gd name="connsiteX14" fmla="*/ 1183813 w 1187561"/>
              <a:gd name="connsiteY14" fmla="*/ 729355 h 1262941"/>
              <a:gd name="connsiteX15" fmla="*/ 1158792 w 1187561"/>
              <a:gd name="connsiteY15" fmla="*/ 790464 h 1262941"/>
              <a:gd name="connsiteX16" fmla="*/ 1141129 w 1187561"/>
              <a:gd name="connsiteY16" fmla="*/ 794935 h 1262941"/>
              <a:gd name="connsiteX17" fmla="*/ 1096974 w 1187561"/>
              <a:gd name="connsiteY17" fmla="*/ 765126 h 1262941"/>
              <a:gd name="connsiteX18" fmla="*/ 1020438 w 1187561"/>
              <a:gd name="connsiteY18" fmla="*/ 577327 h 1262941"/>
              <a:gd name="connsiteX19" fmla="*/ 1020438 w 1187561"/>
              <a:gd name="connsiteY19" fmla="*/ 1198851 h 1262941"/>
              <a:gd name="connsiteX20" fmla="*/ 961564 w 1187561"/>
              <a:gd name="connsiteY20" fmla="*/ 1262941 h 1262941"/>
              <a:gd name="connsiteX21" fmla="*/ 898274 w 1187561"/>
              <a:gd name="connsiteY21" fmla="*/ 1200342 h 1262941"/>
              <a:gd name="connsiteX22" fmla="*/ 898274 w 1187561"/>
              <a:gd name="connsiteY22" fmla="*/ 860516 h 1262941"/>
              <a:gd name="connsiteX23" fmla="*/ 871781 w 1187561"/>
              <a:gd name="connsiteY23" fmla="*/ 835178 h 1262941"/>
              <a:gd name="connsiteX24" fmla="*/ 848232 w 1187561"/>
              <a:gd name="connsiteY24" fmla="*/ 862006 h 1262941"/>
              <a:gd name="connsiteX25" fmla="*/ 848232 w 1187561"/>
              <a:gd name="connsiteY25" fmla="*/ 1198851 h 1262941"/>
              <a:gd name="connsiteX26" fmla="*/ 789358 w 1187561"/>
              <a:gd name="connsiteY26" fmla="*/ 1262941 h 1262941"/>
              <a:gd name="connsiteX27" fmla="*/ 726068 w 1187561"/>
              <a:gd name="connsiteY27" fmla="*/ 1200342 h 1262941"/>
              <a:gd name="connsiteX28" fmla="*/ 726068 w 1187561"/>
              <a:gd name="connsiteY28" fmla="*/ 575837 h 1262941"/>
              <a:gd name="connsiteX29" fmla="*/ 698103 w 1187561"/>
              <a:gd name="connsiteY29" fmla="*/ 641417 h 1262941"/>
              <a:gd name="connsiteX30" fmla="*/ 648060 w 1187561"/>
              <a:gd name="connsiteY30" fmla="*/ 765126 h 1262941"/>
              <a:gd name="connsiteX31" fmla="*/ 605377 w 1187561"/>
              <a:gd name="connsiteY31" fmla="*/ 794935 h 1262941"/>
              <a:gd name="connsiteX32" fmla="*/ 595074 w 1187561"/>
              <a:gd name="connsiteY32" fmla="*/ 793445 h 1262941"/>
              <a:gd name="connsiteX33" fmla="*/ 591714 w 1187561"/>
              <a:gd name="connsiteY33" fmla="*/ 792084 h 1262941"/>
              <a:gd name="connsiteX34" fmla="*/ 583650 w 1187561"/>
              <a:gd name="connsiteY34" fmla="*/ 793445 h 1262941"/>
              <a:gd name="connsiteX35" fmla="*/ 539495 w 1187561"/>
              <a:gd name="connsiteY35" fmla="*/ 765126 h 1262941"/>
              <a:gd name="connsiteX36" fmla="*/ 489453 w 1187561"/>
              <a:gd name="connsiteY36" fmla="*/ 641417 h 1262941"/>
              <a:gd name="connsiteX37" fmla="*/ 490925 w 1187561"/>
              <a:gd name="connsiteY37" fmla="*/ 641417 h 1262941"/>
              <a:gd name="connsiteX38" fmla="*/ 462960 w 1187561"/>
              <a:gd name="connsiteY38" fmla="*/ 574347 h 1262941"/>
              <a:gd name="connsiteX39" fmla="*/ 462960 w 1187561"/>
              <a:gd name="connsiteY39" fmla="*/ 610118 h 1262941"/>
              <a:gd name="connsiteX40" fmla="*/ 549798 w 1187561"/>
              <a:gd name="connsiteY40" fmla="*/ 885854 h 1262941"/>
              <a:gd name="connsiteX41" fmla="*/ 482094 w 1187561"/>
              <a:gd name="connsiteY41" fmla="*/ 979753 h 1262941"/>
              <a:gd name="connsiteX42" fmla="*/ 462960 w 1187561"/>
              <a:gd name="connsiteY42" fmla="*/ 979753 h 1262941"/>
              <a:gd name="connsiteX43" fmla="*/ 462960 w 1187561"/>
              <a:gd name="connsiteY43" fmla="*/ 1198851 h 1262941"/>
              <a:gd name="connsiteX44" fmla="*/ 404086 w 1187561"/>
              <a:gd name="connsiteY44" fmla="*/ 1262941 h 1262941"/>
              <a:gd name="connsiteX45" fmla="*/ 339326 w 1187561"/>
              <a:gd name="connsiteY45" fmla="*/ 1200342 h 1262941"/>
              <a:gd name="connsiteX46" fmla="*/ 339326 w 1187561"/>
              <a:gd name="connsiteY46" fmla="*/ 979753 h 1262941"/>
              <a:gd name="connsiteX47" fmla="*/ 290755 w 1187561"/>
              <a:gd name="connsiteY47" fmla="*/ 979753 h 1262941"/>
              <a:gd name="connsiteX48" fmla="*/ 290755 w 1187561"/>
              <a:gd name="connsiteY48" fmla="*/ 1198851 h 1262941"/>
              <a:gd name="connsiteX49" fmla="*/ 230410 w 1187561"/>
              <a:gd name="connsiteY49" fmla="*/ 1262941 h 1262941"/>
              <a:gd name="connsiteX50" fmla="*/ 167121 w 1187561"/>
              <a:gd name="connsiteY50" fmla="*/ 1200342 h 1262941"/>
              <a:gd name="connsiteX51" fmla="*/ 167121 w 1187561"/>
              <a:gd name="connsiteY51" fmla="*/ 979753 h 1262941"/>
              <a:gd name="connsiteX52" fmla="*/ 147987 w 1187561"/>
              <a:gd name="connsiteY52" fmla="*/ 979753 h 1262941"/>
              <a:gd name="connsiteX53" fmla="*/ 80283 w 1187561"/>
              <a:gd name="connsiteY53" fmla="*/ 885854 h 1262941"/>
              <a:gd name="connsiteX54" fmla="*/ 167121 w 1187561"/>
              <a:gd name="connsiteY54" fmla="*/ 610118 h 1262941"/>
              <a:gd name="connsiteX55" fmla="*/ 167121 w 1187561"/>
              <a:gd name="connsiteY55" fmla="*/ 577327 h 1262941"/>
              <a:gd name="connsiteX56" fmla="*/ 90586 w 1187561"/>
              <a:gd name="connsiteY56" fmla="*/ 765126 h 1262941"/>
              <a:gd name="connsiteX57" fmla="*/ 47903 w 1187561"/>
              <a:gd name="connsiteY57" fmla="*/ 794935 h 1262941"/>
              <a:gd name="connsiteX58" fmla="*/ 28769 w 1187561"/>
              <a:gd name="connsiteY58" fmla="*/ 790464 h 1262941"/>
              <a:gd name="connsiteX59" fmla="*/ 3748 w 1187561"/>
              <a:gd name="connsiteY59" fmla="*/ 729355 h 1262941"/>
              <a:gd name="connsiteX60" fmla="*/ 177424 w 1187561"/>
              <a:gd name="connsiteY60" fmla="*/ 301592 h 1262941"/>
              <a:gd name="connsiteX61" fmla="*/ 221579 w 1187561"/>
              <a:gd name="connsiteY61" fmla="*/ 271782 h 1262941"/>
              <a:gd name="connsiteX62" fmla="*/ 873254 w 1187561"/>
              <a:gd name="connsiteY62" fmla="*/ 0 h 1262941"/>
              <a:gd name="connsiteX63" fmla="*/ 995592 w 1187561"/>
              <a:gd name="connsiteY63" fmla="*/ 123804 h 1262941"/>
              <a:gd name="connsiteX64" fmla="*/ 873254 w 1187561"/>
              <a:gd name="connsiteY64" fmla="*/ 247608 h 1262941"/>
              <a:gd name="connsiteX65" fmla="*/ 750916 w 1187561"/>
              <a:gd name="connsiteY65" fmla="*/ 123804 h 1262941"/>
              <a:gd name="connsiteX66" fmla="*/ 873254 w 1187561"/>
              <a:gd name="connsiteY66" fmla="*/ 0 h 1262941"/>
              <a:gd name="connsiteX67" fmla="*/ 315041 w 1187561"/>
              <a:gd name="connsiteY67" fmla="*/ 0 h 1262941"/>
              <a:gd name="connsiteX68" fmla="*/ 436647 w 1187561"/>
              <a:gd name="connsiteY68" fmla="*/ 123804 h 1262941"/>
              <a:gd name="connsiteX69" fmla="*/ 315041 w 1187561"/>
              <a:gd name="connsiteY69" fmla="*/ 247608 h 1262941"/>
              <a:gd name="connsiteX70" fmla="*/ 193435 w 1187561"/>
              <a:gd name="connsiteY70" fmla="*/ 123804 h 1262941"/>
              <a:gd name="connsiteX71" fmla="*/ 315041 w 1187561"/>
              <a:gd name="connsiteY71" fmla="*/ 0 h 126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1187561" h="1262941">
                <a:moveTo>
                  <a:pt x="221579" y="271782"/>
                </a:moveTo>
                <a:cubicBezTo>
                  <a:pt x="268678" y="271782"/>
                  <a:pt x="408502" y="271782"/>
                  <a:pt x="408502" y="271782"/>
                </a:cubicBezTo>
                <a:cubicBezTo>
                  <a:pt x="434995" y="271782"/>
                  <a:pt x="448241" y="289668"/>
                  <a:pt x="452657" y="301592"/>
                </a:cubicBezTo>
                <a:cubicBezTo>
                  <a:pt x="452657" y="301592"/>
                  <a:pt x="452657" y="301592"/>
                  <a:pt x="568932" y="587761"/>
                </a:cubicBezTo>
                <a:cubicBezTo>
                  <a:pt x="568932" y="587761"/>
                  <a:pt x="568932" y="587761"/>
                  <a:pt x="593148" y="647496"/>
                </a:cubicBezTo>
                <a:lnTo>
                  <a:pt x="593814" y="649138"/>
                </a:lnTo>
                <a:lnTo>
                  <a:pt x="595074" y="645889"/>
                </a:lnTo>
                <a:cubicBezTo>
                  <a:pt x="595074" y="645889"/>
                  <a:pt x="595074" y="645889"/>
                  <a:pt x="736371" y="301592"/>
                </a:cubicBezTo>
                <a:cubicBezTo>
                  <a:pt x="743730" y="282216"/>
                  <a:pt x="761392" y="271782"/>
                  <a:pt x="779055" y="271782"/>
                </a:cubicBezTo>
                <a:cubicBezTo>
                  <a:pt x="779055" y="271782"/>
                  <a:pt x="779055" y="271782"/>
                  <a:pt x="780527" y="271782"/>
                </a:cubicBezTo>
                <a:cubicBezTo>
                  <a:pt x="780527" y="271782"/>
                  <a:pt x="780527" y="271782"/>
                  <a:pt x="965979" y="271782"/>
                </a:cubicBezTo>
                <a:cubicBezTo>
                  <a:pt x="965979" y="271782"/>
                  <a:pt x="965979" y="271782"/>
                  <a:pt x="967451" y="271782"/>
                </a:cubicBezTo>
                <a:cubicBezTo>
                  <a:pt x="985114" y="271782"/>
                  <a:pt x="1002776" y="282216"/>
                  <a:pt x="1010135" y="301592"/>
                </a:cubicBezTo>
                <a:cubicBezTo>
                  <a:pt x="1010135" y="301592"/>
                  <a:pt x="1010135" y="301592"/>
                  <a:pt x="1124939" y="584780"/>
                </a:cubicBezTo>
                <a:cubicBezTo>
                  <a:pt x="1124939" y="584780"/>
                  <a:pt x="1124939" y="584780"/>
                  <a:pt x="1183813" y="729355"/>
                </a:cubicBezTo>
                <a:cubicBezTo>
                  <a:pt x="1194116" y="753202"/>
                  <a:pt x="1182341" y="781521"/>
                  <a:pt x="1158792" y="790464"/>
                </a:cubicBezTo>
                <a:cubicBezTo>
                  <a:pt x="1152904" y="793445"/>
                  <a:pt x="1147017" y="794935"/>
                  <a:pt x="1141129" y="794935"/>
                </a:cubicBezTo>
                <a:cubicBezTo>
                  <a:pt x="1121995" y="794935"/>
                  <a:pt x="1104333" y="783012"/>
                  <a:pt x="1096974" y="765126"/>
                </a:cubicBezTo>
                <a:cubicBezTo>
                  <a:pt x="1096974" y="765126"/>
                  <a:pt x="1096974" y="765126"/>
                  <a:pt x="1020438" y="577327"/>
                </a:cubicBezTo>
                <a:cubicBezTo>
                  <a:pt x="1020438" y="577327"/>
                  <a:pt x="1020438" y="577327"/>
                  <a:pt x="1020438" y="1198851"/>
                </a:cubicBezTo>
                <a:cubicBezTo>
                  <a:pt x="1020438" y="1231641"/>
                  <a:pt x="995416" y="1261451"/>
                  <a:pt x="961564" y="1262941"/>
                </a:cubicBezTo>
                <a:cubicBezTo>
                  <a:pt x="926240" y="1262941"/>
                  <a:pt x="898274" y="1234622"/>
                  <a:pt x="898274" y="1200342"/>
                </a:cubicBezTo>
                <a:cubicBezTo>
                  <a:pt x="898274" y="1200342"/>
                  <a:pt x="898274" y="1200342"/>
                  <a:pt x="898274" y="860516"/>
                </a:cubicBezTo>
                <a:cubicBezTo>
                  <a:pt x="898274" y="845611"/>
                  <a:pt x="885028" y="835178"/>
                  <a:pt x="871781" y="835178"/>
                </a:cubicBezTo>
                <a:cubicBezTo>
                  <a:pt x="858534" y="836668"/>
                  <a:pt x="848232" y="848592"/>
                  <a:pt x="848232" y="862006"/>
                </a:cubicBezTo>
                <a:cubicBezTo>
                  <a:pt x="848232" y="862006"/>
                  <a:pt x="848232" y="862006"/>
                  <a:pt x="848232" y="1198851"/>
                </a:cubicBezTo>
                <a:cubicBezTo>
                  <a:pt x="848232" y="1231641"/>
                  <a:pt x="823210" y="1261451"/>
                  <a:pt x="789358" y="1262941"/>
                </a:cubicBezTo>
                <a:cubicBezTo>
                  <a:pt x="754033" y="1262941"/>
                  <a:pt x="726068" y="1234622"/>
                  <a:pt x="726068" y="1200342"/>
                </a:cubicBezTo>
                <a:cubicBezTo>
                  <a:pt x="726068" y="1200342"/>
                  <a:pt x="726068" y="1200342"/>
                  <a:pt x="726068" y="575837"/>
                </a:cubicBezTo>
                <a:cubicBezTo>
                  <a:pt x="726068" y="575837"/>
                  <a:pt x="726068" y="575837"/>
                  <a:pt x="698103" y="641417"/>
                </a:cubicBezTo>
                <a:cubicBezTo>
                  <a:pt x="698103" y="641417"/>
                  <a:pt x="698103" y="641417"/>
                  <a:pt x="648060" y="765126"/>
                </a:cubicBezTo>
                <a:cubicBezTo>
                  <a:pt x="640701" y="783012"/>
                  <a:pt x="623039" y="794935"/>
                  <a:pt x="605377" y="794935"/>
                </a:cubicBezTo>
                <a:cubicBezTo>
                  <a:pt x="602433" y="794935"/>
                  <a:pt x="598017" y="794935"/>
                  <a:pt x="595074" y="793445"/>
                </a:cubicBezTo>
                <a:lnTo>
                  <a:pt x="591714" y="792084"/>
                </a:lnTo>
                <a:lnTo>
                  <a:pt x="583650" y="793445"/>
                </a:lnTo>
                <a:cubicBezTo>
                  <a:pt x="564516" y="793445"/>
                  <a:pt x="546854" y="783012"/>
                  <a:pt x="539495" y="765126"/>
                </a:cubicBezTo>
                <a:cubicBezTo>
                  <a:pt x="539495" y="765126"/>
                  <a:pt x="539495" y="765126"/>
                  <a:pt x="489453" y="641417"/>
                </a:cubicBezTo>
                <a:cubicBezTo>
                  <a:pt x="489453" y="641417"/>
                  <a:pt x="489453" y="641417"/>
                  <a:pt x="490925" y="641417"/>
                </a:cubicBezTo>
                <a:cubicBezTo>
                  <a:pt x="490925" y="641417"/>
                  <a:pt x="490925" y="641417"/>
                  <a:pt x="462960" y="574347"/>
                </a:cubicBezTo>
                <a:cubicBezTo>
                  <a:pt x="462960" y="574347"/>
                  <a:pt x="462960" y="574347"/>
                  <a:pt x="462960" y="610118"/>
                </a:cubicBezTo>
                <a:cubicBezTo>
                  <a:pt x="462960" y="610118"/>
                  <a:pt x="462960" y="610118"/>
                  <a:pt x="549798" y="885854"/>
                </a:cubicBezTo>
                <a:cubicBezTo>
                  <a:pt x="564516" y="933549"/>
                  <a:pt x="530664" y="979753"/>
                  <a:pt x="482094" y="979753"/>
                </a:cubicBezTo>
                <a:cubicBezTo>
                  <a:pt x="482094" y="979753"/>
                  <a:pt x="482094" y="979753"/>
                  <a:pt x="462960" y="979753"/>
                </a:cubicBezTo>
                <a:cubicBezTo>
                  <a:pt x="462960" y="979753"/>
                  <a:pt x="462960" y="979753"/>
                  <a:pt x="462960" y="1198851"/>
                </a:cubicBezTo>
                <a:cubicBezTo>
                  <a:pt x="462960" y="1231641"/>
                  <a:pt x="436467" y="1261451"/>
                  <a:pt x="404086" y="1262941"/>
                </a:cubicBezTo>
                <a:cubicBezTo>
                  <a:pt x="368762" y="1262941"/>
                  <a:pt x="339326" y="1234622"/>
                  <a:pt x="339326" y="1200342"/>
                </a:cubicBezTo>
                <a:cubicBezTo>
                  <a:pt x="339326" y="1200342"/>
                  <a:pt x="339326" y="1200342"/>
                  <a:pt x="339326" y="979753"/>
                </a:cubicBezTo>
                <a:cubicBezTo>
                  <a:pt x="339326" y="979753"/>
                  <a:pt x="339326" y="979753"/>
                  <a:pt x="290755" y="979753"/>
                </a:cubicBezTo>
                <a:cubicBezTo>
                  <a:pt x="290755" y="979753"/>
                  <a:pt x="290755" y="979753"/>
                  <a:pt x="290755" y="1198851"/>
                </a:cubicBezTo>
                <a:cubicBezTo>
                  <a:pt x="290755" y="1231641"/>
                  <a:pt x="264262" y="1261451"/>
                  <a:pt x="230410" y="1262941"/>
                </a:cubicBezTo>
                <a:cubicBezTo>
                  <a:pt x="196558" y="1262941"/>
                  <a:pt x="167121" y="1234622"/>
                  <a:pt x="167121" y="1200342"/>
                </a:cubicBezTo>
                <a:cubicBezTo>
                  <a:pt x="167121" y="1200342"/>
                  <a:pt x="167121" y="1200342"/>
                  <a:pt x="167121" y="979753"/>
                </a:cubicBezTo>
                <a:cubicBezTo>
                  <a:pt x="167121" y="979753"/>
                  <a:pt x="167121" y="979753"/>
                  <a:pt x="147987" y="979753"/>
                </a:cubicBezTo>
                <a:cubicBezTo>
                  <a:pt x="99417" y="979753"/>
                  <a:pt x="65565" y="933549"/>
                  <a:pt x="80283" y="885854"/>
                </a:cubicBezTo>
                <a:cubicBezTo>
                  <a:pt x="80283" y="885854"/>
                  <a:pt x="80283" y="885854"/>
                  <a:pt x="167121" y="610118"/>
                </a:cubicBezTo>
                <a:cubicBezTo>
                  <a:pt x="167121" y="610118"/>
                  <a:pt x="167121" y="610118"/>
                  <a:pt x="167121" y="577327"/>
                </a:cubicBezTo>
                <a:cubicBezTo>
                  <a:pt x="167121" y="577327"/>
                  <a:pt x="167121" y="577327"/>
                  <a:pt x="90586" y="765126"/>
                </a:cubicBezTo>
                <a:cubicBezTo>
                  <a:pt x="83227" y="783012"/>
                  <a:pt x="65565" y="794935"/>
                  <a:pt x="47903" y="794935"/>
                </a:cubicBezTo>
                <a:cubicBezTo>
                  <a:pt x="42015" y="794935"/>
                  <a:pt x="34656" y="793445"/>
                  <a:pt x="28769" y="790464"/>
                </a:cubicBezTo>
                <a:cubicBezTo>
                  <a:pt x="5220" y="781521"/>
                  <a:pt x="-6555" y="753202"/>
                  <a:pt x="3748" y="729355"/>
                </a:cubicBezTo>
                <a:cubicBezTo>
                  <a:pt x="3748" y="729355"/>
                  <a:pt x="3748" y="729355"/>
                  <a:pt x="177424" y="301592"/>
                </a:cubicBezTo>
                <a:cubicBezTo>
                  <a:pt x="184783" y="282216"/>
                  <a:pt x="202445" y="271782"/>
                  <a:pt x="221579" y="271782"/>
                </a:cubicBezTo>
                <a:close/>
                <a:moveTo>
                  <a:pt x="873254" y="0"/>
                </a:moveTo>
                <a:cubicBezTo>
                  <a:pt x="940819" y="0"/>
                  <a:pt x="995592" y="55429"/>
                  <a:pt x="995592" y="123804"/>
                </a:cubicBezTo>
                <a:cubicBezTo>
                  <a:pt x="995592" y="192179"/>
                  <a:pt x="940819" y="247608"/>
                  <a:pt x="873254" y="247608"/>
                </a:cubicBezTo>
                <a:cubicBezTo>
                  <a:pt x="805689" y="247608"/>
                  <a:pt x="750916" y="192179"/>
                  <a:pt x="750916" y="123804"/>
                </a:cubicBezTo>
                <a:cubicBezTo>
                  <a:pt x="750916" y="55429"/>
                  <a:pt x="805689" y="0"/>
                  <a:pt x="873254" y="0"/>
                </a:cubicBezTo>
                <a:close/>
                <a:moveTo>
                  <a:pt x="315041" y="0"/>
                </a:moveTo>
                <a:cubicBezTo>
                  <a:pt x="382202" y="0"/>
                  <a:pt x="436647" y="55429"/>
                  <a:pt x="436647" y="123804"/>
                </a:cubicBezTo>
                <a:cubicBezTo>
                  <a:pt x="436647" y="192179"/>
                  <a:pt x="382202" y="247608"/>
                  <a:pt x="315041" y="247608"/>
                </a:cubicBezTo>
                <a:cubicBezTo>
                  <a:pt x="247880" y="247608"/>
                  <a:pt x="193435" y="192179"/>
                  <a:pt x="193435" y="123804"/>
                </a:cubicBezTo>
                <a:cubicBezTo>
                  <a:pt x="193435" y="55429"/>
                  <a:pt x="247880" y="0"/>
                  <a:pt x="315041" y="0"/>
                </a:cubicBezTo>
                <a:close/>
              </a:path>
            </a:pathLst>
          </a:custGeom>
          <a:solidFill>
            <a:schemeClr val="accent1">
              <a:alpha val="52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819F86C9-186C-FAC0-693E-11A9E5B5B3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1512" y="3628855"/>
            <a:ext cx="736868" cy="783640"/>
          </a:xfrm>
          <a:custGeom>
            <a:avLst/>
            <a:gdLst>
              <a:gd name="connsiteX0" fmla="*/ 221579 w 1187561"/>
              <a:gd name="connsiteY0" fmla="*/ 271782 h 1262941"/>
              <a:gd name="connsiteX1" fmla="*/ 408502 w 1187561"/>
              <a:gd name="connsiteY1" fmla="*/ 271782 h 1262941"/>
              <a:gd name="connsiteX2" fmla="*/ 452657 w 1187561"/>
              <a:gd name="connsiteY2" fmla="*/ 301592 h 1262941"/>
              <a:gd name="connsiteX3" fmla="*/ 568932 w 1187561"/>
              <a:gd name="connsiteY3" fmla="*/ 587761 h 1262941"/>
              <a:gd name="connsiteX4" fmla="*/ 593148 w 1187561"/>
              <a:gd name="connsiteY4" fmla="*/ 647496 h 1262941"/>
              <a:gd name="connsiteX5" fmla="*/ 593814 w 1187561"/>
              <a:gd name="connsiteY5" fmla="*/ 649138 h 1262941"/>
              <a:gd name="connsiteX6" fmla="*/ 595074 w 1187561"/>
              <a:gd name="connsiteY6" fmla="*/ 645889 h 1262941"/>
              <a:gd name="connsiteX7" fmla="*/ 736371 w 1187561"/>
              <a:gd name="connsiteY7" fmla="*/ 301592 h 1262941"/>
              <a:gd name="connsiteX8" fmla="*/ 779055 w 1187561"/>
              <a:gd name="connsiteY8" fmla="*/ 271782 h 1262941"/>
              <a:gd name="connsiteX9" fmla="*/ 780527 w 1187561"/>
              <a:gd name="connsiteY9" fmla="*/ 271782 h 1262941"/>
              <a:gd name="connsiteX10" fmla="*/ 965979 w 1187561"/>
              <a:gd name="connsiteY10" fmla="*/ 271782 h 1262941"/>
              <a:gd name="connsiteX11" fmla="*/ 967451 w 1187561"/>
              <a:gd name="connsiteY11" fmla="*/ 271782 h 1262941"/>
              <a:gd name="connsiteX12" fmla="*/ 1010135 w 1187561"/>
              <a:gd name="connsiteY12" fmla="*/ 301592 h 1262941"/>
              <a:gd name="connsiteX13" fmla="*/ 1124939 w 1187561"/>
              <a:gd name="connsiteY13" fmla="*/ 584780 h 1262941"/>
              <a:gd name="connsiteX14" fmla="*/ 1183813 w 1187561"/>
              <a:gd name="connsiteY14" fmla="*/ 729355 h 1262941"/>
              <a:gd name="connsiteX15" fmla="*/ 1158792 w 1187561"/>
              <a:gd name="connsiteY15" fmla="*/ 790464 h 1262941"/>
              <a:gd name="connsiteX16" fmla="*/ 1141129 w 1187561"/>
              <a:gd name="connsiteY16" fmla="*/ 794935 h 1262941"/>
              <a:gd name="connsiteX17" fmla="*/ 1096974 w 1187561"/>
              <a:gd name="connsiteY17" fmla="*/ 765126 h 1262941"/>
              <a:gd name="connsiteX18" fmla="*/ 1020438 w 1187561"/>
              <a:gd name="connsiteY18" fmla="*/ 577327 h 1262941"/>
              <a:gd name="connsiteX19" fmla="*/ 1020438 w 1187561"/>
              <a:gd name="connsiteY19" fmla="*/ 1198851 h 1262941"/>
              <a:gd name="connsiteX20" fmla="*/ 961564 w 1187561"/>
              <a:gd name="connsiteY20" fmla="*/ 1262941 h 1262941"/>
              <a:gd name="connsiteX21" fmla="*/ 898274 w 1187561"/>
              <a:gd name="connsiteY21" fmla="*/ 1200342 h 1262941"/>
              <a:gd name="connsiteX22" fmla="*/ 898274 w 1187561"/>
              <a:gd name="connsiteY22" fmla="*/ 860516 h 1262941"/>
              <a:gd name="connsiteX23" fmla="*/ 871781 w 1187561"/>
              <a:gd name="connsiteY23" fmla="*/ 835178 h 1262941"/>
              <a:gd name="connsiteX24" fmla="*/ 848232 w 1187561"/>
              <a:gd name="connsiteY24" fmla="*/ 862006 h 1262941"/>
              <a:gd name="connsiteX25" fmla="*/ 848232 w 1187561"/>
              <a:gd name="connsiteY25" fmla="*/ 1198851 h 1262941"/>
              <a:gd name="connsiteX26" fmla="*/ 789358 w 1187561"/>
              <a:gd name="connsiteY26" fmla="*/ 1262941 h 1262941"/>
              <a:gd name="connsiteX27" fmla="*/ 726068 w 1187561"/>
              <a:gd name="connsiteY27" fmla="*/ 1200342 h 1262941"/>
              <a:gd name="connsiteX28" fmla="*/ 726068 w 1187561"/>
              <a:gd name="connsiteY28" fmla="*/ 575837 h 1262941"/>
              <a:gd name="connsiteX29" fmla="*/ 698103 w 1187561"/>
              <a:gd name="connsiteY29" fmla="*/ 641417 h 1262941"/>
              <a:gd name="connsiteX30" fmla="*/ 648060 w 1187561"/>
              <a:gd name="connsiteY30" fmla="*/ 765126 h 1262941"/>
              <a:gd name="connsiteX31" fmla="*/ 605377 w 1187561"/>
              <a:gd name="connsiteY31" fmla="*/ 794935 h 1262941"/>
              <a:gd name="connsiteX32" fmla="*/ 595074 w 1187561"/>
              <a:gd name="connsiteY32" fmla="*/ 793445 h 1262941"/>
              <a:gd name="connsiteX33" fmla="*/ 591714 w 1187561"/>
              <a:gd name="connsiteY33" fmla="*/ 792084 h 1262941"/>
              <a:gd name="connsiteX34" fmla="*/ 583650 w 1187561"/>
              <a:gd name="connsiteY34" fmla="*/ 793445 h 1262941"/>
              <a:gd name="connsiteX35" fmla="*/ 539495 w 1187561"/>
              <a:gd name="connsiteY35" fmla="*/ 765126 h 1262941"/>
              <a:gd name="connsiteX36" fmla="*/ 489453 w 1187561"/>
              <a:gd name="connsiteY36" fmla="*/ 641417 h 1262941"/>
              <a:gd name="connsiteX37" fmla="*/ 490925 w 1187561"/>
              <a:gd name="connsiteY37" fmla="*/ 641417 h 1262941"/>
              <a:gd name="connsiteX38" fmla="*/ 462960 w 1187561"/>
              <a:gd name="connsiteY38" fmla="*/ 574347 h 1262941"/>
              <a:gd name="connsiteX39" fmla="*/ 462960 w 1187561"/>
              <a:gd name="connsiteY39" fmla="*/ 610118 h 1262941"/>
              <a:gd name="connsiteX40" fmla="*/ 549798 w 1187561"/>
              <a:gd name="connsiteY40" fmla="*/ 885854 h 1262941"/>
              <a:gd name="connsiteX41" fmla="*/ 482094 w 1187561"/>
              <a:gd name="connsiteY41" fmla="*/ 979753 h 1262941"/>
              <a:gd name="connsiteX42" fmla="*/ 462960 w 1187561"/>
              <a:gd name="connsiteY42" fmla="*/ 979753 h 1262941"/>
              <a:gd name="connsiteX43" fmla="*/ 462960 w 1187561"/>
              <a:gd name="connsiteY43" fmla="*/ 1198851 h 1262941"/>
              <a:gd name="connsiteX44" fmla="*/ 404086 w 1187561"/>
              <a:gd name="connsiteY44" fmla="*/ 1262941 h 1262941"/>
              <a:gd name="connsiteX45" fmla="*/ 339326 w 1187561"/>
              <a:gd name="connsiteY45" fmla="*/ 1200342 h 1262941"/>
              <a:gd name="connsiteX46" fmla="*/ 339326 w 1187561"/>
              <a:gd name="connsiteY46" fmla="*/ 979753 h 1262941"/>
              <a:gd name="connsiteX47" fmla="*/ 290755 w 1187561"/>
              <a:gd name="connsiteY47" fmla="*/ 979753 h 1262941"/>
              <a:gd name="connsiteX48" fmla="*/ 290755 w 1187561"/>
              <a:gd name="connsiteY48" fmla="*/ 1198851 h 1262941"/>
              <a:gd name="connsiteX49" fmla="*/ 230410 w 1187561"/>
              <a:gd name="connsiteY49" fmla="*/ 1262941 h 1262941"/>
              <a:gd name="connsiteX50" fmla="*/ 167121 w 1187561"/>
              <a:gd name="connsiteY50" fmla="*/ 1200342 h 1262941"/>
              <a:gd name="connsiteX51" fmla="*/ 167121 w 1187561"/>
              <a:gd name="connsiteY51" fmla="*/ 979753 h 1262941"/>
              <a:gd name="connsiteX52" fmla="*/ 147987 w 1187561"/>
              <a:gd name="connsiteY52" fmla="*/ 979753 h 1262941"/>
              <a:gd name="connsiteX53" fmla="*/ 80283 w 1187561"/>
              <a:gd name="connsiteY53" fmla="*/ 885854 h 1262941"/>
              <a:gd name="connsiteX54" fmla="*/ 167121 w 1187561"/>
              <a:gd name="connsiteY54" fmla="*/ 610118 h 1262941"/>
              <a:gd name="connsiteX55" fmla="*/ 167121 w 1187561"/>
              <a:gd name="connsiteY55" fmla="*/ 577327 h 1262941"/>
              <a:gd name="connsiteX56" fmla="*/ 90586 w 1187561"/>
              <a:gd name="connsiteY56" fmla="*/ 765126 h 1262941"/>
              <a:gd name="connsiteX57" fmla="*/ 47903 w 1187561"/>
              <a:gd name="connsiteY57" fmla="*/ 794935 h 1262941"/>
              <a:gd name="connsiteX58" fmla="*/ 28769 w 1187561"/>
              <a:gd name="connsiteY58" fmla="*/ 790464 h 1262941"/>
              <a:gd name="connsiteX59" fmla="*/ 3748 w 1187561"/>
              <a:gd name="connsiteY59" fmla="*/ 729355 h 1262941"/>
              <a:gd name="connsiteX60" fmla="*/ 177424 w 1187561"/>
              <a:gd name="connsiteY60" fmla="*/ 301592 h 1262941"/>
              <a:gd name="connsiteX61" fmla="*/ 221579 w 1187561"/>
              <a:gd name="connsiteY61" fmla="*/ 271782 h 1262941"/>
              <a:gd name="connsiteX62" fmla="*/ 873254 w 1187561"/>
              <a:gd name="connsiteY62" fmla="*/ 0 h 1262941"/>
              <a:gd name="connsiteX63" fmla="*/ 995592 w 1187561"/>
              <a:gd name="connsiteY63" fmla="*/ 123804 h 1262941"/>
              <a:gd name="connsiteX64" fmla="*/ 873254 w 1187561"/>
              <a:gd name="connsiteY64" fmla="*/ 247608 h 1262941"/>
              <a:gd name="connsiteX65" fmla="*/ 750916 w 1187561"/>
              <a:gd name="connsiteY65" fmla="*/ 123804 h 1262941"/>
              <a:gd name="connsiteX66" fmla="*/ 873254 w 1187561"/>
              <a:gd name="connsiteY66" fmla="*/ 0 h 1262941"/>
              <a:gd name="connsiteX67" fmla="*/ 315041 w 1187561"/>
              <a:gd name="connsiteY67" fmla="*/ 0 h 1262941"/>
              <a:gd name="connsiteX68" fmla="*/ 436647 w 1187561"/>
              <a:gd name="connsiteY68" fmla="*/ 123804 h 1262941"/>
              <a:gd name="connsiteX69" fmla="*/ 315041 w 1187561"/>
              <a:gd name="connsiteY69" fmla="*/ 247608 h 1262941"/>
              <a:gd name="connsiteX70" fmla="*/ 193435 w 1187561"/>
              <a:gd name="connsiteY70" fmla="*/ 123804 h 1262941"/>
              <a:gd name="connsiteX71" fmla="*/ 315041 w 1187561"/>
              <a:gd name="connsiteY71" fmla="*/ 0 h 126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1187561" h="1262941">
                <a:moveTo>
                  <a:pt x="221579" y="271782"/>
                </a:moveTo>
                <a:cubicBezTo>
                  <a:pt x="268678" y="271782"/>
                  <a:pt x="408502" y="271782"/>
                  <a:pt x="408502" y="271782"/>
                </a:cubicBezTo>
                <a:cubicBezTo>
                  <a:pt x="434995" y="271782"/>
                  <a:pt x="448241" y="289668"/>
                  <a:pt x="452657" y="301592"/>
                </a:cubicBezTo>
                <a:cubicBezTo>
                  <a:pt x="452657" y="301592"/>
                  <a:pt x="452657" y="301592"/>
                  <a:pt x="568932" y="587761"/>
                </a:cubicBezTo>
                <a:cubicBezTo>
                  <a:pt x="568932" y="587761"/>
                  <a:pt x="568932" y="587761"/>
                  <a:pt x="593148" y="647496"/>
                </a:cubicBezTo>
                <a:lnTo>
                  <a:pt x="593814" y="649138"/>
                </a:lnTo>
                <a:lnTo>
                  <a:pt x="595074" y="645889"/>
                </a:lnTo>
                <a:cubicBezTo>
                  <a:pt x="595074" y="645889"/>
                  <a:pt x="595074" y="645889"/>
                  <a:pt x="736371" y="301592"/>
                </a:cubicBezTo>
                <a:cubicBezTo>
                  <a:pt x="743730" y="282216"/>
                  <a:pt x="761392" y="271782"/>
                  <a:pt x="779055" y="271782"/>
                </a:cubicBezTo>
                <a:cubicBezTo>
                  <a:pt x="779055" y="271782"/>
                  <a:pt x="779055" y="271782"/>
                  <a:pt x="780527" y="271782"/>
                </a:cubicBezTo>
                <a:cubicBezTo>
                  <a:pt x="780527" y="271782"/>
                  <a:pt x="780527" y="271782"/>
                  <a:pt x="965979" y="271782"/>
                </a:cubicBezTo>
                <a:cubicBezTo>
                  <a:pt x="965979" y="271782"/>
                  <a:pt x="965979" y="271782"/>
                  <a:pt x="967451" y="271782"/>
                </a:cubicBezTo>
                <a:cubicBezTo>
                  <a:pt x="985114" y="271782"/>
                  <a:pt x="1002776" y="282216"/>
                  <a:pt x="1010135" y="301592"/>
                </a:cubicBezTo>
                <a:cubicBezTo>
                  <a:pt x="1010135" y="301592"/>
                  <a:pt x="1010135" y="301592"/>
                  <a:pt x="1124939" y="584780"/>
                </a:cubicBezTo>
                <a:cubicBezTo>
                  <a:pt x="1124939" y="584780"/>
                  <a:pt x="1124939" y="584780"/>
                  <a:pt x="1183813" y="729355"/>
                </a:cubicBezTo>
                <a:cubicBezTo>
                  <a:pt x="1194116" y="753202"/>
                  <a:pt x="1182341" y="781521"/>
                  <a:pt x="1158792" y="790464"/>
                </a:cubicBezTo>
                <a:cubicBezTo>
                  <a:pt x="1152904" y="793445"/>
                  <a:pt x="1147017" y="794935"/>
                  <a:pt x="1141129" y="794935"/>
                </a:cubicBezTo>
                <a:cubicBezTo>
                  <a:pt x="1121995" y="794935"/>
                  <a:pt x="1104333" y="783012"/>
                  <a:pt x="1096974" y="765126"/>
                </a:cubicBezTo>
                <a:cubicBezTo>
                  <a:pt x="1096974" y="765126"/>
                  <a:pt x="1096974" y="765126"/>
                  <a:pt x="1020438" y="577327"/>
                </a:cubicBezTo>
                <a:cubicBezTo>
                  <a:pt x="1020438" y="577327"/>
                  <a:pt x="1020438" y="577327"/>
                  <a:pt x="1020438" y="1198851"/>
                </a:cubicBezTo>
                <a:cubicBezTo>
                  <a:pt x="1020438" y="1231641"/>
                  <a:pt x="995416" y="1261451"/>
                  <a:pt x="961564" y="1262941"/>
                </a:cubicBezTo>
                <a:cubicBezTo>
                  <a:pt x="926240" y="1262941"/>
                  <a:pt x="898274" y="1234622"/>
                  <a:pt x="898274" y="1200342"/>
                </a:cubicBezTo>
                <a:cubicBezTo>
                  <a:pt x="898274" y="1200342"/>
                  <a:pt x="898274" y="1200342"/>
                  <a:pt x="898274" y="860516"/>
                </a:cubicBezTo>
                <a:cubicBezTo>
                  <a:pt x="898274" y="845611"/>
                  <a:pt x="885028" y="835178"/>
                  <a:pt x="871781" y="835178"/>
                </a:cubicBezTo>
                <a:cubicBezTo>
                  <a:pt x="858534" y="836668"/>
                  <a:pt x="848232" y="848592"/>
                  <a:pt x="848232" y="862006"/>
                </a:cubicBezTo>
                <a:cubicBezTo>
                  <a:pt x="848232" y="862006"/>
                  <a:pt x="848232" y="862006"/>
                  <a:pt x="848232" y="1198851"/>
                </a:cubicBezTo>
                <a:cubicBezTo>
                  <a:pt x="848232" y="1231641"/>
                  <a:pt x="823210" y="1261451"/>
                  <a:pt x="789358" y="1262941"/>
                </a:cubicBezTo>
                <a:cubicBezTo>
                  <a:pt x="754033" y="1262941"/>
                  <a:pt x="726068" y="1234622"/>
                  <a:pt x="726068" y="1200342"/>
                </a:cubicBezTo>
                <a:cubicBezTo>
                  <a:pt x="726068" y="1200342"/>
                  <a:pt x="726068" y="1200342"/>
                  <a:pt x="726068" y="575837"/>
                </a:cubicBezTo>
                <a:cubicBezTo>
                  <a:pt x="726068" y="575837"/>
                  <a:pt x="726068" y="575837"/>
                  <a:pt x="698103" y="641417"/>
                </a:cubicBezTo>
                <a:cubicBezTo>
                  <a:pt x="698103" y="641417"/>
                  <a:pt x="698103" y="641417"/>
                  <a:pt x="648060" y="765126"/>
                </a:cubicBezTo>
                <a:cubicBezTo>
                  <a:pt x="640701" y="783012"/>
                  <a:pt x="623039" y="794935"/>
                  <a:pt x="605377" y="794935"/>
                </a:cubicBezTo>
                <a:cubicBezTo>
                  <a:pt x="602433" y="794935"/>
                  <a:pt x="598017" y="794935"/>
                  <a:pt x="595074" y="793445"/>
                </a:cubicBezTo>
                <a:lnTo>
                  <a:pt x="591714" y="792084"/>
                </a:lnTo>
                <a:lnTo>
                  <a:pt x="583650" y="793445"/>
                </a:lnTo>
                <a:cubicBezTo>
                  <a:pt x="564516" y="793445"/>
                  <a:pt x="546854" y="783012"/>
                  <a:pt x="539495" y="765126"/>
                </a:cubicBezTo>
                <a:cubicBezTo>
                  <a:pt x="539495" y="765126"/>
                  <a:pt x="539495" y="765126"/>
                  <a:pt x="489453" y="641417"/>
                </a:cubicBezTo>
                <a:cubicBezTo>
                  <a:pt x="489453" y="641417"/>
                  <a:pt x="489453" y="641417"/>
                  <a:pt x="490925" y="641417"/>
                </a:cubicBezTo>
                <a:cubicBezTo>
                  <a:pt x="490925" y="641417"/>
                  <a:pt x="490925" y="641417"/>
                  <a:pt x="462960" y="574347"/>
                </a:cubicBezTo>
                <a:cubicBezTo>
                  <a:pt x="462960" y="574347"/>
                  <a:pt x="462960" y="574347"/>
                  <a:pt x="462960" y="610118"/>
                </a:cubicBezTo>
                <a:cubicBezTo>
                  <a:pt x="462960" y="610118"/>
                  <a:pt x="462960" y="610118"/>
                  <a:pt x="549798" y="885854"/>
                </a:cubicBezTo>
                <a:cubicBezTo>
                  <a:pt x="564516" y="933549"/>
                  <a:pt x="530664" y="979753"/>
                  <a:pt x="482094" y="979753"/>
                </a:cubicBezTo>
                <a:cubicBezTo>
                  <a:pt x="482094" y="979753"/>
                  <a:pt x="482094" y="979753"/>
                  <a:pt x="462960" y="979753"/>
                </a:cubicBezTo>
                <a:cubicBezTo>
                  <a:pt x="462960" y="979753"/>
                  <a:pt x="462960" y="979753"/>
                  <a:pt x="462960" y="1198851"/>
                </a:cubicBezTo>
                <a:cubicBezTo>
                  <a:pt x="462960" y="1231641"/>
                  <a:pt x="436467" y="1261451"/>
                  <a:pt x="404086" y="1262941"/>
                </a:cubicBezTo>
                <a:cubicBezTo>
                  <a:pt x="368762" y="1262941"/>
                  <a:pt x="339326" y="1234622"/>
                  <a:pt x="339326" y="1200342"/>
                </a:cubicBezTo>
                <a:cubicBezTo>
                  <a:pt x="339326" y="1200342"/>
                  <a:pt x="339326" y="1200342"/>
                  <a:pt x="339326" y="979753"/>
                </a:cubicBezTo>
                <a:cubicBezTo>
                  <a:pt x="339326" y="979753"/>
                  <a:pt x="339326" y="979753"/>
                  <a:pt x="290755" y="979753"/>
                </a:cubicBezTo>
                <a:cubicBezTo>
                  <a:pt x="290755" y="979753"/>
                  <a:pt x="290755" y="979753"/>
                  <a:pt x="290755" y="1198851"/>
                </a:cubicBezTo>
                <a:cubicBezTo>
                  <a:pt x="290755" y="1231641"/>
                  <a:pt x="264262" y="1261451"/>
                  <a:pt x="230410" y="1262941"/>
                </a:cubicBezTo>
                <a:cubicBezTo>
                  <a:pt x="196558" y="1262941"/>
                  <a:pt x="167121" y="1234622"/>
                  <a:pt x="167121" y="1200342"/>
                </a:cubicBezTo>
                <a:cubicBezTo>
                  <a:pt x="167121" y="1200342"/>
                  <a:pt x="167121" y="1200342"/>
                  <a:pt x="167121" y="979753"/>
                </a:cubicBezTo>
                <a:cubicBezTo>
                  <a:pt x="167121" y="979753"/>
                  <a:pt x="167121" y="979753"/>
                  <a:pt x="147987" y="979753"/>
                </a:cubicBezTo>
                <a:cubicBezTo>
                  <a:pt x="99417" y="979753"/>
                  <a:pt x="65565" y="933549"/>
                  <a:pt x="80283" y="885854"/>
                </a:cubicBezTo>
                <a:cubicBezTo>
                  <a:pt x="80283" y="885854"/>
                  <a:pt x="80283" y="885854"/>
                  <a:pt x="167121" y="610118"/>
                </a:cubicBezTo>
                <a:cubicBezTo>
                  <a:pt x="167121" y="610118"/>
                  <a:pt x="167121" y="610118"/>
                  <a:pt x="167121" y="577327"/>
                </a:cubicBezTo>
                <a:cubicBezTo>
                  <a:pt x="167121" y="577327"/>
                  <a:pt x="167121" y="577327"/>
                  <a:pt x="90586" y="765126"/>
                </a:cubicBezTo>
                <a:cubicBezTo>
                  <a:pt x="83227" y="783012"/>
                  <a:pt x="65565" y="794935"/>
                  <a:pt x="47903" y="794935"/>
                </a:cubicBezTo>
                <a:cubicBezTo>
                  <a:pt x="42015" y="794935"/>
                  <a:pt x="34656" y="793445"/>
                  <a:pt x="28769" y="790464"/>
                </a:cubicBezTo>
                <a:cubicBezTo>
                  <a:pt x="5220" y="781521"/>
                  <a:pt x="-6555" y="753202"/>
                  <a:pt x="3748" y="729355"/>
                </a:cubicBezTo>
                <a:cubicBezTo>
                  <a:pt x="3748" y="729355"/>
                  <a:pt x="3748" y="729355"/>
                  <a:pt x="177424" y="301592"/>
                </a:cubicBezTo>
                <a:cubicBezTo>
                  <a:pt x="184783" y="282216"/>
                  <a:pt x="202445" y="271782"/>
                  <a:pt x="221579" y="271782"/>
                </a:cubicBezTo>
                <a:close/>
                <a:moveTo>
                  <a:pt x="873254" y="0"/>
                </a:moveTo>
                <a:cubicBezTo>
                  <a:pt x="940819" y="0"/>
                  <a:pt x="995592" y="55429"/>
                  <a:pt x="995592" y="123804"/>
                </a:cubicBezTo>
                <a:cubicBezTo>
                  <a:pt x="995592" y="192179"/>
                  <a:pt x="940819" y="247608"/>
                  <a:pt x="873254" y="247608"/>
                </a:cubicBezTo>
                <a:cubicBezTo>
                  <a:pt x="805689" y="247608"/>
                  <a:pt x="750916" y="192179"/>
                  <a:pt x="750916" y="123804"/>
                </a:cubicBezTo>
                <a:cubicBezTo>
                  <a:pt x="750916" y="55429"/>
                  <a:pt x="805689" y="0"/>
                  <a:pt x="873254" y="0"/>
                </a:cubicBezTo>
                <a:close/>
                <a:moveTo>
                  <a:pt x="315041" y="0"/>
                </a:moveTo>
                <a:cubicBezTo>
                  <a:pt x="382202" y="0"/>
                  <a:pt x="436647" y="55429"/>
                  <a:pt x="436647" y="123804"/>
                </a:cubicBezTo>
                <a:cubicBezTo>
                  <a:pt x="436647" y="192179"/>
                  <a:pt x="382202" y="247608"/>
                  <a:pt x="315041" y="247608"/>
                </a:cubicBezTo>
                <a:cubicBezTo>
                  <a:pt x="247880" y="247608"/>
                  <a:pt x="193435" y="192179"/>
                  <a:pt x="193435" y="123804"/>
                </a:cubicBezTo>
                <a:cubicBezTo>
                  <a:pt x="193435" y="55429"/>
                  <a:pt x="247880" y="0"/>
                  <a:pt x="315041" y="0"/>
                </a:cubicBezTo>
                <a:close/>
              </a:path>
            </a:pathLst>
          </a:custGeom>
          <a:solidFill>
            <a:schemeClr val="accent1">
              <a:alpha val="52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041DE2D7-B641-23E8-7831-3C44DF620D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9858" y="3628855"/>
            <a:ext cx="736868" cy="783640"/>
          </a:xfrm>
          <a:custGeom>
            <a:avLst/>
            <a:gdLst>
              <a:gd name="connsiteX0" fmla="*/ 221579 w 1187561"/>
              <a:gd name="connsiteY0" fmla="*/ 271782 h 1262941"/>
              <a:gd name="connsiteX1" fmla="*/ 408502 w 1187561"/>
              <a:gd name="connsiteY1" fmla="*/ 271782 h 1262941"/>
              <a:gd name="connsiteX2" fmla="*/ 452657 w 1187561"/>
              <a:gd name="connsiteY2" fmla="*/ 301592 h 1262941"/>
              <a:gd name="connsiteX3" fmla="*/ 568932 w 1187561"/>
              <a:gd name="connsiteY3" fmla="*/ 587761 h 1262941"/>
              <a:gd name="connsiteX4" fmla="*/ 593148 w 1187561"/>
              <a:gd name="connsiteY4" fmla="*/ 647496 h 1262941"/>
              <a:gd name="connsiteX5" fmla="*/ 593814 w 1187561"/>
              <a:gd name="connsiteY5" fmla="*/ 649138 h 1262941"/>
              <a:gd name="connsiteX6" fmla="*/ 595074 w 1187561"/>
              <a:gd name="connsiteY6" fmla="*/ 645889 h 1262941"/>
              <a:gd name="connsiteX7" fmla="*/ 736371 w 1187561"/>
              <a:gd name="connsiteY7" fmla="*/ 301592 h 1262941"/>
              <a:gd name="connsiteX8" fmla="*/ 779055 w 1187561"/>
              <a:gd name="connsiteY8" fmla="*/ 271782 h 1262941"/>
              <a:gd name="connsiteX9" fmla="*/ 780527 w 1187561"/>
              <a:gd name="connsiteY9" fmla="*/ 271782 h 1262941"/>
              <a:gd name="connsiteX10" fmla="*/ 965979 w 1187561"/>
              <a:gd name="connsiteY10" fmla="*/ 271782 h 1262941"/>
              <a:gd name="connsiteX11" fmla="*/ 967451 w 1187561"/>
              <a:gd name="connsiteY11" fmla="*/ 271782 h 1262941"/>
              <a:gd name="connsiteX12" fmla="*/ 1010135 w 1187561"/>
              <a:gd name="connsiteY12" fmla="*/ 301592 h 1262941"/>
              <a:gd name="connsiteX13" fmla="*/ 1124939 w 1187561"/>
              <a:gd name="connsiteY13" fmla="*/ 584780 h 1262941"/>
              <a:gd name="connsiteX14" fmla="*/ 1183813 w 1187561"/>
              <a:gd name="connsiteY14" fmla="*/ 729355 h 1262941"/>
              <a:gd name="connsiteX15" fmla="*/ 1158792 w 1187561"/>
              <a:gd name="connsiteY15" fmla="*/ 790464 h 1262941"/>
              <a:gd name="connsiteX16" fmla="*/ 1141129 w 1187561"/>
              <a:gd name="connsiteY16" fmla="*/ 794935 h 1262941"/>
              <a:gd name="connsiteX17" fmla="*/ 1096974 w 1187561"/>
              <a:gd name="connsiteY17" fmla="*/ 765126 h 1262941"/>
              <a:gd name="connsiteX18" fmla="*/ 1020438 w 1187561"/>
              <a:gd name="connsiteY18" fmla="*/ 577327 h 1262941"/>
              <a:gd name="connsiteX19" fmla="*/ 1020438 w 1187561"/>
              <a:gd name="connsiteY19" fmla="*/ 1198851 h 1262941"/>
              <a:gd name="connsiteX20" fmla="*/ 961564 w 1187561"/>
              <a:gd name="connsiteY20" fmla="*/ 1262941 h 1262941"/>
              <a:gd name="connsiteX21" fmla="*/ 898274 w 1187561"/>
              <a:gd name="connsiteY21" fmla="*/ 1200342 h 1262941"/>
              <a:gd name="connsiteX22" fmla="*/ 898274 w 1187561"/>
              <a:gd name="connsiteY22" fmla="*/ 860516 h 1262941"/>
              <a:gd name="connsiteX23" fmla="*/ 871781 w 1187561"/>
              <a:gd name="connsiteY23" fmla="*/ 835178 h 1262941"/>
              <a:gd name="connsiteX24" fmla="*/ 848232 w 1187561"/>
              <a:gd name="connsiteY24" fmla="*/ 862006 h 1262941"/>
              <a:gd name="connsiteX25" fmla="*/ 848232 w 1187561"/>
              <a:gd name="connsiteY25" fmla="*/ 1198851 h 1262941"/>
              <a:gd name="connsiteX26" fmla="*/ 789358 w 1187561"/>
              <a:gd name="connsiteY26" fmla="*/ 1262941 h 1262941"/>
              <a:gd name="connsiteX27" fmla="*/ 726068 w 1187561"/>
              <a:gd name="connsiteY27" fmla="*/ 1200342 h 1262941"/>
              <a:gd name="connsiteX28" fmla="*/ 726068 w 1187561"/>
              <a:gd name="connsiteY28" fmla="*/ 575837 h 1262941"/>
              <a:gd name="connsiteX29" fmla="*/ 698103 w 1187561"/>
              <a:gd name="connsiteY29" fmla="*/ 641417 h 1262941"/>
              <a:gd name="connsiteX30" fmla="*/ 648060 w 1187561"/>
              <a:gd name="connsiteY30" fmla="*/ 765126 h 1262941"/>
              <a:gd name="connsiteX31" fmla="*/ 605377 w 1187561"/>
              <a:gd name="connsiteY31" fmla="*/ 794935 h 1262941"/>
              <a:gd name="connsiteX32" fmla="*/ 595074 w 1187561"/>
              <a:gd name="connsiteY32" fmla="*/ 793445 h 1262941"/>
              <a:gd name="connsiteX33" fmla="*/ 591714 w 1187561"/>
              <a:gd name="connsiteY33" fmla="*/ 792084 h 1262941"/>
              <a:gd name="connsiteX34" fmla="*/ 583650 w 1187561"/>
              <a:gd name="connsiteY34" fmla="*/ 793445 h 1262941"/>
              <a:gd name="connsiteX35" fmla="*/ 539495 w 1187561"/>
              <a:gd name="connsiteY35" fmla="*/ 765126 h 1262941"/>
              <a:gd name="connsiteX36" fmla="*/ 489453 w 1187561"/>
              <a:gd name="connsiteY36" fmla="*/ 641417 h 1262941"/>
              <a:gd name="connsiteX37" fmla="*/ 490925 w 1187561"/>
              <a:gd name="connsiteY37" fmla="*/ 641417 h 1262941"/>
              <a:gd name="connsiteX38" fmla="*/ 462960 w 1187561"/>
              <a:gd name="connsiteY38" fmla="*/ 574347 h 1262941"/>
              <a:gd name="connsiteX39" fmla="*/ 462960 w 1187561"/>
              <a:gd name="connsiteY39" fmla="*/ 610118 h 1262941"/>
              <a:gd name="connsiteX40" fmla="*/ 549798 w 1187561"/>
              <a:gd name="connsiteY40" fmla="*/ 885854 h 1262941"/>
              <a:gd name="connsiteX41" fmla="*/ 482094 w 1187561"/>
              <a:gd name="connsiteY41" fmla="*/ 979753 h 1262941"/>
              <a:gd name="connsiteX42" fmla="*/ 462960 w 1187561"/>
              <a:gd name="connsiteY42" fmla="*/ 979753 h 1262941"/>
              <a:gd name="connsiteX43" fmla="*/ 462960 w 1187561"/>
              <a:gd name="connsiteY43" fmla="*/ 1198851 h 1262941"/>
              <a:gd name="connsiteX44" fmla="*/ 404086 w 1187561"/>
              <a:gd name="connsiteY44" fmla="*/ 1262941 h 1262941"/>
              <a:gd name="connsiteX45" fmla="*/ 339326 w 1187561"/>
              <a:gd name="connsiteY45" fmla="*/ 1200342 h 1262941"/>
              <a:gd name="connsiteX46" fmla="*/ 339326 w 1187561"/>
              <a:gd name="connsiteY46" fmla="*/ 979753 h 1262941"/>
              <a:gd name="connsiteX47" fmla="*/ 290755 w 1187561"/>
              <a:gd name="connsiteY47" fmla="*/ 979753 h 1262941"/>
              <a:gd name="connsiteX48" fmla="*/ 290755 w 1187561"/>
              <a:gd name="connsiteY48" fmla="*/ 1198851 h 1262941"/>
              <a:gd name="connsiteX49" fmla="*/ 230410 w 1187561"/>
              <a:gd name="connsiteY49" fmla="*/ 1262941 h 1262941"/>
              <a:gd name="connsiteX50" fmla="*/ 167121 w 1187561"/>
              <a:gd name="connsiteY50" fmla="*/ 1200342 h 1262941"/>
              <a:gd name="connsiteX51" fmla="*/ 167121 w 1187561"/>
              <a:gd name="connsiteY51" fmla="*/ 979753 h 1262941"/>
              <a:gd name="connsiteX52" fmla="*/ 147987 w 1187561"/>
              <a:gd name="connsiteY52" fmla="*/ 979753 h 1262941"/>
              <a:gd name="connsiteX53" fmla="*/ 80283 w 1187561"/>
              <a:gd name="connsiteY53" fmla="*/ 885854 h 1262941"/>
              <a:gd name="connsiteX54" fmla="*/ 167121 w 1187561"/>
              <a:gd name="connsiteY54" fmla="*/ 610118 h 1262941"/>
              <a:gd name="connsiteX55" fmla="*/ 167121 w 1187561"/>
              <a:gd name="connsiteY55" fmla="*/ 577327 h 1262941"/>
              <a:gd name="connsiteX56" fmla="*/ 90586 w 1187561"/>
              <a:gd name="connsiteY56" fmla="*/ 765126 h 1262941"/>
              <a:gd name="connsiteX57" fmla="*/ 47903 w 1187561"/>
              <a:gd name="connsiteY57" fmla="*/ 794935 h 1262941"/>
              <a:gd name="connsiteX58" fmla="*/ 28769 w 1187561"/>
              <a:gd name="connsiteY58" fmla="*/ 790464 h 1262941"/>
              <a:gd name="connsiteX59" fmla="*/ 3748 w 1187561"/>
              <a:gd name="connsiteY59" fmla="*/ 729355 h 1262941"/>
              <a:gd name="connsiteX60" fmla="*/ 177424 w 1187561"/>
              <a:gd name="connsiteY60" fmla="*/ 301592 h 1262941"/>
              <a:gd name="connsiteX61" fmla="*/ 221579 w 1187561"/>
              <a:gd name="connsiteY61" fmla="*/ 271782 h 1262941"/>
              <a:gd name="connsiteX62" fmla="*/ 873254 w 1187561"/>
              <a:gd name="connsiteY62" fmla="*/ 0 h 1262941"/>
              <a:gd name="connsiteX63" fmla="*/ 995592 w 1187561"/>
              <a:gd name="connsiteY63" fmla="*/ 123804 h 1262941"/>
              <a:gd name="connsiteX64" fmla="*/ 873254 w 1187561"/>
              <a:gd name="connsiteY64" fmla="*/ 247608 h 1262941"/>
              <a:gd name="connsiteX65" fmla="*/ 750916 w 1187561"/>
              <a:gd name="connsiteY65" fmla="*/ 123804 h 1262941"/>
              <a:gd name="connsiteX66" fmla="*/ 873254 w 1187561"/>
              <a:gd name="connsiteY66" fmla="*/ 0 h 1262941"/>
              <a:gd name="connsiteX67" fmla="*/ 315041 w 1187561"/>
              <a:gd name="connsiteY67" fmla="*/ 0 h 1262941"/>
              <a:gd name="connsiteX68" fmla="*/ 436647 w 1187561"/>
              <a:gd name="connsiteY68" fmla="*/ 123804 h 1262941"/>
              <a:gd name="connsiteX69" fmla="*/ 315041 w 1187561"/>
              <a:gd name="connsiteY69" fmla="*/ 247608 h 1262941"/>
              <a:gd name="connsiteX70" fmla="*/ 193435 w 1187561"/>
              <a:gd name="connsiteY70" fmla="*/ 123804 h 1262941"/>
              <a:gd name="connsiteX71" fmla="*/ 315041 w 1187561"/>
              <a:gd name="connsiteY71" fmla="*/ 0 h 126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1187561" h="1262941">
                <a:moveTo>
                  <a:pt x="221579" y="271782"/>
                </a:moveTo>
                <a:cubicBezTo>
                  <a:pt x="268678" y="271782"/>
                  <a:pt x="408502" y="271782"/>
                  <a:pt x="408502" y="271782"/>
                </a:cubicBezTo>
                <a:cubicBezTo>
                  <a:pt x="434995" y="271782"/>
                  <a:pt x="448241" y="289668"/>
                  <a:pt x="452657" y="301592"/>
                </a:cubicBezTo>
                <a:cubicBezTo>
                  <a:pt x="452657" y="301592"/>
                  <a:pt x="452657" y="301592"/>
                  <a:pt x="568932" y="587761"/>
                </a:cubicBezTo>
                <a:cubicBezTo>
                  <a:pt x="568932" y="587761"/>
                  <a:pt x="568932" y="587761"/>
                  <a:pt x="593148" y="647496"/>
                </a:cubicBezTo>
                <a:lnTo>
                  <a:pt x="593814" y="649138"/>
                </a:lnTo>
                <a:lnTo>
                  <a:pt x="595074" y="645889"/>
                </a:lnTo>
                <a:cubicBezTo>
                  <a:pt x="595074" y="645889"/>
                  <a:pt x="595074" y="645889"/>
                  <a:pt x="736371" y="301592"/>
                </a:cubicBezTo>
                <a:cubicBezTo>
                  <a:pt x="743730" y="282216"/>
                  <a:pt x="761392" y="271782"/>
                  <a:pt x="779055" y="271782"/>
                </a:cubicBezTo>
                <a:cubicBezTo>
                  <a:pt x="779055" y="271782"/>
                  <a:pt x="779055" y="271782"/>
                  <a:pt x="780527" y="271782"/>
                </a:cubicBezTo>
                <a:cubicBezTo>
                  <a:pt x="780527" y="271782"/>
                  <a:pt x="780527" y="271782"/>
                  <a:pt x="965979" y="271782"/>
                </a:cubicBezTo>
                <a:cubicBezTo>
                  <a:pt x="965979" y="271782"/>
                  <a:pt x="965979" y="271782"/>
                  <a:pt x="967451" y="271782"/>
                </a:cubicBezTo>
                <a:cubicBezTo>
                  <a:pt x="985114" y="271782"/>
                  <a:pt x="1002776" y="282216"/>
                  <a:pt x="1010135" y="301592"/>
                </a:cubicBezTo>
                <a:cubicBezTo>
                  <a:pt x="1010135" y="301592"/>
                  <a:pt x="1010135" y="301592"/>
                  <a:pt x="1124939" y="584780"/>
                </a:cubicBezTo>
                <a:cubicBezTo>
                  <a:pt x="1124939" y="584780"/>
                  <a:pt x="1124939" y="584780"/>
                  <a:pt x="1183813" y="729355"/>
                </a:cubicBezTo>
                <a:cubicBezTo>
                  <a:pt x="1194116" y="753202"/>
                  <a:pt x="1182341" y="781521"/>
                  <a:pt x="1158792" y="790464"/>
                </a:cubicBezTo>
                <a:cubicBezTo>
                  <a:pt x="1152904" y="793445"/>
                  <a:pt x="1147017" y="794935"/>
                  <a:pt x="1141129" y="794935"/>
                </a:cubicBezTo>
                <a:cubicBezTo>
                  <a:pt x="1121995" y="794935"/>
                  <a:pt x="1104333" y="783012"/>
                  <a:pt x="1096974" y="765126"/>
                </a:cubicBezTo>
                <a:cubicBezTo>
                  <a:pt x="1096974" y="765126"/>
                  <a:pt x="1096974" y="765126"/>
                  <a:pt x="1020438" y="577327"/>
                </a:cubicBezTo>
                <a:cubicBezTo>
                  <a:pt x="1020438" y="577327"/>
                  <a:pt x="1020438" y="577327"/>
                  <a:pt x="1020438" y="1198851"/>
                </a:cubicBezTo>
                <a:cubicBezTo>
                  <a:pt x="1020438" y="1231641"/>
                  <a:pt x="995416" y="1261451"/>
                  <a:pt x="961564" y="1262941"/>
                </a:cubicBezTo>
                <a:cubicBezTo>
                  <a:pt x="926240" y="1262941"/>
                  <a:pt x="898274" y="1234622"/>
                  <a:pt x="898274" y="1200342"/>
                </a:cubicBezTo>
                <a:cubicBezTo>
                  <a:pt x="898274" y="1200342"/>
                  <a:pt x="898274" y="1200342"/>
                  <a:pt x="898274" y="860516"/>
                </a:cubicBezTo>
                <a:cubicBezTo>
                  <a:pt x="898274" y="845611"/>
                  <a:pt x="885028" y="835178"/>
                  <a:pt x="871781" y="835178"/>
                </a:cubicBezTo>
                <a:cubicBezTo>
                  <a:pt x="858534" y="836668"/>
                  <a:pt x="848232" y="848592"/>
                  <a:pt x="848232" y="862006"/>
                </a:cubicBezTo>
                <a:cubicBezTo>
                  <a:pt x="848232" y="862006"/>
                  <a:pt x="848232" y="862006"/>
                  <a:pt x="848232" y="1198851"/>
                </a:cubicBezTo>
                <a:cubicBezTo>
                  <a:pt x="848232" y="1231641"/>
                  <a:pt x="823210" y="1261451"/>
                  <a:pt x="789358" y="1262941"/>
                </a:cubicBezTo>
                <a:cubicBezTo>
                  <a:pt x="754033" y="1262941"/>
                  <a:pt x="726068" y="1234622"/>
                  <a:pt x="726068" y="1200342"/>
                </a:cubicBezTo>
                <a:cubicBezTo>
                  <a:pt x="726068" y="1200342"/>
                  <a:pt x="726068" y="1200342"/>
                  <a:pt x="726068" y="575837"/>
                </a:cubicBezTo>
                <a:cubicBezTo>
                  <a:pt x="726068" y="575837"/>
                  <a:pt x="726068" y="575837"/>
                  <a:pt x="698103" y="641417"/>
                </a:cubicBezTo>
                <a:cubicBezTo>
                  <a:pt x="698103" y="641417"/>
                  <a:pt x="698103" y="641417"/>
                  <a:pt x="648060" y="765126"/>
                </a:cubicBezTo>
                <a:cubicBezTo>
                  <a:pt x="640701" y="783012"/>
                  <a:pt x="623039" y="794935"/>
                  <a:pt x="605377" y="794935"/>
                </a:cubicBezTo>
                <a:cubicBezTo>
                  <a:pt x="602433" y="794935"/>
                  <a:pt x="598017" y="794935"/>
                  <a:pt x="595074" y="793445"/>
                </a:cubicBezTo>
                <a:lnTo>
                  <a:pt x="591714" y="792084"/>
                </a:lnTo>
                <a:lnTo>
                  <a:pt x="583650" y="793445"/>
                </a:lnTo>
                <a:cubicBezTo>
                  <a:pt x="564516" y="793445"/>
                  <a:pt x="546854" y="783012"/>
                  <a:pt x="539495" y="765126"/>
                </a:cubicBezTo>
                <a:cubicBezTo>
                  <a:pt x="539495" y="765126"/>
                  <a:pt x="539495" y="765126"/>
                  <a:pt x="489453" y="641417"/>
                </a:cubicBezTo>
                <a:cubicBezTo>
                  <a:pt x="489453" y="641417"/>
                  <a:pt x="489453" y="641417"/>
                  <a:pt x="490925" y="641417"/>
                </a:cubicBezTo>
                <a:cubicBezTo>
                  <a:pt x="490925" y="641417"/>
                  <a:pt x="490925" y="641417"/>
                  <a:pt x="462960" y="574347"/>
                </a:cubicBezTo>
                <a:cubicBezTo>
                  <a:pt x="462960" y="574347"/>
                  <a:pt x="462960" y="574347"/>
                  <a:pt x="462960" y="610118"/>
                </a:cubicBezTo>
                <a:cubicBezTo>
                  <a:pt x="462960" y="610118"/>
                  <a:pt x="462960" y="610118"/>
                  <a:pt x="549798" y="885854"/>
                </a:cubicBezTo>
                <a:cubicBezTo>
                  <a:pt x="564516" y="933549"/>
                  <a:pt x="530664" y="979753"/>
                  <a:pt x="482094" y="979753"/>
                </a:cubicBezTo>
                <a:cubicBezTo>
                  <a:pt x="482094" y="979753"/>
                  <a:pt x="482094" y="979753"/>
                  <a:pt x="462960" y="979753"/>
                </a:cubicBezTo>
                <a:cubicBezTo>
                  <a:pt x="462960" y="979753"/>
                  <a:pt x="462960" y="979753"/>
                  <a:pt x="462960" y="1198851"/>
                </a:cubicBezTo>
                <a:cubicBezTo>
                  <a:pt x="462960" y="1231641"/>
                  <a:pt x="436467" y="1261451"/>
                  <a:pt x="404086" y="1262941"/>
                </a:cubicBezTo>
                <a:cubicBezTo>
                  <a:pt x="368762" y="1262941"/>
                  <a:pt x="339326" y="1234622"/>
                  <a:pt x="339326" y="1200342"/>
                </a:cubicBezTo>
                <a:cubicBezTo>
                  <a:pt x="339326" y="1200342"/>
                  <a:pt x="339326" y="1200342"/>
                  <a:pt x="339326" y="979753"/>
                </a:cubicBezTo>
                <a:cubicBezTo>
                  <a:pt x="339326" y="979753"/>
                  <a:pt x="339326" y="979753"/>
                  <a:pt x="290755" y="979753"/>
                </a:cubicBezTo>
                <a:cubicBezTo>
                  <a:pt x="290755" y="979753"/>
                  <a:pt x="290755" y="979753"/>
                  <a:pt x="290755" y="1198851"/>
                </a:cubicBezTo>
                <a:cubicBezTo>
                  <a:pt x="290755" y="1231641"/>
                  <a:pt x="264262" y="1261451"/>
                  <a:pt x="230410" y="1262941"/>
                </a:cubicBezTo>
                <a:cubicBezTo>
                  <a:pt x="196558" y="1262941"/>
                  <a:pt x="167121" y="1234622"/>
                  <a:pt x="167121" y="1200342"/>
                </a:cubicBezTo>
                <a:cubicBezTo>
                  <a:pt x="167121" y="1200342"/>
                  <a:pt x="167121" y="1200342"/>
                  <a:pt x="167121" y="979753"/>
                </a:cubicBezTo>
                <a:cubicBezTo>
                  <a:pt x="167121" y="979753"/>
                  <a:pt x="167121" y="979753"/>
                  <a:pt x="147987" y="979753"/>
                </a:cubicBezTo>
                <a:cubicBezTo>
                  <a:pt x="99417" y="979753"/>
                  <a:pt x="65565" y="933549"/>
                  <a:pt x="80283" y="885854"/>
                </a:cubicBezTo>
                <a:cubicBezTo>
                  <a:pt x="80283" y="885854"/>
                  <a:pt x="80283" y="885854"/>
                  <a:pt x="167121" y="610118"/>
                </a:cubicBezTo>
                <a:cubicBezTo>
                  <a:pt x="167121" y="610118"/>
                  <a:pt x="167121" y="610118"/>
                  <a:pt x="167121" y="577327"/>
                </a:cubicBezTo>
                <a:cubicBezTo>
                  <a:pt x="167121" y="577327"/>
                  <a:pt x="167121" y="577327"/>
                  <a:pt x="90586" y="765126"/>
                </a:cubicBezTo>
                <a:cubicBezTo>
                  <a:pt x="83227" y="783012"/>
                  <a:pt x="65565" y="794935"/>
                  <a:pt x="47903" y="794935"/>
                </a:cubicBezTo>
                <a:cubicBezTo>
                  <a:pt x="42015" y="794935"/>
                  <a:pt x="34656" y="793445"/>
                  <a:pt x="28769" y="790464"/>
                </a:cubicBezTo>
                <a:cubicBezTo>
                  <a:pt x="5220" y="781521"/>
                  <a:pt x="-6555" y="753202"/>
                  <a:pt x="3748" y="729355"/>
                </a:cubicBezTo>
                <a:cubicBezTo>
                  <a:pt x="3748" y="729355"/>
                  <a:pt x="3748" y="729355"/>
                  <a:pt x="177424" y="301592"/>
                </a:cubicBezTo>
                <a:cubicBezTo>
                  <a:pt x="184783" y="282216"/>
                  <a:pt x="202445" y="271782"/>
                  <a:pt x="221579" y="271782"/>
                </a:cubicBezTo>
                <a:close/>
                <a:moveTo>
                  <a:pt x="873254" y="0"/>
                </a:moveTo>
                <a:cubicBezTo>
                  <a:pt x="940819" y="0"/>
                  <a:pt x="995592" y="55429"/>
                  <a:pt x="995592" y="123804"/>
                </a:cubicBezTo>
                <a:cubicBezTo>
                  <a:pt x="995592" y="192179"/>
                  <a:pt x="940819" y="247608"/>
                  <a:pt x="873254" y="247608"/>
                </a:cubicBezTo>
                <a:cubicBezTo>
                  <a:pt x="805689" y="247608"/>
                  <a:pt x="750916" y="192179"/>
                  <a:pt x="750916" y="123804"/>
                </a:cubicBezTo>
                <a:cubicBezTo>
                  <a:pt x="750916" y="55429"/>
                  <a:pt x="805689" y="0"/>
                  <a:pt x="873254" y="0"/>
                </a:cubicBezTo>
                <a:close/>
                <a:moveTo>
                  <a:pt x="315041" y="0"/>
                </a:moveTo>
                <a:cubicBezTo>
                  <a:pt x="382202" y="0"/>
                  <a:pt x="436647" y="55429"/>
                  <a:pt x="436647" y="123804"/>
                </a:cubicBezTo>
                <a:cubicBezTo>
                  <a:pt x="436647" y="192179"/>
                  <a:pt x="382202" y="247608"/>
                  <a:pt x="315041" y="247608"/>
                </a:cubicBezTo>
                <a:cubicBezTo>
                  <a:pt x="247880" y="247608"/>
                  <a:pt x="193435" y="192179"/>
                  <a:pt x="193435" y="123804"/>
                </a:cubicBezTo>
                <a:cubicBezTo>
                  <a:pt x="193435" y="55429"/>
                  <a:pt x="247880" y="0"/>
                  <a:pt x="315041" y="0"/>
                </a:cubicBezTo>
                <a:close/>
              </a:path>
            </a:pathLst>
          </a:custGeom>
          <a:solidFill>
            <a:schemeClr val="accent1">
              <a:alpha val="52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952C7510-457A-E14E-0994-405561EADD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0685" y="3628855"/>
            <a:ext cx="736868" cy="783640"/>
          </a:xfrm>
          <a:custGeom>
            <a:avLst/>
            <a:gdLst>
              <a:gd name="connsiteX0" fmla="*/ 221579 w 1187561"/>
              <a:gd name="connsiteY0" fmla="*/ 271782 h 1262941"/>
              <a:gd name="connsiteX1" fmla="*/ 408502 w 1187561"/>
              <a:gd name="connsiteY1" fmla="*/ 271782 h 1262941"/>
              <a:gd name="connsiteX2" fmla="*/ 452657 w 1187561"/>
              <a:gd name="connsiteY2" fmla="*/ 301592 h 1262941"/>
              <a:gd name="connsiteX3" fmla="*/ 568932 w 1187561"/>
              <a:gd name="connsiteY3" fmla="*/ 587761 h 1262941"/>
              <a:gd name="connsiteX4" fmla="*/ 593148 w 1187561"/>
              <a:gd name="connsiteY4" fmla="*/ 647496 h 1262941"/>
              <a:gd name="connsiteX5" fmla="*/ 593814 w 1187561"/>
              <a:gd name="connsiteY5" fmla="*/ 649138 h 1262941"/>
              <a:gd name="connsiteX6" fmla="*/ 595074 w 1187561"/>
              <a:gd name="connsiteY6" fmla="*/ 645889 h 1262941"/>
              <a:gd name="connsiteX7" fmla="*/ 736371 w 1187561"/>
              <a:gd name="connsiteY7" fmla="*/ 301592 h 1262941"/>
              <a:gd name="connsiteX8" fmla="*/ 779055 w 1187561"/>
              <a:gd name="connsiteY8" fmla="*/ 271782 h 1262941"/>
              <a:gd name="connsiteX9" fmla="*/ 780527 w 1187561"/>
              <a:gd name="connsiteY9" fmla="*/ 271782 h 1262941"/>
              <a:gd name="connsiteX10" fmla="*/ 965979 w 1187561"/>
              <a:gd name="connsiteY10" fmla="*/ 271782 h 1262941"/>
              <a:gd name="connsiteX11" fmla="*/ 967451 w 1187561"/>
              <a:gd name="connsiteY11" fmla="*/ 271782 h 1262941"/>
              <a:gd name="connsiteX12" fmla="*/ 1010135 w 1187561"/>
              <a:gd name="connsiteY12" fmla="*/ 301592 h 1262941"/>
              <a:gd name="connsiteX13" fmla="*/ 1124939 w 1187561"/>
              <a:gd name="connsiteY13" fmla="*/ 584780 h 1262941"/>
              <a:gd name="connsiteX14" fmla="*/ 1183813 w 1187561"/>
              <a:gd name="connsiteY14" fmla="*/ 729355 h 1262941"/>
              <a:gd name="connsiteX15" fmla="*/ 1158792 w 1187561"/>
              <a:gd name="connsiteY15" fmla="*/ 790464 h 1262941"/>
              <a:gd name="connsiteX16" fmla="*/ 1141129 w 1187561"/>
              <a:gd name="connsiteY16" fmla="*/ 794935 h 1262941"/>
              <a:gd name="connsiteX17" fmla="*/ 1096974 w 1187561"/>
              <a:gd name="connsiteY17" fmla="*/ 765126 h 1262941"/>
              <a:gd name="connsiteX18" fmla="*/ 1020438 w 1187561"/>
              <a:gd name="connsiteY18" fmla="*/ 577327 h 1262941"/>
              <a:gd name="connsiteX19" fmla="*/ 1020438 w 1187561"/>
              <a:gd name="connsiteY19" fmla="*/ 1198851 h 1262941"/>
              <a:gd name="connsiteX20" fmla="*/ 961564 w 1187561"/>
              <a:gd name="connsiteY20" fmla="*/ 1262941 h 1262941"/>
              <a:gd name="connsiteX21" fmla="*/ 898274 w 1187561"/>
              <a:gd name="connsiteY21" fmla="*/ 1200342 h 1262941"/>
              <a:gd name="connsiteX22" fmla="*/ 898274 w 1187561"/>
              <a:gd name="connsiteY22" fmla="*/ 860516 h 1262941"/>
              <a:gd name="connsiteX23" fmla="*/ 871781 w 1187561"/>
              <a:gd name="connsiteY23" fmla="*/ 835178 h 1262941"/>
              <a:gd name="connsiteX24" fmla="*/ 848232 w 1187561"/>
              <a:gd name="connsiteY24" fmla="*/ 862006 h 1262941"/>
              <a:gd name="connsiteX25" fmla="*/ 848232 w 1187561"/>
              <a:gd name="connsiteY25" fmla="*/ 1198851 h 1262941"/>
              <a:gd name="connsiteX26" fmla="*/ 789358 w 1187561"/>
              <a:gd name="connsiteY26" fmla="*/ 1262941 h 1262941"/>
              <a:gd name="connsiteX27" fmla="*/ 726068 w 1187561"/>
              <a:gd name="connsiteY27" fmla="*/ 1200342 h 1262941"/>
              <a:gd name="connsiteX28" fmla="*/ 726068 w 1187561"/>
              <a:gd name="connsiteY28" fmla="*/ 575837 h 1262941"/>
              <a:gd name="connsiteX29" fmla="*/ 698103 w 1187561"/>
              <a:gd name="connsiteY29" fmla="*/ 641417 h 1262941"/>
              <a:gd name="connsiteX30" fmla="*/ 648060 w 1187561"/>
              <a:gd name="connsiteY30" fmla="*/ 765126 h 1262941"/>
              <a:gd name="connsiteX31" fmla="*/ 605377 w 1187561"/>
              <a:gd name="connsiteY31" fmla="*/ 794935 h 1262941"/>
              <a:gd name="connsiteX32" fmla="*/ 595074 w 1187561"/>
              <a:gd name="connsiteY32" fmla="*/ 793445 h 1262941"/>
              <a:gd name="connsiteX33" fmla="*/ 591714 w 1187561"/>
              <a:gd name="connsiteY33" fmla="*/ 792084 h 1262941"/>
              <a:gd name="connsiteX34" fmla="*/ 583650 w 1187561"/>
              <a:gd name="connsiteY34" fmla="*/ 793445 h 1262941"/>
              <a:gd name="connsiteX35" fmla="*/ 539495 w 1187561"/>
              <a:gd name="connsiteY35" fmla="*/ 765126 h 1262941"/>
              <a:gd name="connsiteX36" fmla="*/ 489453 w 1187561"/>
              <a:gd name="connsiteY36" fmla="*/ 641417 h 1262941"/>
              <a:gd name="connsiteX37" fmla="*/ 490925 w 1187561"/>
              <a:gd name="connsiteY37" fmla="*/ 641417 h 1262941"/>
              <a:gd name="connsiteX38" fmla="*/ 462960 w 1187561"/>
              <a:gd name="connsiteY38" fmla="*/ 574347 h 1262941"/>
              <a:gd name="connsiteX39" fmla="*/ 462960 w 1187561"/>
              <a:gd name="connsiteY39" fmla="*/ 610118 h 1262941"/>
              <a:gd name="connsiteX40" fmla="*/ 549798 w 1187561"/>
              <a:gd name="connsiteY40" fmla="*/ 885854 h 1262941"/>
              <a:gd name="connsiteX41" fmla="*/ 482094 w 1187561"/>
              <a:gd name="connsiteY41" fmla="*/ 979753 h 1262941"/>
              <a:gd name="connsiteX42" fmla="*/ 462960 w 1187561"/>
              <a:gd name="connsiteY42" fmla="*/ 979753 h 1262941"/>
              <a:gd name="connsiteX43" fmla="*/ 462960 w 1187561"/>
              <a:gd name="connsiteY43" fmla="*/ 1198851 h 1262941"/>
              <a:gd name="connsiteX44" fmla="*/ 404086 w 1187561"/>
              <a:gd name="connsiteY44" fmla="*/ 1262941 h 1262941"/>
              <a:gd name="connsiteX45" fmla="*/ 339326 w 1187561"/>
              <a:gd name="connsiteY45" fmla="*/ 1200342 h 1262941"/>
              <a:gd name="connsiteX46" fmla="*/ 339326 w 1187561"/>
              <a:gd name="connsiteY46" fmla="*/ 979753 h 1262941"/>
              <a:gd name="connsiteX47" fmla="*/ 290755 w 1187561"/>
              <a:gd name="connsiteY47" fmla="*/ 979753 h 1262941"/>
              <a:gd name="connsiteX48" fmla="*/ 290755 w 1187561"/>
              <a:gd name="connsiteY48" fmla="*/ 1198851 h 1262941"/>
              <a:gd name="connsiteX49" fmla="*/ 230410 w 1187561"/>
              <a:gd name="connsiteY49" fmla="*/ 1262941 h 1262941"/>
              <a:gd name="connsiteX50" fmla="*/ 167121 w 1187561"/>
              <a:gd name="connsiteY50" fmla="*/ 1200342 h 1262941"/>
              <a:gd name="connsiteX51" fmla="*/ 167121 w 1187561"/>
              <a:gd name="connsiteY51" fmla="*/ 979753 h 1262941"/>
              <a:gd name="connsiteX52" fmla="*/ 147987 w 1187561"/>
              <a:gd name="connsiteY52" fmla="*/ 979753 h 1262941"/>
              <a:gd name="connsiteX53" fmla="*/ 80283 w 1187561"/>
              <a:gd name="connsiteY53" fmla="*/ 885854 h 1262941"/>
              <a:gd name="connsiteX54" fmla="*/ 167121 w 1187561"/>
              <a:gd name="connsiteY54" fmla="*/ 610118 h 1262941"/>
              <a:gd name="connsiteX55" fmla="*/ 167121 w 1187561"/>
              <a:gd name="connsiteY55" fmla="*/ 577327 h 1262941"/>
              <a:gd name="connsiteX56" fmla="*/ 90586 w 1187561"/>
              <a:gd name="connsiteY56" fmla="*/ 765126 h 1262941"/>
              <a:gd name="connsiteX57" fmla="*/ 47903 w 1187561"/>
              <a:gd name="connsiteY57" fmla="*/ 794935 h 1262941"/>
              <a:gd name="connsiteX58" fmla="*/ 28769 w 1187561"/>
              <a:gd name="connsiteY58" fmla="*/ 790464 h 1262941"/>
              <a:gd name="connsiteX59" fmla="*/ 3748 w 1187561"/>
              <a:gd name="connsiteY59" fmla="*/ 729355 h 1262941"/>
              <a:gd name="connsiteX60" fmla="*/ 177424 w 1187561"/>
              <a:gd name="connsiteY60" fmla="*/ 301592 h 1262941"/>
              <a:gd name="connsiteX61" fmla="*/ 221579 w 1187561"/>
              <a:gd name="connsiteY61" fmla="*/ 271782 h 1262941"/>
              <a:gd name="connsiteX62" fmla="*/ 873254 w 1187561"/>
              <a:gd name="connsiteY62" fmla="*/ 0 h 1262941"/>
              <a:gd name="connsiteX63" fmla="*/ 995592 w 1187561"/>
              <a:gd name="connsiteY63" fmla="*/ 123804 h 1262941"/>
              <a:gd name="connsiteX64" fmla="*/ 873254 w 1187561"/>
              <a:gd name="connsiteY64" fmla="*/ 247608 h 1262941"/>
              <a:gd name="connsiteX65" fmla="*/ 750916 w 1187561"/>
              <a:gd name="connsiteY65" fmla="*/ 123804 h 1262941"/>
              <a:gd name="connsiteX66" fmla="*/ 873254 w 1187561"/>
              <a:gd name="connsiteY66" fmla="*/ 0 h 1262941"/>
              <a:gd name="connsiteX67" fmla="*/ 315041 w 1187561"/>
              <a:gd name="connsiteY67" fmla="*/ 0 h 1262941"/>
              <a:gd name="connsiteX68" fmla="*/ 436647 w 1187561"/>
              <a:gd name="connsiteY68" fmla="*/ 123804 h 1262941"/>
              <a:gd name="connsiteX69" fmla="*/ 315041 w 1187561"/>
              <a:gd name="connsiteY69" fmla="*/ 247608 h 1262941"/>
              <a:gd name="connsiteX70" fmla="*/ 193435 w 1187561"/>
              <a:gd name="connsiteY70" fmla="*/ 123804 h 1262941"/>
              <a:gd name="connsiteX71" fmla="*/ 315041 w 1187561"/>
              <a:gd name="connsiteY71" fmla="*/ 0 h 1262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1187561" h="1262941">
                <a:moveTo>
                  <a:pt x="221579" y="271782"/>
                </a:moveTo>
                <a:cubicBezTo>
                  <a:pt x="268678" y="271782"/>
                  <a:pt x="408502" y="271782"/>
                  <a:pt x="408502" y="271782"/>
                </a:cubicBezTo>
                <a:cubicBezTo>
                  <a:pt x="434995" y="271782"/>
                  <a:pt x="448241" y="289668"/>
                  <a:pt x="452657" y="301592"/>
                </a:cubicBezTo>
                <a:cubicBezTo>
                  <a:pt x="452657" y="301592"/>
                  <a:pt x="452657" y="301592"/>
                  <a:pt x="568932" y="587761"/>
                </a:cubicBezTo>
                <a:cubicBezTo>
                  <a:pt x="568932" y="587761"/>
                  <a:pt x="568932" y="587761"/>
                  <a:pt x="593148" y="647496"/>
                </a:cubicBezTo>
                <a:lnTo>
                  <a:pt x="593814" y="649138"/>
                </a:lnTo>
                <a:lnTo>
                  <a:pt x="595074" y="645889"/>
                </a:lnTo>
                <a:cubicBezTo>
                  <a:pt x="595074" y="645889"/>
                  <a:pt x="595074" y="645889"/>
                  <a:pt x="736371" y="301592"/>
                </a:cubicBezTo>
                <a:cubicBezTo>
                  <a:pt x="743730" y="282216"/>
                  <a:pt x="761392" y="271782"/>
                  <a:pt x="779055" y="271782"/>
                </a:cubicBezTo>
                <a:cubicBezTo>
                  <a:pt x="779055" y="271782"/>
                  <a:pt x="779055" y="271782"/>
                  <a:pt x="780527" y="271782"/>
                </a:cubicBezTo>
                <a:cubicBezTo>
                  <a:pt x="780527" y="271782"/>
                  <a:pt x="780527" y="271782"/>
                  <a:pt x="965979" y="271782"/>
                </a:cubicBezTo>
                <a:cubicBezTo>
                  <a:pt x="965979" y="271782"/>
                  <a:pt x="965979" y="271782"/>
                  <a:pt x="967451" y="271782"/>
                </a:cubicBezTo>
                <a:cubicBezTo>
                  <a:pt x="985114" y="271782"/>
                  <a:pt x="1002776" y="282216"/>
                  <a:pt x="1010135" y="301592"/>
                </a:cubicBezTo>
                <a:cubicBezTo>
                  <a:pt x="1010135" y="301592"/>
                  <a:pt x="1010135" y="301592"/>
                  <a:pt x="1124939" y="584780"/>
                </a:cubicBezTo>
                <a:cubicBezTo>
                  <a:pt x="1124939" y="584780"/>
                  <a:pt x="1124939" y="584780"/>
                  <a:pt x="1183813" y="729355"/>
                </a:cubicBezTo>
                <a:cubicBezTo>
                  <a:pt x="1194116" y="753202"/>
                  <a:pt x="1182341" y="781521"/>
                  <a:pt x="1158792" y="790464"/>
                </a:cubicBezTo>
                <a:cubicBezTo>
                  <a:pt x="1152904" y="793445"/>
                  <a:pt x="1147017" y="794935"/>
                  <a:pt x="1141129" y="794935"/>
                </a:cubicBezTo>
                <a:cubicBezTo>
                  <a:pt x="1121995" y="794935"/>
                  <a:pt x="1104333" y="783012"/>
                  <a:pt x="1096974" y="765126"/>
                </a:cubicBezTo>
                <a:cubicBezTo>
                  <a:pt x="1096974" y="765126"/>
                  <a:pt x="1096974" y="765126"/>
                  <a:pt x="1020438" y="577327"/>
                </a:cubicBezTo>
                <a:cubicBezTo>
                  <a:pt x="1020438" y="577327"/>
                  <a:pt x="1020438" y="577327"/>
                  <a:pt x="1020438" y="1198851"/>
                </a:cubicBezTo>
                <a:cubicBezTo>
                  <a:pt x="1020438" y="1231641"/>
                  <a:pt x="995416" y="1261451"/>
                  <a:pt x="961564" y="1262941"/>
                </a:cubicBezTo>
                <a:cubicBezTo>
                  <a:pt x="926240" y="1262941"/>
                  <a:pt x="898274" y="1234622"/>
                  <a:pt x="898274" y="1200342"/>
                </a:cubicBezTo>
                <a:cubicBezTo>
                  <a:pt x="898274" y="1200342"/>
                  <a:pt x="898274" y="1200342"/>
                  <a:pt x="898274" y="860516"/>
                </a:cubicBezTo>
                <a:cubicBezTo>
                  <a:pt x="898274" y="845611"/>
                  <a:pt x="885028" y="835178"/>
                  <a:pt x="871781" y="835178"/>
                </a:cubicBezTo>
                <a:cubicBezTo>
                  <a:pt x="858534" y="836668"/>
                  <a:pt x="848232" y="848592"/>
                  <a:pt x="848232" y="862006"/>
                </a:cubicBezTo>
                <a:cubicBezTo>
                  <a:pt x="848232" y="862006"/>
                  <a:pt x="848232" y="862006"/>
                  <a:pt x="848232" y="1198851"/>
                </a:cubicBezTo>
                <a:cubicBezTo>
                  <a:pt x="848232" y="1231641"/>
                  <a:pt x="823210" y="1261451"/>
                  <a:pt x="789358" y="1262941"/>
                </a:cubicBezTo>
                <a:cubicBezTo>
                  <a:pt x="754033" y="1262941"/>
                  <a:pt x="726068" y="1234622"/>
                  <a:pt x="726068" y="1200342"/>
                </a:cubicBezTo>
                <a:cubicBezTo>
                  <a:pt x="726068" y="1200342"/>
                  <a:pt x="726068" y="1200342"/>
                  <a:pt x="726068" y="575837"/>
                </a:cubicBezTo>
                <a:cubicBezTo>
                  <a:pt x="726068" y="575837"/>
                  <a:pt x="726068" y="575837"/>
                  <a:pt x="698103" y="641417"/>
                </a:cubicBezTo>
                <a:cubicBezTo>
                  <a:pt x="698103" y="641417"/>
                  <a:pt x="698103" y="641417"/>
                  <a:pt x="648060" y="765126"/>
                </a:cubicBezTo>
                <a:cubicBezTo>
                  <a:pt x="640701" y="783012"/>
                  <a:pt x="623039" y="794935"/>
                  <a:pt x="605377" y="794935"/>
                </a:cubicBezTo>
                <a:cubicBezTo>
                  <a:pt x="602433" y="794935"/>
                  <a:pt x="598017" y="794935"/>
                  <a:pt x="595074" y="793445"/>
                </a:cubicBezTo>
                <a:lnTo>
                  <a:pt x="591714" y="792084"/>
                </a:lnTo>
                <a:lnTo>
                  <a:pt x="583650" y="793445"/>
                </a:lnTo>
                <a:cubicBezTo>
                  <a:pt x="564516" y="793445"/>
                  <a:pt x="546854" y="783012"/>
                  <a:pt x="539495" y="765126"/>
                </a:cubicBezTo>
                <a:cubicBezTo>
                  <a:pt x="539495" y="765126"/>
                  <a:pt x="539495" y="765126"/>
                  <a:pt x="489453" y="641417"/>
                </a:cubicBezTo>
                <a:cubicBezTo>
                  <a:pt x="489453" y="641417"/>
                  <a:pt x="489453" y="641417"/>
                  <a:pt x="490925" y="641417"/>
                </a:cubicBezTo>
                <a:cubicBezTo>
                  <a:pt x="490925" y="641417"/>
                  <a:pt x="490925" y="641417"/>
                  <a:pt x="462960" y="574347"/>
                </a:cubicBezTo>
                <a:cubicBezTo>
                  <a:pt x="462960" y="574347"/>
                  <a:pt x="462960" y="574347"/>
                  <a:pt x="462960" y="610118"/>
                </a:cubicBezTo>
                <a:cubicBezTo>
                  <a:pt x="462960" y="610118"/>
                  <a:pt x="462960" y="610118"/>
                  <a:pt x="549798" y="885854"/>
                </a:cubicBezTo>
                <a:cubicBezTo>
                  <a:pt x="564516" y="933549"/>
                  <a:pt x="530664" y="979753"/>
                  <a:pt x="482094" y="979753"/>
                </a:cubicBezTo>
                <a:cubicBezTo>
                  <a:pt x="482094" y="979753"/>
                  <a:pt x="482094" y="979753"/>
                  <a:pt x="462960" y="979753"/>
                </a:cubicBezTo>
                <a:cubicBezTo>
                  <a:pt x="462960" y="979753"/>
                  <a:pt x="462960" y="979753"/>
                  <a:pt x="462960" y="1198851"/>
                </a:cubicBezTo>
                <a:cubicBezTo>
                  <a:pt x="462960" y="1231641"/>
                  <a:pt x="436467" y="1261451"/>
                  <a:pt x="404086" y="1262941"/>
                </a:cubicBezTo>
                <a:cubicBezTo>
                  <a:pt x="368762" y="1262941"/>
                  <a:pt x="339326" y="1234622"/>
                  <a:pt x="339326" y="1200342"/>
                </a:cubicBezTo>
                <a:cubicBezTo>
                  <a:pt x="339326" y="1200342"/>
                  <a:pt x="339326" y="1200342"/>
                  <a:pt x="339326" y="979753"/>
                </a:cubicBezTo>
                <a:cubicBezTo>
                  <a:pt x="339326" y="979753"/>
                  <a:pt x="339326" y="979753"/>
                  <a:pt x="290755" y="979753"/>
                </a:cubicBezTo>
                <a:cubicBezTo>
                  <a:pt x="290755" y="979753"/>
                  <a:pt x="290755" y="979753"/>
                  <a:pt x="290755" y="1198851"/>
                </a:cubicBezTo>
                <a:cubicBezTo>
                  <a:pt x="290755" y="1231641"/>
                  <a:pt x="264262" y="1261451"/>
                  <a:pt x="230410" y="1262941"/>
                </a:cubicBezTo>
                <a:cubicBezTo>
                  <a:pt x="196558" y="1262941"/>
                  <a:pt x="167121" y="1234622"/>
                  <a:pt x="167121" y="1200342"/>
                </a:cubicBezTo>
                <a:cubicBezTo>
                  <a:pt x="167121" y="1200342"/>
                  <a:pt x="167121" y="1200342"/>
                  <a:pt x="167121" y="979753"/>
                </a:cubicBezTo>
                <a:cubicBezTo>
                  <a:pt x="167121" y="979753"/>
                  <a:pt x="167121" y="979753"/>
                  <a:pt x="147987" y="979753"/>
                </a:cubicBezTo>
                <a:cubicBezTo>
                  <a:pt x="99417" y="979753"/>
                  <a:pt x="65565" y="933549"/>
                  <a:pt x="80283" y="885854"/>
                </a:cubicBezTo>
                <a:cubicBezTo>
                  <a:pt x="80283" y="885854"/>
                  <a:pt x="80283" y="885854"/>
                  <a:pt x="167121" y="610118"/>
                </a:cubicBezTo>
                <a:cubicBezTo>
                  <a:pt x="167121" y="610118"/>
                  <a:pt x="167121" y="610118"/>
                  <a:pt x="167121" y="577327"/>
                </a:cubicBezTo>
                <a:cubicBezTo>
                  <a:pt x="167121" y="577327"/>
                  <a:pt x="167121" y="577327"/>
                  <a:pt x="90586" y="765126"/>
                </a:cubicBezTo>
                <a:cubicBezTo>
                  <a:pt x="83227" y="783012"/>
                  <a:pt x="65565" y="794935"/>
                  <a:pt x="47903" y="794935"/>
                </a:cubicBezTo>
                <a:cubicBezTo>
                  <a:pt x="42015" y="794935"/>
                  <a:pt x="34656" y="793445"/>
                  <a:pt x="28769" y="790464"/>
                </a:cubicBezTo>
                <a:cubicBezTo>
                  <a:pt x="5220" y="781521"/>
                  <a:pt x="-6555" y="753202"/>
                  <a:pt x="3748" y="729355"/>
                </a:cubicBezTo>
                <a:cubicBezTo>
                  <a:pt x="3748" y="729355"/>
                  <a:pt x="3748" y="729355"/>
                  <a:pt x="177424" y="301592"/>
                </a:cubicBezTo>
                <a:cubicBezTo>
                  <a:pt x="184783" y="282216"/>
                  <a:pt x="202445" y="271782"/>
                  <a:pt x="221579" y="271782"/>
                </a:cubicBezTo>
                <a:close/>
                <a:moveTo>
                  <a:pt x="873254" y="0"/>
                </a:moveTo>
                <a:cubicBezTo>
                  <a:pt x="940819" y="0"/>
                  <a:pt x="995592" y="55429"/>
                  <a:pt x="995592" y="123804"/>
                </a:cubicBezTo>
                <a:cubicBezTo>
                  <a:pt x="995592" y="192179"/>
                  <a:pt x="940819" y="247608"/>
                  <a:pt x="873254" y="247608"/>
                </a:cubicBezTo>
                <a:cubicBezTo>
                  <a:pt x="805689" y="247608"/>
                  <a:pt x="750916" y="192179"/>
                  <a:pt x="750916" y="123804"/>
                </a:cubicBezTo>
                <a:cubicBezTo>
                  <a:pt x="750916" y="55429"/>
                  <a:pt x="805689" y="0"/>
                  <a:pt x="873254" y="0"/>
                </a:cubicBezTo>
                <a:close/>
                <a:moveTo>
                  <a:pt x="315041" y="0"/>
                </a:moveTo>
                <a:cubicBezTo>
                  <a:pt x="382202" y="0"/>
                  <a:pt x="436647" y="55429"/>
                  <a:pt x="436647" y="123804"/>
                </a:cubicBezTo>
                <a:cubicBezTo>
                  <a:pt x="436647" y="192179"/>
                  <a:pt x="382202" y="247608"/>
                  <a:pt x="315041" y="247608"/>
                </a:cubicBezTo>
                <a:cubicBezTo>
                  <a:pt x="247880" y="247608"/>
                  <a:pt x="193435" y="192179"/>
                  <a:pt x="193435" y="123804"/>
                </a:cubicBezTo>
                <a:cubicBezTo>
                  <a:pt x="193435" y="55429"/>
                  <a:pt x="247880" y="0"/>
                  <a:pt x="315041" y="0"/>
                </a:cubicBezTo>
                <a:close/>
              </a:path>
            </a:pathLst>
          </a:custGeom>
          <a:solidFill>
            <a:schemeClr val="accent1">
              <a:alpha val="52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3B7F787-BB64-566F-8A77-1D38C218564A}"/>
              </a:ext>
            </a:extLst>
          </p:cNvPr>
          <p:cNvSpPr/>
          <p:nvPr/>
        </p:nvSpPr>
        <p:spPr>
          <a:xfrm>
            <a:off x="0" y="0"/>
            <a:ext cx="4991100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eople Silhouettes</a:t>
            </a:r>
            <a:endParaRPr lang="en-C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7167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9">
            <a:extLst>
              <a:ext uri="{FF2B5EF4-FFF2-40B4-BE49-F238E27FC236}">
                <a16:creationId xmlns:a16="http://schemas.microsoft.com/office/drawing/2014/main" id="{6CD5235E-9EE8-7AE6-2ADA-A052F7D4D25A}"/>
              </a:ext>
            </a:extLst>
          </p:cNvPr>
          <p:cNvSpPr/>
          <p:nvPr/>
        </p:nvSpPr>
        <p:spPr>
          <a:xfrm>
            <a:off x="883525" y="1764335"/>
            <a:ext cx="1520850" cy="1700225"/>
          </a:xfrm>
          <a:custGeom>
            <a:avLst/>
            <a:gdLst>
              <a:gd name="connsiteX0" fmla="*/ 0 w 2377028"/>
              <a:gd name="connsiteY0" fmla="*/ 1188514 h 2377028"/>
              <a:gd name="connsiteX1" fmla="*/ 1188514 w 2377028"/>
              <a:gd name="connsiteY1" fmla="*/ 0 h 2377028"/>
              <a:gd name="connsiteX2" fmla="*/ 2377028 w 2377028"/>
              <a:gd name="connsiteY2" fmla="*/ 1188514 h 2377028"/>
              <a:gd name="connsiteX3" fmla="*/ 1188514 w 2377028"/>
              <a:gd name="connsiteY3" fmla="*/ 2377028 h 2377028"/>
              <a:gd name="connsiteX4" fmla="*/ 0 w 2377028"/>
              <a:gd name="connsiteY4" fmla="*/ 1188514 h 2377028"/>
              <a:gd name="connsiteX0" fmla="*/ 0 w 2393237"/>
              <a:gd name="connsiteY0" fmla="*/ 1420127 h 2608641"/>
              <a:gd name="connsiteX1" fmla="*/ 1188514 w 2393237"/>
              <a:gd name="connsiteY1" fmla="*/ 231613 h 2608641"/>
              <a:gd name="connsiteX2" fmla="*/ 2147388 w 2393237"/>
              <a:gd name="connsiteY2" fmla="*/ 104740 h 2608641"/>
              <a:gd name="connsiteX3" fmla="*/ 2377028 w 2393237"/>
              <a:gd name="connsiteY3" fmla="*/ 1420127 h 2608641"/>
              <a:gd name="connsiteX4" fmla="*/ 1188514 w 2393237"/>
              <a:gd name="connsiteY4" fmla="*/ 2608641 h 2608641"/>
              <a:gd name="connsiteX5" fmla="*/ 0 w 2393237"/>
              <a:gd name="connsiteY5" fmla="*/ 1420127 h 2608641"/>
              <a:gd name="connsiteX0" fmla="*/ 2079 w 2395316"/>
              <a:gd name="connsiteY0" fmla="*/ 1461026 h 2649540"/>
              <a:gd name="connsiteX1" fmla="*/ 935760 w 2395316"/>
              <a:gd name="connsiteY1" fmla="*/ 167581 h 2649540"/>
              <a:gd name="connsiteX2" fmla="*/ 2149467 w 2395316"/>
              <a:gd name="connsiteY2" fmla="*/ 145639 h 2649540"/>
              <a:gd name="connsiteX3" fmla="*/ 2379107 w 2395316"/>
              <a:gd name="connsiteY3" fmla="*/ 1461026 h 2649540"/>
              <a:gd name="connsiteX4" fmla="*/ 1190593 w 2395316"/>
              <a:gd name="connsiteY4" fmla="*/ 2649540 h 2649540"/>
              <a:gd name="connsiteX5" fmla="*/ 2079 w 2395316"/>
              <a:gd name="connsiteY5" fmla="*/ 1461026 h 2649540"/>
              <a:gd name="connsiteX0" fmla="*/ 2079 w 2479197"/>
              <a:gd name="connsiteY0" fmla="*/ 1461026 h 2650740"/>
              <a:gd name="connsiteX1" fmla="*/ 935760 w 2479197"/>
              <a:gd name="connsiteY1" fmla="*/ 167581 h 2650740"/>
              <a:gd name="connsiteX2" fmla="*/ 2149467 w 2479197"/>
              <a:gd name="connsiteY2" fmla="*/ 145639 h 2650740"/>
              <a:gd name="connsiteX3" fmla="*/ 2469048 w 2479197"/>
              <a:gd name="connsiteY3" fmla="*/ 1655899 h 2650740"/>
              <a:gd name="connsiteX4" fmla="*/ 1190593 w 2479197"/>
              <a:gd name="connsiteY4" fmla="*/ 2649540 h 2650740"/>
              <a:gd name="connsiteX5" fmla="*/ 2079 w 2479197"/>
              <a:gd name="connsiteY5" fmla="*/ 1461026 h 2650740"/>
              <a:gd name="connsiteX0" fmla="*/ 10866 w 2487984"/>
              <a:gd name="connsiteY0" fmla="*/ 1461026 h 2800421"/>
              <a:gd name="connsiteX1" fmla="*/ 944547 w 2487984"/>
              <a:gd name="connsiteY1" fmla="*/ 167581 h 2800421"/>
              <a:gd name="connsiteX2" fmla="*/ 2158254 w 2487984"/>
              <a:gd name="connsiteY2" fmla="*/ 145639 h 2800421"/>
              <a:gd name="connsiteX3" fmla="*/ 2477835 w 2487984"/>
              <a:gd name="connsiteY3" fmla="*/ 1655899 h 2800421"/>
              <a:gd name="connsiteX4" fmla="*/ 1574134 w 2487984"/>
              <a:gd name="connsiteY4" fmla="*/ 2799442 h 2800421"/>
              <a:gd name="connsiteX5" fmla="*/ 10866 w 2487984"/>
              <a:gd name="connsiteY5" fmla="*/ 1461026 h 2800421"/>
              <a:gd name="connsiteX0" fmla="*/ 10866 w 2487984"/>
              <a:gd name="connsiteY0" fmla="*/ 1461026 h 2804517"/>
              <a:gd name="connsiteX1" fmla="*/ 944547 w 2487984"/>
              <a:gd name="connsiteY1" fmla="*/ 167581 h 2804517"/>
              <a:gd name="connsiteX2" fmla="*/ 2158254 w 2487984"/>
              <a:gd name="connsiteY2" fmla="*/ 145639 h 2804517"/>
              <a:gd name="connsiteX3" fmla="*/ 2477835 w 2487984"/>
              <a:gd name="connsiteY3" fmla="*/ 1655899 h 2804517"/>
              <a:gd name="connsiteX4" fmla="*/ 1574134 w 2487984"/>
              <a:gd name="connsiteY4" fmla="*/ 2799442 h 2804517"/>
              <a:gd name="connsiteX5" fmla="*/ 10866 w 2487984"/>
              <a:gd name="connsiteY5" fmla="*/ 1461026 h 2804517"/>
              <a:gd name="connsiteX0" fmla="*/ 10866 w 2513540"/>
              <a:gd name="connsiteY0" fmla="*/ 1461026 h 2806637"/>
              <a:gd name="connsiteX1" fmla="*/ 944547 w 2513540"/>
              <a:gd name="connsiteY1" fmla="*/ 167581 h 2806637"/>
              <a:gd name="connsiteX2" fmla="*/ 2158254 w 2513540"/>
              <a:gd name="connsiteY2" fmla="*/ 145639 h 2806637"/>
              <a:gd name="connsiteX3" fmla="*/ 2477835 w 2513540"/>
              <a:gd name="connsiteY3" fmla="*/ 1655899 h 2806637"/>
              <a:gd name="connsiteX4" fmla="*/ 1574134 w 2513540"/>
              <a:gd name="connsiteY4" fmla="*/ 2799442 h 2806637"/>
              <a:gd name="connsiteX5" fmla="*/ 10866 w 2513540"/>
              <a:gd name="connsiteY5" fmla="*/ 1461026 h 2806637"/>
              <a:gd name="connsiteX0" fmla="*/ 12797 w 2515471"/>
              <a:gd name="connsiteY0" fmla="*/ 1466544 h 2812155"/>
              <a:gd name="connsiteX1" fmla="*/ 946478 w 2515471"/>
              <a:gd name="connsiteY1" fmla="*/ 173099 h 2812155"/>
              <a:gd name="connsiteX2" fmla="*/ 2160185 w 2515471"/>
              <a:gd name="connsiteY2" fmla="*/ 151157 h 2812155"/>
              <a:gd name="connsiteX3" fmla="*/ 2479766 w 2515471"/>
              <a:gd name="connsiteY3" fmla="*/ 1661417 h 2812155"/>
              <a:gd name="connsiteX4" fmla="*/ 1576065 w 2515471"/>
              <a:gd name="connsiteY4" fmla="*/ 2804960 h 2812155"/>
              <a:gd name="connsiteX5" fmla="*/ 12797 w 2515471"/>
              <a:gd name="connsiteY5" fmla="*/ 1466544 h 281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15471" h="2812155">
                <a:moveTo>
                  <a:pt x="12797" y="1466544"/>
                </a:moveTo>
                <a:cubicBezTo>
                  <a:pt x="-92134" y="1027901"/>
                  <a:pt x="468659" y="407321"/>
                  <a:pt x="946478" y="173099"/>
                </a:cubicBezTo>
                <a:cubicBezTo>
                  <a:pt x="1424297" y="-61123"/>
                  <a:pt x="1962099" y="-46929"/>
                  <a:pt x="2160185" y="151157"/>
                </a:cubicBezTo>
                <a:cubicBezTo>
                  <a:pt x="2358271" y="349243"/>
                  <a:pt x="2609598" y="999261"/>
                  <a:pt x="2479766" y="1661417"/>
                </a:cubicBezTo>
                <a:cubicBezTo>
                  <a:pt x="2349934" y="2323573"/>
                  <a:pt x="2077168" y="2882410"/>
                  <a:pt x="1576065" y="2804960"/>
                </a:cubicBezTo>
                <a:cubicBezTo>
                  <a:pt x="1074962" y="2727510"/>
                  <a:pt x="117728" y="1905187"/>
                  <a:pt x="12797" y="1466544"/>
                </a:cubicBezTo>
                <a:close/>
              </a:path>
            </a:pathLst>
          </a:custGeom>
          <a:gradFill>
            <a:gsLst>
              <a:gs pos="0">
                <a:schemeClr val="accent3"/>
              </a:gs>
              <a:gs pos="98000">
                <a:schemeClr val="accent6"/>
              </a:gs>
            </a:gsLst>
            <a:lin ang="2700000" scaled="0"/>
          </a:gradFill>
          <a:ln>
            <a:noFill/>
          </a:ln>
          <a:effectLst>
            <a:innerShdw blurRad="774700">
              <a:schemeClr val="bg1">
                <a:alpha val="75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12">
            <a:extLst>
              <a:ext uri="{FF2B5EF4-FFF2-40B4-BE49-F238E27FC236}">
                <a16:creationId xmlns:a16="http://schemas.microsoft.com/office/drawing/2014/main" id="{B8ABA70D-F19C-1725-F10F-03CDFBDDA174}"/>
              </a:ext>
            </a:extLst>
          </p:cNvPr>
          <p:cNvSpPr/>
          <p:nvPr/>
        </p:nvSpPr>
        <p:spPr>
          <a:xfrm>
            <a:off x="5827574" y="3642360"/>
            <a:ext cx="2189038" cy="2476980"/>
          </a:xfrm>
          <a:custGeom>
            <a:avLst/>
            <a:gdLst>
              <a:gd name="connsiteX0" fmla="*/ 0 w 2377028"/>
              <a:gd name="connsiteY0" fmla="*/ 1188514 h 2377028"/>
              <a:gd name="connsiteX1" fmla="*/ 1188514 w 2377028"/>
              <a:gd name="connsiteY1" fmla="*/ 0 h 2377028"/>
              <a:gd name="connsiteX2" fmla="*/ 2377028 w 2377028"/>
              <a:gd name="connsiteY2" fmla="*/ 1188514 h 2377028"/>
              <a:gd name="connsiteX3" fmla="*/ 1188514 w 2377028"/>
              <a:gd name="connsiteY3" fmla="*/ 2377028 h 2377028"/>
              <a:gd name="connsiteX4" fmla="*/ 0 w 2377028"/>
              <a:gd name="connsiteY4" fmla="*/ 1188514 h 2377028"/>
              <a:gd name="connsiteX0" fmla="*/ 0 w 2418209"/>
              <a:gd name="connsiteY0" fmla="*/ 1302562 h 2491076"/>
              <a:gd name="connsiteX1" fmla="*/ 1188514 w 2418209"/>
              <a:gd name="connsiteY1" fmla="*/ 114048 h 2491076"/>
              <a:gd name="connsiteX2" fmla="*/ 2202352 w 2418209"/>
              <a:gd name="connsiteY2" fmla="*/ 182047 h 2491076"/>
              <a:gd name="connsiteX3" fmla="*/ 2377028 w 2418209"/>
              <a:gd name="connsiteY3" fmla="*/ 1302562 h 2491076"/>
              <a:gd name="connsiteX4" fmla="*/ 1188514 w 2418209"/>
              <a:gd name="connsiteY4" fmla="*/ 2491076 h 2491076"/>
              <a:gd name="connsiteX5" fmla="*/ 0 w 2418209"/>
              <a:gd name="connsiteY5" fmla="*/ 1302562 h 2491076"/>
              <a:gd name="connsiteX0" fmla="*/ 152 w 2418361"/>
              <a:gd name="connsiteY0" fmla="*/ 1342596 h 2531110"/>
              <a:gd name="connsiteX1" fmla="*/ 1113715 w 2418361"/>
              <a:gd name="connsiteY1" fmla="*/ 94121 h 2531110"/>
              <a:gd name="connsiteX2" fmla="*/ 2202504 w 2418361"/>
              <a:gd name="connsiteY2" fmla="*/ 222081 h 2531110"/>
              <a:gd name="connsiteX3" fmla="*/ 2377180 w 2418361"/>
              <a:gd name="connsiteY3" fmla="*/ 1342596 h 2531110"/>
              <a:gd name="connsiteX4" fmla="*/ 1188666 w 2418361"/>
              <a:gd name="connsiteY4" fmla="*/ 2531110 h 2531110"/>
              <a:gd name="connsiteX5" fmla="*/ 152 w 2418361"/>
              <a:gd name="connsiteY5" fmla="*/ 1342596 h 2531110"/>
              <a:gd name="connsiteX0" fmla="*/ 152 w 2577457"/>
              <a:gd name="connsiteY0" fmla="*/ 1342596 h 2532871"/>
              <a:gd name="connsiteX1" fmla="*/ 1113715 w 2577457"/>
              <a:gd name="connsiteY1" fmla="*/ 94121 h 2532871"/>
              <a:gd name="connsiteX2" fmla="*/ 2202504 w 2577457"/>
              <a:gd name="connsiteY2" fmla="*/ 222081 h 2532871"/>
              <a:gd name="connsiteX3" fmla="*/ 2557062 w 2577457"/>
              <a:gd name="connsiteY3" fmla="*/ 1072773 h 2532871"/>
              <a:gd name="connsiteX4" fmla="*/ 1188666 w 2577457"/>
              <a:gd name="connsiteY4" fmla="*/ 2531110 h 2532871"/>
              <a:gd name="connsiteX5" fmla="*/ 152 w 2577457"/>
              <a:gd name="connsiteY5" fmla="*/ 1342596 h 2532871"/>
              <a:gd name="connsiteX0" fmla="*/ 712 w 2578017"/>
              <a:gd name="connsiteY0" fmla="*/ 1342596 h 2802330"/>
              <a:gd name="connsiteX1" fmla="*/ 1114275 w 2578017"/>
              <a:gd name="connsiteY1" fmla="*/ 94121 h 2802330"/>
              <a:gd name="connsiteX2" fmla="*/ 2203064 w 2578017"/>
              <a:gd name="connsiteY2" fmla="*/ 222081 h 2802330"/>
              <a:gd name="connsiteX3" fmla="*/ 2557622 w 2578017"/>
              <a:gd name="connsiteY3" fmla="*/ 1072773 h 2802330"/>
              <a:gd name="connsiteX4" fmla="*/ 1279167 w 2578017"/>
              <a:gd name="connsiteY4" fmla="*/ 2800933 h 2802330"/>
              <a:gd name="connsiteX5" fmla="*/ 712 w 2578017"/>
              <a:gd name="connsiteY5" fmla="*/ 1342596 h 2802330"/>
              <a:gd name="connsiteX0" fmla="*/ 712 w 2578017"/>
              <a:gd name="connsiteY0" fmla="*/ 1342596 h 2848859"/>
              <a:gd name="connsiteX1" fmla="*/ 1114275 w 2578017"/>
              <a:gd name="connsiteY1" fmla="*/ 94121 h 2848859"/>
              <a:gd name="connsiteX2" fmla="*/ 2203064 w 2578017"/>
              <a:gd name="connsiteY2" fmla="*/ 222081 h 2848859"/>
              <a:gd name="connsiteX3" fmla="*/ 2557622 w 2578017"/>
              <a:gd name="connsiteY3" fmla="*/ 1072773 h 2848859"/>
              <a:gd name="connsiteX4" fmla="*/ 1279167 w 2578017"/>
              <a:gd name="connsiteY4" fmla="*/ 2800933 h 2848859"/>
              <a:gd name="connsiteX5" fmla="*/ 712 w 2578017"/>
              <a:gd name="connsiteY5" fmla="*/ 1342596 h 2848859"/>
              <a:gd name="connsiteX0" fmla="*/ 724 w 2583727"/>
              <a:gd name="connsiteY0" fmla="*/ 1431627 h 2937890"/>
              <a:gd name="connsiteX1" fmla="*/ 1114287 w 2583727"/>
              <a:gd name="connsiteY1" fmla="*/ 183152 h 2937890"/>
              <a:gd name="connsiteX2" fmla="*/ 2278027 w 2583727"/>
              <a:gd name="connsiteY2" fmla="*/ 131230 h 2937890"/>
              <a:gd name="connsiteX3" fmla="*/ 2557634 w 2583727"/>
              <a:gd name="connsiteY3" fmla="*/ 1161804 h 2937890"/>
              <a:gd name="connsiteX4" fmla="*/ 1279179 w 2583727"/>
              <a:gd name="connsiteY4" fmla="*/ 2889964 h 2937890"/>
              <a:gd name="connsiteX5" fmla="*/ 724 w 2583727"/>
              <a:gd name="connsiteY5" fmla="*/ 1431627 h 2937890"/>
              <a:gd name="connsiteX0" fmla="*/ 2724 w 2585727"/>
              <a:gd name="connsiteY0" fmla="*/ 1495212 h 3002069"/>
              <a:gd name="connsiteX1" fmla="*/ 981375 w 2585727"/>
              <a:gd name="connsiteY1" fmla="*/ 126815 h 3002069"/>
              <a:gd name="connsiteX2" fmla="*/ 2280027 w 2585727"/>
              <a:gd name="connsiteY2" fmla="*/ 194815 h 3002069"/>
              <a:gd name="connsiteX3" fmla="*/ 2559634 w 2585727"/>
              <a:gd name="connsiteY3" fmla="*/ 1225389 h 3002069"/>
              <a:gd name="connsiteX4" fmla="*/ 1281179 w 2585727"/>
              <a:gd name="connsiteY4" fmla="*/ 2953549 h 3002069"/>
              <a:gd name="connsiteX5" fmla="*/ 2724 w 2585727"/>
              <a:gd name="connsiteY5" fmla="*/ 1495212 h 3002069"/>
              <a:gd name="connsiteX0" fmla="*/ 2724 w 2653087"/>
              <a:gd name="connsiteY0" fmla="*/ 1495212 h 3002069"/>
              <a:gd name="connsiteX1" fmla="*/ 981375 w 2653087"/>
              <a:gd name="connsiteY1" fmla="*/ 126815 h 3002069"/>
              <a:gd name="connsiteX2" fmla="*/ 2280027 w 2653087"/>
              <a:gd name="connsiteY2" fmla="*/ 194815 h 3002069"/>
              <a:gd name="connsiteX3" fmla="*/ 2559634 w 2653087"/>
              <a:gd name="connsiteY3" fmla="*/ 1225389 h 3002069"/>
              <a:gd name="connsiteX4" fmla="*/ 1281179 w 2653087"/>
              <a:gd name="connsiteY4" fmla="*/ 2953549 h 3002069"/>
              <a:gd name="connsiteX5" fmla="*/ 2724 w 2653087"/>
              <a:gd name="connsiteY5" fmla="*/ 1495212 h 3002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53087" h="3002069">
                <a:moveTo>
                  <a:pt x="2724" y="1495212"/>
                </a:moveTo>
                <a:cubicBezTo>
                  <a:pt x="-47243" y="1024090"/>
                  <a:pt x="601825" y="343548"/>
                  <a:pt x="981375" y="126815"/>
                </a:cubicBezTo>
                <a:cubicBezTo>
                  <a:pt x="1360925" y="-89918"/>
                  <a:pt x="2081941" y="-3271"/>
                  <a:pt x="2280027" y="194815"/>
                </a:cubicBezTo>
                <a:cubicBezTo>
                  <a:pt x="2478113" y="392901"/>
                  <a:pt x="2818547" y="760603"/>
                  <a:pt x="2559634" y="1225389"/>
                </a:cubicBezTo>
                <a:cubicBezTo>
                  <a:pt x="2300721" y="1690175"/>
                  <a:pt x="1947174" y="2638756"/>
                  <a:pt x="1281179" y="2953549"/>
                </a:cubicBezTo>
                <a:cubicBezTo>
                  <a:pt x="615184" y="3268342"/>
                  <a:pt x="52691" y="1966334"/>
                  <a:pt x="2724" y="1495212"/>
                </a:cubicBezTo>
                <a:close/>
              </a:path>
            </a:pathLst>
          </a:custGeom>
          <a:gradFill>
            <a:gsLst>
              <a:gs pos="0">
                <a:schemeClr val="accent4"/>
              </a:gs>
              <a:gs pos="97000">
                <a:schemeClr val="accent3"/>
              </a:gs>
            </a:gsLst>
            <a:lin ang="2700000" scaled="0"/>
          </a:gradFill>
          <a:ln>
            <a:noFill/>
          </a:ln>
          <a:effectLst>
            <a:innerShdw blurRad="635000">
              <a:schemeClr val="bg1">
                <a:alpha val="72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hape">
            <a:extLst>
              <a:ext uri="{FF2B5EF4-FFF2-40B4-BE49-F238E27FC236}">
                <a16:creationId xmlns:a16="http://schemas.microsoft.com/office/drawing/2014/main" id="{86453348-C895-9AD3-F51C-3D2BD3922B09}"/>
              </a:ext>
            </a:extLst>
          </p:cNvPr>
          <p:cNvSpPr/>
          <p:nvPr/>
        </p:nvSpPr>
        <p:spPr>
          <a:xfrm>
            <a:off x="9331959" y="3349899"/>
            <a:ext cx="1894839" cy="26089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6949" h="18194" extrusionOk="0">
                <a:moveTo>
                  <a:pt x="7366" y="168"/>
                </a:moveTo>
                <a:cubicBezTo>
                  <a:pt x="2794" y="787"/>
                  <a:pt x="-1545" y="5024"/>
                  <a:pt x="536" y="7681"/>
                </a:cubicBezTo>
                <a:cubicBezTo>
                  <a:pt x="2616" y="10349"/>
                  <a:pt x="8598" y="12153"/>
                  <a:pt x="7489" y="15194"/>
                </a:cubicBezTo>
                <a:cubicBezTo>
                  <a:pt x="6394" y="18236"/>
                  <a:pt x="10172" y="20050"/>
                  <a:pt x="13964" y="15194"/>
                </a:cubicBezTo>
                <a:cubicBezTo>
                  <a:pt x="17742" y="10349"/>
                  <a:pt x="20055" y="-1550"/>
                  <a:pt x="7366" y="168"/>
                </a:cubicBez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tx2"/>
              </a:gs>
            </a:gsLst>
            <a:lin ang="2700000" scaled="0"/>
          </a:gradFill>
          <a:ln w="25400" cap="flat">
            <a:noFill/>
            <a:miter lim="400000"/>
          </a:ln>
          <a:effectLst>
            <a:innerShdw blurRad="533400">
              <a:schemeClr val="bg1">
                <a:alpha val="62000"/>
              </a:schemeClr>
            </a:innerShdw>
          </a:effectLst>
        </p:spPr>
        <p:txBody>
          <a:bodyPr wrap="square" lIns="38100" tIns="38100" rIns="38100" bIns="38100" numCol="1" anchor="ctr">
            <a:noAutofit/>
          </a:bodyPr>
          <a:lstStyle/>
          <a:p>
            <a:pPr>
              <a:defRPr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5" name="Shape">
            <a:extLst>
              <a:ext uri="{FF2B5EF4-FFF2-40B4-BE49-F238E27FC236}">
                <a16:creationId xmlns:a16="http://schemas.microsoft.com/office/drawing/2014/main" id="{FD016F3A-8676-45F1-AD17-92CE05D0B8EC}"/>
              </a:ext>
            </a:extLst>
          </p:cNvPr>
          <p:cNvSpPr/>
          <p:nvPr/>
        </p:nvSpPr>
        <p:spPr>
          <a:xfrm>
            <a:off x="3008608" y="4121939"/>
            <a:ext cx="2229556" cy="17484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6046" h="19010" extrusionOk="0">
                <a:moveTo>
                  <a:pt x="10260" y="35"/>
                </a:moveTo>
                <a:cubicBezTo>
                  <a:pt x="5673" y="-363"/>
                  <a:pt x="-302" y="2651"/>
                  <a:pt x="12" y="9091"/>
                </a:cubicBezTo>
                <a:cubicBezTo>
                  <a:pt x="326" y="15516"/>
                  <a:pt x="5693" y="21237"/>
                  <a:pt x="9784" y="18147"/>
                </a:cubicBezTo>
                <a:cubicBezTo>
                  <a:pt x="13885" y="15042"/>
                  <a:pt x="21298" y="983"/>
                  <a:pt x="10260" y="35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99000">
                <a:schemeClr val="accent2"/>
              </a:gs>
            </a:gsLst>
            <a:lin ang="2700000" scaled="0"/>
          </a:gradFill>
          <a:ln w="25400" cap="flat">
            <a:noFill/>
            <a:miter lim="400000"/>
          </a:ln>
          <a:effectLst>
            <a:innerShdw blurRad="1028700">
              <a:schemeClr val="bg1">
                <a:alpha val="78000"/>
              </a:schemeClr>
            </a:innerShdw>
          </a:effectLst>
        </p:spPr>
        <p:txBody>
          <a:bodyPr wrap="square" lIns="38100" tIns="38100" rIns="38100" bIns="38100" numCol="1" anchor="ctr">
            <a:noAutofit/>
          </a:bodyPr>
          <a:lstStyle/>
          <a:p>
            <a:pPr>
              <a:defRPr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6" name="Shape">
            <a:extLst>
              <a:ext uri="{FF2B5EF4-FFF2-40B4-BE49-F238E27FC236}">
                <a16:creationId xmlns:a16="http://schemas.microsoft.com/office/drawing/2014/main" id="{CB68FD20-F4C8-FC5A-7C99-B92C70F3E355}"/>
              </a:ext>
            </a:extLst>
          </p:cNvPr>
          <p:cNvSpPr/>
          <p:nvPr/>
        </p:nvSpPr>
        <p:spPr>
          <a:xfrm>
            <a:off x="3378929" y="1651000"/>
            <a:ext cx="2278682" cy="18542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8400" h="15432" extrusionOk="0">
                <a:moveTo>
                  <a:pt x="215" y="3490"/>
                </a:moveTo>
                <a:cubicBezTo>
                  <a:pt x="-442" y="5902"/>
                  <a:pt x="-100" y="15903"/>
                  <a:pt x="8656" y="15415"/>
                </a:cubicBezTo>
                <a:cubicBezTo>
                  <a:pt x="17411" y="14927"/>
                  <a:pt x="21158" y="7678"/>
                  <a:pt x="16162" y="6878"/>
                </a:cubicBezTo>
                <a:cubicBezTo>
                  <a:pt x="11153" y="6065"/>
                  <a:pt x="2713" y="-5697"/>
                  <a:pt x="215" y="3490"/>
                </a:cubicBezTo>
                <a:close/>
              </a:path>
            </a:pathLst>
          </a:custGeom>
          <a:gradFill>
            <a:gsLst>
              <a:gs pos="0">
                <a:schemeClr val="accent5"/>
              </a:gs>
              <a:gs pos="99000">
                <a:schemeClr val="accent1"/>
              </a:gs>
            </a:gsLst>
            <a:lin ang="2700000" scaled="0"/>
          </a:gradFill>
          <a:ln w="25400" cap="flat">
            <a:noFill/>
            <a:miter lim="400000"/>
          </a:ln>
          <a:effectLst>
            <a:innerShdw blurRad="1270000">
              <a:schemeClr val="bg1">
                <a:alpha val="67000"/>
              </a:schemeClr>
            </a:innerShdw>
          </a:effectLst>
        </p:spPr>
        <p:txBody>
          <a:bodyPr wrap="square" lIns="38100" tIns="38100" rIns="38100" bIns="38100" numCol="1" anchor="ctr">
            <a:noAutofit/>
          </a:bodyPr>
          <a:lstStyle/>
          <a:p>
            <a:pPr>
              <a:defRPr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DBA837D-7042-1E22-D317-52BE1867CFE2}"/>
              </a:ext>
            </a:extLst>
          </p:cNvPr>
          <p:cNvSpPr/>
          <p:nvPr/>
        </p:nvSpPr>
        <p:spPr>
          <a:xfrm>
            <a:off x="869209" y="4269259"/>
            <a:ext cx="1549990" cy="1549990"/>
          </a:xfrm>
          <a:prstGeom prst="ellipse">
            <a:avLst/>
          </a:prstGeom>
          <a:gradFill>
            <a:gsLst>
              <a:gs pos="0">
                <a:schemeClr val="accent5"/>
              </a:gs>
              <a:gs pos="99000">
                <a:schemeClr val="accent3"/>
              </a:gs>
            </a:gsLst>
            <a:lin ang="2700000" scaled="0"/>
          </a:gradFill>
          <a:ln w="127000">
            <a:noFill/>
          </a:ln>
          <a:effectLst>
            <a:innerShdw blurRad="596900">
              <a:schemeClr val="bg1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FFFF"/>
              </a:solidFill>
              <a:ea typeface="+mj-ea"/>
              <a:cs typeface="+mj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1C64E8-8EA3-62CE-B0E7-31BDF7CA8428}"/>
              </a:ext>
            </a:extLst>
          </p:cNvPr>
          <p:cNvSpPr txBox="1"/>
          <p:nvPr/>
        </p:nvSpPr>
        <p:spPr>
          <a:xfrm>
            <a:off x="6383415" y="1397410"/>
            <a:ext cx="4925060" cy="156966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3200" b="1" dirty="0">
                <a:gradFill flip="none" rotWithShape="1">
                  <a:gsLst>
                    <a:gs pos="0">
                      <a:srgbClr val="3BC8F1"/>
                    </a:gs>
                    <a:gs pos="95726">
                      <a:srgbClr val="E9474E"/>
                    </a:gs>
                    <a:gs pos="71000">
                      <a:srgbClr val="FA3585"/>
                    </a:gs>
                    <a:gs pos="21000">
                      <a:srgbClr val="6070FF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effectLst>
                  <a:outerShdw dist="152400" dir="3360000" algn="ctr" rotWithShape="0">
                    <a:srgbClr val="FFFFFF">
                      <a:lumMod val="50000"/>
                      <a:lumOff val="50000"/>
                      <a:alpha val="14000"/>
                    </a:srgbClr>
                  </a:outerShdw>
                </a:effectLst>
                <a:latin typeface="+mj-lt"/>
              </a:rPr>
              <a:t>Create your own presentation with endless possibilities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6616722-862C-103E-7027-63BA780D48D1}"/>
              </a:ext>
            </a:extLst>
          </p:cNvPr>
          <p:cNvSpPr/>
          <p:nvPr/>
        </p:nvSpPr>
        <p:spPr>
          <a:xfrm>
            <a:off x="0" y="0"/>
            <a:ext cx="4991100" cy="586910"/>
          </a:xfrm>
          <a:prstGeom prst="rect">
            <a:avLst/>
          </a:prstGeom>
          <a:solidFill>
            <a:srgbClr val="92E3A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Gradient Text &amp; Abstract Shapes</a:t>
            </a:r>
            <a:endParaRPr lang="en-C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11101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RULE_EXCEPTIONS" val="SHP_LIN"/>
</p:tagLst>
</file>

<file path=ppt/theme/theme1.xml><?xml version="1.0" encoding="utf-8"?>
<a:theme xmlns:a="http://schemas.openxmlformats.org/drawingml/2006/main" name="Office Theme">
  <a:themeElements>
    <a:clrScheme name="Hero X">
      <a:dk1>
        <a:sysClr val="windowText" lastClr="000000"/>
      </a:dk1>
      <a:lt1>
        <a:sysClr val="window" lastClr="FFFFFF"/>
      </a:lt1>
      <a:dk2>
        <a:srgbClr val="44546A"/>
      </a:dk2>
      <a:lt2>
        <a:srgbClr val="F652A0"/>
      </a:lt2>
      <a:accent1>
        <a:srgbClr val="77CBB9"/>
      </a:accent1>
      <a:accent2>
        <a:srgbClr val="3D1462"/>
      </a:accent2>
      <a:accent3>
        <a:srgbClr val="FABC2A"/>
      </a:accent3>
      <a:accent4>
        <a:srgbClr val="022F3C"/>
      </a:accent4>
      <a:accent5>
        <a:srgbClr val="07B3C5"/>
      </a:accent5>
      <a:accent6>
        <a:srgbClr val="E91E63"/>
      </a:accent6>
      <a:hlink>
        <a:srgbClr val="AFEF92"/>
      </a:hlink>
      <a:folHlink>
        <a:srgbClr val="75B8C8"/>
      </a:folHlink>
    </a:clrScheme>
    <a:fontScheme name="Toolkits">
      <a:majorFont>
        <a:latin typeface="Sora ExtraBold"/>
        <a:ea typeface=""/>
        <a:cs typeface=""/>
      </a:majorFont>
      <a:minorFont>
        <a:latin typeface="Sor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3</TotalTime>
  <Words>2045</Words>
  <Application>Microsoft Office PowerPoint</Application>
  <PresentationFormat>Widescreen</PresentationFormat>
  <Paragraphs>483</Paragraphs>
  <Slides>57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63" baseType="lpstr">
      <vt:lpstr>Aptos</vt:lpstr>
      <vt:lpstr>Arial</vt:lpstr>
      <vt:lpstr>Sora ExtraBold</vt:lpstr>
      <vt:lpstr>Sora Light</vt:lpstr>
      <vt:lpstr>Sora Thin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hit Syal</dc:creator>
  <cp:lastModifiedBy>Rohit Syal</cp:lastModifiedBy>
  <cp:revision>18</cp:revision>
  <dcterms:created xsi:type="dcterms:W3CDTF">2024-05-03T20:34:03Z</dcterms:created>
  <dcterms:modified xsi:type="dcterms:W3CDTF">2024-05-08T21:15:29Z</dcterms:modified>
</cp:coreProperties>
</file>